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20" r:id="rId2"/>
    <p:sldMasterId id="2147483732" r:id="rId3"/>
    <p:sldMasterId id="2147483745" r:id="rId4"/>
    <p:sldMasterId id="2147483757" r:id="rId5"/>
    <p:sldMasterId id="2147483792" r:id="rId6"/>
    <p:sldMasterId id="2147483805" r:id="rId7"/>
    <p:sldMasterId id="2147483817" r:id="rId8"/>
  </p:sldMasterIdLst>
  <p:notesMasterIdLst>
    <p:notesMasterId r:id="rId27"/>
  </p:notesMasterIdLst>
  <p:handoutMasterIdLst>
    <p:handoutMasterId r:id="rId28"/>
  </p:handoutMasterIdLst>
  <p:sldIdLst>
    <p:sldId id="267" r:id="rId9"/>
    <p:sldId id="284" r:id="rId10"/>
    <p:sldId id="281" r:id="rId11"/>
    <p:sldId id="260" r:id="rId12"/>
    <p:sldId id="283" r:id="rId13"/>
    <p:sldId id="262" r:id="rId14"/>
    <p:sldId id="272" r:id="rId15"/>
    <p:sldId id="263" r:id="rId16"/>
    <p:sldId id="295" r:id="rId17"/>
    <p:sldId id="296" r:id="rId18"/>
    <p:sldId id="297" r:id="rId19"/>
    <p:sldId id="288" r:id="rId20"/>
    <p:sldId id="302" r:id="rId21"/>
    <p:sldId id="300" r:id="rId22"/>
    <p:sldId id="303" r:id="rId23"/>
    <p:sldId id="298" r:id="rId24"/>
    <p:sldId id="299" r:id="rId25"/>
    <p:sldId id="277" r:id="rId2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5" autoAdjust="0"/>
    <p:restoredTop sz="59186" autoAdjust="0"/>
  </p:normalViewPr>
  <p:slideViewPr>
    <p:cSldViewPr snapToGrid="0">
      <p:cViewPr varScale="1">
        <p:scale>
          <a:sx n="76" d="100"/>
          <a:sy n="76" d="100"/>
        </p:scale>
        <p:origin x="2856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35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RRA Actions'!$C$2:$I$2</c:f>
              <c:strCache>
                <c:ptCount val="7"/>
                <c:pt idx="0">
                  <c:v>Legal and Regulatory</c:v>
                </c:pt>
                <c:pt idx="1">
                  <c:v>Assessments</c:v>
                </c:pt>
                <c:pt idx="2">
                  <c:v>Policy and Strategy</c:v>
                </c:pt>
                <c:pt idx="3">
                  <c:v>Planning </c:v>
                </c:pt>
                <c:pt idx="4">
                  <c:v>Capacity Building</c:v>
                </c:pt>
                <c:pt idx="5">
                  <c:v>Financing and Investment </c:v>
                </c:pt>
                <c:pt idx="6">
                  <c:v>Deployment and Operation</c:v>
                </c:pt>
              </c:strCache>
            </c:strRef>
          </c:cat>
          <c:val>
            <c:numRef>
              <c:f>'RRA Actions'!$C$18:$I$18</c:f>
              <c:numCache>
                <c:formatCode>General</c:formatCode>
                <c:ptCount val="7"/>
                <c:pt idx="0">
                  <c:v>8</c:v>
                </c:pt>
                <c:pt idx="1">
                  <c:v>6</c:v>
                </c:pt>
                <c:pt idx="2">
                  <c:v>12</c:v>
                </c:pt>
                <c:pt idx="3">
                  <c:v>8</c:v>
                </c:pt>
                <c:pt idx="4">
                  <c:v>5</c:v>
                </c:pt>
                <c:pt idx="5">
                  <c:v>5</c:v>
                </c:pt>
                <c:pt idx="6">
                  <c:v>3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RRA Actions'!$C$48</c:f>
              <c:strCache>
                <c:ptCount val="1"/>
                <c:pt idx="0">
                  <c:v>Legal and Regulator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C$49:$C$5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'RRA Actions'!$D$48</c:f>
              <c:strCache>
                <c:ptCount val="1"/>
                <c:pt idx="0">
                  <c:v>Assessm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D$49:$D$5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'RRA Actions'!$E$48</c:f>
              <c:strCache>
                <c:ptCount val="1"/>
                <c:pt idx="0">
                  <c:v>Policy and Strateg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E$49:$E$55</c:f>
              <c:numCache>
                <c:formatCode>General</c:formatCode>
                <c:ptCount val="7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ser>
          <c:idx val="3"/>
          <c:order val="3"/>
          <c:tx>
            <c:strRef>
              <c:f>'RRA Actions'!$F$48</c:f>
              <c:strCache>
                <c:ptCount val="1"/>
                <c:pt idx="0">
                  <c:v>Planning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F$49:$F$55</c:f>
              <c:numCache>
                <c:formatCode>General</c:formatCode>
                <c:ptCount val="7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0</c:v>
                </c:pt>
              </c:numCache>
            </c:numRef>
          </c:val>
        </c:ser>
        <c:ser>
          <c:idx val="4"/>
          <c:order val="4"/>
          <c:tx>
            <c:strRef>
              <c:f>'RRA Actions'!$G$48</c:f>
              <c:strCache>
                <c:ptCount val="1"/>
                <c:pt idx="0">
                  <c:v>Capacity Build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G$49:$G$5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</c:ser>
        <c:ser>
          <c:idx val="5"/>
          <c:order val="5"/>
          <c:tx>
            <c:strRef>
              <c:f>'RRA Actions'!$H$48</c:f>
              <c:strCache>
                <c:ptCount val="1"/>
                <c:pt idx="0">
                  <c:v>Financing and Investment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H$49:$H$55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6"/>
          <c:order val="6"/>
          <c:tx>
            <c:strRef>
              <c:f>'RRA Actions'!$I$48</c:f>
              <c:strCache>
                <c:ptCount val="1"/>
                <c:pt idx="0">
                  <c:v>Deployment and Operati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RRA Actions'!$B$49:$B$55</c:f>
              <c:strCache>
                <c:ptCount val="7"/>
                <c:pt idx="0">
                  <c:v>Zambia </c:v>
                </c:pt>
                <c:pt idx="1">
                  <c:v>The Gambia </c:v>
                </c:pt>
                <c:pt idx="2">
                  <c:v>Senegal</c:v>
                </c:pt>
                <c:pt idx="3">
                  <c:v>Niger </c:v>
                </c:pt>
                <c:pt idx="4">
                  <c:v>Mozambique </c:v>
                </c:pt>
                <c:pt idx="5">
                  <c:v>Djibouti</c:v>
                </c:pt>
                <c:pt idx="6">
                  <c:v>Swaziland</c:v>
                </c:pt>
              </c:strCache>
            </c:strRef>
          </c:cat>
          <c:val>
            <c:numRef>
              <c:f>'RRA Actions'!$I$49:$I$55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30108688"/>
        <c:axId val="1230107056"/>
      </c:barChart>
      <c:catAx>
        <c:axId val="1230108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107056"/>
        <c:crosses val="autoZero"/>
        <c:auto val="1"/>
        <c:lblAlgn val="ctr"/>
        <c:lblOffset val="100"/>
        <c:noMultiLvlLbl val="0"/>
      </c:catAx>
      <c:valAx>
        <c:axId val="12301070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108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mplementation</a:t>
            </a:r>
            <a:r>
              <a:rPr lang="en-US" baseline="0"/>
              <a:t> Status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RRA Actions'!$B$19</c:f>
              <c:strCache>
                <c:ptCount val="1"/>
                <c:pt idx="0">
                  <c:v>Adressed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RRA Actions'!$C$2:$I$2</c:f>
              <c:strCache>
                <c:ptCount val="7"/>
                <c:pt idx="0">
                  <c:v>Legal and Regulatory</c:v>
                </c:pt>
                <c:pt idx="1">
                  <c:v>Assessments</c:v>
                </c:pt>
                <c:pt idx="2">
                  <c:v>Policy and Strategy</c:v>
                </c:pt>
                <c:pt idx="3">
                  <c:v>Planning </c:v>
                </c:pt>
                <c:pt idx="4">
                  <c:v>Capacity Building</c:v>
                </c:pt>
                <c:pt idx="5">
                  <c:v>Financing and Investment </c:v>
                </c:pt>
                <c:pt idx="6">
                  <c:v>Deployment and Operation</c:v>
                </c:pt>
              </c:strCache>
            </c:strRef>
          </c:cat>
          <c:val>
            <c:numRef>
              <c:f>'RRA Actions'!$C$19:$I$19</c:f>
              <c:numCache>
                <c:formatCode>General</c:formatCode>
                <c:ptCount val="7"/>
                <c:pt idx="0">
                  <c:v>5</c:v>
                </c:pt>
                <c:pt idx="1">
                  <c:v>3</c:v>
                </c:pt>
                <c:pt idx="2">
                  <c:v>8</c:v>
                </c:pt>
                <c:pt idx="3">
                  <c:v>6</c:v>
                </c:pt>
                <c:pt idx="4">
                  <c:v>3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tx>
            <c:strRef>
              <c:f>'RRA Actions'!$B$20</c:f>
              <c:strCache>
                <c:ptCount val="1"/>
                <c:pt idx="0">
                  <c:v>Pend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RRA Actions'!$C$2:$I$2</c:f>
              <c:strCache>
                <c:ptCount val="7"/>
                <c:pt idx="0">
                  <c:v>Legal and Regulatory</c:v>
                </c:pt>
                <c:pt idx="1">
                  <c:v>Assessments</c:v>
                </c:pt>
                <c:pt idx="2">
                  <c:v>Policy and Strategy</c:v>
                </c:pt>
                <c:pt idx="3">
                  <c:v>Planning </c:v>
                </c:pt>
                <c:pt idx="4">
                  <c:v>Capacity Building</c:v>
                </c:pt>
                <c:pt idx="5">
                  <c:v>Financing and Investment </c:v>
                </c:pt>
                <c:pt idx="6">
                  <c:v>Deployment and Operation</c:v>
                </c:pt>
              </c:strCache>
            </c:strRef>
          </c:cat>
          <c:val>
            <c:numRef>
              <c:f>'RRA Actions'!$C$20:$I$20</c:f>
              <c:numCache>
                <c:formatCode>General</c:formatCode>
                <c:ptCount val="7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30114128"/>
        <c:axId val="1230105424"/>
      </c:barChart>
      <c:catAx>
        <c:axId val="12301141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105424"/>
        <c:crosses val="autoZero"/>
        <c:auto val="1"/>
        <c:lblAlgn val="ctr"/>
        <c:lblOffset val="100"/>
        <c:noMultiLvlLbl val="0"/>
      </c:catAx>
      <c:valAx>
        <c:axId val="12301054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114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47997D-A274-4069-9163-69166D09DE31}" type="datetimeFigureOut">
              <a:rPr lang="en-US" smtClean="0"/>
              <a:t>3/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44C0C4-27E3-4575-96A6-A41E73C0A1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79913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020861-AB10-417D-B90C-3436961F5B38}" type="datetimeFigureOut">
              <a:rPr lang="en-US" smtClean="0"/>
              <a:t>3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4C5930-1E9C-4599-928B-D67C813047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71708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895600" y="525463"/>
            <a:ext cx="3505200" cy="2628900"/>
          </a:xfrm>
          <a:ln/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dirty="0" smtClean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631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573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35325" y="158750"/>
            <a:ext cx="3398838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en-US" sz="1300" b="0" kern="1200" baseline="0" dirty="0" smtClean="0">
              <a:solidFill>
                <a:schemeClr val="tx1"/>
              </a:solidFill>
              <a:effectLst/>
              <a:latin typeface="Arial" charset="0"/>
              <a:ea typeface="+mn-ea"/>
              <a:cs typeface="Arial" charset="0"/>
            </a:endParaRPr>
          </a:p>
          <a:p>
            <a:endParaRPr lang="en-US" sz="1300" b="0" kern="1200" baseline="0" dirty="0" smtClean="0">
              <a:solidFill>
                <a:schemeClr val="tx1"/>
              </a:solidFill>
              <a:effectLst/>
              <a:latin typeface="Arial" charset="0"/>
              <a:ea typeface="+mn-ea"/>
              <a:cs typeface="Arial" charset="0"/>
            </a:endParaRPr>
          </a:p>
          <a:p>
            <a:endParaRPr lang="en-US" sz="1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50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0333-CBEF-4841-B88F-F5AB5F9D121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0158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endParaRPr lang="en-US" sz="14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F60FA8-7B3F-4A7C-8F0E-23C53659501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9515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D0333-CBEF-4841-B88F-F5AB5F9D1219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2375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F60FA8-7B3F-4A7C-8F0E-23C53659501D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6231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baseline="0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83129A-8175-413D-8686-5EC342D1FD92}" type="slidenum">
              <a:rPr lang="en-GB" smtClean="0">
                <a:solidFill>
                  <a:prstClr val="black"/>
                </a:solidFill>
              </a:rPr>
              <a:pPr/>
              <a:t>1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0928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895600" y="525463"/>
            <a:ext cx="3505200" cy="2628900"/>
          </a:xfrm>
          <a:ln/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dirty="0" smtClean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32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F60FA8-7B3F-4A7C-8F0E-23C53659501D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6885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851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145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780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515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5174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929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017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6"/>
            <a:ext cx="6478588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262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13736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28184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Shape 133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34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Shape 135"/>
          <p:cNvSpPr>
            <a:spLocks noGrp="1"/>
          </p:cNvSpPr>
          <p:nvPr>
            <p:ph type="title"/>
          </p:nvPr>
        </p:nvSpPr>
        <p:spPr>
          <a:xfrm>
            <a:off x="0" y="2876006"/>
            <a:ext cx="6478588" cy="2876003"/>
          </a:xfrm>
          <a:prstGeom prst="rect">
            <a:avLst/>
          </a:prstGeom>
          <a:solidFill>
            <a:srgbClr val="0872A6"/>
          </a:solidFill>
        </p:spPr>
        <p:txBody>
          <a:bodyPr lIns="201479" tIns="201479" rIns="201479" bIns="201479">
            <a:noAutofit/>
          </a:bodyPr>
          <a:lstStyle>
            <a:lvl1pPr algn="l">
              <a:lnSpc>
                <a:spcPct val="110000"/>
              </a:lnSpc>
              <a:defRPr sz="2600" b="1">
                <a:solidFill>
                  <a:srgbClr val="FFFFFF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600" b="1">
                <a:solidFill>
                  <a:srgbClr val="FFFFFF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1010992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Shape 137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38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39" name="Shape 139"/>
          <p:cNvSpPr>
            <a:spLocks noGrp="1"/>
          </p:cNvSpPr>
          <p:nvPr>
            <p:ph type="title"/>
          </p:nvPr>
        </p:nvSpPr>
        <p:spPr>
          <a:xfrm>
            <a:off x="358775" y="1320984"/>
            <a:ext cx="8421690" cy="9558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40" name="Shape 140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90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7866" indent="-287866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1pPr>
            <a:lvl2pPr marL="623709" indent="-239887">
              <a:lnSpc>
                <a:spcPct val="130000"/>
              </a:lnSpc>
              <a:spcBef>
                <a:spcPts val="0"/>
              </a:spcBef>
              <a:buFontTx/>
              <a:buChar char="▪"/>
              <a:defRPr sz="1200">
                <a:latin typeface="Arial"/>
                <a:ea typeface="Arial"/>
                <a:cs typeface="Arial"/>
                <a:sym typeface="Arial"/>
              </a:defRPr>
            </a:lvl2pPr>
            <a:lvl3pPr marL="882787" indent="-115146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295396" indent="-143933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4pPr>
            <a:lvl5pPr marL="1679217" indent="-143933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200"/>
              <a:t>Click to edit Master text styles</a:t>
            </a:r>
          </a:p>
          <a:p>
            <a:pPr lvl="1">
              <a:defRPr sz="1800"/>
            </a:pPr>
            <a:r>
              <a:rPr sz="1200"/>
              <a:t>Second level</a:t>
            </a:r>
          </a:p>
          <a:p>
            <a:pPr lvl="2">
              <a:defRPr sz="1800"/>
            </a:pPr>
            <a:r>
              <a:rPr sz="1200"/>
              <a:t>Third level</a:t>
            </a:r>
          </a:p>
          <a:p>
            <a:pPr lvl="3">
              <a:defRPr sz="1800"/>
            </a:pPr>
            <a:r>
              <a:rPr sz="1200"/>
              <a:t>Fourth level</a:t>
            </a:r>
          </a:p>
          <a:p>
            <a:pPr lvl="4">
              <a:defRPr sz="1800"/>
            </a:pPr>
            <a:r>
              <a:rPr sz="1200"/>
              <a:t>Fifth level</a:t>
            </a:r>
          </a:p>
        </p:txBody>
      </p:sp>
      <p:sp>
        <p:nvSpPr>
          <p:cNvPr id="141" name="Shape 141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6262790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Shape 143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44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45" name="Shape 145"/>
          <p:cNvSpPr>
            <a:spLocks noGrp="1"/>
          </p:cNvSpPr>
          <p:nvPr>
            <p:ph type="title"/>
          </p:nvPr>
        </p:nvSpPr>
        <p:spPr>
          <a:xfrm>
            <a:off x="722312" y="4407053"/>
            <a:ext cx="7772401" cy="136187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300" b="1" cap="all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3300" b="1" cap="all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46" name="Shape 146"/>
          <p:cNvSpPr>
            <a:spLocks noGrp="1"/>
          </p:cNvSpPr>
          <p:nvPr>
            <p:ph type="body" idx="1"/>
          </p:nvPr>
        </p:nvSpPr>
        <p:spPr>
          <a:xfrm>
            <a:off x="722312" y="2907727"/>
            <a:ext cx="7772401" cy="149932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</p:txBody>
      </p:sp>
      <p:sp>
        <p:nvSpPr>
          <p:cNvPr id="147" name="Shape 147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690505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hape 149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50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51" name="Shape 151"/>
          <p:cNvSpPr>
            <a:spLocks noGrp="1"/>
          </p:cNvSpPr>
          <p:nvPr>
            <p:ph type="title"/>
          </p:nvPr>
        </p:nvSpPr>
        <p:spPr>
          <a:xfrm>
            <a:off x="358775" y="1140564"/>
            <a:ext cx="8421690" cy="1316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52" name="Shape 152"/>
          <p:cNvSpPr>
            <a:spLocks noGrp="1"/>
          </p:cNvSpPr>
          <p:nvPr>
            <p:ph type="body" idx="1"/>
          </p:nvPr>
        </p:nvSpPr>
        <p:spPr>
          <a:xfrm>
            <a:off x="358775" y="2457293"/>
            <a:ext cx="4133851" cy="440070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7866" indent="-287866">
              <a:lnSpc>
                <a:spcPct val="130000"/>
              </a:lnSpc>
              <a:spcBef>
                <a:spcPts val="0"/>
              </a:spcBef>
              <a:buFontTx/>
              <a:defRPr sz="2400">
                <a:latin typeface="Arial"/>
                <a:ea typeface="Arial"/>
                <a:cs typeface="Arial"/>
                <a:sym typeface="Arial"/>
              </a:defRPr>
            </a:lvl1pPr>
            <a:lvl2pPr marL="671686" indent="-287865">
              <a:lnSpc>
                <a:spcPct val="130000"/>
              </a:lnSpc>
              <a:spcBef>
                <a:spcPts val="0"/>
              </a:spcBef>
              <a:buFontTx/>
              <a:buChar char="▪"/>
              <a:defRPr sz="2400">
                <a:latin typeface="Arial"/>
                <a:ea typeface="Arial"/>
                <a:cs typeface="Arial"/>
                <a:sym typeface="Arial"/>
              </a:defRPr>
            </a:lvl2pPr>
            <a:lvl3pPr marL="1055507" indent="-287866">
              <a:lnSpc>
                <a:spcPct val="130000"/>
              </a:lnSpc>
              <a:spcBef>
                <a:spcPts val="0"/>
              </a:spcBef>
              <a:buFontTx/>
              <a:defRPr sz="2400">
                <a:latin typeface="Arial"/>
                <a:ea typeface="Arial"/>
                <a:cs typeface="Arial"/>
                <a:sym typeface="Arial"/>
              </a:defRPr>
            </a:lvl3pPr>
            <a:lvl4pPr marL="1458520" indent="-307057">
              <a:lnSpc>
                <a:spcPct val="130000"/>
              </a:lnSpc>
              <a:spcBef>
                <a:spcPts val="0"/>
              </a:spcBef>
              <a:buFontTx/>
              <a:defRPr sz="2400">
                <a:latin typeface="Arial"/>
                <a:ea typeface="Arial"/>
                <a:cs typeface="Arial"/>
                <a:sym typeface="Arial"/>
              </a:defRPr>
            </a:lvl4pPr>
            <a:lvl5pPr marL="1842341" indent="-307057">
              <a:lnSpc>
                <a:spcPct val="130000"/>
              </a:lnSpc>
              <a:spcBef>
                <a:spcPts val="0"/>
              </a:spcBef>
              <a:buFontTx/>
              <a:defRPr sz="24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2400"/>
              <a:t>Click to edit Master text styles</a:t>
            </a:r>
          </a:p>
          <a:p>
            <a:pPr lvl="1">
              <a:defRPr sz="1800"/>
            </a:pPr>
            <a:r>
              <a:rPr sz="2400"/>
              <a:t>Second level</a:t>
            </a:r>
          </a:p>
          <a:p>
            <a:pPr lvl="2">
              <a:defRPr sz="1800"/>
            </a:pPr>
            <a:r>
              <a:rPr sz="2400"/>
              <a:t>Third level</a:t>
            </a:r>
          </a:p>
          <a:p>
            <a:pPr lvl="3">
              <a:defRPr sz="1800"/>
            </a:pPr>
            <a:r>
              <a:rPr sz="2400"/>
              <a:t>Fourth level</a:t>
            </a:r>
          </a:p>
          <a:p>
            <a:pPr lvl="4">
              <a:defRPr sz="1800"/>
            </a:pPr>
            <a:r>
              <a:rPr sz="2400"/>
              <a:t>Fifth level</a:t>
            </a:r>
          </a:p>
        </p:txBody>
      </p:sp>
      <p:sp>
        <p:nvSpPr>
          <p:cNvPr id="153" name="Shape 153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8488515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56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57" name="Shape 157"/>
          <p:cNvSpPr>
            <a:spLocks noGrp="1"/>
          </p:cNvSpPr>
          <p:nvPr>
            <p:ph type="title"/>
          </p:nvPr>
        </p:nvSpPr>
        <p:spPr>
          <a:xfrm>
            <a:off x="457200" y="256930"/>
            <a:ext cx="8229600" cy="11779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58" name="Shape 158"/>
          <p:cNvSpPr>
            <a:spLocks noGrp="1"/>
          </p:cNvSpPr>
          <p:nvPr>
            <p:ph type="body" idx="1"/>
          </p:nvPr>
        </p:nvSpPr>
        <p:spPr>
          <a:xfrm>
            <a:off x="457200" y="1434842"/>
            <a:ext cx="4040188" cy="7390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0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 b="0"/>
            </a:pPr>
            <a:r>
              <a:rPr sz="2000" b="1"/>
              <a:t>Click to edit Master text styles</a:t>
            </a:r>
          </a:p>
        </p:txBody>
      </p:sp>
      <p:sp>
        <p:nvSpPr>
          <p:cNvPr id="159" name="Shape 159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7523873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Shape 161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62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63" name="Shape 163"/>
          <p:cNvSpPr>
            <a:spLocks noGrp="1"/>
          </p:cNvSpPr>
          <p:nvPr>
            <p:ph type="title"/>
          </p:nvPr>
        </p:nvSpPr>
        <p:spPr>
          <a:xfrm>
            <a:off x="358775" y="1556794"/>
            <a:ext cx="8421690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64" name="Shape 164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1051576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hape 166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6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Shape 168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2127545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Shape 170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71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2" name="Shape 172"/>
          <p:cNvSpPr>
            <a:spLocks noGrp="1"/>
          </p:cNvSpPr>
          <p:nvPr>
            <p:ph type="title"/>
          </p:nvPr>
        </p:nvSpPr>
        <p:spPr>
          <a:xfrm>
            <a:off x="457201" y="0"/>
            <a:ext cx="3008315" cy="1435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16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6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73" name="Shape 173"/>
          <p:cNvSpPr>
            <a:spLocks noGrp="1"/>
          </p:cNvSpPr>
          <p:nvPr>
            <p:ph type="body" idx="1"/>
          </p:nvPr>
        </p:nvSpPr>
        <p:spPr>
          <a:xfrm>
            <a:off x="3575051" y="272801"/>
            <a:ext cx="5111751" cy="6585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7866" indent="-287866">
              <a:lnSpc>
                <a:spcPct val="130000"/>
              </a:lnSpc>
              <a:spcBef>
                <a:spcPts val="0"/>
              </a:spcBef>
              <a:buFontTx/>
              <a:defRPr sz="2600">
                <a:latin typeface="Arial"/>
                <a:ea typeface="Arial"/>
                <a:cs typeface="Arial"/>
                <a:sym typeface="Arial"/>
              </a:defRPr>
            </a:lvl1pPr>
            <a:lvl2pPr marL="643699" indent="-259878">
              <a:lnSpc>
                <a:spcPct val="130000"/>
              </a:lnSpc>
              <a:spcBef>
                <a:spcPts val="0"/>
              </a:spcBef>
              <a:buFontTx/>
              <a:buChar char="▪"/>
              <a:defRPr sz="2600">
                <a:latin typeface="Arial"/>
                <a:ea typeface="Arial"/>
                <a:cs typeface="Arial"/>
                <a:sym typeface="Arial"/>
              </a:defRPr>
            </a:lvl2pPr>
            <a:lvl3pPr marL="1017125" indent="-249484">
              <a:lnSpc>
                <a:spcPct val="130000"/>
              </a:lnSpc>
              <a:spcBef>
                <a:spcPts val="0"/>
              </a:spcBef>
              <a:buFontTx/>
              <a:defRPr sz="2600">
                <a:latin typeface="Arial"/>
                <a:ea typeface="Arial"/>
                <a:cs typeface="Arial"/>
                <a:sym typeface="Arial"/>
              </a:defRPr>
            </a:lvl3pPr>
            <a:lvl4pPr marL="1463318" indent="-311855">
              <a:lnSpc>
                <a:spcPct val="130000"/>
              </a:lnSpc>
              <a:spcBef>
                <a:spcPts val="0"/>
              </a:spcBef>
              <a:buFontTx/>
              <a:defRPr sz="2600">
                <a:latin typeface="Arial"/>
                <a:ea typeface="Arial"/>
                <a:cs typeface="Arial"/>
                <a:sym typeface="Arial"/>
              </a:defRPr>
            </a:lvl4pPr>
            <a:lvl5pPr marL="1847139" indent="-311855">
              <a:lnSpc>
                <a:spcPct val="130000"/>
              </a:lnSpc>
              <a:spcBef>
                <a:spcPts val="0"/>
              </a:spcBef>
              <a:buFontTx/>
              <a:defRPr sz="2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2600"/>
              <a:t>Click to edit Master text styles</a:t>
            </a:r>
          </a:p>
          <a:p>
            <a:pPr lvl="1">
              <a:defRPr sz="1800"/>
            </a:pPr>
            <a:r>
              <a:rPr sz="2600"/>
              <a:t>Second level</a:t>
            </a:r>
          </a:p>
          <a:p>
            <a:pPr lvl="2">
              <a:defRPr sz="1800"/>
            </a:pPr>
            <a:r>
              <a:rPr sz="2600"/>
              <a:t>Third level</a:t>
            </a:r>
          </a:p>
          <a:p>
            <a:pPr lvl="3">
              <a:defRPr sz="1800"/>
            </a:pPr>
            <a:r>
              <a:rPr sz="2600"/>
              <a:t>Fourth level</a:t>
            </a:r>
          </a:p>
          <a:p>
            <a:pPr lvl="4">
              <a:defRPr sz="1800"/>
            </a:pPr>
            <a:r>
              <a:rPr sz="2600"/>
              <a:t>Fifth level</a:t>
            </a:r>
          </a:p>
        </p:txBody>
      </p:sp>
      <p:sp>
        <p:nvSpPr>
          <p:cNvPr id="174" name="Shape 174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2471850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Shape 176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7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Shape 178"/>
          <p:cNvSpPr>
            <a:spLocks noGrp="1"/>
          </p:cNvSpPr>
          <p:nvPr>
            <p:ph type="title"/>
          </p:nvPr>
        </p:nvSpPr>
        <p:spPr>
          <a:xfrm>
            <a:off x="1792288" y="3085887"/>
            <a:ext cx="5486401" cy="22812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16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16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79" name="Shape 179"/>
          <p:cNvSpPr>
            <a:spLocks noGrp="1"/>
          </p:cNvSpPr>
          <p:nvPr>
            <p:ph type="body" idx="1"/>
          </p:nvPr>
        </p:nvSpPr>
        <p:spPr>
          <a:xfrm>
            <a:off x="1792288" y="5367132"/>
            <a:ext cx="5486401" cy="14908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12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1200"/>
              <a:t>Click to edit Master text styles</a:t>
            </a:r>
          </a:p>
        </p:txBody>
      </p:sp>
      <p:sp>
        <p:nvSpPr>
          <p:cNvPr id="180" name="Shape 180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9053021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Shape 182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83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84" name="Shape 184"/>
          <p:cNvSpPr>
            <a:spLocks noGrp="1"/>
          </p:cNvSpPr>
          <p:nvPr>
            <p:ph type="title"/>
          </p:nvPr>
        </p:nvSpPr>
        <p:spPr>
          <a:xfrm>
            <a:off x="358775" y="1320984"/>
            <a:ext cx="8421690" cy="9558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85" name="Shape 185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90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7866" indent="-287866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1pPr>
            <a:lvl2pPr marL="623709" indent="-239887">
              <a:lnSpc>
                <a:spcPct val="130000"/>
              </a:lnSpc>
              <a:spcBef>
                <a:spcPts val="0"/>
              </a:spcBef>
              <a:buFontTx/>
              <a:buChar char="▪"/>
              <a:defRPr sz="1200">
                <a:latin typeface="Arial"/>
                <a:ea typeface="Arial"/>
                <a:cs typeface="Arial"/>
                <a:sym typeface="Arial"/>
              </a:defRPr>
            </a:lvl2pPr>
            <a:lvl3pPr marL="882787" indent="-115146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295396" indent="-143933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4pPr>
            <a:lvl5pPr marL="1679217" indent="-143933">
              <a:lnSpc>
                <a:spcPct val="130000"/>
              </a:lnSpc>
              <a:spcBef>
                <a:spcPts val="0"/>
              </a:spcBef>
              <a:buFontTx/>
              <a:defRPr sz="12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200"/>
              <a:t>Click to edit Master text styles</a:t>
            </a:r>
          </a:p>
          <a:p>
            <a:pPr lvl="1">
              <a:defRPr sz="1800"/>
            </a:pPr>
            <a:r>
              <a:rPr sz="1200"/>
              <a:t>Second level</a:t>
            </a:r>
          </a:p>
          <a:p>
            <a:pPr lvl="2">
              <a:defRPr sz="1800"/>
            </a:pPr>
            <a:r>
              <a:rPr sz="1200"/>
              <a:t>Third level</a:t>
            </a:r>
          </a:p>
          <a:p>
            <a:pPr lvl="3">
              <a:defRPr sz="1800"/>
            </a:pPr>
            <a:r>
              <a:rPr sz="1200"/>
              <a:t>Fourth level</a:t>
            </a:r>
          </a:p>
          <a:p>
            <a:pPr lvl="4">
              <a:defRPr sz="1800"/>
            </a:pPr>
            <a:r>
              <a:rPr sz="1200"/>
              <a:t>Fifth level</a:t>
            </a:r>
          </a:p>
        </p:txBody>
      </p:sp>
      <p:sp>
        <p:nvSpPr>
          <p:cNvPr id="186" name="Shape 186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046706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783372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Shape 188"/>
          <p:cNvSpPr/>
          <p:nvPr/>
        </p:nvSpPr>
        <p:spPr>
          <a:xfrm>
            <a:off x="358775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89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4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90" name="Shape 190"/>
          <p:cNvSpPr>
            <a:spLocks noGrp="1"/>
          </p:cNvSpPr>
          <p:nvPr>
            <p:ph type="title"/>
          </p:nvPr>
        </p:nvSpPr>
        <p:spPr>
          <a:xfrm>
            <a:off x="358775" y="1556794"/>
            <a:ext cx="8421690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0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0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91" name="Shape 191"/>
          <p:cNvSpPr>
            <a:spLocks noGrp="1"/>
          </p:cNvSpPr>
          <p:nvPr>
            <p:ph type="sldNum" sz="quarter" idx="2"/>
          </p:nvPr>
        </p:nvSpPr>
        <p:spPr>
          <a:xfrm>
            <a:off x="8061325" y="6403338"/>
            <a:ext cx="719140" cy="1270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8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7337803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hape 193"/>
          <p:cNvSpPr>
            <a:spLocks noGrp="1"/>
          </p:cNvSpPr>
          <p:nvPr>
            <p:ph type="title"/>
          </p:nvPr>
        </p:nvSpPr>
        <p:spPr>
          <a:xfrm>
            <a:off x="685800" y="1844675"/>
            <a:ext cx="7772400" cy="2041525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194" name="Shape 194"/>
          <p:cNvSpPr>
            <a:spLocks noGrp="1"/>
          </p:cNvSpPr>
          <p:nvPr>
            <p:ph type="body" idx="1"/>
          </p:nvPr>
        </p:nvSpPr>
        <p:spPr>
          <a:xfrm>
            <a:off x="1371600" y="3886200"/>
            <a:ext cx="6400800" cy="29718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Click to edit Master subtitle style</a:t>
            </a:r>
          </a:p>
        </p:txBody>
      </p:sp>
      <p:sp>
        <p:nvSpPr>
          <p:cNvPr id="195" name="Shape 1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6051926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198" name="Shape 19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199" name="Shape 19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99488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Shape 201"/>
          <p:cNvSpPr>
            <a:spLocks noGrp="1"/>
          </p:cNvSpPr>
          <p:nvPr>
            <p:ph type="title"/>
          </p:nvPr>
        </p:nvSpPr>
        <p:spPr>
          <a:xfrm>
            <a:off x="722312" y="4406900"/>
            <a:ext cx="7772401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pPr lvl="0">
              <a:defRPr sz="1800" b="0" cap="none"/>
            </a:pPr>
            <a:r>
              <a:rPr sz="4000" b="1" cap="all"/>
              <a:t>Click to edit Master title style</a:t>
            </a:r>
          </a:p>
        </p:txBody>
      </p:sp>
      <p:sp>
        <p:nvSpPr>
          <p:cNvPr id="202" name="Shape 202"/>
          <p:cNvSpPr>
            <a:spLocks noGrp="1"/>
          </p:cNvSpPr>
          <p:nvPr>
            <p:ph type="body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Click to edit Master text styles</a:t>
            </a:r>
          </a:p>
        </p:txBody>
      </p:sp>
      <p:sp>
        <p:nvSpPr>
          <p:cNvPr id="203" name="Shape 2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7368233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Shape 20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206" name="Shape 206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38600" cy="525780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pPr lvl="0">
              <a:defRPr sz="1800"/>
            </a:pPr>
            <a:r>
              <a:rPr sz="2800"/>
              <a:t>Click to edit Master text styles</a:t>
            </a:r>
          </a:p>
          <a:p>
            <a:pPr lvl="1">
              <a:defRPr sz="1800"/>
            </a:pPr>
            <a:r>
              <a:rPr sz="2800"/>
              <a:t>Second level</a:t>
            </a:r>
          </a:p>
          <a:p>
            <a:pPr lvl="2">
              <a:defRPr sz="1800"/>
            </a:pPr>
            <a:r>
              <a:rPr sz="2800"/>
              <a:t>Third level</a:t>
            </a:r>
          </a:p>
          <a:p>
            <a:pPr lvl="3">
              <a:defRPr sz="1800"/>
            </a:pPr>
            <a:r>
              <a:rPr sz="2800"/>
              <a:t>Fourth level</a:t>
            </a:r>
          </a:p>
          <a:p>
            <a:pPr lvl="4">
              <a:defRPr sz="1800"/>
            </a:pPr>
            <a:r>
              <a:rPr sz="2800"/>
              <a:t>Fifth level</a:t>
            </a:r>
          </a:p>
        </p:txBody>
      </p:sp>
      <p:sp>
        <p:nvSpPr>
          <p:cNvPr id="207" name="Shape 20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3226985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Shape 209"/>
          <p:cNvSpPr>
            <a:spLocks noGrp="1"/>
          </p:cNvSpPr>
          <p:nvPr>
            <p:ph type="title"/>
          </p:nvPr>
        </p:nvSpPr>
        <p:spPr>
          <a:xfrm>
            <a:off x="457200" y="256810"/>
            <a:ext cx="8229600" cy="1178656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210" name="Shape 210"/>
          <p:cNvSpPr>
            <a:spLocks noGrp="1"/>
          </p:cNvSpPr>
          <p:nvPr>
            <p:ph type="body" idx="1"/>
          </p:nvPr>
        </p:nvSpPr>
        <p:spPr>
          <a:xfrm>
            <a:off x="457200" y="1435465"/>
            <a:ext cx="4040188" cy="73941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</a:lstStyle>
          <a:p>
            <a:pPr lvl="0">
              <a:defRPr sz="1800" b="0"/>
            </a:pPr>
            <a:r>
              <a:rPr sz="2400" b="1"/>
              <a:t>Click to edit Master text styles</a:t>
            </a:r>
          </a:p>
        </p:txBody>
      </p:sp>
      <p:sp>
        <p:nvSpPr>
          <p:cNvPr id="211" name="Shape 21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04211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Shape 21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214" name="Shape 2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8580396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7671742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Shape 218"/>
          <p:cNvSpPr>
            <a:spLocks noGrp="1"/>
          </p:cNvSpPr>
          <p:nvPr>
            <p:ph type="title"/>
          </p:nvPr>
        </p:nvSpPr>
        <p:spPr>
          <a:xfrm>
            <a:off x="457200" y="0"/>
            <a:ext cx="3008314" cy="143510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Click to edit Master title style</a:t>
            </a:r>
          </a:p>
        </p:txBody>
      </p:sp>
      <p:sp>
        <p:nvSpPr>
          <p:cNvPr id="219" name="Shape 219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658495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220" name="Shape 22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7605697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Shape 222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Click to edit Master title style</a:t>
            </a:r>
          </a:p>
        </p:txBody>
      </p:sp>
      <p:sp>
        <p:nvSpPr>
          <p:cNvPr id="223" name="Shape 223"/>
          <p:cNvSpPr>
            <a:spLocks noGrp="1"/>
          </p:cNvSpPr>
          <p:nvPr>
            <p:ph type="body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</a:lstStyle>
          <a:p>
            <a:pPr lvl="0">
              <a:defRPr sz="1800"/>
            </a:pPr>
            <a:r>
              <a:rPr sz="1400"/>
              <a:t>Click to edit Master text styles</a:t>
            </a:r>
          </a:p>
        </p:txBody>
      </p:sp>
      <p:sp>
        <p:nvSpPr>
          <p:cNvPr id="224" name="Shape 2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8056952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4"/>
            <a:ext cx="6478588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7253811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Shape 22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227" name="Shape 22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228" name="Shape 22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6643156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hape 230"/>
          <p:cNvSpPr>
            <a:spLocks noGrp="1"/>
          </p:cNvSpPr>
          <p:nvPr>
            <p:ph type="title"/>
          </p:nvPr>
        </p:nvSpPr>
        <p:spPr>
          <a:xfrm>
            <a:off x="6629400" y="0"/>
            <a:ext cx="2057400" cy="6400802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231" name="Shape 231"/>
          <p:cNvSpPr>
            <a:spLocks noGrp="1"/>
          </p:cNvSpPr>
          <p:nvPr>
            <p:ph type="body" idx="1"/>
          </p:nvPr>
        </p:nvSpPr>
        <p:spPr>
          <a:xfrm>
            <a:off x="457200" y="274638"/>
            <a:ext cx="6019800" cy="65833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232" name="Shape 2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4255240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35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36" name="Shape 236"/>
          <p:cNvSpPr>
            <a:spLocks noGrp="1"/>
          </p:cNvSpPr>
          <p:nvPr>
            <p:ph type="title"/>
          </p:nvPr>
        </p:nvSpPr>
        <p:spPr>
          <a:xfrm>
            <a:off x="0" y="2876003"/>
            <a:ext cx="6478588" cy="2876004"/>
          </a:xfrm>
          <a:prstGeom prst="rect">
            <a:avLst/>
          </a:prstGeom>
          <a:solidFill>
            <a:srgbClr val="0872A6"/>
          </a:solidFill>
        </p:spPr>
        <p:txBody>
          <a:bodyPr lIns="201479" tIns="201479" rIns="201479" bIns="201479">
            <a:noAutofit/>
          </a:bodyPr>
          <a:lstStyle>
            <a:lvl1pPr algn="l">
              <a:lnSpc>
                <a:spcPct val="110000"/>
              </a:lnSpc>
              <a:defRPr sz="3500" b="1">
                <a:solidFill>
                  <a:srgbClr val="FFFFFF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500" b="1">
                <a:solidFill>
                  <a:srgbClr val="FFFFFF"/>
                </a:solidFill>
              </a:rPr>
              <a:t>Titelmasterformat durch Klicken bearbeiten</a:t>
            </a:r>
          </a:p>
        </p:txBody>
      </p:sp>
      <p:sp>
        <p:nvSpPr>
          <p:cNvPr id="237" name="Shape 237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0438918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Shape 239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40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41" name="Shape 241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42" name="Shape 242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243" name="Shape 243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9569604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Shape 245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46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47" name="Shape 247"/>
          <p:cNvSpPr>
            <a:spLocks noGrp="1"/>
          </p:cNvSpPr>
          <p:nvPr>
            <p:ph type="title"/>
          </p:nvPr>
        </p:nvSpPr>
        <p:spPr>
          <a:xfrm>
            <a:off x="722312" y="4407053"/>
            <a:ext cx="7772401" cy="24509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500" b="1" cap="all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4500" b="1" cap="all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48" name="Shape 248"/>
          <p:cNvSpPr>
            <a:spLocks noGrp="1"/>
          </p:cNvSpPr>
          <p:nvPr>
            <p:ph type="body" idx="1"/>
          </p:nvPr>
        </p:nvSpPr>
        <p:spPr>
          <a:xfrm>
            <a:off x="722312" y="1193226"/>
            <a:ext cx="7772401" cy="32138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2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2200"/>
              <a:t>Click to edit Master text styles</a:t>
            </a:r>
          </a:p>
        </p:txBody>
      </p:sp>
      <p:sp>
        <p:nvSpPr>
          <p:cNvPr id="249" name="Shape 249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3393607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Shape 251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52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53" name="Shape 253"/>
          <p:cNvSpPr>
            <a:spLocks noGrp="1"/>
          </p:cNvSpPr>
          <p:nvPr>
            <p:ph type="title"/>
          </p:nvPr>
        </p:nvSpPr>
        <p:spPr>
          <a:xfrm>
            <a:off x="358775" y="1140561"/>
            <a:ext cx="8421689" cy="1316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54" name="Shape 254"/>
          <p:cNvSpPr>
            <a:spLocks noGrp="1"/>
          </p:cNvSpPr>
          <p:nvPr>
            <p:ph type="body" idx="1"/>
          </p:nvPr>
        </p:nvSpPr>
        <p:spPr>
          <a:xfrm>
            <a:off x="358775" y="2457291"/>
            <a:ext cx="4133851" cy="44007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1pPr>
            <a:lvl2pPr marL="890843" indent="-379082">
              <a:lnSpc>
                <a:spcPct val="130000"/>
              </a:lnSpc>
              <a:spcBef>
                <a:spcPts val="0"/>
              </a:spcBef>
              <a:buFontTx/>
              <a:buChar char="▪"/>
              <a:defRPr>
                <a:latin typeface="Arial"/>
                <a:ea typeface="Arial"/>
                <a:cs typeface="Arial"/>
                <a:sym typeface="Arial"/>
              </a:defRPr>
            </a:lvl2pPr>
            <a:lvl3pPr marL="1395712" indent="-372190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3pPr>
            <a:lvl4pPr marL="1944693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4pPr>
            <a:lvl5pPr marL="2456454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255" name="Shape 255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9265507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Shape 257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58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59" name="Shape 259"/>
          <p:cNvSpPr>
            <a:spLocks noGrp="1"/>
          </p:cNvSpPr>
          <p:nvPr>
            <p:ph type="title"/>
          </p:nvPr>
        </p:nvSpPr>
        <p:spPr>
          <a:xfrm>
            <a:off x="457200" y="256928"/>
            <a:ext cx="8229600" cy="11779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60" name="Shape 260"/>
          <p:cNvSpPr>
            <a:spLocks noGrp="1"/>
          </p:cNvSpPr>
          <p:nvPr>
            <p:ph type="body" idx="1"/>
          </p:nvPr>
        </p:nvSpPr>
        <p:spPr>
          <a:xfrm>
            <a:off x="457200" y="1434840"/>
            <a:ext cx="4040188" cy="73908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7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 b="0"/>
            </a:pPr>
            <a:r>
              <a:rPr sz="2700" b="1"/>
              <a:t>Click to edit Master text styles</a:t>
            </a:r>
          </a:p>
        </p:txBody>
      </p:sp>
      <p:sp>
        <p:nvSpPr>
          <p:cNvPr id="261" name="Shape 261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5768369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hape 263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64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65" name="Shape 265"/>
          <p:cNvSpPr>
            <a:spLocks noGrp="1"/>
          </p:cNvSpPr>
          <p:nvPr>
            <p:ph type="title"/>
          </p:nvPr>
        </p:nvSpPr>
        <p:spPr>
          <a:xfrm>
            <a:off x="358775" y="1556791"/>
            <a:ext cx="8421689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66" name="Shape 266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3807855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Shape 268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69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70" name="Shape 270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018217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Shape 272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73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74" name="Shape 274"/>
          <p:cNvSpPr>
            <a:spLocks noGrp="1"/>
          </p:cNvSpPr>
          <p:nvPr>
            <p:ph type="title"/>
          </p:nvPr>
        </p:nvSpPr>
        <p:spPr>
          <a:xfrm>
            <a:off x="457201" y="0"/>
            <a:ext cx="3008314" cy="1435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75" name="Shape 275"/>
          <p:cNvSpPr>
            <a:spLocks noGrp="1"/>
          </p:cNvSpPr>
          <p:nvPr>
            <p:ph type="body" idx="1"/>
          </p:nvPr>
        </p:nvSpPr>
        <p:spPr>
          <a:xfrm>
            <a:off x="3575051" y="272798"/>
            <a:ext cx="5111751" cy="65852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1pPr>
            <a:lvl2pPr marL="861598" indent="-349837">
              <a:lnSpc>
                <a:spcPct val="130000"/>
              </a:lnSpc>
              <a:spcBef>
                <a:spcPts val="0"/>
              </a:spcBef>
              <a:buFontTx/>
              <a:buChar char="▪"/>
              <a:defRPr sz="3500">
                <a:latin typeface="Arial"/>
                <a:ea typeface="Arial"/>
                <a:cs typeface="Arial"/>
                <a:sym typeface="Arial"/>
              </a:defRPr>
            </a:lvl2pPr>
            <a:lvl3pPr marL="1355219" indent="-331697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3pPr>
            <a:lvl4pPr marL="1942367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4pPr>
            <a:lvl5pPr marL="2454128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500"/>
              <a:t>Click to edit Master text styles</a:t>
            </a:r>
          </a:p>
          <a:p>
            <a:pPr lvl="1">
              <a:defRPr sz="1800"/>
            </a:pPr>
            <a:r>
              <a:rPr sz="3500"/>
              <a:t>Second level</a:t>
            </a:r>
          </a:p>
          <a:p>
            <a:pPr lvl="2">
              <a:defRPr sz="1800"/>
            </a:pPr>
            <a:r>
              <a:rPr sz="3500"/>
              <a:t>Third level</a:t>
            </a:r>
          </a:p>
          <a:p>
            <a:pPr lvl="3">
              <a:defRPr sz="1800"/>
            </a:pPr>
            <a:r>
              <a:rPr sz="3500"/>
              <a:t>Fourth level</a:t>
            </a:r>
          </a:p>
          <a:p>
            <a:pPr lvl="4">
              <a:defRPr sz="1800"/>
            </a:pPr>
            <a:r>
              <a:rPr sz="3500"/>
              <a:t>Fifth level</a:t>
            </a:r>
          </a:p>
        </p:txBody>
      </p:sp>
      <p:sp>
        <p:nvSpPr>
          <p:cNvPr id="276" name="Shape 276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027272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5FDF4-D2FE-483D-8AFC-13EC22B32F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55444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Shape 278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79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80" name="Shape 280"/>
          <p:cNvSpPr>
            <a:spLocks noGrp="1"/>
          </p:cNvSpPr>
          <p:nvPr>
            <p:ph type="title"/>
          </p:nvPr>
        </p:nvSpPr>
        <p:spPr>
          <a:xfrm>
            <a:off x="1792288" y="3085887"/>
            <a:ext cx="5486401" cy="22812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81" name="Shape 281"/>
          <p:cNvSpPr>
            <a:spLocks noGrp="1"/>
          </p:cNvSpPr>
          <p:nvPr>
            <p:ph type="body" idx="1"/>
          </p:nvPr>
        </p:nvSpPr>
        <p:spPr>
          <a:xfrm>
            <a:off x="1792288" y="5367130"/>
            <a:ext cx="5486401" cy="14908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</p:txBody>
      </p:sp>
      <p:sp>
        <p:nvSpPr>
          <p:cNvPr id="282" name="Shape 282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1767758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284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85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86" name="Shape 286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87" name="Shape 287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288" name="Shape 288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2928781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Shape 290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91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92" name="Shape 292"/>
          <p:cNvSpPr>
            <a:spLocks noGrp="1"/>
          </p:cNvSpPr>
          <p:nvPr>
            <p:ph type="title"/>
          </p:nvPr>
        </p:nvSpPr>
        <p:spPr>
          <a:xfrm>
            <a:off x="358775" y="1556791"/>
            <a:ext cx="8421689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93" name="Shape 293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43221549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6"/>
            <a:ext cx="77724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2101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1"/>
            <a:ext cx="413385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457291"/>
            <a:ext cx="4135438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77933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3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279"/>
            <a:ext cx="4041775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3921"/>
            <a:ext cx="4041775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151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95890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97802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2799"/>
            <a:ext cx="3008313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2799"/>
            <a:ext cx="5111750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888"/>
            <a:ext cx="3008313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4546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5FDF4-D2FE-483D-8AFC-13EC22B32F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8936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0"/>
            <a:ext cx="54864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9173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282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7627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4"/>
            <a:ext cx="6478588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658033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5FDF4-D2FE-483D-8AFC-13EC22B32F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97496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6"/>
            <a:ext cx="77724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52679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1"/>
            <a:ext cx="413385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457291"/>
            <a:ext cx="4135438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2829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3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279"/>
            <a:ext cx="4041775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3921"/>
            <a:ext cx="4041775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654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503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877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3375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8"/>
            <a:ext cx="7772400" cy="1499327"/>
          </a:xfrm>
        </p:spPr>
        <p:txBody>
          <a:bodyPr anchor="b"/>
          <a:lstStyle>
            <a:lvl1pPr marL="0" indent="0">
              <a:buNone/>
              <a:defRPr sz="1650"/>
            </a:lvl1pPr>
            <a:lvl2pPr marL="383821" indent="0">
              <a:buNone/>
              <a:defRPr sz="1500"/>
            </a:lvl2pPr>
            <a:lvl3pPr marL="767642" indent="0">
              <a:buNone/>
              <a:defRPr sz="1350"/>
            </a:lvl3pPr>
            <a:lvl4pPr marL="1151464" indent="0">
              <a:buNone/>
              <a:defRPr sz="1200"/>
            </a:lvl4pPr>
            <a:lvl5pPr marL="1535285" indent="0">
              <a:buNone/>
              <a:defRPr sz="1200"/>
            </a:lvl5pPr>
            <a:lvl6pPr marL="1919105" indent="0">
              <a:buNone/>
              <a:defRPr sz="1200"/>
            </a:lvl6pPr>
            <a:lvl7pPr marL="2302926" indent="0">
              <a:buNone/>
              <a:defRPr sz="1200"/>
            </a:lvl7pPr>
            <a:lvl8pPr marL="2686748" indent="0">
              <a:buNone/>
              <a:defRPr sz="1200"/>
            </a:lvl8pPr>
            <a:lvl9pPr marL="3070569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26636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2799"/>
            <a:ext cx="3008313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2799"/>
            <a:ext cx="5111750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888"/>
            <a:ext cx="3008313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9347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0"/>
            <a:ext cx="54864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3961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80586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3636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32F0526-AD15-40EF-B4A3-DB7EAEFFB321}" type="datetimeFigureOut">
              <a:rPr lang="en-US" sz="16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016</a:t>
            </a:fld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A4A02-1776-4C44-AC18-934BAE13F4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3217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222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008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6026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2891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8095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3"/>
            <a:ext cx="4133850" cy="3368731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65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6" y="2457293"/>
            <a:ext cx="4135438" cy="3368731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65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0137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8302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950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941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8571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036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6776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92616" y="6506743"/>
            <a:ext cx="719139" cy="306633"/>
          </a:xfrm>
          <a:ln/>
        </p:spPr>
        <p:txBody>
          <a:bodyPr anchor="b"/>
          <a:lstStyle>
            <a:lvl1pPr algn="r">
              <a:defRPr/>
            </a:lvl1pPr>
          </a:lstStyle>
          <a:p>
            <a:pPr>
              <a:defRPr/>
            </a:pPr>
            <a:fld id="{E565FDF4-D2FE-483D-8AFC-13EC22B32FD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9010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6"/>
            <a:ext cx="77724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4351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1"/>
            <a:ext cx="413385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457291"/>
            <a:ext cx="4135438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79496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3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279"/>
            <a:ext cx="4041775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3921"/>
            <a:ext cx="4041775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5913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5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3821" indent="0">
              <a:buNone/>
              <a:defRPr sz="1650" b="1"/>
            </a:lvl2pPr>
            <a:lvl3pPr marL="767642" indent="0">
              <a:buNone/>
              <a:defRPr sz="1500" b="1"/>
            </a:lvl3pPr>
            <a:lvl4pPr marL="1151464" indent="0">
              <a:buNone/>
              <a:defRPr sz="1350" b="1"/>
            </a:lvl4pPr>
            <a:lvl5pPr marL="1535285" indent="0">
              <a:buNone/>
              <a:defRPr sz="1350" b="1"/>
            </a:lvl5pPr>
            <a:lvl6pPr marL="1919105" indent="0">
              <a:buNone/>
              <a:defRPr sz="1350" b="1"/>
            </a:lvl6pPr>
            <a:lvl7pPr marL="2302926" indent="0">
              <a:buNone/>
              <a:defRPr sz="1350" b="1"/>
            </a:lvl7pPr>
            <a:lvl8pPr marL="2686748" indent="0">
              <a:buNone/>
              <a:defRPr sz="1350" b="1"/>
            </a:lvl8pPr>
            <a:lvl9pPr marL="3070569" indent="0">
              <a:buNone/>
              <a:defRPr sz="13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025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279"/>
            <a:ext cx="4041775" cy="63864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3821" indent="0">
              <a:buNone/>
              <a:defRPr sz="1650" b="1"/>
            </a:lvl2pPr>
            <a:lvl3pPr marL="767642" indent="0">
              <a:buNone/>
              <a:defRPr sz="1500" b="1"/>
            </a:lvl3pPr>
            <a:lvl4pPr marL="1151464" indent="0">
              <a:buNone/>
              <a:defRPr sz="1350" b="1"/>
            </a:lvl4pPr>
            <a:lvl5pPr marL="1535285" indent="0">
              <a:buNone/>
              <a:defRPr sz="1350" b="1"/>
            </a:lvl5pPr>
            <a:lvl6pPr marL="1919105" indent="0">
              <a:buNone/>
              <a:defRPr sz="1350" b="1"/>
            </a:lvl6pPr>
            <a:lvl7pPr marL="2302926" indent="0">
              <a:buNone/>
              <a:defRPr sz="1350" b="1"/>
            </a:lvl7pPr>
            <a:lvl8pPr marL="2686748" indent="0">
              <a:buNone/>
              <a:defRPr sz="1350" b="1"/>
            </a:lvl8pPr>
            <a:lvl9pPr marL="3070569" indent="0">
              <a:buNone/>
              <a:defRPr sz="13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3921"/>
            <a:ext cx="4041775" cy="3952390"/>
          </a:xfrm>
        </p:spPr>
        <p:txBody>
          <a:bodyPr/>
          <a:lstStyle>
            <a:lvl1pPr>
              <a:defRPr sz="2025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893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27445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9919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2799"/>
            <a:ext cx="3008313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2799"/>
            <a:ext cx="5111750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888"/>
            <a:ext cx="3008313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6018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0"/>
            <a:ext cx="54864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38096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532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74290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4"/>
            <a:ext cx="6478588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047679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5FDF4-D2FE-483D-8AFC-13EC22B32F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60161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6"/>
            <a:ext cx="77724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95665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1"/>
            <a:ext cx="413385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457291"/>
            <a:ext cx="4135438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6870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29387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3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279"/>
            <a:ext cx="4041775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3921"/>
            <a:ext cx="4041775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8569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75918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59926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2799"/>
            <a:ext cx="3008313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2799"/>
            <a:ext cx="5111750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888"/>
            <a:ext cx="3008313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1888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0"/>
            <a:ext cx="54864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152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2090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47372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32F0526-AD15-40EF-B4A3-DB7EAEFFB321}" type="datetimeFigureOut">
              <a:rPr lang="en-US" smtClean="0">
                <a:solidFill>
                  <a:srgbClr val="000000"/>
                </a:solidFill>
              </a:rPr>
              <a:pPr/>
              <a:t>3/9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EA4A02-1776-4C44-AC18-934BAE13F4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11967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6"/>
            <a:ext cx="6478588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262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06549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5FDF4-D2FE-483D-8AFC-13EC22B32F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1164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87147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54"/>
            <a:ext cx="7772400" cy="1361872"/>
          </a:xfrm>
        </p:spPr>
        <p:txBody>
          <a:bodyPr anchor="t"/>
          <a:lstStyle>
            <a:lvl1pPr algn="l">
              <a:defRPr sz="3375" b="1" cap="all"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7728"/>
            <a:ext cx="7772400" cy="1499327"/>
          </a:xfrm>
        </p:spPr>
        <p:txBody>
          <a:bodyPr anchor="b"/>
          <a:lstStyle>
            <a:lvl1pPr marL="0" indent="0">
              <a:buNone/>
              <a:defRPr sz="1650"/>
            </a:lvl1pPr>
            <a:lvl2pPr marL="383821" indent="0">
              <a:buNone/>
              <a:defRPr sz="1500"/>
            </a:lvl2pPr>
            <a:lvl3pPr marL="767642" indent="0">
              <a:buNone/>
              <a:defRPr sz="1350"/>
            </a:lvl3pPr>
            <a:lvl4pPr marL="1151464" indent="0">
              <a:buNone/>
              <a:defRPr sz="1200"/>
            </a:lvl4pPr>
            <a:lvl5pPr marL="1535285" indent="0">
              <a:buNone/>
              <a:defRPr sz="1200"/>
            </a:lvl5pPr>
            <a:lvl6pPr marL="1919105" indent="0">
              <a:buNone/>
              <a:defRPr sz="1200"/>
            </a:lvl6pPr>
            <a:lvl7pPr marL="2302926" indent="0">
              <a:buNone/>
              <a:defRPr sz="1200"/>
            </a:lvl7pPr>
            <a:lvl8pPr marL="2686748" indent="0">
              <a:buNone/>
              <a:defRPr sz="1200"/>
            </a:lvl8pPr>
            <a:lvl9pPr marL="3070569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D858B-B45B-4EC9-B158-BD1953AAA5B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402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2457293"/>
            <a:ext cx="4133850" cy="3368731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65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6" y="2457293"/>
            <a:ext cx="4135438" cy="3368731"/>
          </a:xfrm>
        </p:spPr>
        <p:txBody>
          <a:bodyPr/>
          <a:lstStyle>
            <a:lvl1pPr>
              <a:defRPr sz="2400"/>
            </a:lvl1pPr>
            <a:lvl2pPr>
              <a:defRPr sz="2025"/>
            </a:lvl2pPr>
            <a:lvl3pPr>
              <a:defRPr sz="165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E8351-6A66-4547-B069-85DE88F209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2844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915"/>
            <a:ext cx="82296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279"/>
            <a:ext cx="4040188" cy="63864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3821" indent="0">
              <a:buNone/>
              <a:defRPr sz="1650" b="1"/>
            </a:lvl2pPr>
            <a:lvl3pPr marL="767642" indent="0">
              <a:buNone/>
              <a:defRPr sz="1500" b="1"/>
            </a:lvl3pPr>
            <a:lvl4pPr marL="1151464" indent="0">
              <a:buNone/>
              <a:defRPr sz="1350" b="1"/>
            </a:lvl4pPr>
            <a:lvl5pPr marL="1535285" indent="0">
              <a:buNone/>
              <a:defRPr sz="1350" b="1"/>
            </a:lvl5pPr>
            <a:lvl6pPr marL="1919105" indent="0">
              <a:buNone/>
              <a:defRPr sz="1350" b="1"/>
            </a:lvl6pPr>
            <a:lvl7pPr marL="2302926" indent="0">
              <a:buNone/>
              <a:defRPr sz="1350" b="1"/>
            </a:lvl7pPr>
            <a:lvl8pPr marL="2686748" indent="0">
              <a:buNone/>
              <a:defRPr sz="1350" b="1"/>
            </a:lvl8pPr>
            <a:lvl9pPr marL="3070569" indent="0">
              <a:buNone/>
              <a:defRPr sz="13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3921"/>
            <a:ext cx="4040188" cy="3952390"/>
          </a:xfrm>
        </p:spPr>
        <p:txBody>
          <a:bodyPr/>
          <a:lstStyle>
            <a:lvl1pPr>
              <a:defRPr sz="2025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279"/>
            <a:ext cx="4041775" cy="63864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3821" indent="0">
              <a:buNone/>
              <a:defRPr sz="1650" b="1"/>
            </a:lvl2pPr>
            <a:lvl3pPr marL="767642" indent="0">
              <a:buNone/>
              <a:defRPr sz="1500" b="1"/>
            </a:lvl3pPr>
            <a:lvl4pPr marL="1151464" indent="0">
              <a:buNone/>
              <a:defRPr sz="1350" b="1"/>
            </a:lvl4pPr>
            <a:lvl5pPr marL="1535285" indent="0">
              <a:buNone/>
              <a:defRPr sz="1350" b="1"/>
            </a:lvl5pPr>
            <a:lvl6pPr marL="1919105" indent="0">
              <a:buNone/>
              <a:defRPr sz="1350" b="1"/>
            </a:lvl6pPr>
            <a:lvl7pPr marL="2302926" indent="0">
              <a:buNone/>
              <a:defRPr sz="1350" b="1"/>
            </a:lvl7pPr>
            <a:lvl8pPr marL="2686748" indent="0">
              <a:buNone/>
              <a:defRPr sz="1350" b="1"/>
            </a:lvl8pPr>
            <a:lvl9pPr marL="3070569" indent="0">
              <a:buNone/>
              <a:defRPr sz="135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3921"/>
            <a:ext cx="4041775" cy="3952390"/>
          </a:xfrm>
        </p:spPr>
        <p:txBody>
          <a:bodyPr/>
          <a:lstStyle>
            <a:lvl1pPr>
              <a:defRPr sz="2025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9B8-B7AA-41FD-9158-67A13BF8F6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4859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D26DD-1E7A-4C5A-8CB3-F70951A474C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5027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96AF0-B8A5-4318-89A2-293B505212A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3331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2799"/>
            <a:ext cx="3008313" cy="1163090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72801"/>
            <a:ext cx="5111750" cy="5853513"/>
          </a:xfrm>
        </p:spPr>
        <p:txBody>
          <a:bodyPr/>
          <a:lstStyle>
            <a:lvl1pPr>
              <a:defRPr sz="2625"/>
            </a:lvl1pPr>
            <a:lvl2pPr>
              <a:defRPr sz="2400"/>
            </a:lvl2pPr>
            <a:lvl3pPr>
              <a:defRPr sz="2025"/>
            </a:lvl3pPr>
            <a:lvl4pPr>
              <a:defRPr sz="1650"/>
            </a:lvl4pPr>
            <a:lvl5pPr>
              <a:defRPr sz="165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888"/>
            <a:ext cx="3008313" cy="4690424"/>
          </a:xfrm>
        </p:spPr>
        <p:txBody>
          <a:bodyPr/>
          <a:lstStyle>
            <a:lvl1pPr marL="0" indent="0">
              <a:buNone/>
              <a:defRPr sz="1200"/>
            </a:lvl1pPr>
            <a:lvl2pPr marL="383821" indent="0">
              <a:buNone/>
              <a:defRPr sz="975"/>
            </a:lvl2pPr>
            <a:lvl3pPr marL="767642" indent="0">
              <a:buNone/>
              <a:defRPr sz="825"/>
            </a:lvl3pPr>
            <a:lvl4pPr marL="1151464" indent="0">
              <a:buNone/>
              <a:defRPr sz="750"/>
            </a:lvl4pPr>
            <a:lvl5pPr marL="1535285" indent="0">
              <a:buNone/>
              <a:defRPr sz="750"/>
            </a:lvl5pPr>
            <a:lvl6pPr marL="1919105" indent="0">
              <a:buNone/>
              <a:defRPr sz="750"/>
            </a:lvl6pPr>
            <a:lvl7pPr marL="2302926" indent="0">
              <a:buNone/>
              <a:defRPr sz="750"/>
            </a:lvl7pPr>
            <a:lvl8pPr marL="2686748" indent="0">
              <a:buNone/>
              <a:defRPr sz="750"/>
            </a:lvl8pPr>
            <a:lvl9pPr marL="3070569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87859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2625"/>
            </a:lvl1pPr>
            <a:lvl2pPr marL="383821" indent="0">
              <a:buNone/>
              <a:defRPr sz="2400"/>
            </a:lvl2pPr>
            <a:lvl3pPr marL="767642" indent="0">
              <a:buNone/>
              <a:defRPr sz="2025"/>
            </a:lvl3pPr>
            <a:lvl4pPr marL="1151464" indent="0">
              <a:buNone/>
              <a:defRPr sz="1650"/>
            </a:lvl4pPr>
            <a:lvl5pPr marL="1535285" indent="0">
              <a:buNone/>
              <a:defRPr sz="1650"/>
            </a:lvl5pPr>
            <a:lvl6pPr marL="1919105" indent="0">
              <a:buNone/>
              <a:defRPr sz="1650"/>
            </a:lvl6pPr>
            <a:lvl7pPr marL="2302926" indent="0">
              <a:buNone/>
              <a:defRPr sz="1650"/>
            </a:lvl7pPr>
            <a:lvl8pPr marL="2686748" indent="0">
              <a:buNone/>
              <a:defRPr sz="1650"/>
            </a:lvl8pPr>
            <a:lvl9pPr marL="3070569" indent="0">
              <a:buNone/>
              <a:defRPr sz="165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2"/>
            <a:ext cx="5486400" cy="805705"/>
          </a:xfrm>
        </p:spPr>
        <p:txBody>
          <a:bodyPr/>
          <a:lstStyle>
            <a:lvl1pPr marL="0" indent="0">
              <a:buNone/>
              <a:defRPr sz="1200"/>
            </a:lvl1pPr>
            <a:lvl2pPr marL="383821" indent="0">
              <a:buNone/>
              <a:defRPr sz="975"/>
            </a:lvl2pPr>
            <a:lvl3pPr marL="767642" indent="0">
              <a:buNone/>
              <a:defRPr sz="825"/>
            </a:lvl3pPr>
            <a:lvl4pPr marL="1151464" indent="0">
              <a:buNone/>
              <a:defRPr sz="750"/>
            </a:lvl4pPr>
            <a:lvl5pPr marL="1535285" indent="0">
              <a:buNone/>
              <a:defRPr sz="750"/>
            </a:lvl5pPr>
            <a:lvl6pPr marL="1919105" indent="0">
              <a:buNone/>
              <a:defRPr sz="750"/>
            </a:lvl6pPr>
            <a:lvl7pPr marL="2302926" indent="0">
              <a:buNone/>
              <a:defRPr sz="750"/>
            </a:lvl7pPr>
            <a:lvl8pPr marL="2686748" indent="0">
              <a:buNone/>
              <a:defRPr sz="750"/>
            </a:lvl8pPr>
            <a:lvl9pPr marL="3070569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67525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8E9B5-4524-4854-B31C-19DC72F8AF9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75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C20E53-3621-42ED-A9C5-9CBA2B2CF1F0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26967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0" y="2876003"/>
            <a:ext cx="6478588" cy="2876004"/>
          </a:xfrm>
          <a:prstGeom prst="rect">
            <a:avLst/>
          </a:prstGeom>
          <a:solidFill>
            <a:srgbClr val="0872A6"/>
          </a:solidFill>
        </p:spPr>
        <p:txBody>
          <a:bodyPr lIns="201479" tIns="201479" rIns="201479" bIns="201479">
            <a:noAutofit/>
          </a:bodyPr>
          <a:lstStyle>
            <a:lvl1pPr algn="l">
              <a:lnSpc>
                <a:spcPct val="110000"/>
              </a:lnSpc>
              <a:defRPr sz="3500" b="1">
                <a:solidFill>
                  <a:srgbClr val="FFFFFF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500" b="1">
                <a:solidFill>
                  <a:srgbClr val="FFFFFF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822330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2799"/>
            <a:ext cx="3008313" cy="1163090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72801"/>
            <a:ext cx="5111750" cy="5853513"/>
          </a:xfrm>
        </p:spPr>
        <p:txBody>
          <a:bodyPr/>
          <a:lstStyle>
            <a:lvl1pPr>
              <a:defRPr sz="2625"/>
            </a:lvl1pPr>
            <a:lvl2pPr>
              <a:defRPr sz="2400"/>
            </a:lvl2pPr>
            <a:lvl3pPr>
              <a:defRPr sz="2025"/>
            </a:lvl3pPr>
            <a:lvl4pPr>
              <a:defRPr sz="1650"/>
            </a:lvl4pPr>
            <a:lvl5pPr>
              <a:defRPr sz="1650"/>
            </a:lvl5pPr>
            <a:lvl6pPr>
              <a:defRPr sz="1650"/>
            </a:lvl6pPr>
            <a:lvl7pPr>
              <a:defRPr sz="1650"/>
            </a:lvl7pPr>
            <a:lvl8pPr>
              <a:defRPr sz="1650"/>
            </a:lvl8pPr>
            <a:lvl9pPr>
              <a:defRPr sz="16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888"/>
            <a:ext cx="3008313" cy="4690424"/>
          </a:xfrm>
        </p:spPr>
        <p:txBody>
          <a:bodyPr/>
          <a:lstStyle>
            <a:lvl1pPr marL="0" indent="0">
              <a:buNone/>
              <a:defRPr sz="1200"/>
            </a:lvl1pPr>
            <a:lvl2pPr marL="383821" indent="0">
              <a:buNone/>
              <a:defRPr sz="975"/>
            </a:lvl2pPr>
            <a:lvl3pPr marL="767642" indent="0">
              <a:buNone/>
              <a:defRPr sz="825"/>
            </a:lvl3pPr>
            <a:lvl4pPr marL="1151464" indent="0">
              <a:buNone/>
              <a:defRPr sz="750"/>
            </a:lvl4pPr>
            <a:lvl5pPr marL="1535285" indent="0">
              <a:buNone/>
              <a:defRPr sz="750"/>
            </a:lvl5pPr>
            <a:lvl6pPr marL="1919105" indent="0">
              <a:buNone/>
              <a:defRPr sz="750"/>
            </a:lvl6pPr>
            <a:lvl7pPr marL="2302926" indent="0">
              <a:buNone/>
              <a:defRPr sz="750"/>
            </a:lvl7pPr>
            <a:lvl8pPr marL="2686748" indent="0">
              <a:buNone/>
              <a:defRPr sz="750"/>
            </a:lvl8pPr>
            <a:lvl9pPr marL="3070569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3C5377-ADEA-4F0C-ABF6-5E023DB3FF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3660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1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12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3" name="Shape 13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14" name="Shape 14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916313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722312" y="4407053"/>
            <a:ext cx="7772401" cy="24509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500" b="1" cap="all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4500" b="1" cap="all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xfrm>
            <a:off x="722312" y="1193226"/>
            <a:ext cx="7772401" cy="32138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2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2200"/>
              <a:t>Click to edit Master text styles</a:t>
            </a:r>
          </a:p>
        </p:txBody>
      </p:sp>
      <p:sp>
        <p:nvSpPr>
          <p:cNvPr id="20" name="Shape 20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0805897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3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Shape 24"/>
          <p:cNvSpPr>
            <a:spLocks noGrp="1"/>
          </p:cNvSpPr>
          <p:nvPr>
            <p:ph type="title"/>
          </p:nvPr>
        </p:nvSpPr>
        <p:spPr>
          <a:xfrm>
            <a:off x="358775" y="1140561"/>
            <a:ext cx="8421689" cy="1316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25" name="Shape 25"/>
          <p:cNvSpPr>
            <a:spLocks noGrp="1"/>
          </p:cNvSpPr>
          <p:nvPr>
            <p:ph type="body" idx="1"/>
          </p:nvPr>
        </p:nvSpPr>
        <p:spPr>
          <a:xfrm>
            <a:off x="358775" y="2457291"/>
            <a:ext cx="4133851" cy="44007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1pPr>
            <a:lvl2pPr marL="890843" indent="-379082">
              <a:lnSpc>
                <a:spcPct val="130000"/>
              </a:lnSpc>
              <a:spcBef>
                <a:spcPts val="0"/>
              </a:spcBef>
              <a:buFontTx/>
              <a:buChar char="▪"/>
              <a:defRPr>
                <a:latin typeface="Arial"/>
                <a:ea typeface="Arial"/>
                <a:cs typeface="Arial"/>
                <a:sym typeface="Arial"/>
              </a:defRPr>
            </a:lvl2pPr>
            <a:lvl3pPr marL="1395712" indent="-372190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3pPr>
            <a:lvl4pPr marL="1944693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4pPr>
            <a:lvl5pPr marL="2456454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3772797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Shape 28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29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457200" y="256928"/>
            <a:ext cx="8229600" cy="11779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31" name="Shape 31"/>
          <p:cNvSpPr>
            <a:spLocks noGrp="1"/>
          </p:cNvSpPr>
          <p:nvPr>
            <p:ph type="body" idx="1"/>
          </p:nvPr>
        </p:nvSpPr>
        <p:spPr>
          <a:xfrm>
            <a:off x="457200" y="1434840"/>
            <a:ext cx="4040188" cy="73908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7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 b="0"/>
            </a:pPr>
            <a:r>
              <a:rPr sz="2700" b="1"/>
              <a:t>Click to edit Master text styles</a:t>
            </a:r>
          </a:p>
        </p:txBody>
      </p:sp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6530568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35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Shape 36"/>
          <p:cNvSpPr>
            <a:spLocks noGrp="1"/>
          </p:cNvSpPr>
          <p:nvPr>
            <p:ph type="title"/>
          </p:nvPr>
        </p:nvSpPr>
        <p:spPr>
          <a:xfrm>
            <a:off x="358775" y="1556791"/>
            <a:ext cx="8421689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37" name="Shape 37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9350627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40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0627157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44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Shape 45"/>
          <p:cNvSpPr>
            <a:spLocks noGrp="1"/>
          </p:cNvSpPr>
          <p:nvPr>
            <p:ph type="title"/>
          </p:nvPr>
        </p:nvSpPr>
        <p:spPr>
          <a:xfrm>
            <a:off x="457201" y="0"/>
            <a:ext cx="3008314" cy="1435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46" name="Shape 46"/>
          <p:cNvSpPr>
            <a:spLocks noGrp="1"/>
          </p:cNvSpPr>
          <p:nvPr>
            <p:ph type="body" idx="1"/>
          </p:nvPr>
        </p:nvSpPr>
        <p:spPr>
          <a:xfrm>
            <a:off x="3575051" y="272798"/>
            <a:ext cx="5111751" cy="65852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1pPr>
            <a:lvl2pPr marL="861598" indent="-349837">
              <a:lnSpc>
                <a:spcPct val="130000"/>
              </a:lnSpc>
              <a:spcBef>
                <a:spcPts val="0"/>
              </a:spcBef>
              <a:buFontTx/>
              <a:buChar char="▪"/>
              <a:defRPr sz="3500">
                <a:latin typeface="Arial"/>
                <a:ea typeface="Arial"/>
                <a:cs typeface="Arial"/>
                <a:sym typeface="Arial"/>
              </a:defRPr>
            </a:lvl2pPr>
            <a:lvl3pPr marL="1355219" indent="-331697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3pPr>
            <a:lvl4pPr marL="1942367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4pPr>
            <a:lvl5pPr marL="2454128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500"/>
              <a:t>Click to edit Master text styles</a:t>
            </a:r>
          </a:p>
          <a:p>
            <a:pPr lvl="1">
              <a:defRPr sz="1800"/>
            </a:pPr>
            <a:r>
              <a:rPr sz="3500"/>
              <a:t>Second level</a:t>
            </a:r>
          </a:p>
          <a:p>
            <a:pPr lvl="2">
              <a:defRPr sz="1800"/>
            </a:pPr>
            <a:r>
              <a:rPr sz="3500"/>
              <a:t>Third level</a:t>
            </a:r>
          </a:p>
          <a:p>
            <a:pPr lvl="3">
              <a:defRPr sz="1800"/>
            </a:pPr>
            <a:r>
              <a:rPr sz="3500"/>
              <a:t>Fourth level</a:t>
            </a:r>
          </a:p>
          <a:p>
            <a:pPr lvl="4">
              <a:defRPr sz="1800"/>
            </a:pPr>
            <a:r>
              <a:rPr sz="3500"/>
              <a:t>Fifth level</a:t>
            </a:r>
          </a:p>
        </p:txBody>
      </p:sp>
      <p:sp>
        <p:nvSpPr>
          <p:cNvPr id="47" name="Shape 47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981472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50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Shape 51"/>
          <p:cNvSpPr>
            <a:spLocks noGrp="1"/>
          </p:cNvSpPr>
          <p:nvPr>
            <p:ph type="title"/>
          </p:nvPr>
        </p:nvSpPr>
        <p:spPr>
          <a:xfrm>
            <a:off x="1792288" y="3085887"/>
            <a:ext cx="5486401" cy="22812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52" name="Shape 52"/>
          <p:cNvSpPr>
            <a:spLocks noGrp="1"/>
          </p:cNvSpPr>
          <p:nvPr>
            <p:ph type="body" idx="1"/>
          </p:nvPr>
        </p:nvSpPr>
        <p:spPr>
          <a:xfrm>
            <a:off x="1792288" y="5367130"/>
            <a:ext cx="5486401" cy="14908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</p:txBody>
      </p:sp>
      <p:sp>
        <p:nvSpPr>
          <p:cNvPr id="53" name="Shape 53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4294303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56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58" name="Shape 58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59" name="Shape 59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5631737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73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74" name="Shape 74"/>
          <p:cNvSpPr>
            <a:spLocks noGrp="1"/>
          </p:cNvSpPr>
          <p:nvPr>
            <p:ph type="title"/>
          </p:nvPr>
        </p:nvSpPr>
        <p:spPr>
          <a:xfrm>
            <a:off x="0" y="2876003"/>
            <a:ext cx="6478588" cy="2876004"/>
          </a:xfrm>
          <a:prstGeom prst="rect">
            <a:avLst/>
          </a:prstGeom>
          <a:solidFill>
            <a:srgbClr val="0872A6"/>
          </a:solidFill>
        </p:spPr>
        <p:txBody>
          <a:bodyPr lIns="201479" tIns="201479" rIns="201479" bIns="201479">
            <a:noAutofit/>
          </a:bodyPr>
          <a:lstStyle>
            <a:lvl1pPr algn="l">
              <a:lnSpc>
                <a:spcPct val="110000"/>
              </a:lnSpc>
              <a:defRPr sz="3500" b="1">
                <a:solidFill>
                  <a:srgbClr val="FFFFFF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500" b="1">
                <a:solidFill>
                  <a:srgbClr val="FFFFFF"/>
                </a:solidFill>
              </a:rPr>
              <a:t>Titelmasterformat durch Klicken bearbeiten</a:t>
            </a:r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083647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388"/>
            <a:ext cx="5486400" cy="566742"/>
          </a:xfrm>
        </p:spPr>
        <p:txBody>
          <a:bodyPr anchor="b"/>
          <a:lstStyle>
            <a:lvl1pPr algn="l">
              <a:defRPr sz="165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267"/>
            <a:ext cx="5486400" cy="4115222"/>
          </a:xfrm>
        </p:spPr>
        <p:txBody>
          <a:bodyPr/>
          <a:lstStyle>
            <a:lvl1pPr marL="0" indent="0">
              <a:buNone/>
              <a:defRPr sz="2625"/>
            </a:lvl1pPr>
            <a:lvl2pPr marL="383821" indent="0">
              <a:buNone/>
              <a:defRPr sz="2400"/>
            </a:lvl2pPr>
            <a:lvl3pPr marL="767642" indent="0">
              <a:buNone/>
              <a:defRPr sz="2025"/>
            </a:lvl3pPr>
            <a:lvl4pPr marL="1151464" indent="0">
              <a:buNone/>
              <a:defRPr sz="1650"/>
            </a:lvl4pPr>
            <a:lvl5pPr marL="1535285" indent="0">
              <a:buNone/>
              <a:defRPr sz="1650"/>
            </a:lvl5pPr>
            <a:lvl6pPr marL="1919105" indent="0">
              <a:buNone/>
              <a:defRPr sz="1650"/>
            </a:lvl6pPr>
            <a:lvl7pPr marL="2302926" indent="0">
              <a:buNone/>
              <a:defRPr sz="1650"/>
            </a:lvl7pPr>
            <a:lvl8pPr marL="2686748" indent="0">
              <a:buNone/>
              <a:defRPr sz="1650"/>
            </a:lvl8pPr>
            <a:lvl9pPr marL="3070569" indent="0">
              <a:buNone/>
              <a:defRPr sz="165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132"/>
            <a:ext cx="5486400" cy="805705"/>
          </a:xfrm>
        </p:spPr>
        <p:txBody>
          <a:bodyPr/>
          <a:lstStyle>
            <a:lvl1pPr marL="0" indent="0">
              <a:buNone/>
              <a:defRPr sz="1200"/>
            </a:lvl1pPr>
            <a:lvl2pPr marL="383821" indent="0">
              <a:buNone/>
              <a:defRPr sz="975"/>
            </a:lvl2pPr>
            <a:lvl3pPr marL="767642" indent="0">
              <a:buNone/>
              <a:defRPr sz="825"/>
            </a:lvl3pPr>
            <a:lvl4pPr marL="1151464" indent="0">
              <a:buNone/>
              <a:defRPr sz="750"/>
            </a:lvl4pPr>
            <a:lvl5pPr marL="1535285" indent="0">
              <a:buNone/>
              <a:defRPr sz="750"/>
            </a:lvl5pPr>
            <a:lvl6pPr marL="1919105" indent="0">
              <a:buNone/>
              <a:defRPr sz="750"/>
            </a:lvl6pPr>
            <a:lvl7pPr marL="2302926" indent="0">
              <a:buNone/>
              <a:defRPr sz="750"/>
            </a:lvl7pPr>
            <a:lvl8pPr marL="2686748" indent="0">
              <a:buNone/>
              <a:defRPr sz="750"/>
            </a:lvl8pPr>
            <a:lvl9pPr marL="3070569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0EF78-A679-48F2-B605-0A897EADC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9089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78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Shape 79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80" name="Shape 80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81" name="Shape 81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0340777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84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85" name="Shape 85"/>
          <p:cNvSpPr>
            <a:spLocks noGrp="1"/>
          </p:cNvSpPr>
          <p:nvPr>
            <p:ph type="title"/>
          </p:nvPr>
        </p:nvSpPr>
        <p:spPr>
          <a:xfrm>
            <a:off x="722312" y="4407053"/>
            <a:ext cx="7772401" cy="2450948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500" b="1" cap="all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sz="4500" b="1" cap="all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86" name="Shape 86"/>
          <p:cNvSpPr>
            <a:spLocks noGrp="1"/>
          </p:cNvSpPr>
          <p:nvPr>
            <p:ph type="body" idx="1"/>
          </p:nvPr>
        </p:nvSpPr>
        <p:spPr>
          <a:xfrm>
            <a:off x="722312" y="1193226"/>
            <a:ext cx="7772401" cy="321382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2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2200"/>
              <a:t>Click to edit Master text styles</a:t>
            </a:r>
          </a:p>
        </p:txBody>
      </p:sp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8539304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hape 89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90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91" name="Shape 91"/>
          <p:cNvSpPr>
            <a:spLocks noGrp="1"/>
          </p:cNvSpPr>
          <p:nvPr>
            <p:ph type="title"/>
          </p:nvPr>
        </p:nvSpPr>
        <p:spPr>
          <a:xfrm>
            <a:off x="358775" y="1140561"/>
            <a:ext cx="8421689" cy="13167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92" name="Shape 92"/>
          <p:cNvSpPr>
            <a:spLocks noGrp="1"/>
          </p:cNvSpPr>
          <p:nvPr>
            <p:ph type="body" idx="1"/>
          </p:nvPr>
        </p:nvSpPr>
        <p:spPr>
          <a:xfrm>
            <a:off x="358775" y="2457291"/>
            <a:ext cx="4133851" cy="44007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1pPr>
            <a:lvl2pPr marL="890843" indent="-379082">
              <a:lnSpc>
                <a:spcPct val="130000"/>
              </a:lnSpc>
              <a:spcBef>
                <a:spcPts val="0"/>
              </a:spcBef>
              <a:buFontTx/>
              <a:buChar char="▪"/>
              <a:defRPr>
                <a:latin typeface="Arial"/>
                <a:ea typeface="Arial"/>
                <a:cs typeface="Arial"/>
                <a:sym typeface="Arial"/>
              </a:defRPr>
            </a:lvl2pPr>
            <a:lvl3pPr marL="1395712" indent="-372190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3pPr>
            <a:lvl4pPr marL="1944693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4pPr>
            <a:lvl5pPr marL="2456454" indent="-409409">
              <a:lnSpc>
                <a:spcPct val="130000"/>
              </a:lnSpc>
              <a:spcBef>
                <a:spcPts val="0"/>
              </a:spcBef>
              <a:buFontTx/>
              <a:defRPr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93" name="Shape 93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3478146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96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hape 97"/>
          <p:cNvSpPr>
            <a:spLocks noGrp="1"/>
          </p:cNvSpPr>
          <p:nvPr>
            <p:ph type="title"/>
          </p:nvPr>
        </p:nvSpPr>
        <p:spPr>
          <a:xfrm>
            <a:off x="457200" y="256928"/>
            <a:ext cx="8229600" cy="11779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98" name="Shape 98"/>
          <p:cNvSpPr>
            <a:spLocks noGrp="1"/>
          </p:cNvSpPr>
          <p:nvPr>
            <p:ph type="body" idx="1"/>
          </p:nvPr>
        </p:nvSpPr>
        <p:spPr>
          <a:xfrm>
            <a:off x="457200" y="1434840"/>
            <a:ext cx="4040188" cy="73908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27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 b="0"/>
            </a:pPr>
            <a:r>
              <a:rPr sz="2700" b="1"/>
              <a:t>Click to edit Master text styles</a:t>
            </a:r>
          </a:p>
        </p:txBody>
      </p:sp>
      <p:sp>
        <p:nvSpPr>
          <p:cNvPr id="99" name="Shape 99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7639286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02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03" name="Shape 103"/>
          <p:cNvSpPr>
            <a:spLocks noGrp="1"/>
          </p:cNvSpPr>
          <p:nvPr>
            <p:ph type="title"/>
          </p:nvPr>
        </p:nvSpPr>
        <p:spPr>
          <a:xfrm>
            <a:off x="358775" y="1556791"/>
            <a:ext cx="8421689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04" name="Shape 104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0067807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0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08" name="Shape 108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9861541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11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12" name="Shape 112"/>
          <p:cNvSpPr>
            <a:spLocks noGrp="1"/>
          </p:cNvSpPr>
          <p:nvPr>
            <p:ph type="title"/>
          </p:nvPr>
        </p:nvSpPr>
        <p:spPr>
          <a:xfrm>
            <a:off x="457201" y="0"/>
            <a:ext cx="3008314" cy="143588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13" name="Shape 113"/>
          <p:cNvSpPr>
            <a:spLocks noGrp="1"/>
          </p:cNvSpPr>
          <p:nvPr>
            <p:ph type="body" idx="1"/>
          </p:nvPr>
        </p:nvSpPr>
        <p:spPr>
          <a:xfrm>
            <a:off x="3575051" y="272798"/>
            <a:ext cx="5111751" cy="65852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1pPr>
            <a:lvl2pPr marL="861598" indent="-349837">
              <a:lnSpc>
                <a:spcPct val="130000"/>
              </a:lnSpc>
              <a:spcBef>
                <a:spcPts val="0"/>
              </a:spcBef>
              <a:buFontTx/>
              <a:buChar char="▪"/>
              <a:defRPr sz="3500">
                <a:latin typeface="Arial"/>
                <a:ea typeface="Arial"/>
                <a:cs typeface="Arial"/>
                <a:sym typeface="Arial"/>
              </a:defRPr>
            </a:lvl2pPr>
            <a:lvl3pPr marL="1355219" indent="-331697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3pPr>
            <a:lvl4pPr marL="1942367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4pPr>
            <a:lvl5pPr marL="2454128" indent="-407083">
              <a:lnSpc>
                <a:spcPct val="130000"/>
              </a:lnSpc>
              <a:spcBef>
                <a:spcPts val="0"/>
              </a:spcBef>
              <a:buFontTx/>
              <a:defRPr sz="35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3500"/>
              <a:t>Click to edit Master text styles</a:t>
            </a:r>
          </a:p>
          <a:p>
            <a:pPr lvl="1">
              <a:defRPr sz="1800"/>
            </a:pPr>
            <a:r>
              <a:rPr sz="3500"/>
              <a:t>Second level</a:t>
            </a:r>
          </a:p>
          <a:p>
            <a:pPr lvl="2">
              <a:defRPr sz="1800"/>
            </a:pPr>
            <a:r>
              <a:rPr sz="3500"/>
              <a:t>Third level</a:t>
            </a:r>
          </a:p>
          <a:p>
            <a:pPr lvl="3">
              <a:defRPr sz="1800"/>
            </a:pPr>
            <a:r>
              <a:rPr sz="3500"/>
              <a:t>Fourth level</a:t>
            </a:r>
          </a:p>
          <a:p>
            <a:pPr lvl="4">
              <a:defRPr sz="1800"/>
            </a:pPr>
            <a:r>
              <a:rPr sz="3500"/>
              <a:t>Fifth level</a:t>
            </a:r>
          </a:p>
        </p:txBody>
      </p:sp>
      <p:sp>
        <p:nvSpPr>
          <p:cNvPr id="114" name="Shape 114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5860868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17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18" name="Shape 118"/>
          <p:cNvSpPr>
            <a:spLocks noGrp="1"/>
          </p:cNvSpPr>
          <p:nvPr>
            <p:ph type="title"/>
          </p:nvPr>
        </p:nvSpPr>
        <p:spPr>
          <a:xfrm>
            <a:off x="1792288" y="3085887"/>
            <a:ext cx="5486401" cy="228124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22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2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19" name="Shape 119"/>
          <p:cNvSpPr>
            <a:spLocks noGrp="1"/>
          </p:cNvSpPr>
          <p:nvPr>
            <p:ph type="body" idx="1"/>
          </p:nvPr>
        </p:nvSpPr>
        <p:spPr>
          <a:xfrm>
            <a:off x="1792288" y="5367130"/>
            <a:ext cx="5486401" cy="14908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SzTx/>
              <a:buFontTx/>
              <a:buNone/>
              <a:defRPr sz="16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</p:txBody>
      </p:sp>
      <p:sp>
        <p:nvSpPr>
          <p:cNvPr id="120" name="Shape 120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2118140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Shape 122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23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24" name="Shape 124"/>
          <p:cNvSpPr>
            <a:spLocks noGrp="1"/>
          </p:cNvSpPr>
          <p:nvPr>
            <p:ph type="title"/>
          </p:nvPr>
        </p:nvSpPr>
        <p:spPr>
          <a:xfrm>
            <a:off x="358775" y="1320980"/>
            <a:ext cx="8421689" cy="9558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25" name="Shape 125"/>
          <p:cNvSpPr>
            <a:spLocks noGrp="1"/>
          </p:cNvSpPr>
          <p:nvPr>
            <p:ph type="body" idx="1"/>
          </p:nvPr>
        </p:nvSpPr>
        <p:spPr>
          <a:xfrm>
            <a:off x="358775" y="2276872"/>
            <a:ext cx="8421689" cy="45811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3821" indent="-383821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831612" indent="-319851">
              <a:lnSpc>
                <a:spcPct val="130000"/>
              </a:lnSpc>
              <a:spcBef>
                <a:spcPts val="0"/>
              </a:spcBef>
              <a:buFontTx/>
              <a:buChar char="▪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175155" indent="-151633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3pPr>
            <a:lvl4pPr marL="1721379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4pPr>
            <a:lvl5pPr marL="2233140" indent="-186095">
              <a:lnSpc>
                <a:spcPct val="130000"/>
              </a:lnSpc>
              <a:spcBef>
                <a:spcPts val="0"/>
              </a:spcBef>
              <a:buFontTx/>
              <a:defRPr sz="1600">
                <a:latin typeface="Arial"/>
                <a:ea typeface="Arial"/>
                <a:cs typeface="Arial"/>
                <a:sym typeface="Arial"/>
              </a:defRPr>
            </a:lvl5pPr>
          </a:lstStyle>
          <a:p>
            <a:pPr lvl="0">
              <a:defRPr sz="1800"/>
            </a:pPr>
            <a:r>
              <a:rPr sz="1600"/>
              <a:t>Click to edit Master text styles</a:t>
            </a:r>
          </a:p>
          <a:p>
            <a:pPr lvl="1">
              <a:defRPr sz="1800"/>
            </a:pPr>
            <a:r>
              <a:rPr sz="1600"/>
              <a:t>Second level</a:t>
            </a:r>
          </a:p>
          <a:p>
            <a:pPr lvl="2">
              <a:defRPr sz="1800"/>
            </a:pPr>
            <a:r>
              <a:rPr sz="1600"/>
              <a:t>Third level</a:t>
            </a:r>
          </a:p>
          <a:p>
            <a:pPr lvl="3">
              <a:defRPr sz="1800"/>
            </a:pPr>
            <a:r>
              <a:rPr sz="1600"/>
              <a:t>Fourth level</a:t>
            </a:r>
          </a:p>
          <a:p>
            <a:pPr lvl="4">
              <a:defRPr sz="1800"/>
            </a:pPr>
            <a:r>
              <a:rPr sz="1600"/>
              <a:t>Fifth level</a:t>
            </a:r>
          </a:p>
        </p:txBody>
      </p:sp>
      <p:sp>
        <p:nvSpPr>
          <p:cNvPr id="126" name="Shape 126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2653902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hape 128"/>
          <p:cNvSpPr/>
          <p:nvPr/>
        </p:nvSpPr>
        <p:spPr>
          <a:xfrm>
            <a:off x="358774" y="1196751"/>
            <a:ext cx="8421689" cy="1"/>
          </a:xfrm>
          <a:prstGeom prst="line">
            <a:avLst/>
          </a:prstGeom>
          <a:ln>
            <a:solidFill/>
          </a:ln>
        </p:spPr>
        <p:txBody>
          <a:bodyPr lIns="0" tIns="0" rIns="0" bIns="0"/>
          <a:lstStyle/>
          <a:p>
            <a:pPr defTabSz="457200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kern="0">
              <a:solidFill>
                <a:sysClr val="windowText" lastClr="000000"/>
              </a:solidFill>
              <a:sym typeface="Helvetica"/>
            </a:endParaRPr>
          </a:p>
        </p:txBody>
      </p:sp>
      <p:pic>
        <p:nvPicPr>
          <p:cNvPr id="129" name="image2.jpg" descr="C:\Users\ahussain\Desktop\IRENA-logo-PMS307\IRENA-logo-PMS307\IRENA_PMS307-CMYK00080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508102" y="188639"/>
            <a:ext cx="3024338" cy="882733"/>
          </a:xfrm>
          <a:prstGeom prst="rect">
            <a:avLst/>
          </a:prstGeom>
          <a:ln w="12700">
            <a:miter lim="400000"/>
          </a:ln>
        </p:spPr>
      </p:pic>
      <p:sp>
        <p:nvSpPr>
          <p:cNvPr id="130" name="Shape 130"/>
          <p:cNvSpPr>
            <a:spLocks noGrp="1"/>
          </p:cNvSpPr>
          <p:nvPr>
            <p:ph type="title"/>
          </p:nvPr>
        </p:nvSpPr>
        <p:spPr>
          <a:xfrm>
            <a:off x="358775" y="1556791"/>
            <a:ext cx="8421689" cy="48427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700" b="1">
                <a:solidFill>
                  <a:srgbClr val="0872A6"/>
                </a:solidFill>
                <a:latin typeface="ITC Avant Garde Gothic"/>
                <a:ea typeface="ITC Avant Garde Gothic"/>
                <a:cs typeface="ITC Avant Garde Gothic"/>
                <a:sym typeface="ITC Avant Garde Gothic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700" b="1">
                <a:solidFill>
                  <a:srgbClr val="0872A6"/>
                </a:solidFill>
              </a:rPr>
              <a:t>Click to edit Master title style</a:t>
            </a:r>
          </a:p>
        </p:txBody>
      </p:sp>
      <p:sp>
        <p:nvSpPr>
          <p:cNvPr id="131" name="Shape 131"/>
          <p:cNvSpPr>
            <a:spLocks noGrp="1"/>
          </p:cNvSpPr>
          <p:nvPr>
            <p:ph type="sldNum" sz="quarter" idx="2"/>
          </p:nvPr>
        </p:nvSpPr>
        <p:spPr>
          <a:xfrm>
            <a:off x="8061325" y="6403337"/>
            <a:ext cx="719140" cy="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100">
                <a:solidFill>
                  <a:srgbClr val="646464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536278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50" Type="http://schemas.openxmlformats.org/officeDocument/2006/relationships/slideLayout" Target="../slideLayouts/slideLayout128.xml"/><Relationship Id="rId55" Type="http://schemas.openxmlformats.org/officeDocument/2006/relationships/theme" Target="../theme/theme8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53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6" y="1556794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6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1326" y="6403339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25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6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76764" tIns="38382" rIns="76764" bIns="38382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1139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5pPr>
      <a:lvl6pPr marL="383821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6pPr>
      <a:lvl7pPr marL="767642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7pPr>
      <a:lvl8pPr marL="1151464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8pPr>
      <a:lvl9pPr marL="1535285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287866" indent="-287866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23709" indent="-2398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2pPr>
      <a:lvl3pPr marL="959552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025">
          <a:solidFill>
            <a:schemeClr val="tx1"/>
          </a:solidFill>
          <a:latin typeface="+mn-lt"/>
          <a:cs typeface="+mn-cs"/>
        </a:defRPr>
      </a:lvl3pPr>
      <a:lvl4pPr marL="1343374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1650">
          <a:solidFill>
            <a:schemeClr val="tx1"/>
          </a:solidFill>
          <a:latin typeface="+mn-lt"/>
          <a:cs typeface="+mn-cs"/>
        </a:defRPr>
      </a:lvl4pPr>
      <a:lvl5pPr marL="1727195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1650">
          <a:solidFill>
            <a:schemeClr val="tx1"/>
          </a:solidFill>
          <a:latin typeface="+mn-lt"/>
          <a:cs typeface="+mn-cs"/>
        </a:defRPr>
      </a:lvl5pPr>
      <a:lvl6pPr marL="2111016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494838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878658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262479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821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7642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464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285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9105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2926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6748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70569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556792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1325" y="6403337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5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102352" tIns="51176" rIns="102352" bIns="51176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3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527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3821" indent="-38382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31612" indent="-31985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2pPr>
      <a:lvl3pPr marL="1279403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791165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302926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556792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1325" y="6403337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5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102352" tIns="51176" rIns="102352" bIns="51176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3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33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3821" indent="-38382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31612" indent="-31985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2pPr>
      <a:lvl3pPr marL="1279403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791165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302926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0535A6-F294-4FAB-A301-4EA86ACA852F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6-03-09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7E6471-DC1B-4C6F-89FD-54E772CFF93C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470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556792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416" y="6465004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5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102352" tIns="51176" rIns="102352" bIns="51176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3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7896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3821" indent="-38382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31612" indent="-31985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2pPr>
      <a:lvl3pPr marL="1279403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791165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302926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556792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1325" y="6403337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5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102352" tIns="51176" rIns="102352" bIns="51176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3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8630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3821" indent="-38382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31612" indent="-319851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2pPr>
      <a:lvl3pPr marL="1279403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791165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cs typeface="+mn-cs"/>
        </a:defRPr>
      </a:lvl4pPr>
      <a:lvl5pPr marL="2302926" indent="-25588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6" y="1556794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6" y="2276872"/>
            <a:ext cx="8421688" cy="336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61326" y="6403339"/>
            <a:ext cx="719139" cy="30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25">
                <a:solidFill>
                  <a:srgbClr val="64646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C20E53-3621-42ED-A9C5-9CBA2B2CF1F0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58776" y="1196752"/>
            <a:ext cx="8421688" cy="0"/>
          </a:xfrm>
          <a:prstGeom prst="lin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76764" tIns="38382" rIns="76764" bIns="38382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4" name="Picture 2" descr="C:\Users\ahussain\Desktop\IRENA-logo-PMS307\IRENA-logo-PMS307\IRENA_PMS307-CMYK00080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88640"/>
            <a:ext cx="3024337" cy="88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5401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0872A6"/>
          </a:solidFill>
          <a:latin typeface="ITC Avant Garde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5pPr>
      <a:lvl6pPr marL="383821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6pPr>
      <a:lvl7pPr marL="767642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7pPr>
      <a:lvl8pPr marL="1151464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8pPr>
      <a:lvl9pPr marL="1535285" algn="l" rtl="0" fontAlgn="base">
        <a:spcBef>
          <a:spcPct val="0"/>
        </a:spcBef>
        <a:spcAft>
          <a:spcPct val="0"/>
        </a:spcAft>
        <a:defRPr sz="2025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287866" indent="-287866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23709" indent="-2398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2pPr>
      <a:lvl3pPr marL="959552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025">
          <a:solidFill>
            <a:schemeClr val="tx1"/>
          </a:solidFill>
          <a:latin typeface="+mn-lt"/>
          <a:cs typeface="+mn-cs"/>
        </a:defRPr>
      </a:lvl3pPr>
      <a:lvl4pPr marL="1343374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1650">
          <a:solidFill>
            <a:schemeClr val="tx1"/>
          </a:solidFill>
          <a:latin typeface="+mn-lt"/>
          <a:cs typeface="+mn-cs"/>
        </a:defRPr>
      </a:lvl4pPr>
      <a:lvl5pPr marL="1727195" indent="-191911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1650">
          <a:solidFill>
            <a:schemeClr val="tx1"/>
          </a:solidFill>
          <a:latin typeface="+mn-lt"/>
          <a:cs typeface="+mn-cs"/>
        </a:defRPr>
      </a:lvl5pPr>
      <a:lvl6pPr marL="2111016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494838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878658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262479" indent="-19191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821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7642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464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285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9105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2926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6748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70569" algn="l" defTabSz="7676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92076"/>
            <a:ext cx="8229600" cy="15081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pPr lvl="0">
              <a:defRPr sz="1800"/>
            </a:pPr>
            <a:r>
              <a:rPr sz="3200"/>
              <a:t>Click to edit Master text styles</a:t>
            </a:r>
          </a:p>
          <a:p>
            <a:pPr lvl="1">
              <a:defRPr sz="1800"/>
            </a:pPr>
            <a:r>
              <a:rPr sz="3200"/>
              <a:t>Second level</a:t>
            </a:r>
          </a:p>
          <a:p>
            <a:pPr lvl="2">
              <a:defRPr sz="1800"/>
            </a:pPr>
            <a:r>
              <a:rPr sz="3200"/>
              <a:t>Third level</a:t>
            </a:r>
          </a:p>
          <a:p>
            <a:pPr lvl="3">
              <a:defRPr sz="1800"/>
            </a:pPr>
            <a:r>
              <a:rPr sz="3200"/>
              <a:t>Fourth level</a:t>
            </a:r>
          </a:p>
          <a:p>
            <a:pPr lvl="4">
              <a:defRPr sz="1800"/>
            </a:pPr>
            <a:r>
              <a:rPr sz="3200"/>
              <a:t>Fifth level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6553200" y="6406785"/>
            <a:ext cx="2133600" cy="264255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 kern="0">
                <a:latin typeface="Arial"/>
                <a:cs typeface="Arial"/>
                <a:sym typeface="Arial"/>
              </a:rPr>
              <a:pPr/>
              <a:t>‹#›</a:t>
            </a:fld>
            <a:endParaRPr kern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070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  <p:sldLayoutId id="2147483864" r:id="rId47"/>
    <p:sldLayoutId id="2147483865" r:id="rId48"/>
    <p:sldLayoutId id="2147483866" r:id="rId49"/>
    <p:sldLayoutId id="2147483867" r:id="rId50"/>
    <p:sldLayoutId id="2147483868" r:id="rId51"/>
    <p:sldLayoutId id="2147483869" r:id="rId52"/>
    <p:sldLayoutId id="2147483870" r:id="rId53"/>
    <p:sldLayoutId id="2147483871" r:id="rId54"/>
  </p:sldLayoutIdLst>
  <p:transition spd="med"/>
  <p:txStyles>
    <p:titleStyle>
      <a:lvl1pPr algn="ctr">
        <a:defRPr sz="4400">
          <a:latin typeface="Calibri"/>
          <a:ea typeface="Calibri"/>
          <a:cs typeface="Calibri"/>
          <a:sym typeface="Calibri"/>
        </a:defRPr>
      </a:lvl1pPr>
      <a:lvl2pPr algn="ctr">
        <a:defRPr sz="4400">
          <a:latin typeface="Calibri"/>
          <a:ea typeface="Calibri"/>
          <a:cs typeface="Calibri"/>
          <a:sym typeface="Calibri"/>
        </a:defRPr>
      </a:lvl2pPr>
      <a:lvl3pPr algn="ctr">
        <a:defRPr sz="4400">
          <a:latin typeface="Calibri"/>
          <a:ea typeface="Calibri"/>
          <a:cs typeface="Calibri"/>
          <a:sym typeface="Calibri"/>
        </a:defRPr>
      </a:lvl3pPr>
      <a:lvl4pPr algn="ctr">
        <a:defRPr sz="4400">
          <a:latin typeface="Calibri"/>
          <a:ea typeface="Calibri"/>
          <a:cs typeface="Calibri"/>
          <a:sym typeface="Calibri"/>
        </a:defRPr>
      </a:lvl4pPr>
      <a:lvl5pPr algn="ctr">
        <a:defRPr sz="4400">
          <a:latin typeface="Calibri"/>
          <a:ea typeface="Calibri"/>
          <a:cs typeface="Calibri"/>
          <a:sym typeface="Calibri"/>
        </a:defRPr>
      </a:lvl5pPr>
      <a:lvl6pPr algn="ctr">
        <a:defRPr sz="4400">
          <a:latin typeface="Calibri"/>
          <a:ea typeface="Calibri"/>
          <a:cs typeface="Calibri"/>
          <a:sym typeface="Calibri"/>
        </a:defRPr>
      </a:lvl6pPr>
      <a:lvl7pPr algn="ctr">
        <a:defRPr sz="4400">
          <a:latin typeface="Calibri"/>
          <a:ea typeface="Calibri"/>
          <a:cs typeface="Calibri"/>
          <a:sym typeface="Calibri"/>
        </a:defRPr>
      </a:lvl7pPr>
      <a:lvl8pPr algn="ctr">
        <a:defRPr sz="4400">
          <a:latin typeface="Calibri"/>
          <a:ea typeface="Calibri"/>
          <a:cs typeface="Calibri"/>
          <a:sym typeface="Calibri"/>
        </a:defRPr>
      </a:lvl8pPr>
      <a:lvl9pPr algn="ctr">
        <a:defRPr sz="4400">
          <a:latin typeface="Calibri"/>
          <a:ea typeface="Calibri"/>
          <a:cs typeface="Calibri"/>
          <a:sym typeface="Calibri"/>
        </a:defRPr>
      </a:lvl9pPr>
    </p:titleStyle>
    <p:bodyStyle>
      <a:lvl1pPr marL="342900" indent="-3429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1pPr>
      <a:lvl2pPr marL="783771" indent="-326571">
        <a:spcBef>
          <a:spcPts val="700"/>
        </a:spcBef>
        <a:buSzPct val="100000"/>
        <a:buFont typeface="Arial"/>
        <a:buChar char="–"/>
        <a:defRPr sz="3200">
          <a:latin typeface="Calibri"/>
          <a:ea typeface="Calibri"/>
          <a:cs typeface="Calibri"/>
          <a:sym typeface="Calibri"/>
        </a:defRPr>
      </a:lvl2pPr>
      <a:lvl3pPr marL="1219200" indent="-3048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3pPr>
      <a:lvl4pPr marL="1737360" indent="-365760">
        <a:spcBef>
          <a:spcPts val="700"/>
        </a:spcBef>
        <a:buSzPct val="100000"/>
        <a:buFont typeface="Arial"/>
        <a:buChar char="–"/>
        <a:defRPr sz="3200">
          <a:latin typeface="Calibri"/>
          <a:ea typeface="Calibri"/>
          <a:cs typeface="Calibri"/>
          <a:sym typeface="Calibri"/>
        </a:defRPr>
      </a:lvl4pPr>
      <a:lvl5pPr marL="2194560" indent="-365760">
        <a:spcBef>
          <a:spcPts val="700"/>
        </a:spcBef>
        <a:buSzPct val="100000"/>
        <a:buFont typeface="Arial"/>
        <a:buChar char="»"/>
        <a:defRPr sz="3200">
          <a:latin typeface="Calibri"/>
          <a:ea typeface="Calibri"/>
          <a:cs typeface="Calibri"/>
          <a:sym typeface="Calibri"/>
        </a:defRPr>
      </a:lvl5pPr>
      <a:lvl6pPr marL="2651760" indent="-36576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6pPr>
      <a:lvl7pPr marL="3108960" indent="-36576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7pPr>
      <a:lvl8pPr marL="3566159" indent="-365759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8pPr>
      <a:lvl9pPr marL="4023359" indent="-365759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9pPr>
    </p:bodyStyle>
    <p:otherStyle>
      <a:lvl1pPr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indent="511761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indent="1023522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indent="1535284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indent="2047045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indent="2558806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indent="3070568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indent="3582330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indent="4094091" algn="r">
        <a:defRPr sz="1200"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11" Type="http://schemas.openxmlformats.org/officeDocument/2006/relationships/image" Target="../media/image12.emf"/><Relationship Id="rId5" Type="http://schemas.openxmlformats.org/officeDocument/2006/relationships/image" Target="../media/image6.png"/><Relationship Id="rId10" Type="http://schemas.openxmlformats.org/officeDocument/2006/relationships/image" Target="../media/image11.emf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jp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7.xml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4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11" Type="http://schemas.openxmlformats.org/officeDocument/2006/relationships/image" Target="../media/image11.emf"/><Relationship Id="rId5" Type="http://schemas.openxmlformats.org/officeDocument/2006/relationships/image" Target="../media/image7.jpeg"/><Relationship Id="rId10" Type="http://schemas.openxmlformats.org/officeDocument/2006/relationships/image" Target="../media/image12.emf"/><Relationship Id="rId4" Type="http://schemas.openxmlformats.org/officeDocument/2006/relationships/image" Target="../media/image6.png"/><Relationship Id="rId9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jpe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4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4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Renewables Readiness Assessment: Nig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3896" y="1654004"/>
            <a:ext cx="1008900" cy="1417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13883" y="2039444"/>
            <a:ext cx="5510928" cy="4590412"/>
          </a:xfrm>
        </p:spPr>
        <p:txBody>
          <a:bodyPr/>
          <a:lstStyle/>
          <a:p>
            <a:r>
              <a:rPr lang="en-US" sz="2400" dirty="0"/>
              <a:t/>
            </a:r>
            <a:br>
              <a:rPr lang="en-US" sz="2400" dirty="0"/>
            </a:br>
            <a:r>
              <a:rPr lang="en-US" sz="2800" dirty="0"/>
              <a:t>Renewables Readiness </a:t>
            </a:r>
            <a:br>
              <a:rPr lang="en-US" sz="2800" dirty="0"/>
            </a:br>
            <a:r>
              <a:rPr lang="en-US" sz="2800" dirty="0" smtClean="0"/>
              <a:t>Assessment - Tanzania  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 smtClean="0"/>
              <a:t>Dar </a:t>
            </a:r>
            <a:r>
              <a:rPr lang="en-US" sz="1800" dirty="0" err="1" smtClean="0"/>
              <a:t>Es</a:t>
            </a:r>
            <a:r>
              <a:rPr lang="en-US" sz="1800" dirty="0" smtClean="0"/>
              <a:t> Salaam  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 smtClean="0"/>
              <a:t>March 9, 2016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 smtClean="0"/>
              <a:t>Safiatou Alzouma Nouhou</a:t>
            </a:r>
            <a:br>
              <a:rPr lang="en-US" sz="1800" dirty="0" smtClean="0"/>
            </a:br>
            <a:r>
              <a:rPr lang="en-US" sz="1800" dirty="0" smtClean="0"/>
              <a:t>IRENA</a:t>
            </a:r>
            <a:endParaRPr lang="en-US" sz="1800" dirty="0"/>
          </a:p>
        </p:txBody>
      </p:sp>
      <p:pic>
        <p:nvPicPr>
          <p:cNvPr id="3" name="Picture 2" descr="Renewables Readiness Assessment: Design to Ac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859" y="4154255"/>
            <a:ext cx="1746039" cy="2268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Renewables Readiness Assessment: The Gambi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477" y="2753922"/>
            <a:ext cx="1027103" cy="138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zambique Renewables Readiness Assessment 20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158" y="1663112"/>
            <a:ext cx="1035146" cy="142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rra.irena.org/UserFiles/Images/RRA_Zam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1559" y="2775367"/>
            <a:ext cx="943311" cy="142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enegal Renewables Readiness Assessment 20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704" y="4068368"/>
            <a:ext cx="1066909" cy="141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95733" y="5257800"/>
            <a:ext cx="948267" cy="1422400"/>
          </a:xfrm>
          <a:prstGeom prst="rect">
            <a:avLst/>
          </a:prstGeom>
        </p:spPr>
      </p:pic>
      <p:pic>
        <p:nvPicPr>
          <p:cNvPr id="14" name="Picture 13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130" y="3970020"/>
            <a:ext cx="1183958" cy="15306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688" y="5186363"/>
            <a:ext cx="1180149" cy="14878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7340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8690" y="2743200"/>
            <a:ext cx="6049631" cy="31951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055" y="2686184"/>
            <a:ext cx="28552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BBE0E3">
                    <a:lumMod val="50000"/>
                  </a:srgbClr>
                </a:solidFill>
              </a:rPr>
              <a:t>Advisory Services</a:t>
            </a:r>
            <a:endParaRPr lang="en-US" sz="2400" b="1" dirty="0">
              <a:solidFill>
                <a:srgbClr val="BBE0E3">
                  <a:lumMod val="50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20148" y="1823544"/>
            <a:ext cx="29867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BE0E3">
                    <a:lumMod val="50000"/>
                  </a:srgbClr>
                </a:solidFill>
              </a:rPr>
              <a:t>Regional Initiativ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62469" y="2686184"/>
            <a:ext cx="2781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BBE0E3">
                    <a:lumMod val="50000"/>
                  </a:srgbClr>
                </a:solidFill>
              </a:rPr>
              <a:t>Capacity Build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085870" y="5707512"/>
            <a:ext cx="35028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BBE0E3">
                    <a:lumMod val="50000"/>
                  </a:srgbClr>
                </a:solidFill>
              </a:rPr>
              <a:t>Renewable Readiness </a:t>
            </a:r>
          </a:p>
          <a:p>
            <a:pPr algn="ctr"/>
            <a:r>
              <a:rPr lang="en-US" sz="2400" b="1" dirty="0" smtClean="0">
                <a:solidFill>
                  <a:srgbClr val="BBE0E3">
                    <a:lumMod val="50000"/>
                  </a:srgbClr>
                </a:solidFill>
              </a:rPr>
              <a:t>Assessments</a:t>
            </a:r>
            <a:endParaRPr lang="en-US" sz="2400" b="1" dirty="0">
              <a:solidFill>
                <a:srgbClr val="BBE0E3">
                  <a:lumMod val="50000"/>
                </a:srgbClr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371475" y="485724"/>
            <a:ext cx="8421688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0872A6"/>
                </a:solidFill>
                <a:latin typeface="ITC Avant Garde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5pPr>
            <a:lvl6pPr marL="383821" algn="l" rtl="0" fontAlgn="base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767642" algn="l" rtl="0" fontAlgn="base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151464" algn="l" rtl="0" fontAlgn="base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1535285" algn="l" rtl="0" fontAlgn="base">
              <a:spcBef>
                <a:spcPct val="0"/>
              </a:spcBef>
              <a:spcAft>
                <a:spcPct val="0"/>
              </a:spcAft>
              <a:defRPr sz="2025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kern="0" dirty="0" smtClean="0">
                <a:latin typeface="Arial"/>
              </a:rPr>
              <a:t>Outcomes of the RRAs</a:t>
            </a:r>
            <a:endParaRPr lang="en-US" sz="3200" kern="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306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6" y="453208"/>
            <a:ext cx="8421688" cy="484269"/>
          </a:xfrm>
        </p:spPr>
        <p:txBody>
          <a:bodyPr/>
          <a:lstStyle/>
          <a:p>
            <a:r>
              <a:rPr lang="en-US" sz="3200" dirty="0" smtClean="0">
                <a:latin typeface="+mn-lt"/>
              </a:rPr>
              <a:t>Advisory Services</a:t>
            </a:r>
            <a:endParaRPr lang="en-US" sz="3200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6" y="1756610"/>
            <a:ext cx="8421688" cy="3368731"/>
          </a:xfrm>
        </p:spPr>
        <p:txBody>
          <a:bodyPr/>
          <a:lstStyle/>
          <a:p>
            <a:r>
              <a:rPr lang="en-US" sz="2000" b="1" dirty="0" err="1" smtClean="0">
                <a:solidFill>
                  <a:srgbClr val="0070C0"/>
                </a:solidFill>
              </a:rPr>
              <a:t>REmap</a:t>
            </a:r>
            <a:r>
              <a:rPr lang="en-US" sz="2000" b="1" smtClean="0">
                <a:solidFill>
                  <a:srgbClr val="0070C0"/>
                </a:solidFill>
              </a:rPr>
              <a:t> 2030</a:t>
            </a:r>
            <a:r>
              <a:rPr lang="en-US" sz="2000" smtClean="0"/>
              <a:t> </a:t>
            </a:r>
            <a:r>
              <a:rPr lang="en-US" sz="2000" dirty="0"/>
              <a:t>provides a plan to double the share of renewable energy in the world's energy mix between 2010 and </a:t>
            </a:r>
            <a:r>
              <a:rPr lang="en-US" sz="2000" dirty="0" smtClean="0"/>
              <a:t>2030.</a:t>
            </a:r>
          </a:p>
          <a:p>
            <a:pPr marL="335843" lvl="1" indent="0">
              <a:spcAft>
                <a:spcPts val="1200"/>
              </a:spcAft>
              <a:buNone/>
            </a:pPr>
            <a:r>
              <a:rPr lang="en-US" sz="2000" dirty="0" smtClean="0"/>
              <a:t>(Egypt, Ethiopia, Kenya, Morocco, Nigeria and </a:t>
            </a:r>
            <a:r>
              <a:rPr lang="en-US" sz="2000" dirty="0"/>
              <a:t>South </a:t>
            </a:r>
            <a:r>
              <a:rPr lang="en-US" sz="2000" dirty="0" smtClean="0"/>
              <a:t>Africa)</a:t>
            </a:r>
          </a:p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rgbClr val="0070C0"/>
                </a:solidFill>
              </a:rPr>
              <a:t>Small-hydro trainings </a:t>
            </a:r>
            <a:r>
              <a:rPr lang="en-US" sz="2000" dirty="0" smtClean="0"/>
              <a:t>for Zambia, Mozambique, Swaziland and The Gambia to come up with small hydro promotion strategy.</a:t>
            </a:r>
          </a:p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rgbClr val="0070C0"/>
                </a:solidFill>
              </a:rPr>
              <a:t>SPLAT</a:t>
            </a:r>
            <a:r>
              <a:rPr lang="en-US" sz="2000" dirty="0" smtClean="0"/>
              <a:t>: </a:t>
            </a:r>
            <a:r>
              <a:rPr lang="en-US" sz="2000" dirty="0"/>
              <a:t>least-cost System Planning Test (SPLAT) models to support planning for long-term power </a:t>
            </a:r>
            <a:r>
              <a:rPr lang="en-US" sz="2000" dirty="0" smtClean="0"/>
              <a:t>generation expansion plans.</a:t>
            </a:r>
          </a:p>
          <a:p>
            <a:r>
              <a:rPr lang="en-US" sz="2000" b="1" dirty="0">
                <a:solidFill>
                  <a:srgbClr val="0070C0"/>
                </a:solidFill>
              </a:rPr>
              <a:t>Capacity Needs </a:t>
            </a:r>
            <a:r>
              <a:rPr lang="en-US" sz="2000" b="1" dirty="0" smtClean="0">
                <a:solidFill>
                  <a:srgbClr val="0070C0"/>
                </a:solidFill>
              </a:rPr>
              <a:t>Assessment</a:t>
            </a:r>
            <a:r>
              <a:rPr lang="en-US" sz="2000" dirty="0"/>
              <a:t> </a:t>
            </a:r>
            <a:r>
              <a:rPr lang="en-US" sz="2000" dirty="0" smtClean="0"/>
              <a:t>at regional level in ECOWAS to promote RE-based mini-grids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780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1395505"/>
            <a:ext cx="8684275" cy="4265743"/>
            <a:chOff x="716037" y="2721536"/>
            <a:chExt cx="7207642" cy="3452091"/>
          </a:xfrm>
        </p:grpSpPr>
        <p:grpSp>
          <p:nvGrpSpPr>
            <p:cNvPr id="4" name="Group 3"/>
            <p:cNvGrpSpPr/>
            <p:nvPr/>
          </p:nvGrpSpPr>
          <p:grpSpPr>
            <a:xfrm>
              <a:off x="873359" y="2721536"/>
              <a:ext cx="6600825" cy="3452091"/>
              <a:chOff x="104503" y="1143237"/>
              <a:chExt cx="8801100" cy="4602788"/>
            </a:xfrm>
          </p:grpSpPr>
          <p:sp>
            <p:nvSpPr>
              <p:cNvPr id="8198" name="Freeform 2509"/>
              <p:cNvSpPr>
                <a:spLocks noChangeAspect="1"/>
              </p:cNvSpPr>
              <p:nvPr/>
            </p:nvSpPr>
            <p:spPr bwMode="auto">
              <a:xfrm>
                <a:off x="7714895" y="4045560"/>
                <a:ext cx="248609" cy="250116"/>
              </a:xfrm>
              <a:custGeom>
                <a:avLst/>
                <a:gdLst>
                  <a:gd name="T0" fmla="*/ 141 w 127"/>
                  <a:gd name="T1" fmla="*/ 146 h 128"/>
                  <a:gd name="T2" fmla="*/ 121 w 127"/>
                  <a:gd name="T3" fmla="*/ 138 h 128"/>
                  <a:gd name="T4" fmla="*/ 121 w 127"/>
                  <a:gd name="T5" fmla="*/ 130 h 128"/>
                  <a:gd name="T6" fmla="*/ 115 w 127"/>
                  <a:gd name="T7" fmla="*/ 120 h 128"/>
                  <a:gd name="T8" fmla="*/ 117 w 127"/>
                  <a:gd name="T9" fmla="*/ 113 h 128"/>
                  <a:gd name="T10" fmla="*/ 111 w 127"/>
                  <a:gd name="T11" fmla="*/ 100 h 128"/>
                  <a:gd name="T12" fmla="*/ 101 w 127"/>
                  <a:gd name="T13" fmla="*/ 84 h 128"/>
                  <a:gd name="T14" fmla="*/ 73 w 127"/>
                  <a:gd name="T15" fmla="*/ 72 h 128"/>
                  <a:gd name="T16" fmla="*/ 56 w 127"/>
                  <a:gd name="T17" fmla="*/ 67 h 128"/>
                  <a:gd name="T18" fmla="*/ 51 w 127"/>
                  <a:gd name="T19" fmla="*/ 64 h 128"/>
                  <a:gd name="T20" fmla="*/ 42 w 127"/>
                  <a:gd name="T21" fmla="*/ 54 h 128"/>
                  <a:gd name="T22" fmla="*/ 42 w 127"/>
                  <a:gd name="T23" fmla="*/ 46 h 128"/>
                  <a:gd name="T24" fmla="*/ 37 w 127"/>
                  <a:gd name="T25" fmla="*/ 60 h 128"/>
                  <a:gd name="T26" fmla="*/ 29 w 127"/>
                  <a:gd name="T27" fmla="*/ 64 h 128"/>
                  <a:gd name="T28" fmla="*/ 29 w 127"/>
                  <a:gd name="T29" fmla="*/ 57 h 128"/>
                  <a:gd name="T30" fmla="*/ 16 w 127"/>
                  <a:gd name="T31" fmla="*/ 45 h 128"/>
                  <a:gd name="T32" fmla="*/ 30 w 127"/>
                  <a:gd name="T33" fmla="*/ 42 h 128"/>
                  <a:gd name="T34" fmla="*/ 38 w 127"/>
                  <a:gd name="T35" fmla="*/ 41 h 128"/>
                  <a:gd name="T36" fmla="*/ 44 w 127"/>
                  <a:gd name="T37" fmla="*/ 31 h 128"/>
                  <a:gd name="T38" fmla="*/ 20 w 127"/>
                  <a:gd name="T39" fmla="*/ 34 h 128"/>
                  <a:gd name="T40" fmla="*/ 11 w 127"/>
                  <a:gd name="T41" fmla="*/ 20 h 128"/>
                  <a:gd name="T42" fmla="*/ 5 w 127"/>
                  <a:gd name="T43" fmla="*/ 14 h 128"/>
                  <a:gd name="T44" fmla="*/ 19 w 127"/>
                  <a:gd name="T45" fmla="*/ 4 h 128"/>
                  <a:gd name="T46" fmla="*/ 39 w 127"/>
                  <a:gd name="T47" fmla="*/ 7 h 128"/>
                  <a:gd name="T48" fmla="*/ 51 w 127"/>
                  <a:gd name="T49" fmla="*/ 17 h 128"/>
                  <a:gd name="T50" fmla="*/ 54 w 127"/>
                  <a:gd name="T51" fmla="*/ 45 h 128"/>
                  <a:gd name="T52" fmla="*/ 56 w 127"/>
                  <a:gd name="T53" fmla="*/ 41 h 128"/>
                  <a:gd name="T54" fmla="*/ 66 w 127"/>
                  <a:gd name="T55" fmla="*/ 54 h 128"/>
                  <a:gd name="T56" fmla="*/ 81 w 127"/>
                  <a:gd name="T57" fmla="*/ 34 h 128"/>
                  <a:gd name="T58" fmla="*/ 95 w 127"/>
                  <a:gd name="T59" fmla="*/ 25 h 128"/>
                  <a:gd name="T60" fmla="*/ 113 w 127"/>
                  <a:gd name="T61" fmla="*/ 22 h 128"/>
                  <a:gd name="T62" fmla="*/ 139 w 127"/>
                  <a:gd name="T63" fmla="*/ 36 h 128"/>
                  <a:gd name="T64" fmla="*/ 152 w 127"/>
                  <a:gd name="T65" fmla="*/ 105 h 128"/>
                  <a:gd name="T66" fmla="*/ 151 w 127"/>
                  <a:gd name="T67" fmla="*/ 115 h 1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7"/>
                  <a:gd name="T103" fmla="*/ 0 h 128"/>
                  <a:gd name="T104" fmla="*/ 127 w 127"/>
                  <a:gd name="T105" fmla="*/ 128 h 1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7" h="128">
                    <a:moveTo>
                      <a:pt x="124" y="128"/>
                    </a:moveTo>
                    <a:cubicBezTo>
                      <a:pt x="122" y="127"/>
                      <a:pt x="120" y="124"/>
                      <a:pt x="118" y="121"/>
                    </a:cubicBezTo>
                    <a:cubicBezTo>
                      <a:pt x="116" y="119"/>
                      <a:pt x="114" y="116"/>
                      <a:pt x="110" y="115"/>
                    </a:cubicBezTo>
                    <a:cubicBezTo>
                      <a:pt x="107" y="114"/>
                      <a:pt x="104" y="115"/>
                      <a:pt x="101" y="115"/>
                    </a:cubicBezTo>
                    <a:cubicBezTo>
                      <a:pt x="100" y="115"/>
                      <a:pt x="98" y="115"/>
                      <a:pt x="98" y="114"/>
                    </a:cubicBezTo>
                    <a:cubicBezTo>
                      <a:pt x="98" y="112"/>
                      <a:pt x="100" y="110"/>
                      <a:pt x="101" y="108"/>
                    </a:cubicBezTo>
                    <a:cubicBezTo>
                      <a:pt x="101" y="107"/>
                      <a:pt x="101" y="105"/>
                      <a:pt x="100" y="103"/>
                    </a:cubicBezTo>
                    <a:cubicBezTo>
                      <a:pt x="99" y="102"/>
                      <a:pt x="97" y="102"/>
                      <a:pt x="96" y="100"/>
                    </a:cubicBezTo>
                    <a:cubicBezTo>
                      <a:pt x="95" y="99"/>
                      <a:pt x="94" y="97"/>
                      <a:pt x="95" y="95"/>
                    </a:cubicBezTo>
                    <a:cubicBezTo>
                      <a:pt x="95" y="94"/>
                      <a:pt x="98" y="95"/>
                      <a:pt x="98" y="94"/>
                    </a:cubicBezTo>
                    <a:cubicBezTo>
                      <a:pt x="99" y="93"/>
                      <a:pt x="97" y="93"/>
                      <a:pt x="96" y="92"/>
                    </a:cubicBezTo>
                    <a:cubicBezTo>
                      <a:pt x="95" y="89"/>
                      <a:pt x="94" y="86"/>
                      <a:pt x="93" y="83"/>
                    </a:cubicBezTo>
                    <a:cubicBezTo>
                      <a:pt x="92" y="80"/>
                      <a:pt x="90" y="78"/>
                      <a:pt x="89" y="76"/>
                    </a:cubicBezTo>
                    <a:cubicBezTo>
                      <a:pt x="87" y="74"/>
                      <a:pt x="86" y="72"/>
                      <a:pt x="84" y="70"/>
                    </a:cubicBezTo>
                    <a:cubicBezTo>
                      <a:pt x="81" y="68"/>
                      <a:pt x="77" y="67"/>
                      <a:pt x="74" y="65"/>
                    </a:cubicBezTo>
                    <a:cubicBezTo>
                      <a:pt x="70" y="63"/>
                      <a:pt x="66" y="61"/>
                      <a:pt x="61" y="60"/>
                    </a:cubicBezTo>
                    <a:cubicBezTo>
                      <a:pt x="59" y="59"/>
                      <a:pt x="57" y="60"/>
                      <a:pt x="55" y="60"/>
                    </a:cubicBezTo>
                    <a:cubicBezTo>
                      <a:pt x="52" y="59"/>
                      <a:pt x="49" y="58"/>
                      <a:pt x="47" y="56"/>
                    </a:cubicBezTo>
                    <a:cubicBezTo>
                      <a:pt x="46" y="55"/>
                      <a:pt x="48" y="53"/>
                      <a:pt x="47" y="52"/>
                    </a:cubicBezTo>
                    <a:cubicBezTo>
                      <a:pt x="46" y="51"/>
                      <a:pt x="45" y="54"/>
                      <a:pt x="43" y="53"/>
                    </a:cubicBezTo>
                    <a:cubicBezTo>
                      <a:pt x="41" y="53"/>
                      <a:pt x="40" y="52"/>
                      <a:pt x="39" y="51"/>
                    </a:cubicBezTo>
                    <a:cubicBezTo>
                      <a:pt x="37" y="49"/>
                      <a:pt x="35" y="47"/>
                      <a:pt x="35" y="45"/>
                    </a:cubicBezTo>
                    <a:cubicBezTo>
                      <a:pt x="34" y="43"/>
                      <a:pt x="37" y="42"/>
                      <a:pt x="37" y="40"/>
                    </a:cubicBezTo>
                    <a:cubicBezTo>
                      <a:pt x="37" y="39"/>
                      <a:pt x="36" y="37"/>
                      <a:pt x="35" y="38"/>
                    </a:cubicBezTo>
                    <a:cubicBezTo>
                      <a:pt x="34" y="40"/>
                      <a:pt x="33" y="43"/>
                      <a:pt x="32" y="45"/>
                    </a:cubicBezTo>
                    <a:cubicBezTo>
                      <a:pt x="32" y="47"/>
                      <a:pt x="32" y="48"/>
                      <a:pt x="31" y="50"/>
                    </a:cubicBezTo>
                    <a:cubicBezTo>
                      <a:pt x="30" y="52"/>
                      <a:pt x="28" y="53"/>
                      <a:pt x="27" y="54"/>
                    </a:cubicBezTo>
                    <a:cubicBezTo>
                      <a:pt x="26" y="54"/>
                      <a:pt x="24" y="54"/>
                      <a:pt x="24" y="53"/>
                    </a:cubicBezTo>
                    <a:cubicBezTo>
                      <a:pt x="22" y="52"/>
                      <a:pt x="22" y="50"/>
                      <a:pt x="22" y="48"/>
                    </a:cubicBezTo>
                    <a:cubicBezTo>
                      <a:pt x="22" y="47"/>
                      <a:pt x="25" y="48"/>
                      <a:pt x="24" y="47"/>
                    </a:cubicBezTo>
                    <a:cubicBezTo>
                      <a:pt x="23" y="44"/>
                      <a:pt x="22" y="41"/>
                      <a:pt x="19" y="39"/>
                    </a:cubicBezTo>
                    <a:cubicBezTo>
                      <a:pt x="18" y="37"/>
                      <a:pt x="15" y="38"/>
                      <a:pt x="13" y="37"/>
                    </a:cubicBezTo>
                    <a:cubicBezTo>
                      <a:pt x="13" y="36"/>
                      <a:pt x="15" y="35"/>
                      <a:pt x="17" y="35"/>
                    </a:cubicBezTo>
                    <a:cubicBezTo>
                      <a:pt x="19" y="34"/>
                      <a:pt x="22" y="36"/>
                      <a:pt x="25" y="35"/>
                    </a:cubicBezTo>
                    <a:cubicBezTo>
                      <a:pt x="27" y="35"/>
                      <a:pt x="27" y="31"/>
                      <a:pt x="29" y="31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3" y="34"/>
                      <a:pt x="35" y="33"/>
                      <a:pt x="35" y="32"/>
                    </a:cubicBezTo>
                    <a:cubicBezTo>
                      <a:pt x="36" y="31"/>
                      <a:pt x="38" y="28"/>
                      <a:pt x="37" y="26"/>
                    </a:cubicBezTo>
                    <a:cubicBezTo>
                      <a:pt x="36" y="25"/>
                      <a:pt x="33" y="27"/>
                      <a:pt x="32" y="27"/>
                    </a:cubicBezTo>
                    <a:cubicBezTo>
                      <a:pt x="27" y="27"/>
                      <a:pt x="22" y="29"/>
                      <a:pt x="17" y="28"/>
                    </a:cubicBezTo>
                    <a:cubicBezTo>
                      <a:pt x="15" y="27"/>
                      <a:pt x="15" y="25"/>
                      <a:pt x="14" y="23"/>
                    </a:cubicBezTo>
                    <a:cubicBezTo>
                      <a:pt x="13" y="21"/>
                      <a:pt x="11" y="18"/>
                      <a:pt x="9" y="17"/>
                    </a:cubicBezTo>
                    <a:cubicBezTo>
                      <a:pt x="7" y="16"/>
                      <a:pt x="3" y="18"/>
                      <a:pt x="1" y="17"/>
                    </a:cubicBezTo>
                    <a:cubicBezTo>
                      <a:pt x="0" y="15"/>
                      <a:pt x="3" y="14"/>
                      <a:pt x="4" y="12"/>
                    </a:cubicBezTo>
                    <a:cubicBezTo>
                      <a:pt x="5" y="11"/>
                      <a:pt x="5" y="8"/>
                      <a:pt x="6" y="7"/>
                    </a:cubicBezTo>
                    <a:cubicBezTo>
                      <a:pt x="9" y="4"/>
                      <a:pt x="13" y="4"/>
                      <a:pt x="16" y="3"/>
                    </a:cubicBezTo>
                    <a:cubicBezTo>
                      <a:pt x="18" y="2"/>
                      <a:pt x="20" y="0"/>
                      <a:pt x="23" y="1"/>
                    </a:cubicBezTo>
                    <a:cubicBezTo>
                      <a:pt x="27" y="1"/>
                      <a:pt x="30" y="4"/>
                      <a:pt x="33" y="6"/>
                    </a:cubicBezTo>
                    <a:cubicBezTo>
                      <a:pt x="35" y="6"/>
                      <a:pt x="37" y="4"/>
                      <a:pt x="39" y="5"/>
                    </a:cubicBezTo>
                    <a:cubicBezTo>
                      <a:pt x="41" y="7"/>
                      <a:pt x="43" y="11"/>
                      <a:pt x="43" y="14"/>
                    </a:cubicBezTo>
                    <a:cubicBezTo>
                      <a:pt x="44" y="18"/>
                      <a:pt x="40" y="22"/>
                      <a:pt x="41" y="26"/>
                    </a:cubicBezTo>
                    <a:cubicBezTo>
                      <a:pt x="41" y="30"/>
                      <a:pt x="43" y="34"/>
                      <a:pt x="45" y="37"/>
                    </a:cubicBezTo>
                    <a:cubicBezTo>
                      <a:pt x="46" y="38"/>
                      <a:pt x="46" y="35"/>
                      <a:pt x="46" y="34"/>
                    </a:cubicBezTo>
                    <a:cubicBezTo>
                      <a:pt x="46" y="33"/>
                      <a:pt x="47" y="33"/>
                      <a:pt x="47" y="34"/>
                    </a:cubicBezTo>
                    <a:cubicBezTo>
                      <a:pt x="48" y="36"/>
                      <a:pt x="47" y="40"/>
                      <a:pt x="49" y="42"/>
                    </a:cubicBezTo>
                    <a:cubicBezTo>
                      <a:pt x="50" y="44"/>
                      <a:pt x="53" y="46"/>
                      <a:pt x="55" y="45"/>
                    </a:cubicBezTo>
                    <a:cubicBezTo>
                      <a:pt x="60" y="43"/>
                      <a:pt x="64" y="38"/>
                      <a:pt x="67" y="33"/>
                    </a:cubicBezTo>
                    <a:cubicBezTo>
                      <a:pt x="68" y="32"/>
                      <a:pt x="67" y="29"/>
                      <a:pt x="68" y="28"/>
                    </a:cubicBezTo>
                    <a:cubicBezTo>
                      <a:pt x="71" y="27"/>
                      <a:pt x="74" y="29"/>
                      <a:pt x="76" y="28"/>
                    </a:cubicBezTo>
                    <a:cubicBezTo>
                      <a:pt x="78" y="27"/>
                      <a:pt x="77" y="23"/>
                      <a:pt x="79" y="21"/>
                    </a:cubicBezTo>
                    <a:cubicBezTo>
                      <a:pt x="81" y="19"/>
                      <a:pt x="84" y="18"/>
                      <a:pt x="87" y="17"/>
                    </a:cubicBezTo>
                    <a:cubicBezTo>
                      <a:pt x="89" y="17"/>
                      <a:pt x="92" y="17"/>
                      <a:pt x="94" y="18"/>
                    </a:cubicBezTo>
                    <a:cubicBezTo>
                      <a:pt x="100" y="22"/>
                      <a:pt x="105" y="27"/>
                      <a:pt x="111" y="30"/>
                    </a:cubicBezTo>
                    <a:cubicBezTo>
                      <a:pt x="112" y="31"/>
                      <a:pt x="115" y="29"/>
                      <a:pt x="116" y="30"/>
                    </a:cubicBezTo>
                    <a:cubicBezTo>
                      <a:pt x="120" y="31"/>
                      <a:pt x="124" y="32"/>
                      <a:pt x="127" y="34"/>
                    </a:cubicBezTo>
                    <a:lnTo>
                      <a:pt x="127" y="87"/>
                    </a:lnTo>
                    <a:cubicBezTo>
                      <a:pt x="127" y="89"/>
                      <a:pt x="124" y="90"/>
                      <a:pt x="124" y="92"/>
                    </a:cubicBezTo>
                    <a:cubicBezTo>
                      <a:pt x="124" y="93"/>
                      <a:pt x="126" y="95"/>
                      <a:pt x="126" y="96"/>
                    </a:cubicBezTo>
                    <a:lnTo>
                      <a:pt x="124" y="128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199" name="Freeform 2510"/>
              <p:cNvSpPr>
                <a:spLocks noChangeAspect="1"/>
              </p:cNvSpPr>
              <p:nvPr/>
            </p:nvSpPr>
            <p:spPr bwMode="auto">
              <a:xfrm>
                <a:off x="7520259" y="4290803"/>
                <a:ext cx="44161" cy="43852"/>
              </a:xfrm>
              <a:custGeom>
                <a:avLst/>
                <a:gdLst>
                  <a:gd name="T0" fmla="*/ 23 w 23"/>
                  <a:gd name="T1" fmla="*/ 0 h 23"/>
                  <a:gd name="T2" fmla="*/ 19 w 23"/>
                  <a:gd name="T3" fmla="*/ 5 h 23"/>
                  <a:gd name="T4" fmla="*/ 11 w 23"/>
                  <a:gd name="T5" fmla="*/ 7 h 23"/>
                  <a:gd name="T6" fmla="*/ 5 w 23"/>
                  <a:gd name="T7" fmla="*/ 12 h 23"/>
                  <a:gd name="T8" fmla="*/ 4 w 23"/>
                  <a:gd name="T9" fmla="*/ 20 h 23"/>
                  <a:gd name="T10" fmla="*/ 0 w 23"/>
                  <a:gd name="T11" fmla="*/ 25 h 23"/>
                  <a:gd name="T12" fmla="*/ 4 w 23"/>
                  <a:gd name="T13" fmla="*/ 26 h 23"/>
                  <a:gd name="T14" fmla="*/ 13 w 23"/>
                  <a:gd name="T15" fmla="*/ 22 h 23"/>
                  <a:gd name="T16" fmla="*/ 16 w 23"/>
                  <a:gd name="T17" fmla="*/ 21 h 23"/>
                  <a:gd name="T18" fmla="*/ 23 w 23"/>
                  <a:gd name="T19" fmla="*/ 14 h 23"/>
                  <a:gd name="T20" fmla="*/ 27 w 23"/>
                  <a:gd name="T21" fmla="*/ 9 h 23"/>
                  <a:gd name="T22" fmla="*/ 27 w 23"/>
                  <a:gd name="T23" fmla="*/ 4 h 23"/>
                  <a:gd name="T24" fmla="*/ 23 w 23"/>
                  <a:gd name="T25" fmla="*/ 0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3"/>
                  <a:gd name="T40" fmla="*/ 0 h 23"/>
                  <a:gd name="T41" fmla="*/ 23 w 23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3" h="23">
                    <a:moveTo>
                      <a:pt x="20" y="0"/>
                    </a:moveTo>
                    <a:cubicBezTo>
                      <a:pt x="19" y="2"/>
                      <a:pt x="18" y="3"/>
                      <a:pt x="16" y="4"/>
                    </a:cubicBezTo>
                    <a:cubicBezTo>
                      <a:pt x="14" y="5"/>
                      <a:pt x="11" y="5"/>
                      <a:pt x="9" y="6"/>
                    </a:cubicBezTo>
                    <a:cubicBezTo>
                      <a:pt x="7" y="7"/>
                      <a:pt x="5" y="8"/>
                      <a:pt x="4" y="10"/>
                    </a:cubicBezTo>
                    <a:cubicBezTo>
                      <a:pt x="3" y="12"/>
                      <a:pt x="4" y="15"/>
                      <a:pt x="3" y="17"/>
                    </a:cubicBezTo>
                    <a:cubicBezTo>
                      <a:pt x="3" y="18"/>
                      <a:pt x="1" y="20"/>
                      <a:pt x="0" y="21"/>
                    </a:cubicBezTo>
                    <a:cubicBezTo>
                      <a:pt x="0" y="22"/>
                      <a:pt x="2" y="23"/>
                      <a:pt x="3" y="22"/>
                    </a:cubicBezTo>
                    <a:cubicBezTo>
                      <a:pt x="6" y="22"/>
                      <a:pt x="8" y="20"/>
                      <a:pt x="11" y="19"/>
                    </a:cubicBezTo>
                    <a:cubicBezTo>
                      <a:pt x="12" y="18"/>
                      <a:pt x="13" y="19"/>
                      <a:pt x="14" y="18"/>
                    </a:cubicBezTo>
                    <a:cubicBezTo>
                      <a:pt x="16" y="17"/>
                      <a:pt x="18" y="14"/>
                      <a:pt x="20" y="12"/>
                    </a:cubicBezTo>
                    <a:cubicBezTo>
                      <a:pt x="21" y="11"/>
                      <a:pt x="22" y="10"/>
                      <a:pt x="23" y="8"/>
                    </a:cubicBezTo>
                    <a:cubicBezTo>
                      <a:pt x="23" y="7"/>
                      <a:pt x="23" y="5"/>
                      <a:pt x="23" y="3"/>
                    </a:cubicBezTo>
                    <a:cubicBezTo>
                      <a:pt x="22" y="2"/>
                      <a:pt x="21" y="1"/>
                      <a:pt x="20" y="0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0" name="Freeform 2511"/>
              <p:cNvSpPr>
                <a:spLocks noChangeAspect="1"/>
              </p:cNvSpPr>
              <p:nvPr/>
            </p:nvSpPr>
            <p:spPr bwMode="auto">
              <a:xfrm>
                <a:off x="4864064" y="4672475"/>
                <a:ext cx="403991" cy="383295"/>
              </a:xfrm>
              <a:custGeom>
                <a:avLst/>
                <a:gdLst>
                  <a:gd name="T0" fmla="*/ 235 w 206"/>
                  <a:gd name="T1" fmla="*/ 85 h 197"/>
                  <a:gd name="T2" fmla="*/ 229 w 206"/>
                  <a:gd name="T3" fmla="*/ 95 h 197"/>
                  <a:gd name="T4" fmla="*/ 215 w 206"/>
                  <a:gd name="T5" fmla="*/ 86 h 197"/>
                  <a:gd name="T6" fmla="*/ 218 w 206"/>
                  <a:gd name="T7" fmla="*/ 71 h 197"/>
                  <a:gd name="T8" fmla="*/ 235 w 206"/>
                  <a:gd name="T9" fmla="*/ 72 h 197"/>
                  <a:gd name="T10" fmla="*/ 233 w 206"/>
                  <a:gd name="T11" fmla="*/ 62 h 197"/>
                  <a:gd name="T12" fmla="*/ 231 w 206"/>
                  <a:gd name="T13" fmla="*/ 36 h 197"/>
                  <a:gd name="T14" fmla="*/ 229 w 206"/>
                  <a:gd name="T15" fmla="*/ 19 h 197"/>
                  <a:gd name="T16" fmla="*/ 225 w 206"/>
                  <a:gd name="T17" fmla="*/ 5 h 197"/>
                  <a:gd name="T18" fmla="*/ 218 w 206"/>
                  <a:gd name="T19" fmla="*/ 2 h 197"/>
                  <a:gd name="T20" fmla="*/ 201 w 206"/>
                  <a:gd name="T21" fmla="*/ 1 h 197"/>
                  <a:gd name="T22" fmla="*/ 188 w 206"/>
                  <a:gd name="T23" fmla="*/ 4 h 197"/>
                  <a:gd name="T24" fmla="*/ 175 w 206"/>
                  <a:gd name="T25" fmla="*/ 12 h 197"/>
                  <a:gd name="T26" fmla="*/ 158 w 206"/>
                  <a:gd name="T27" fmla="*/ 36 h 197"/>
                  <a:gd name="T28" fmla="*/ 143 w 206"/>
                  <a:gd name="T29" fmla="*/ 46 h 197"/>
                  <a:gd name="T30" fmla="*/ 138 w 206"/>
                  <a:gd name="T31" fmla="*/ 63 h 197"/>
                  <a:gd name="T32" fmla="*/ 122 w 206"/>
                  <a:gd name="T33" fmla="*/ 66 h 197"/>
                  <a:gd name="T34" fmla="*/ 109 w 206"/>
                  <a:gd name="T35" fmla="*/ 56 h 197"/>
                  <a:gd name="T36" fmla="*/ 97 w 206"/>
                  <a:gd name="T37" fmla="*/ 59 h 197"/>
                  <a:gd name="T38" fmla="*/ 89 w 206"/>
                  <a:gd name="T39" fmla="*/ 74 h 197"/>
                  <a:gd name="T40" fmla="*/ 79 w 206"/>
                  <a:gd name="T41" fmla="*/ 84 h 197"/>
                  <a:gd name="T42" fmla="*/ 62 w 206"/>
                  <a:gd name="T43" fmla="*/ 85 h 197"/>
                  <a:gd name="T44" fmla="*/ 65 w 206"/>
                  <a:gd name="T45" fmla="*/ 69 h 197"/>
                  <a:gd name="T46" fmla="*/ 59 w 206"/>
                  <a:gd name="T47" fmla="*/ 53 h 197"/>
                  <a:gd name="T48" fmla="*/ 53 w 206"/>
                  <a:gd name="T49" fmla="*/ 115 h 197"/>
                  <a:gd name="T50" fmla="*/ 44 w 206"/>
                  <a:gd name="T51" fmla="*/ 121 h 197"/>
                  <a:gd name="T52" fmla="*/ 34 w 206"/>
                  <a:gd name="T53" fmla="*/ 122 h 197"/>
                  <a:gd name="T54" fmla="*/ 16 w 206"/>
                  <a:gd name="T55" fmla="*/ 121 h 197"/>
                  <a:gd name="T56" fmla="*/ 8 w 206"/>
                  <a:gd name="T57" fmla="*/ 108 h 197"/>
                  <a:gd name="T58" fmla="*/ 5 w 206"/>
                  <a:gd name="T59" fmla="*/ 117 h 197"/>
                  <a:gd name="T60" fmla="*/ 4 w 206"/>
                  <a:gd name="T61" fmla="*/ 129 h 197"/>
                  <a:gd name="T62" fmla="*/ 19 w 206"/>
                  <a:gd name="T63" fmla="*/ 168 h 197"/>
                  <a:gd name="T64" fmla="*/ 25 w 206"/>
                  <a:gd name="T65" fmla="*/ 195 h 197"/>
                  <a:gd name="T66" fmla="*/ 20 w 206"/>
                  <a:gd name="T67" fmla="*/ 199 h 197"/>
                  <a:gd name="T68" fmla="*/ 26 w 206"/>
                  <a:gd name="T69" fmla="*/ 217 h 197"/>
                  <a:gd name="T70" fmla="*/ 34 w 206"/>
                  <a:gd name="T71" fmla="*/ 224 h 197"/>
                  <a:gd name="T72" fmla="*/ 49 w 206"/>
                  <a:gd name="T73" fmla="*/ 235 h 197"/>
                  <a:gd name="T74" fmla="*/ 65 w 206"/>
                  <a:gd name="T75" fmla="*/ 225 h 197"/>
                  <a:gd name="T76" fmla="*/ 80 w 206"/>
                  <a:gd name="T77" fmla="*/ 222 h 197"/>
                  <a:gd name="T78" fmla="*/ 100 w 206"/>
                  <a:gd name="T79" fmla="*/ 222 h 197"/>
                  <a:gd name="T80" fmla="*/ 121 w 206"/>
                  <a:gd name="T81" fmla="*/ 222 h 197"/>
                  <a:gd name="T82" fmla="*/ 134 w 206"/>
                  <a:gd name="T83" fmla="*/ 218 h 197"/>
                  <a:gd name="T84" fmla="*/ 147 w 206"/>
                  <a:gd name="T85" fmla="*/ 213 h 197"/>
                  <a:gd name="T86" fmla="*/ 169 w 206"/>
                  <a:gd name="T87" fmla="*/ 200 h 197"/>
                  <a:gd name="T88" fmla="*/ 191 w 206"/>
                  <a:gd name="T89" fmla="*/ 177 h 197"/>
                  <a:gd name="T90" fmla="*/ 206 w 206"/>
                  <a:gd name="T91" fmla="*/ 161 h 197"/>
                  <a:gd name="T92" fmla="*/ 219 w 206"/>
                  <a:gd name="T93" fmla="*/ 133 h 197"/>
                  <a:gd name="T94" fmla="*/ 235 w 206"/>
                  <a:gd name="T95" fmla="*/ 121 h 197"/>
                  <a:gd name="T96" fmla="*/ 243 w 206"/>
                  <a:gd name="T97" fmla="*/ 97 h 19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06"/>
                  <a:gd name="T148" fmla="*/ 0 h 197"/>
                  <a:gd name="T149" fmla="*/ 206 w 206"/>
                  <a:gd name="T150" fmla="*/ 197 h 19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06" h="197">
                    <a:moveTo>
                      <a:pt x="206" y="72"/>
                    </a:moveTo>
                    <a:lnTo>
                      <a:pt x="196" y="71"/>
                    </a:lnTo>
                    <a:cubicBezTo>
                      <a:pt x="196" y="74"/>
                      <a:pt x="195" y="76"/>
                      <a:pt x="194" y="77"/>
                    </a:cubicBezTo>
                    <a:cubicBezTo>
                      <a:pt x="193" y="78"/>
                      <a:pt x="192" y="79"/>
                      <a:pt x="191" y="79"/>
                    </a:cubicBezTo>
                    <a:cubicBezTo>
                      <a:pt x="189" y="79"/>
                      <a:pt x="186" y="78"/>
                      <a:pt x="185" y="77"/>
                    </a:cubicBezTo>
                    <a:cubicBezTo>
                      <a:pt x="182" y="76"/>
                      <a:pt x="180" y="74"/>
                      <a:pt x="179" y="72"/>
                    </a:cubicBezTo>
                    <a:cubicBezTo>
                      <a:pt x="178" y="70"/>
                      <a:pt x="178" y="67"/>
                      <a:pt x="179" y="65"/>
                    </a:cubicBezTo>
                    <a:cubicBezTo>
                      <a:pt x="179" y="63"/>
                      <a:pt x="181" y="61"/>
                      <a:pt x="182" y="59"/>
                    </a:cubicBezTo>
                    <a:cubicBezTo>
                      <a:pt x="184" y="57"/>
                      <a:pt x="185" y="55"/>
                      <a:pt x="187" y="55"/>
                    </a:cubicBezTo>
                    <a:cubicBezTo>
                      <a:pt x="190" y="55"/>
                      <a:pt x="193" y="58"/>
                      <a:pt x="196" y="60"/>
                    </a:cubicBezTo>
                    <a:cubicBezTo>
                      <a:pt x="195" y="58"/>
                      <a:pt x="194" y="57"/>
                      <a:pt x="194" y="56"/>
                    </a:cubicBezTo>
                    <a:cubicBezTo>
                      <a:pt x="194" y="55"/>
                      <a:pt x="194" y="54"/>
                      <a:pt x="194" y="52"/>
                    </a:cubicBezTo>
                    <a:cubicBezTo>
                      <a:pt x="195" y="47"/>
                      <a:pt x="195" y="42"/>
                      <a:pt x="195" y="37"/>
                    </a:cubicBezTo>
                    <a:cubicBezTo>
                      <a:pt x="195" y="35"/>
                      <a:pt x="194" y="32"/>
                      <a:pt x="193" y="30"/>
                    </a:cubicBezTo>
                    <a:cubicBezTo>
                      <a:pt x="192" y="27"/>
                      <a:pt x="191" y="25"/>
                      <a:pt x="191" y="22"/>
                    </a:cubicBezTo>
                    <a:cubicBezTo>
                      <a:pt x="190" y="20"/>
                      <a:pt x="191" y="18"/>
                      <a:pt x="191" y="16"/>
                    </a:cubicBezTo>
                    <a:cubicBezTo>
                      <a:pt x="191" y="15"/>
                      <a:pt x="189" y="13"/>
                      <a:pt x="189" y="12"/>
                    </a:cubicBezTo>
                    <a:cubicBezTo>
                      <a:pt x="188" y="9"/>
                      <a:pt x="188" y="7"/>
                      <a:pt x="188" y="4"/>
                    </a:cubicBezTo>
                    <a:cubicBezTo>
                      <a:pt x="187" y="4"/>
                      <a:pt x="187" y="5"/>
                      <a:pt x="186" y="4"/>
                    </a:cubicBezTo>
                    <a:cubicBezTo>
                      <a:pt x="185" y="4"/>
                      <a:pt x="184" y="2"/>
                      <a:pt x="182" y="2"/>
                    </a:cubicBezTo>
                    <a:cubicBezTo>
                      <a:pt x="180" y="2"/>
                      <a:pt x="178" y="2"/>
                      <a:pt x="177" y="2"/>
                    </a:cubicBezTo>
                    <a:cubicBezTo>
                      <a:pt x="174" y="2"/>
                      <a:pt x="171" y="1"/>
                      <a:pt x="168" y="1"/>
                    </a:cubicBezTo>
                    <a:cubicBezTo>
                      <a:pt x="166" y="0"/>
                      <a:pt x="164" y="0"/>
                      <a:pt x="161" y="0"/>
                    </a:cubicBezTo>
                    <a:cubicBezTo>
                      <a:pt x="160" y="1"/>
                      <a:pt x="158" y="2"/>
                      <a:pt x="157" y="3"/>
                    </a:cubicBezTo>
                    <a:cubicBezTo>
                      <a:pt x="156" y="4"/>
                      <a:pt x="154" y="5"/>
                      <a:pt x="153" y="5"/>
                    </a:cubicBezTo>
                    <a:cubicBezTo>
                      <a:pt x="150" y="7"/>
                      <a:pt x="148" y="9"/>
                      <a:pt x="146" y="10"/>
                    </a:cubicBezTo>
                    <a:cubicBezTo>
                      <a:pt x="142" y="14"/>
                      <a:pt x="137" y="17"/>
                      <a:pt x="134" y="21"/>
                    </a:cubicBezTo>
                    <a:cubicBezTo>
                      <a:pt x="133" y="23"/>
                      <a:pt x="134" y="27"/>
                      <a:pt x="132" y="30"/>
                    </a:cubicBezTo>
                    <a:cubicBezTo>
                      <a:pt x="131" y="32"/>
                      <a:pt x="129" y="34"/>
                      <a:pt x="126" y="36"/>
                    </a:cubicBezTo>
                    <a:cubicBezTo>
                      <a:pt x="124" y="37"/>
                      <a:pt x="121" y="37"/>
                      <a:pt x="119" y="38"/>
                    </a:cubicBezTo>
                    <a:cubicBezTo>
                      <a:pt x="117" y="41"/>
                      <a:pt x="118" y="44"/>
                      <a:pt x="117" y="47"/>
                    </a:cubicBezTo>
                    <a:cubicBezTo>
                      <a:pt x="116" y="49"/>
                      <a:pt x="116" y="51"/>
                      <a:pt x="115" y="53"/>
                    </a:cubicBezTo>
                    <a:cubicBezTo>
                      <a:pt x="112" y="54"/>
                      <a:pt x="109" y="54"/>
                      <a:pt x="106" y="54"/>
                    </a:cubicBezTo>
                    <a:cubicBezTo>
                      <a:pt x="105" y="55"/>
                      <a:pt x="104" y="55"/>
                      <a:pt x="102" y="55"/>
                    </a:cubicBezTo>
                    <a:cubicBezTo>
                      <a:pt x="100" y="55"/>
                      <a:pt x="97" y="54"/>
                      <a:pt x="95" y="53"/>
                    </a:cubicBezTo>
                    <a:cubicBezTo>
                      <a:pt x="93" y="51"/>
                      <a:pt x="93" y="48"/>
                      <a:pt x="91" y="47"/>
                    </a:cubicBezTo>
                    <a:cubicBezTo>
                      <a:pt x="90" y="46"/>
                      <a:pt x="88" y="46"/>
                      <a:pt x="86" y="47"/>
                    </a:cubicBezTo>
                    <a:cubicBezTo>
                      <a:pt x="84" y="47"/>
                      <a:pt x="82" y="48"/>
                      <a:pt x="81" y="49"/>
                    </a:cubicBezTo>
                    <a:cubicBezTo>
                      <a:pt x="80" y="52"/>
                      <a:pt x="80" y="55"/>
                      <a:pt x="78" y="57"/>
                    </a:cubicBezTo>
                    <a:cubicBezTo>
                      <a:pt x="77" y="59"/>
                      <a:pt x="76" y="61"/>
                      <a:pt x="74" y="62"/>
                    </a:cubicBezTo>
                    <a:cubicBezTo>
                      <a:pt x="72" y="64"/>
                      <a:pt x="69" y="65"/>
                      <a:pt x="67" y="67"/>
                    </a:cubicBezTo>
                    <a:cubicBezTo>
                      <a:pt x="66" y="67"/>
                      <a:pt x="67" y="70"/>
                      <a:pt x="66" y="70"/>
                    </a:cubicBezTo>
                    <a:cubicBezTo>
                      <a:pt x="63" y="71"/>
                      <a:pt x="60" y="69"/>
                      <a:pt x="57" y="69"/>
                    </a:cubicBezTo>
                    <a:cubicBezTo>
                      <a:pt x="55" y="70"/>
                      <a:pt x="53" y="72"/>
                      <a:pt x="52" y="71"/>
                    </a:cubicBezTo>
                    <a:cubicBezTo>
                      <a:pt x="50" y="70"/>
                      <a:pt x="50" y="68"/>
                      <a:pt x="50" y="66"/>
                    </a:cubicBezTo>
                    <a:cubicBezTo>
                      <a:pt x="51" y="63"/>
                      <a:pt x="54" y="61"/>
                      <a:pt x="54" y="58"/>
                    </a:cubicBezTo>
                    <a:cubicBezTo>
                      <a:pt x="54" y="56"/>
                      <a:pt x="52" y="55"/>
                      <a:pt x="51" y="53"/>
                    </a:cubicBezTo>
                    <a:cubicBezTo>
                      <a:pt x="50" y="50"/>
                      <a:pt x="51" y="47"/>
                      <a:pt x="49" y="44"/>
                    </a:cubicBezTo>
                    <a:cubicBezTo>
                      <a:pt x="48" y="42"/>
                      <a:pt x="46" y="41"/>
                      <a:pt x="45" y="40"/>
                    </a:cubicBezTo>
                    <a:lnTo>
                      <a:pt x="44" y="96"/>
                    </a:lnTo>
                    <a:cubicBezTo>
                      <a:pt x="43" y="97"/>
                      <a:pt x="42" y="98"/>
                      <a:pt x="41" y="99"/>
                    </a:cubicBezTo>
                    <a:cubicBezTo>
                      <a:pt x="39" y="100"/>
                      <a:pt x="38" y="100"/>
                      <a:pt x="37" y="101"/>
                    </a:cubicBezTo>
                    <a:cubicBezTo>
                      <a:pt x="36" y="102"/>
                      <a:pt x="35" y="104"/>
                      <a:pt x="34" y="104"/>
                    </a:cubicBezTo>
                    <a:cubicBezTo>
                      <a:pt x="32" y="105"/>
                      <a:pt x="30" y="102"/>
                      <a:pt x="28" y="102"/>
                    </a:cubicBezTo>
                    <a:cubicBezTo>
                      <a:pt x="25" y="102"/>
                      <a:pt x="23" y="104"/>
                      <a:pt x="20" y="104"/>
                    </a:cubicBezTo>
                    <a:cubicBezTo>
                      <a:pt x="18" y="103"/>
                      <a:pt x="15" y="103"/>
                      <a:pt x="13" y="101"/>
                    </a:cubicBezTo>
                    <a:cubicBezTo>
                      <a:pt x="11" y="100"/>
                      <a:pt x="12" y="97"/>
                      <a:pt x="11" y="95"/>
                    </a:cubicBezTo>
                    <a:cubicBezTo>
                      <a:pt x="10" y="93"/>
                      <a:pt x="9" y="90"/>
                      <a:pt x="7" y="90"/>
                    </a:cubicBezTo>
                    <a:cubicBezTo>
                      <a:pt x="6" y="89"/>
                      <a:pt x="4" y="91"/>
                      <a:pt x="4" y="92"/>
                    </a:cubicBezTo>
                    <a:cubicBezTo>
                      <a:pt x="3" y="94"/>
                      <a:pt x="4" y="96"/>
                      <a:pt x="4" y="98"/>
                    </a:cubicBezTo>
                    <a:cubicBezTo>
                      <a:pt x="3" y="98"/>
                      <a:pt x="1" y="98"/>
                      <a:pt x="0" y="98"/>
                    </a:cubicBezTo>
                    <a:cubicBezTo>
                      <a:pt x="1" y="102"/>
                      <a:pt x="2" y="104"/>
                      <a:pt x="3" y="108"/>
                    </a:cubicBezTo>
                    <a:cubicBezTo>
                      <a:pt x="5" y="112"/>
                      <a:pt x="6" y="116"/>
                      <a:pt x="8" y="120"/>
                    </a:cubicBezTo>
                    <a:cubicBezTo>
                      <a:pt x="11" y="127"/>
                      <a:pt x="14" y="133"/>
                      <a:pt x="16" y="140"/>
                    </a:cubicBezTo>
                    <a:cubicBezTo>
                      <a:pt x="18" y="144"/>
                      <a:pt x="21" y="148"/>
                      <a:pt x="22" y="153"/>
                    </a:cubicBezTo>
                    <a:cubicBezTo>
                      <a:pt x="22" y="156"/>
                      <a:pt x="23" y="160"/>
                      <a:pt x="21" y="163"/>
                    </a:cubicBezTo>
                    <a:cubicBezTo>
                      <a:pt x="20" y="164"/>
                      <a:pt x="18" y="159"/>
                      <a:pt x="17" y="160"/>
                    </a:cubicBezTo>
                    <a:cubicBezTo>
                      <a:pt x="15" y="161"/>
                      <a:pt x="16" y="164"/>
                      <a:pt x="17" y="166"/>
                    </a:cubicBezTo>
                    <a:cubicBezTo>
                      <a:pt x="18" y="170"/>
                      <a:pt x="21" y="173"/>
                      <a:pt x="22" y="177"/>
                    </a:cubicBezTo>
                    <a:cubicBezTo>
                      <a:pt x="23" y="178"/>
                      <a:pt x="22" y="180"/>
                      <a:pt x="22" y="181"/>
                    </a:cubicBezTo>
                    <a:cubicBezTo>
                      <a:pt x="23" y="182"/>
                      <a:pt x="24" y="182"/>
                      <a:pt x="25" y="183"/>
                    </a:cubicBezTo>
                    <a:cubicBezTo>
                      <a:pt x="26" y="184"/>
                      <a:pt x="27" y="186"/>
                      <a:pt x="28" y="187"/>
                    </a:cubicBezTo>
                    <a:cubicBezTo>
                      <a:pt x="31" y="189"/>
                      <a:pt x="33" y="190"/>
                      <a:pt x="36" y="192"/>
                    </a:cubicBezTo>
                    <a:cubicBezTo>
                      <a:pt x="38" y="193"/>
                      <a:pt x="39" y="196"/>
                      <a:pt x="41" y="196"/>
                    </a:cubicBezTo>
                    <a:cubicBezTo>
                      <a:pt x="43" y="197"/>
                      <a:pt x="44" y="194"/>
                      <a:pt x="45" y="193"/>
                    </a:cubicBezTo>
                    <a:cubicBezTo>
                      <a:pt x="48" y="191"/>
                      <a:pt x="51" y="189"/>
                      <a:pt x="54" y="188"/>
                    </a:cubicBezTo>
                    <a:cubicBezTo>
                      <a:pt x="57" y="188"/>
                      <a:pt x="60" y="189"/>
                      <a:pt x="62" y="188"/>
                    </a:cubicBezTo>
                    <a:cubicBezTo>
                      <a:pt x="64" y="188"/>
                      <a:pt x="65" y="186"/>
                      <a:pt x="67" y="185"/>
                    </a:cubicBezTo>
                    <a:cubicBezTo>
                      <a:pt x="69" y="184"/>
                      <a:pt x="70" y="182"/>
                      <a:pt x="72" y="182"/>
                    </a:cubicBezTo>
                    <a:cubicBezTo>
                      <a:pt x="75" y="182"/>
                      <a:pt x="79" y="185"/>
                      <a:pt x="83" y="185"/>
                    </a:cubicBezTo>
                    <a:cubicBezTo>
                      <a:pt x="85" y="185"/>
                      <a:pt x="86" y="181"/>
                      <a:pt x="87" y="181"/>
                    </a:cubicBezTo>
                    <a:cubicBezTo>
                      <a:pt x="92" y="181"/>
                      <a:pt x="96" y="185"/>
                      <a:pt x="101" y="185"/>
                    </a:cubicBezTo>
                    <a:cubicBezTo>
                      <a:pt x="103" y="185"/>
                      <a:pt x="102" y="182"/>
                      <a:pt x="104" y="182"/>
                    </a:cubicBezTo>
                    <a:cubicBezTo>
                      <a:pt x="106" y="181"/>
                      <a:pt x="109" y="183"/>
                      <a:pt x="112" y="182"/>
                    </a:cubicBezTo>
                    <a:cubicBezTo>
                      <a:pt x="113" y="182"/>
                      <a:pt x="113" y="179"/>
                      <a:pt x="114" y="178"/>
                    </a:cubicBezTo>
                    <a:cubicBezTo>
                      <a:pt x="117" y="177"/>
                      <a:pt x="120" y="179"/>
                      <a:pt x="123" y="178"/>
                    </a:cubicBezTo>
                    <a:cubicBezTo>
                      <a:pt x="126" y="177"/>
                      <a:pt x="128" y="176"/>
                      <a:pt x="131" y="174"/>
                    </a:cubicBezTo>
                    <a:cubicBezTo>
                      <a:pt x="135" y="172"/>
                      <a:pt x="138" y="169"/>
                      <a:pt x="141" y="167"/>
                    </a:cubicBezTo>
                    <a:cubicBezTo>
                      <a:pt x="144" y="164"/>
                      <a:pt x="146" y="161"/>
                      <a:pt x="149" y="158"/>
                    </a:cubicBezTo>
                    <a:cubicBezTo>
                      <a:pt x="153" y="154"/>
                      <a:pt x="156" y="151"/>
                      <a:pt x="159" y="148"/>
                    </a:cubicBezTo>
                    <a:cubicBezTo>
                      <a:pt x="160" y="146"/>
                      <a:pt x="162" y="144"/>
                      <a:pt x="164" y="143"/>
                    </a:cubicBezTo>
                    <a:cubicBezTo>
                      <a:pt x="167" y="140"/>
                      <a:pt x="170" y="137"/>
                      <a:pt x="172" y="134"/>
                    </a:cubicBezTo>
                    <a:cubicBezTo>
                      <a:pt x="175" y="131"/>
                      <a:pt x="177" y="126"/>
                      <a:pt x="178" y="122"/>
                    </a:cubicBezTo>
                    <a:cubicBezTo>
                      <a:pt x="180" y="118"/>
                      <a:pt x="181" y="114"/>
                      <a:pt x="183" y="111"/>
                    </a:cubicBezTo>
                    <a:cubicBezTo>
                      <a:pt x="184" y="109"/>
                      <a:pt x="186" y="107"/>
                      <a:pt x="188" y="106"/>
                    </a:cubicBezTo>
                    <a:cubicBezTo>
                      <a:pt x="190" y="104"/>
                      <a:pt x="194" y="103"/>
                      <a:pt x="196" y="101"/>
                    </a:cubicBezTo>
                    <a:cubicBezTo>
                      <a:pt x="198" y="98"/>
                      <a:pt x="199" y="96"/>
                      <a:pt x="200" y="93"/>
                    </a:cubicBezTo>
                    <a:cubicBezTo>
                      <a:pt x="201" y="89"/>
                      <a:pt x="202" y="85"/>
                      <a:pt x="203" y="81"/>
                    </a:cubicBezTo>
                    <a:cubicBezTo>
                      <a:pt x="204" y="78"/>
                      <a:pt x="205" y="75"/>
                      <a:pt x="206" y="72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1" name="Freeform 2512"/>
              <p:cNvSpPr>
                <a:spLocks noChangeAspect="1"/>
              </p:cNvSpPr>
              <p:nvPr/>
            </p:nvSpPr>
            <p:spPr bwMode="auto">
              <a:xfrm>
                <a:off x="5212445" y="4779667"/>
                <a:ext cx="35983" cy="47100"/>
              </a:xfrm>
              <a:custGeom>
                <a:avLst/>
                <a:gdLst>
                  <a:gd name="T0" fmla="*/ 22 w 18"/>
                  <a:gd name="T1" fmla="*/ 19 h 24"/>
                  <a:gd name="T2" fmla="*/ 22 w 18"/>
                  <a:gd name="T3" fmla="*/ 13 h 24"/>
                  <a:gd name="T4" fmla="*/ 22 w 18"/>
                  <a:gd name="T5" fmla="*/ 6 h 24"/>
                  <a:gd name="T6" fmla="*/ 11 w 18"/>
                  <a:gd name="T7" fmla="*/ 0 h 24"/>
                  <a:gd name="T8" fmla="*/ 5 w 18"/>
                  <a:gd name="T9" fmla="*/ 5 h 24"/>
                  <a:gd name="T10" fmla="*/ 1 w 18"/>
                  <a:gd name="T11" fmla="*/ 12 h 24"/>
                  <a:gd name="T12" fmla="*/ 1 w 18"/>
                  <a:gd name="T13" fmla="*/ 21 h 24"/>
                  <a:gd name="T14" fmla="*/ 9 w 18"/>
                  <a:gd name="T15" fmla="*/ 27 h 24"/>
                  <a:gd name="T16" fmla="*/ 16 w 18"/>
                  <a:gd name="T17" fmla="*/ 29 h 24"/>
                  <a:gd name="T18" fmla="*/ 20 w 18"/>
                  <a:gd name="T19" fmla="*/ 27 h 24"/>
                  <a:gd name="T20" fmla="*/ 22 w 18"/>
                  <a:gd name="T21" fmla="*/ 19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24"/>
                  <a:gd name="T35" fmla="*/ 18 w 18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24">
                    <a:moveTo>
                      <a:pt x="18" y="16"/>
                    </a:moveTo>
                    <a:cubicBezTo>
                      <a:pt x="18" y="14"/>
                      <a:pt x="18" y="13"/>
                      <a:pt x="18" y="11"/>
                    </a:cubicBezTo>
                    <a:cubicBezTo>
                      <a:pt x="18" y="9"/>
                      <a:pt x="17" y="7"/>
                      <a:pt x="18" y="5"/>
                    </a:cubicBezTo>
                    <a:cubicBezTo>
                      <a:pt x="15" y="3"/>
                      <a:pt x="12" y="0"/>
                      <a:pt x="9" y="0"/>
                    </a:cubicBezTo>
                    <a:cubicBezTo>
                      <a:pt x="7" y="0"/>
                      <a:pt x="6" y="2"/>
                      <a:pt x="4" y="4"/>
                    </a:cubicBezTo>
                    <a:cubicBezTo>
                      <a:pt x="3" y="6"/>
                      <a:pt x="1" y="8"/>
                      <a:pt x="1" y="10"/>
                    </a:cubicBezTo>
                    <a:cubicBezTo>
                      <a:pt x="0" y="12"/>
                      <a:pt x="0" y="15"/>
                      <a:pt x="1" y="17"/>
                    </a:cubicBezTo>
                    <a:cubicBezTo>
                      <a:pt x="2" y="19"/>
                      <a:pt x="4" y="21"/>
                      <a:pt x="7" y="22"/>
                    </a:cubicBezTo>
                    <a:cubicBezTo>
                      <a:pt x="8" y="23"/>
                      <a:pt x="11" y="24"/>
                      <a:pt x="13" y="24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18" y="19"/>
                      <a:pt x="18" y="16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2" name="Freeform 2513"/>
              <p:cNvSpPr>
                <a:spLocks noChangeAspect="1"/>
              </p:cNvSpPr>
              <p:nvPr/>
            </p:nvSpPr>
            <p:spPr bwMode="auto">
              <a:xfrm>
                <a:off x="4747938" y="4521430"/>
                <a:ext cx="335296" cy="355685"/>
              </a:xfrm>
              <a:custGeom>
                <a:avLst/>
                <a:gdLst>
                  <a:gd name="T0" fmla="*/ 205 w 171"/>
                  <a:gd name="T1" fmla="*/ 18 h 182"/>
                  <a:gd name="T2" fmla="*/ 199 w 171"/>
                  <a:gd name="T3" fmla="*/ 17 h 182"/>
                  <a:gd name="T4" fmla="*/ 195 w 171"/>
                  <a:gd name="T5" fmla="*/ 20 h 182"/>
                  <a:gd name="T6" fmla="*/ 191 w 171"/>
                  <a:gd name="T7" fmla="*/ 18 h 182"/>
                  <a:gd name="T8" fmla="*/ 183 w 171"/>
                  <a:gd name="T9" fmla="*/ 28 h 182"/>
                  <a:gd name="T10" fmla="*/ 177 w 171"/>
                  <a:gd name="T11" fmla="*/ 28 h 182"/>
                  <a:gd name="T12" fmla="*/ 171 w 171"/>
                  <a:gd name="T13" fmla="*/ 20 h 182"/>
                  <a:gd name="T14" fmla="*/ 162 w 171"/>
                  <a:gd name="T15" fmla="*/ 22 h 182"/>
                  <a:gd name="T16" fmla="*/ 147 w 171"/>
                  <a:gd name="T17" fmla="*/ 25 h 182"/>
                  <a:gd name="T18" fmla="*/ 141 w 171"/>
                  <a:gd name="T19" fmla="*/ 25 h 182"/>
                  <a:gd name="T20" fmla="*/ 141 w 171"/>
                  <a:gd name="T21" fmla="*/ 90 h 182"/>
                  <a:gd name="T22" fmla="*/ 125 w 171"/>
                  <a:gd name="T23" fmla="*/ 90 h 182"/>
                  <a:gd name="T24" fmla="*/ 125 w 171"/>
                  <a:gd name="T25" fmla="*/ 141 h 182"/>
                  <a:gd name="T26" fmla="*/ 123 w 171"/>
                  <a:gd name="T27" fmla="*/ 208 h 182"/>
                  <a:gd name="T28" fmla="*/ 120 w 171"/>
                  <a:gd name="T29" fmla="*/ 212 h 182"/>
                  <a:gd name="T30" fmla="*/ 115 w 171"/>
                  <a:gd name="T31" fmla="*/ 214 h 182"/>
                  <a:gd name="T32" fmla="*/ 111 w 171"/>
                  <a:gd name="T33" fmla="*/ 218 h 182"/>
                  <a:gd name="T34" fmla="*/ 104 w 171"/>
                  <a:gd name="T35" fmla="*/ 215 h 182"/>
                  <a:gd name="T36" fmla="*/ 95 w 171"/>
                  <a:gd name="T37" fmla="*/ 218 h 182"/>
                  <a:gd name="T38" fmla="*/ 86 w 171"/>
                  <a:gd name="T39" fmla="*/ 214 h 182"/>
                  <a:gd name="T40" fmla="*/ 84 w 171"/>
                  <a:gd name="T41" fmla="*/ 207 h 182"/>
                  <a:gd name="T42" fmla="*/ 79 w 171"/>
                  <a:gd name="T43" fmla="*/ 201 h 182"/>
                  <a:gd name="T44" fmla="*/ 76 w 171"/>
                  <a:gd name="T45" fmla="*/ 203 h 182"/>
                  <a:gd name="T46" fmla="*/ 76 w 171"/>
                  <a:gd name="T47" fmla="*/ 211 h 182"/>
                  <a:gd name="T48" fmla="*/ 71 w 171"/>
                  <a:gd name="T49" fmla="*/ 211 h 182"/>
                  <a:gd name="T50" fmla="*/ 60 w 171"/>
                  <a:gd name="T51" fmla="*/ 202 h 182"/>
                  <a:gd name="T52" fmla="*/ 53 w 171"/>
                  <a:gd name="T53" fmla="*/ 185 h 182"/>
                  <a:gd name="T54" fmla="*/ 53 w 171"/>
                  <a:gd name="T55" fmla="*/ 176 h 182"/>
                  <a:gd name="T56" fmla="*/ 48 w 171"/>
                  <a:gd name="T57" fmla="*/ 168 h 182"/>
                  <a:gd name="T58" fmla="*/ 49 w 171"/>
                  <a:gd name="T59" fmla="*/ 162 h 182"/>
                  <a:gd name="T60" fmla="*/ 47 w 171"/>
                  <a:gd name="T61" fmla="*/ 156 h 182"/>
                  <a:gd name="T62" fmla="*/ 47 w 171"/>
                  <a:gd name="T63" fmla="*/ 148 h 182"/>
                  <a:gd name="T64" fmla="*/ 44 w 171"/>
                  <a:gd name="T65" fmla="*/ 137 h 182"/>
                  <a:gd name="T66" fmla="*/ 42 w 171"/>
                  <a:gd name="T67" fmla="*/ 124 h 182"/>
                  <a:gd name="T68" fmla="*/ 42 w 171"/>
                  <a:gd name="T69" fmla="*/ 111 h 182"/>
                  <a:gd name="T70" fmla="*/ 44 w 171"/>
                  <a:gd name="T71" fmla="*/ 102 h 182"/>
                  <a:gd name="T72" fmla="*/ 31 w 171"/>
                  <a:gd name="T73" fmla="*/ 85 h 182"/>
                  <a:gd name="T74" fmla="*/ 24 w 171"/>
                  <a:gd name="T75" fmla="*/ 71 h 182"/>
                  <a:gd name="T76" fmla="*/ 24 w 171"/>
                  <a:gd name="T77" fmla="*/ 59 h 182"/>
                  <a:gd name="T78" fmla="*/ 16 w 171"/>
                  <a:gd name="T79" fmla="*/ 49 h 182"/>
                  <a:gd name="T80" fmla="*/ 12 w 171"/>
                  <a:gd name="T81" fmla="*/ 37 h 182"/>
                  <a:gd name="T82" fmla="*/ 1 w 171"/>
                  <a:gd name="T83" fmla="*/ 23 h 182"/>
                  <a:gd name="T84" fmla="*/ 0 w 171"/>
                  <a:gd name="T85" fmla="*/ 12 h 182"/>
                  <a:gd name="T86" fmla="*/ 2 w 171"/>
                  <a:gd name="T87" fmla="*/ 5 h 182"/>
                  <a:gd name="T88" fmla="*/ 11 w 171"/>
                  <a:gd name="T89" fmla="*/ 5 h 182"/>
                  <a:gd name="T90" fmla="*/ 20 w 171"/>
                  <a:gd name="T91" fmla="*/ 0 h 182"/>
                  <a:gd name="T92" fmla="*/ 29 w 171"/>
                  <a:gd name="T93" fmla="*/ 2 h 182"/>
                  <a:gd name="T94" fmla="*/ 36 w 171"/>
                  <a:gd name="T95" fmla="*/ 7 h 182"/>
                  <a:gd name="T96" fmla="*/ 102 w 171"/>
                  <a:gd name="T97" fmla="*/ 7 h 182"/>
                  <a:gd name="T98" fmla="*/ 109 w 171"/>
                  <a:gd name="T99" fmla="*/ 14 h 182"/>
                  <a:gd name="T100" fmla="*/ 119 w 171"/>
                  <a:gd name="T101" fmla="*/ 17 h 182"/>
                  <a:gd name="T102" fmla="*/ 133 w 171"/>
                  <a:gd name="T103" fmla="*/ 19 h 182"/>
                  <a:gd name="T104" fmla="*/ 141 w 171"/>
                  <a:gd name="T105" fmla="*/ 17 h 182"/>
                  <a:gd name="T106" fmla="*/ 151 w 171"/>
                  <a:gd name="T107" fmla="*/ 19 h 182"/>
                  <a:gd name="T108" fmla="*/ 180 w 171"/>
                  <a:gd name="T109" fmla="*/ 13 h 182"/>
                  <a:gd name="T110" fmla="*/ 193 w 171"/>
                  <a:gd name="T111" fmla="*/ 10 h 182"/>
                  <a:gd name="T112" fmla="*/ 199 w 171"/>
                  <a:gd name="T113" fmla="*/ 11 h 182"/>
                  <a:gd name="T114" fmla="*/ 205 w 171"/>
                  <a:gd name="T115" fmla="*/ 18 h 1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1"/>
                  <a:gd name="T175" fmla="*/ 0 h 182"/>
                  <a:gd name="T176" fmla="*/ 171 w 171"/>
                  <a:gd name="T177" fmla="*/ 182 h 18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1" h="182">
                    <a:moveTo>
                      <a:pt x="171" y="15"/>
                    </a:moveTo>
                    <a:cubicBezTo>
                      <a:pt x="169" y="14"/>
                      <a:pt x="167" y="14"/>
                      <a:pt x="166" y="14"/>
                    </a:cubicBezTo>
                    <a:cubicBezTo>
                      <a:pt x="165" y="15"/>
                      <a:pt x="164" y="17"/>
                      <a:pt x="163" y="17"/>
                    </a:cubicBezTo>
                    <a:cubicBezTo>
                      <a:pt x="161" y="17"/>
                      <a:pt x="160" y="15"/>
                      <a:pt x="159" y="15"/>
                    </a:cubicBezTo>
                    <a:cubicBezTo>
                      <a:pt x="156" y="17"/>
                      <a:pt x="155" y="21"/>
                      <a:pt x="153" y="23"/>
                    </a:cubicBezTo>
                    <a:cubicBezTo>
                      <a:pt x="152" y="24"/>
                      <a:pt x="150" y="24"/>
                      <a:pt x="148" y="23"/>
                    </a:cubicBezTo>
                    <a:cubicBezTo>
                      <a:pt x="146" y="22"/>
                      <a:pt x="146" y="18"/>
                      <a:pt x="143" y="17"/>
                    </a:cubicBezTo>
                    <a:cubicBezTo>
                      <a:pt x="141" y="16"/>
                      <a:pt x="138" y="17"/>
                      <a:pt x="135" y="18"/>
                    </a:cubicBezTo>
                    <a:cubicBezTo>
                      <a:pt x="131" y="18"/>
                      <a:pt x="127" y="21"/>
                      <a:pt x="123" y="21"/>
                    </a:cubicBezTo>
                    <a:lnTo>
                      <a:pt x="118" y="21"/>
                    </a:lnTo>
                    <a:lnTo>
                      <a:pt x="118" y="75"/>
                    </a:lnTo>
                    <a:lnTo>
                      <a:pt x="104" y="75"/>
                    </a:lnTo>
                    <a:lnTo>
                      <a:pt x="104" y="117"/>
                    </a:lnTo>
                    <a:lnTo>
                      <a:pt x="103" y="173"/>
                    </a:lnTo>
                    <a:cubicBezTo>
                      <a:pt x="102" y="174"/>
                      <a:pt x="101" y="175"/>
                      <a:pt x="100" y="176"/>
                    </a:cubicBezTo>
                    <a:cubicBezTo>
                      <a:pt x="98" y="177"/>
                      <a:pt x="97" y="177"/>
                      <a:pt x="96" y="178"/>
                    </a:cubicBezTo>
                    <a:cubicBezTo>
                      <a:pt x="95" y="179"/>
                      <a:pt x="94" y="181"/>
                      <a:pt x="93" y="181"/>
                    </a:cubicBezTo>
                    <a:cubicBezTo>
                      <a:pt x="91" y="182"/>
                      <a:pt x="89" y="179"/>
                      <a:pt x="87" y="179"/>
                    </a:cubicBezTo>
                    <a:cubicBezTo>
                      <a:pt x="84" y="179"/>
                      <a:pt x="82" y="181"/>
                      <a:pt x="79" y="181"/>
                    </a:cubicBezTo>
                    <a:cubicBezTo>
                      <a:pt x="77" y="180"/>
                      <a:pt x="74" y="180"/>
                      <a:pt x="72" y="178"/>
                    </a:cubicBezTo>
                    <a:cubicBezTo>
                      <a:pt x="70" y="177"/>
                      <a:pt x="71" y="174"/>
                      <a:pt x="70" y="172"/>
                    </a:cubicBezTo>
                    <a:cubicBezTo>
                      <a:pt x="69" y="170"/>
                      <a:pt x="68" y="167"/>
                      <a:pt x="66" y="167"/>
                    </a:cubicBezTo>
                    <a:cubicBezTo>
                      <a:pt x="65" y="166"/>
                      <a:pt x="63" y="168"/>
                      <a:pt x="63" y="169"/>
                    </a:cubicBezTo>
                    <a:cubicBezTo>
                      <a:pt x="62" y="171"/>
                      <a:pt x="63" y="173"/>
                      <a:pt x="63" y="175"/>
                    </a:cubicBezTo>
                    <a:cubicBezTo>
                      <a:pt x="62" y="175"/>
                      <a:pt x="60" y="175"/>
                      <a:pt x="59" y="175"/>
                    </a:cubicBezTo>
                    <a:cubicBezTo>
                      <a:pt x="56" y="173"/>
                      <a:pt x="53" y="171"/>
                      <a:pt x="50" y="168"/>
                    </a:cubicBezTo>
                    <a:cubicBezTo>
                      <a:pt x="48" y="164"/>
                      <a:pt x="46" y="159"/>
                      <a:pt x="44" y="154"/>
                    </a:cubicBezTo>
                    <a:cubicBezTo>
                      <a:pt x="44" y="152"/>
                      <a:pt x="44" y="149"/>
                      <a:pt x="44" y="146"/>
                    </a:cubicBezTo>
                    <a:cubicBezTo>
                      <a:pt x="43" y="143"/>
                      <a:pt x="41" y="142"/>
                      <a:pt x="40" y="140"/>
                    </a:cubicBezTo>
                    <a:cubicBezTo>
                      <a:pt x="40" y="138"/>
                      <a:pt x="41" y="137"/>
                      <a:pt x="41" y="135"/>
                    </a:cubicBezTo>
                    <a:cubicBezTo>
                      <a:pt x="40" y="133"/>
                      <a:pt x="39" y="132"/>
                      <a:pt x="39" y="130"/>
                    </a:cubicBezTo>
                    <a:cubicBezTo>
                      <a:pt x="38" y="127"/>
                      <a:pt x="39" y="125"/>
                      <a:pt x="39" y="123"/>
                    </a:cubicBezTo>
                    <a:cubicBezTo>
                      <a:pt x="38" y="120"/>
                      <a:pt x="37" y="117"/>
                      <a:pt x="37" y="114"/>
                    </a:cubicBezTo>
                    <a:cubicBezTo>
                      <a:pt x="36" y="110"/>
                      <a:pt x="35" y="107"/>
                      <a:pt x="35" y="103"/>
                    </a:cubicBezTo>
                    <a:cubicBezTo>
                      <a:pt x="35" y="99"/>
                      <a:pt x="34" y="96"/>
                      <a:pt x="35" y="92"/>
                    </a:cubicBezTo>
                    <a:cubicBezTo>
                      <a:pt x="35" y="89"/>
                      <a:pt x="38" y="87"/>
                      <a:pt x="37" y="85"/>
                    </a:cubicBezTo>
                    <a:cubicBezTo>
                      <a:pt x="35" y="79"/>
                      <a:pt x="30" y="76"/>
                      <a:pt x="26" y="71"/>
                    </a:cubicBezTo>
                    <a:cubicBezTo>
                      <a:pt x="24" y="67"/>
                      <a:pt x="21" y="63"/>
                      <a:pt x="20" y="59"/>
                    </a:cubicBezTo>
                    <a:cubicBezTo>
                      <a:pt x="19" y="56"/>
                      <a:pt x="21" y="52"/>
                      <a:pt x="20" y="49"/>
                    </a:cubicBezTo>
                    <a:cubicBezTo>
                      <a:pt x="18" y="46"/>
                      <a:pt x="15" y="44"/>
                      <a:pt x="13" y="41"/>
                    </a:cubicBezTo>
                    <a:cubicBezTo>
                      <a:pt x="12" y="38"/>
                      <a:pt x="12" y="34"/>
                      <a:pt x="10" y="31"/>
                    </a:cubicBezTo>
                    <a:cubicBezTo>
                      <a:pt x="7" y="26"/>
                      <a:pt x="3" y="23"/>
                      <a:pt x="1" y="19"/>
                    </a:cubicBezTo>
                    <a:cubicBezTo>
                      <a:pt x="0" y="16"/>
                      <a:pt x="0" y="13"/>
                      <a:pt x="0" y="10"/>
                    </a:cubicBezTo>
                    <a:cubicBezTo>
                      <a:pt x="0" y="8"/>
                      <a:pt x="1" y="6"/>
                      <a:pt x="2" y="4"/>
                    </a:cubicBezTo>
                    <a:cubicBezTo>
                      <a:pt x="4" y="4"/>
                      <a:pt x="6" y="4"/>
                      <a:pt x="9" y="4"/>
                    </a:cubicBezTo>
                    <a:cubicBezTo>
                      <a:pt x="12" y="3"/>
                      <a:pt x="14" y="0"/>
                      <a:pt x="17" y="0"/>
                    </a:cubicBezTo>
                    <a:cubicBezTo>
                      <a:pt x="19" y="0"/>
                      <a:pt x="22" y="1"/>
                      <a:pt x="24" y="2"/>
                    </a:cubicBezTo>
                    <a:cubicBezTo>
                      <a:pt x="26" y="3"/>
                      <a:pt x="28" y="6"/>
                      <a:pt x="30" y="6"/>
                    </a:cubicBezTo>
                    <a:cubicBezTo>
                      <a:pt x="48" y="7"/>
                      <a:pt x="67" y="4"/>
                      <a:pt x="85" y="6"/>
                    </a:cubicBezTo>
                    <a:cubicBezTo>
                      <a:pt x="88" y="6"/>
                      <a:pt x="89" y="10"/>
                      <a:pt x="91" y="12"/>
                    </a:cubicBezTo>
                    <a:cubicBezTo>
                      <a:pt x="94" y="13"/>
                      <a:pt x="96" y="14"/>
                      <a:pt x="99" y="14"/>
                    </a:cubicBezTo>
                    <a:cubicBezTo>
                      <a:pt x="103" y="15"/>
                      <a:pt x="107" y="16"/>
                      <a:pt x="111" y="16"/>
                    </a:cubicBezTo>
                    <a:cubicBezTo>
                      <a:pt x="113" y="16"/>
                      <a:pt x="116" y="14"/>
                      <a:pt x="118" y="14"/>
                    </a:cubicBezTo>
                    <a:cubicBezTo>
                      <a:pt x="121" y="14"/>
                      <a:pt x="124" y="16"/>
                      <a:pt x="126" y="16"/>
                    </a:cubicBezTo>
                    <a:cubicBezTo>
                      <a:pt x="134" y="15"/>
                      <a:pt x="142" y="12"/>
                      <a:pt x="150" y="11"/>
                    </a:cubicBezTo>
                    <a:cubicBezTo>
                      <a:pt x="154" y="10"/>
                      <a:pt x="157" y="9"/>
                      <a:pt x="161" y="8"/>
                    </a:cubicBezTo>
                    <a:cubicBezTo>
                      <a:pt x="163" y="8"/>
                      <a:pt x="165" y="8"/>
                      <a:pt x="166" y="9"/>
                    </a:cubicBezTo>
                    <a:cubicBezTo>
                      <a:pt x="168" y="10"/>
                      <a:pt x="169" y="13"/>
                      <a:pt x="171" y="15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3" name="Freeform 2514"/>
              <p:cNvSpPr>
                <a:spLocks noChangeAspect="1"/>
              </p:cNvSpPr>
              <p:nvPr/>
            </p:nvSpPr>
            <p:spPr bwMode="auto">
              <a:xfrm>
                <a:off x="4952386" y="4549041"/>
                <a:ext cx="227347" cy="263109"/>
              </a:xfrm>
              <a:custGeom>
                <a:avLst/>
                <a:gdLst>
                  <a:gd name="T0" fmla="*/ 139 w 116"/>
                  <a:gd name="T1" fmla="*/ 76 h 135"/>
                  <a:gd name="T2" fmla="*/ 137 w 116"/>
                  <a:gd name="T3" fmla="*/ 73 h 135"/>
                  <a:gd name="T4" fmla="*/ 137 w 116"/>
                  <a:gd name="T5" fmla="*/ 70 h 135"/>
                  <a:gd name="T6" fmla="*/ 128 w 116"/>
                  <a:gd name="T7" fmla="*/ 66 h 135"/>
                  <a:gd name="T8" fmla="*/ 121 w 116"/>
                  <a:gd name="T9" fmla="*/ 65 h 135"/>
                  <a:gd name="T10" fmla="*/ 116 w 116"/>
                  <a:gd name="T11" fmla="*/ 58 h 135"/>
                  <a:gd name="T12" fmla="*/ 116 w 116"/>
                  <a:gd name="T13" fmla="*/ 47 h 135"/>
                  <a:gd name="T14" fmla="*/ 111 w 116"/>
                  <a:gd name="T15" fmla="*/ 47 h 135"/>
                  <a:gd name="T16" fmla="*/ 111 w 116"/>
                  <a:gd name="T17" fmla="*/ 40 h 135"/>
                  <a:gd name="T18" fmla="*/ 99 w 116"/>
                  <a:gd name="T19" fmla="*/ 32 h 135"/>
                  <a:gd name="T20" fmla="*/ 93 w 116"/>
                  <a:gd name="T21" fmla="*/ 30 h 135"/>
                  <a:gd name="T22" fmla="*/ 90 w 116"/>
                  <a:gd name="T23" fmla="*/ 18 h 135"/>
                  <a:gd name="T24" fmla="*/ 85 w 116"/>
                  <a:gd name="T25" fmla="*/ 11 h 135"/>
                  <a:gd name="T26" fmla="*/ 80 w 116"/>
                  <a:gd name="T27" fmla="*/ 1 h 135"/>
                  <a:gd name="T28" fmla="*/ 74 w 116"/>
                  <a:gd name="T29" fmla="*/ 0 h 135"/>
                  <a:gd name="T30" fmla="*/ 71 w 116"/>
                  <a:gd name="T31" fmla="*/ 4 h 135"/>
                  <a:gd name="T32" fmla="*/ 66 w 116"/>
                  <a:gd name="T33" fmla="*/ 1 h 135"/>
                  <a:gd name="T34" fmla="*/ 59 w 116"/>
                  <a:gd name="T35" fmla="*/ 11 h 135"/>
                  <a:gd name="T36" fmla="*/ 53 w 116"/>
                  <a:gd name="T37" fmla="*/ 11 h 135"/>
                  <a:gd name="T38" fmla="*/ 47 w 116"/>
                  <a:gd name="T39" fmla="*/ 4 h 135"/>
                  <a:gd name="T40" fmla="*/ 37 w 116"/>
                  <a:gd name="T41" fmla="*/ 5 h 135"/>
                  <a:gd name="T42" fmla="*/ 23 w 116"/>
                  <a:gd name="T43" fmla="*/ 8 h 135"/>
                  <a:gd name="T44" fmla="*/ 17 w 116"/>
                  <a:gd name="T45" fmla="*/ 8 h 135"/>
                  <a:gd name="T46" fmla="*/ 17 w 116"/>
                  <a:gd name="T47" fmla="*/ 73 h 135"/>
                  <a:gd name="T48" fmla="*/ 0 w 116"/>
                  <a:gd name="T49" fmla="*/ 73 h 135"/>
                  <a:gd name="T50" fmla="*/ 0 w 116"/>
                  <a:gd name="T51" fmla="*/ 124 h 135"/>
                  <a:gd name="T52" fmla="*/ 5 w 116"/>
                  <a:gd name="T53" fmla="*/ 128 h 135"/>
                  <a:gd name="T54" fmla="*/ 7 w 116"/>
                  <a:gd name="T55" fmla="*/ 139 h 135"/>
                  <a:gd name="T56" fmla="*/ 11 w 116"/>
                  <a:gd name="T57" fmla="*/ 145 h 135"/>
                  <a:gd name="T58" fmla="*/ 6 w 116"/>
                  <a:gd name="T59" fmla="*/ 155 h 135"/>
                  <a:gd name="T60" fmla="*/ 8 w 116"/>
                  <a:gd name="T61" fmla="*/ 161 h 135"/>
                  <a:gd name="T62" fmla="*/ 14 w 116"/>
                  <a:gd name="T63" fmla="*/ 158 h 135"/>
                  <a:gd name="T64" fmla="*/ 25 w 116"/>
                  <a:gd name="T65" fmla="*/ 160 h 135"/>
                  <a:gd name="T66" fmla="*/ 26 w 116"/>
                  <a:gd name="T67" fmla="*/ 156 h 135"/>
                  <a:gd name="T68" fmla="*/ 35 w 116"/>
                  <a:gd name="T69" fmla="*/ 150 h 135"/>
                  <a:gd name="T70" fmla="*/ 40 w 116"/>
                  <a:gd name="T71" fmla="*/ 144 h 135"/>
                  <a:gd name="T72" fmla="*/ 43 w 116"/>
                  <a:gd name="T73" fmla="*/ 134 h 135"/>
                  <a:gd name="T74" fmla="*/ 49 w 116"/>
                  <a:gd name="T75" fmla="*/ 132 h 135"/>
                  <a:gd name="T76" fmla="*/ 55 w 116"/>
                  <a:gd name="T77" fmla="*/ 132 h 135"/>
                  <a:gd name="T78" fmla="*/ 60 w 116"/>
                  <a:gd name="T79" fmla="*/ 139 h 135"/>
                  <a:gd name="T80" fmla="*/ 68 w 116"/>
                  <a:gd name="T81" fmla="*/ 142 h 135"/>
                  <a:gd name="T82" fmla="*/ 73 w 116"/>
                  <a:gd name="T83" fmla="*/ 140 h 135"/>
                  <a:gd name="T84" fmla="*/ 84 w 116"/>
                  <a:gd name="T85" fmla="*/ 139 h 135"/>
                  <a:gd name="T86" fmla="*/ 86 w 116"/>
                  <a:gd name="T87" fmla="*/ 132 h 135"/>
                  <a:gd name="T88" fmla="*/ 89 w 116"/>
                  <a:gd name="T89" fmla="*/ 121 h 135"/>
                  <a:gd name="T90" fmla="*/ 97 w 116"/>
                  <a:gd name="T91" fmla="*/ 119 h 135"/>
                  <a:gd name="T92" fmla="*/ 104 w 116"/>
                  <a:gd name="T93" fmla="*/ 112 h 135"/>
                  <a:gd name="T94" fmla="*/ 107 w 116"/>
                  <a:gd name="T95" fmla="*/ 101 h 135"/>
                  <a:gd name="T96" fmla="*/ 121 w 116"/>
                  <a:gd name="T97" fmla="*/ 88 h 135"/>
                  <a:gd name="T98" fmla="*/ 129 w 116"/>
                  <a:gd name="T99" fmla="*/ 82 h 135"/>
                  <a:gd name="T100" fmla="*/ 134 w 116"/>
                  <a:gd name="T101" fmla="*/ 79 h 135"/>
                  <a:gd name="T102" fmla="*/ 139 w 116"/>
                  <a:gd name="T103" fmla="*/ 76 h 13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16"/>
                  <a:gd name="T157" fmla="*/ 0 h 135"/>
                  <a:gd name="T158" fmla="*/ 116 w 116"/>
                  <a:gd name="T159" fmla="*/ 135 h 13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16" h="135">
                    <a:moveTo>
                      <a:pt x="116" y="63"/>
                    </a:moveTo>
                    <a:cubicBezTo>
                      <a:pt x="115" y="63"/>
                      <a:pt x="115" y="62"/>
                      <a:pt x="114" y="61"/>
                    </a:cubicBezTo>
                    <a:cubicBezTo>
                      <a:pt x="114" y="60"/>
                      <a:pt x="115" y="58"/>
                      <a:pt x="114" y="58"/>
                    </a:cubicBezTo>
                    <a:cubicBezTo>
                      <a:pt x="112" y="56"/>
                      <a:pt x="110" y="56"/>
                      <a:pt x="107" y="55"/>
                    </a:cubicBezTo>
                    <a:cubicBezTo>
                      <a:pt x="105" y="54"/>
                      <a:pt x="103" y="56"/>
                      <a:pt x="101" y="54"/>
                    </a:cubicBezTo>
                    <a:cubicBezTo>
                      <a:pt x="99" y="53"/>
                      <a:pt x="98" y="51"/>
                      <a:pt x="97" y="48"/>
                    </a:cubicBezTo>
                    <a:cubicBezTo>
                      <a:pt x="97" y="45"/>
                      <a:pt x="99" y="41"/>
                      <a:pt x="97" y="39"/>
                    </a:cubicBezTo>
                    <a:cubicBezTo>
                      <a:pt x="97" y="37"/>
                      <a:pt x="94" y="40"/>
                      <a:pt x="93" y="39"/>
                    </a:cubicBezTo>
                    <a:cubicBezTo>
                      <a:pt x="92" y="37"/>
                      <a:pt x="94" y="35"/>
                      <a:pt x="93" y="33"/>
                    </a:cubicBezTo>
                    <a:cubicBezTo>
                      <a:pt x="90" y="31"/>
                      <a:pt x="86" y="29"/>
                      <a:pt x="83" y="27"/>
                    </a:cubicBezTo>
                    <a:cubicBezTo>
                      <a:pt x="81" y="26"/>
                      <a:pt x="79" y="27"/>
                      <a:pt x="78" y="25"/>
                    </a:cubicBezTo>
                    <a:cubicBezTo>
                      <a:pt x="76" y="22"/>
                      <a:pt x="76" y="18"/>
                      <a:pt x="75" y="15"/>
                    </a:cubicBezTo>
                    <a:cubicBezTo>
                      <a:pt x="74" y="13"/>
                      <a:pt x="73" y="11"/>
                      <a:pt x="71" y="9"/>
                    </a:cubicBezTo>
                    <a:cubicBezTo>
                      <a:pt x="70" y="6"/>
                      <a:pt x="68" y="3"/>
                      <a:pt x="67" y="1"/>
                    </a:cubicBezTo>
                    <a:cubicBezTo>
                      <a:pt x="65" y="0"/>
                      <a:pt x="63" y="0"/>
                      <a:pt x="62" y="0"/>
                    </a:cubicBezTo>
                    <a:cubicBezTo>
                      <a:pt x="61" y="1"/>
                      <a:pt x="60" y="3"/>
                      <a:pt x="59" y="3"/>
                    </a:cubicBezTo>
                    <a:cubicBezTo>
                      <a:pt x="57" y="3"/>
                      <a:pt x="56" y="1"/>
                      <a:pt x="55" y="1"/>
                    </a:cubicBezTo>
                    <a:cubicBezTo>
                      <a:pt x="52" y="3"/>
                      <a:pt x="51" y="7"/>
                      <a:pt x="49" y="9"/>
                    </a:cubicBezTo>
                    <a:cubicBezTo>
                      <a:pt x="48" y="10"/>
                      <a:pt x="46" y="10"/>
                      <a:pt x="44" y="9"/>
                    </a:cubicBezTo>
                    <a:cubicBezTo>
                      <a:pt x="42" y="8"/>
                      <a:pt x="42" y="4"/>
                      <a:pt x="39" y="3"/>
                    </a:cubicBezTo>
                    <a:cubicBezTo>
                      <a:pt x="37" y="2"/>
                      <a:pt x="34" y="3"/>
                      <a:pt x="31" y="4"/>
                    </a:cubicBezTo>
                    <a:cubicBezTo>
                      <a:pt x="27" y="4"/>
                      <a:pt x="23" y="7"/>
                      <a:pt x="19" y="7"/>
                    </a:cubicBezTo>
                    <a:lnTo>
                      <a:pt x="14" y="7"/>
                    </a:lnTo>
                    <a:lnTo>
                      <a:pt x="14" y="61"/>
                    </a:lnTo>
                    <a:lnTo>
                      <a:pt x="0" y="61"/>
                    </a:lnTo>
                    <a:lnTo>
                      <a:pt x="0" y="103"/>
                    </a:lnTo>
                    <a:cubicBezTo>
                      <a:pt x="1" y="104"/>
                      <a:pt x="3" y="105"/>
                      <a:pt x="4" y="107"/>
                    </a:cubicBezTo>
                    <a:cubicBezTo>
                      <a:pt x="6" y="110"/>
                      <a:pt x="5" y="113"/>
                      <a:pt x="6" y="116"/>
                    </a:cubicBezTo>
                    <a:cubicBezTo>
                      <a:pt x="7" y="118"/>
                      <a:pt x="9" y="119"/>
                      <a:pt x="9" y="121"/>
                    </a:cubicBezTo>
                    <a:cubicBezTo>
                      <a:pt x="9" y="124"/>
                      <a:pt x="6" y="126"/>
                      <a:pt x="5" y="129"/>
                    </a:cubicBezTo>
                    <a:cubicBezTo>
                      <a:pt x="5" y="131"/>
                      <a:pt x="5" y="133"/>
                      <a:pt x="7" y="134"/>
                    </a:cubicBezTo>
                    <a:cubicBezTo>
                      <a:pt x="8" y="135"/>
                      <a:pt x="10" y="133"/>
                      <a:pt x="12" y="132"/>
                    </a:cubicBezTo>
                    <a:cubicBezTo>
                      <a:pt x="15" y="132"/>
                      <a:pt x="18" y="134"/>
                      <a:pt x="21" y="133"/>
                    </a:cubicBezTo>
                    <a:cubicBezTo>
                      <a:pt x="22" y="133"/>
                      <a:pt x="21" y="130"/>
                      <a:pt x="22" y="130"/>
                    </a:cubicBezTo>
                    <a:cubicBezTo>
                      <a:pt x="24" y="128"/>
                      <a:pt x="27" y="127"/>
                      <a:pt x="29" y="125"/>
                    </a:cubicBezTo>
                    <a:cubicBezTo>
                      <a:pt x="31" y="124"/>
                      <a:pt x="32" y="122"/>
                      <a:pt x="33" y="120"/>
                    </a:cubicBezTo>
                    <a:cubicBezTo>
                      <a:pt x="35" y="118"/>
                      <a:pt x="35" y="115"/>
                      <a:pt x="36" y="112"/>
                    </a:cubicBezTo>
                    <a:cubicBezTo>
                      <a:pt x="37" y="111"/>
                      <a:pt x="39" y="110"/>
                      <a:pt x="41" y="110"/>
                    </a:cubicBezTo>
                    <a:cubicBezTo>
                      <a:pt x="43" y="109"/>
                      <a:pt x="45" y="109"/>
                      <a:pt x="46" y="110"/>
                    </a:cubicBezTo>
                    <a:cubicBezTo>
                      <a:pt x="48" y="111"/>
                      <a:pt x="48" y="114"/>
                      <a:pt x="50" y="116"/>
                    </a:cubicBezTo>
                    <a:cubicBezTo>
                      <a:pt x="52" y="117"/>
                      <a:pt x="55" y="118"/>
                      <a:pt x="57" y="118"/>
                    </a:cubicBezTo>
                    <a:cubicBezTo>
                      <a:pt x="59" y="118"/>
                      <a:pt x="60" y="118"/>
                      <a:pt x="61" y="117"/>
                    </a:cubicBezTo>
                    <a:cubicBezTo>
                      <a:pt x="64" y="117"/>
                      <a:pt x="67" y="117"/>
                      <a:pt x="70" y="116"/>
                    </a:cubicBezTo>
                    <a:cubicBezTo>
                      <a:pt x="71" y="114"/>
                      <a:pt x="71" y="112"/>
                      <a:pt x="72" y="110"/>
                    </a:cubicBezTo>
                    <a:cubicBezTo>
                      <a:pt x="73" y="107"/>
                      <a:pt x="72" y="104"/>
                      <a:pt x="74" y="101"/>
                    </a:cubicBezTo>
                    <a:cubicBezTo>
                      <a:pt x="76" y="100"/>
                      <a:pt x="79" y="100"/>
                      <a:pt x="81" y="99"/>
                    </a:cubicBezTo>
                    <a:cubicBezTo>
                      <a:pt x="84" y="97"/>
                      <a:pt x="86" y="95"/>
                      <a:pt x="87" y="93"/>
                    </a:cubicBezTo>
                    <a:cubicBezTo>
                      <a:pt x="89" y="90"/>
                      <a:pt x="88" y="86"/>
                      <a:pt x="89" y="84"/>
                    </a:cubicBezTo>
                    <a:cubicBezTo>
                      <a:pt x="92" y="80"/>
                      <a:pt x="97" y="77"/>
                      <a:pt x="101" y="73"/>
                    </a:cubicBezTo>
                    <a:cubicBezTo>
                      <a:pt x="103" y="72"/>
                      <a:pt x="105" y="70"/>
                      <a:pt x="108" y="68"/>
                    </a:cubicBezTo>
                    <a:cubicBezTo>
                      <a:pt x="109" y="68"/>
                      <a:pt x="111" y="67"/>
                      <a:pt x="112" y="66"/>
                    </a:cubicBezTo>
                    <a:cubicBezTo>
                      <a:pt x="113" y="65"/>
                      <a:pt x="115" y="64"/>
                      <a:pt x="116" y="63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4" name="Freeform 2515"/>
              <p:cNvSpPr>
                <a:spLocks noChangeAspect="1"/>
              </p:cNvSpPr>
              <p:nvPr/>
            </p:nvSpPr>
            <p:spPr bwMode="auto">
              <a:xfrm>
                <a:off x="5083233" y="4482451"/>
                <a:ext cx="192999" cy="199769"/>
              </a:xfrm>
              <a:custGeom>
                <a:avLst/>
                <a:gdLst>
                  <a:gd name="T0" fmla="*/ 92 w 98"/>
                  <a:gd name="T1" fmla="*/ 122 h 102"/>
                  <a:gd name="T2" fmla="*/ 108 w 98"/>
                  <a:gd name="T3" fmla="*/ 103 h 102"/>
                  <a:gd name="T4" fmla="*/ 108 w 98"/>
                  <a:gd name="T5" fmla="*/ 92 h 102"/>
                  <a:gd name="T6" fmla="*/ 111 w 98"/>
                  <a:gd name="T7" fmla="*/ 88 h 102"/>
                  <a:gd name="T8" fmla="*/ 113 w 98"/>
                  <a:gd name="T9" fmla="*/ 82 h 102"/>
                  <a:gd name="T10" fmla="*/ 117 w 98"/>
                  <a:gd name="T11" fmla="*/ 76 h 102"/>
                  <a:gd name="T12" fmla="*/ 112 w 98"/>
                  <a:gd name="T13" fmla="*/ 72 h 102"/>
                  <a:gd name="T14" fmla="*/ 113 w 98"/>
                  <a:gd name="T15" fmla="*/ 68 h 102"/>
                  <a:gd name="T16" fmla="*/ 110 w 98"/>
                  <a:gd name="T17" fmla="*/ 62 h 102"/>
                  <a:gd name="T18" fmla="*/ 112 w 98"/>
                  <a:gd name="T19" fmla="*/ 59 h 102"/>
                  <a:gd name="T20" fmla="*/ 118 w 98"/>
                  <a:gd name="T21" fmla="*/ 52 h 102"/>
                  <a:gd name="T22" fmla="*/ 116 w 98"/>
                  <a:gd name="T23" fmla="*/ 45 h 102"/>
                  <a:gd name="T24" fmla="*/ 116 w 98"/>
                  <a:gd name="T25" fmla="*/ 33 h 102"/>
                  <a:gd name="T26" fmla="*/ 111 w 98"/>
                  <a:gd name="T27" fmla="*/ 22 h 102"/>
                  <a:gd name="T28" fmla="*/ 101 w 98"/>
                  <a:gd name="T29" fmla="*/ 19 h 102"/>
                  <a:gd name="T30" fmla="*/ 98 w 98"/>
                  <a:gd name="T31" fmla="*/ 14 h 102"/>
                  <a:gd name="T32" fmla="*/ 94 w 98"/>
                  <a:gd name="T33" fmla="*/ 10 h 102"/>
                  <a:gd name="T34" fmla="*/ 87 w 98"/>
                  <a:gd name="T35" fmla="*/ 7 h 102"/>
                  <a:gd name="T36" fmla="*/ 78 w 98"/>
                  <a:gd name="T37" fmla="*/ 7 h 102"/>
                  <a:gd name="T38" fmla="*/ 76 w 98"/>
                  <a:gd name="T39" fmla="*/ 5 h 102"/>
                  <a:gd name="T40" fmla="*/ 78 w 98"/>
                  <a:gd name="T41" fmla="*/ 1 h 102"/>
                  <a:gd name="T42" fmla="*/ 70 w 98"/>
                  <a:gd name="T43" fmla="*/ 1 h 102"/>
                  <a:gd name="T44" fmla="*/ 57 w 98"/>
                  <a:gd name="T45" fmla="*/ 8 h 102"/>
                  <a:gd name="T46" fmla="*/ 55 w 98"/>
                  <a:gd name="T47" fmla="*/ 17 h 102"/>
                  <a:gd name="T48" fmla="*/ 43 w 98"/>
                  <a:gd name="T49" fmla="*/ 24 h 102"/>
                  <a:gd name="T50" fmla="*/ 36 w 98"/>
                  <a:gd name="T51" fmla="*/ 30 h 102"/>
                  <a:gd name="T52" fmla="*/ 33 w 98"/>
                  <a:gd name="T53" fmla="*/ 37 h 102"/>
                  <a:gd name="T54" fmla="*/ 26 w 98"/>
                  <a:gd name="T55" fmla="*/ 43 h 102"/>
                  <a:gd name="T56" fmla="*/ 18 w 98"/>
                  <a:gd name="T57" fmla="*/ 45 h 102"/>
                  <a:gd name="T58" fmla="*/ 13 w 98"/>
                  <a:gd name="T59" fmla="*/ 42 h 102"/>
                  <a:gd name="T60" fmla="*/ 5 w 98"/>
                  <a:gd name="T61" fmla="*/ 41 h 102"/>
                  <a:gd name="T62" fmla="*/ 0 w 98"/>
                  <a:gd name="T63" fmla="*/ 42 h 102"/>
                  <a:gd name="T64" fmla="*/ 5 w 98"/>
                  <a:gd name="T65" fmla="*/ 52 h 102"/>
                  <a:gd name="T66" fmla="*/ 10 w 98"/>
                  <a:gd name="T67" fmla="*/ 59 h 102"/>
                  <a:gd name="T68" fmla="*/ 13 w 98"/>
                  <a:gd name="T69" fmla="*/ 71 h 102"/>
                  <a:gd name="T70" fmla="*/ 19 w 98"/>
                  <a:gd name="T71" fmla="*/ 74 h 102"/>
                  <a:gd name="T72" fmla="*/ 31 w 98"/>
                  <a:gd name="T73" fmla="*/ 81 h 102"/>
                  <a:gd name="T74" fmla="*/ 31 w 98"/>
                  <a:gd name="T75" fmla="*/ 88 h 102"/>
                  <a:gd name="T76" fmla="*/ 36 w 98"/>
                  <a:gd name="T77" fmla="*/ 88 h 102"/>
                  <a:gd name="T78" fmla="*/ 36 w 98"/>
                  <a:gd name="T79" fmla="*/ 99 h 102"/>
                  <a:gd name="T80" fmla="*/ 41 w 98"/>
                  <a:gd name="T81" fmla="*/ 106 h 102"/>
                  <a:gd name="T82" fmla="*/ 48 w 98"/>
                  <a:gd name="T83" fmla="*/ 107 h 102"/>
                  <a:gd name="T84" fmla="*/ 57 w 98"/>
                  <a:gd name="T85" fmla="*/ 111 h 102"/>
                  <a:gd name="T86" fmla="*/ 57 w 98"/>
                  <a:gd name="T87" fmla="*/ 115 h 102"/>
                  <a:gd name="T88" fmla="*/ 59 w 98"/>
                  <a:gd name="T89" fmla="*/ 117 h 102"/>
                  <a:gd name="T90" fmla="*/ 67 w 98"/>
                  <a:gd name="T91" fmla="*/ 118 h 102"/>
                  <a:gd name="T92" fmla="*/ 78 w 98"/>
                  <a:gd name="T93" fmla="*/ 119 h 102"/>
                  <a:gd name="T94" fmla="*/ 84 w 98"/>
                  <a:gd name="T95" fmla="*/ 119 h 102"/>
                  <a:gd name="T96" fmla="*/ 89 w 98"/>
                  <a:gd name="T97" fmla="*/ 122 h 102"/>
                  <a:gd name="T98" fmla="*/ 92 w 98"/>
                  <a:gd name="T99" fmla="*/ 122 h 1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8"/>
                  <a:gd name="T151" fmla="*/ 0 h 102"/>
                  <a:gd name="T152" fmla="*/ 98 w 98"/>
                  <a:gd name="T153" fmla="*/ 102 h 1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8" h="102">
                    <a:moveTo>
                      <a:pt x="76" y="101"/>
                    </a:moveTo>
                    <a:cubicBezTo>
                      <a:pt x="80" y="96"/>
                      <a:pt x="86" y="91"/>
                      <a:pt x="90" y="85"/>
                    </a:cubicBezTo>
                    <a:cubicBezTo>
                      <a:pt x="91" y="83"/>
                      <a:pt x="89" y="79"/>
                      <a:pt x="90" y="76"/>
                    </a:cubicBezTo>
                    <a:cubicBezTo>
                      <a:pt x="90" y="75"/>
                      <a:pt x="91" y="74"/>
                      <a:pt x="92" y="73"/>
                    </a:cubicBezTo>
                    <a:cubicBezTo>
                      <a:pt x="93" y="72"/>
                      <a:pt x="93" y="70"/>
                      <a:pt x="94" y="68"/>
                    </a:cubicBezTo>
                    <a:cubicBezTo>
                      <a:pt x="95" y="67"/>
                      <a:pt x="97" y="65"/>
                      <a:pt x="97" y="63"/>
                    </a:cubicBezTo>
                    <a:cubicBezTo>
                      <a:pt x="97" y="62"/>
                      <a:pt x="94" y="61"/>
                      <a:pt x="93" y="60"/>
                    </a:cubicBezTo>
                    <a:cubicBezTo>
                      <a:pt x="93" y="59"/>
                      <a:pt x="94" y="57"/>
                      <a:pt x="94" y="56"/>
                    </a:cubicBezTo>
                    <a:cubicBezTo>
                      <a:pt x="93" y="54"/>
                      <a:pt x="91" y="53"/>
                      <a:pt x="91" y="51"/>
                    </a:cubicBezTo>
                    <a:cubicBezTo>
                      <a:pt x="90" y="50"/>
                      <a:pt x="92" y="50"/>
                      <a:pt x="93" y="49"/>
                    </a:cubicBezTo>
                    <a:cubicBezTo>
                      <a:pt x="94" y="47"/>
                      <a:pt x="97" y="45"/>
                      <a:pt x="98" y="43"/>
                    </a:cubicBezTo>
                    <a:cubicBezTo>
                      <a:pt x="98" y="41"/>
                      <a:pt x="96" y="39"/>
                      <a:pt x="96" y="37"/>
                    </a:cubicBezTo>
                    <a:cubicBezTo>
                      <a:pt x="96" y="33"/>
                      <a:pt x="97" y="30"/>
                      <a:pt x="96" y="27"/>
                    </a:cubicBezTo>
                    <a:cubicBezTo>
                      <a:pt x="96" y="24"/>
                      <a:pt x="95" y="20"/>
                      <a:pt x="92" y="18"/>
                    </a:cubicBezTo>
                    <a:cubicBezTo>
                      <a:pt x="90" y="16"/>
                      <a:pt x="86" y="17"/>
                      <a:pt x="84" y="16"/>
                    </a:cubicBezTo>
                    <a:cubicBezTo>
                      <a:pt x="82" y="15"/>
                      <a:pt x="82" y="13"/>
                      <a:pt x="81" y="12"/>
                    </a:cubicBezTo>
                    <a:cubicBezTo>
                      <a:pt x="80" y="10"/>
                      <a:pt x="79" y="9"/>
                      <a:pt x="78" y="8"/>
                    </a:cubicBezTo>
                    <a:cubicBezTo>
                      <a:pt x="76" y="7"/>
                      <a:pt x="74" y="7"/>
                      <a:pt x="72" y="6"/>
                    </a:cubicBezTo>
                    <a:cubicBezTo>
                      <a:pt x="70" y="6"/>
                      <a:pt x="67" y="7"/>
                      <a:pt x="65" y="6"/>
                    </a:cubicBezTo>
                    <a:cubicBezTo>
                      <a:pt x="64" y="6"/>
                      <a:pt x="63" y="5"/>
                      <a:pt x="63" y="4"/>
                    </a:cubicBezTo>
                    <a:cubicBezTo>
                      <a:pt x="64" y="3"/>
                      <a:pt x="65" y="2"/>
                      <a:pt x="65" y="1"/>
                    </a:cubicBezTo>
                    <a:cubicBezTo>
                      <a:pt x="62" y="1"/>
                      <a:pt x="60" y="0"/>
                      <a:pt x="58" y="1"/>
                    </a:cubicBezTo>
                    <a:cubicBezTo>
                      <a:pt x="54" y="2"/>
                      <a:pt x="49" y="4"/>
                      <a:pt x="47" y="7"/>
                    </a:cubicBezTo>
                    <a:cubicBezTo>
                      <a:pt x="45" y="8"/>
                      <a:pt x="48" y="12"/>
                      <a:pt x="46" y="14"/>
                    </a:cubicBezTo>
                    <a:cubicBezTo>
                      <a:pt x="43" y="17"/>
                      <a:pt x="39" y="17"/>
                      <a:pt x="36" y="20"/>
                    </a:cubicBezTo>
                    <a:cubicBezTo>
                      <a:pt x="34" y="21"/>
                      <a:pt x="32" y="23"/>
                      <a:pt x="30" y="25"/>
                    </a:cubicBezTo>
                    <a:cubicBezTo>
                      <a:pt x="29" y="27"/>
                      <a:pt x="28" y="29"/>
                      <a:pt x="27" y="31"/>
                    </a:cubicBezTo>
                    <a:cubicBezTo>
                      <a:pt x="25" y="33"/>
                      <a:pt x="24" y="35"/>
                      <a:pt x="22" y="36"/>
                    </a:cubicBezTo>
                    <a:cubicBezTo>
                      <a:pt x="20" y="37"/>
                      <a:pt x="18" y="38"/>
                      <a:pt x="15" y="37"/>
                    </a:cubicBezTo>
                    <a:cubicBezTo>
                      <a:pt x="14" y="37"/>
                      <a:pt x="13" y="36"/>
                      <a:pt x="11" y="35"/>
                    </a:cubicBezTo>
                    <a:cubicBezTo>
                      <a:pt x="9" y="35"/>
                      <a:pt x="7" y="34"/>
                      <a:pt x="4" y="34"/>
                    </a:cubicBezTo>
                    <a:cubicBezTo>
                      <a:pt x="2" y="34"/>
                      <a:pt x="1" y="34"/>
                      <a:pt x="0" y="35"/>
                    </a:cubicBezTo>
                    <a:cubicBezTo>
                      <a:pt x="1" y="37"/>
                      <a:pt x="3" y="40"/>
                      <a:pt x="4" y="43"/>
                    </a:cubicBezTo>
                    <a:cubicBezTo>
                      <a:pt x="6" y="45"/>
                      <a:pt x="7" y="47"/>
                      <a:pt x="8" y="49"/>
                    </a:cubicBezTo>
                    <a:cubicBezTo>
                      <a:pt x="9" y="52"/>
                      <a:pt x="9" y="56"/>
                      <a:pt x="11" y="59"/>
                    </a:cubicBezTo>
                    <a:cubicBezTo>
                      <a:pt x="12" y="61"/>
                      <a:pt x="14" y="60"/>
                      <a:pt x="16" y="61"/>
                    </a:cubicBezTo>
                    <a:cubicBezTo>
                      <a:pt x="19" y="63"/>
                      <a:pt x="23" y="65"/>
                      <a:pt x="26" y="67"/>
                    </a:cubicBezTo>
                    <a:cubicBezTo>
                      <a:pt x="27" y="69"/>
                      <a:pt x="25" y="71"/>
                      <a:pt x="26" y="73"/>
                    </a:cubicBezTo>
                    <a:cubicBezTo>
                      <a:pt x="27" y="74"/>
                      <a:pt x="30" y="71"/>
                      <a:pt x="30" y="73"/>
                    </a:cubicBezTo>
                    <a:cubicBezTo>
                      <a:pt x="32" y="75"/>
                      <a:pt x="30" y="79"/>
                      <a:pt x="30" y="82"/>
                    </a:cubicBezTo>
                    <a:cubicBezTo>
                      <a:pt x="31" y="85"/>
                      <a:pt x="32" y="87"/>
                      <a:pt x="34" y="88"/>
                    </a:cubicBezTo>
                    <a:cubicBezTo>
                      <a:pt x="36" y="90"/>
                      <a:pt x="38" y="88"/>
                      <a:pt x="40" y="89"/>
                    </a:cubicBezTo>
                    <a:cubicBezTo>
                      <a:pt x="43" y="90"/>
                      <a:pt x="45" y="90"/>
                      <a:pt x="47" y="92"/>
                    </a:cubicBezTo>
                    <a:cubicBezTo>
                      <a:pt x="48" y="92"/>
                      <a:pt x="47" y="94"/>
                      <a:pt x="47" y="95"/>
                    </a:cubicBezTo>
                    <a:cubicBezTo>
                      <a:pt x="48" y="96"/>
                      <a:pt x="48" y="97"/>
                      <a:pt x="49" y="97"/>
                    </a:cubicBezTo>
                    <a:cubicBezTo>
                      <a:pt x="52" y="97"/>
                      <a:pt x="54" y="97"/>
                      <a:pt x="56" y="98"/>
                    </a:cubicBezTo>
                    <a:cubicBezTo>
                      <a:pt x="59" y="98"/>
                      <a:pt x="62" y="99"/>
                      <a:pt x="65" y="99"/>
                    </a:cubicBezTo>
                    <a:cubicBezTo>
                      <a:pt x="66" y="99"/>
                      <a:pt x="68" y="99"/>
                      <a:pt x="70" y="99"/>
                    </a:cubicBezTo>
                    <a:cubicBezTo>
                      <a:pt x="72" y="99"/>
                      <a:pt x="73" y="101"/>
                      <a:pt x="74" y="101"/>
                    </a:cubicBezTo>
                    <a:cubicBezTo>
                      <a:pt x="75" y="102"/>
                      <a:pt x="75" y="101"/>
                      <a:pt x="76" y="101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5" name="Freeform 2516"/>
              <p:cNvSpPr>
                <a:spLocks noChangeAspect="1"/>
              </p:cNvSpPr>
              <p:nvPr/>
            </p:nvSpPr>
            <p:spPr bwMode="auto">
              <a:xfrm>
                <a:off x="5207538" y="4331407"/>
                <a:ext cx="263330" cy="480743"/>
              </a:xfrm>
              <a:custGeom>
                <a:avLst/>
                <a:gdLst>
                  <a:gd name="T0" fmla="*/ 37 w 134"/>
                  <a:gd name="T1" fmla="*/ 290 h 247"/>
                  <a:gd name="T2" fmla="*/ 35 w 134"/>
                  <a:gd name="T3" fmla="*/ 276 h 247"/>
                  <a:gd name="T4" fmla="*/ 40 w 134"/>
                  <a:gd name="T5" fmla="*/ 270 h 247"/>
                  <a:gd name="T6" fmla="*/ 58 w 134"/>
                  <a:gd name="T7" fmla="*/ 260 h 247"/>
                  <a:gd name="T8" fmla="*/ 76 w 134"/>
                  <a:gd name="T9" fmla="*/ 248 h 247"/>
                  <a:gd name="T10" fmla="*/ 77 w 134"/>
                  <a:gd name="T11" fmla="*/ 231 h 247"/>
                  <a:gd name="T12" fmla="*/ 74 w 134"/>
                  <a:gd name="T13" fmla="*/ 207 h 247"/>
                  <a:gd name="T14" fmla="*/ 67 w 134"/>
                  <a:gd name="T15" fmla="*/ 191 h 247"/>
                  <a:gd name="T16" fmla="*/ 66 w 134"/>
                  <a:gd name="T17" fmla="*/ 173 h 247"/>
                  <a:gd name="T18" fmla="*/ 85 w 134"/>
                  <a:gd name="T19" fmla="*/ 153 h 247"/>
                  <a:gd name="T20" fmla="*/ 102 w 134"/>
                  <a:gd name="T21" fmla="*/ 134 h 247"/>
                  <a:gd name="T22" fmla="*/ 137 w 134"/>
                  <a:gd name="T23" fmla="*/ 114 h 247"/>
                  <a:gd name="T24" fmla="*/ 161 w 134"/>
                  <a:gd name="T25" fmla="*/ 80 h 247"/>
                  <a:gd name="T26" fmla="*/ 160 w 134"/>
                  <a:gd name="T27" fmla="*/ 73 h 247"/>
                  <a:gd name="T28" fmla="*/ 157 w 134"/>
                  <a:gd name="T29" fmla="*/ 53 h 247"/>
                  <a:gd name="T30" fmla="*/ 154 w 134"/>
                  <a:gd name="T31" fmla="*/ 22 h 247"/>
                  <a:gd name="T32" fmla="*/ 159 w 134"/>
                  <a:gd name="T33" fmla="*/ 6 h 247"/>
                  <a:gd name="T34" fmla="*/ 153 w 134"/>
                  <a:gd name="T35" fmla="*/ 2 h 247"/>
                  <a:gd name="T36" fmla="*/ 133 w 134"/>
                  <a:gd name="T37" fmla="*/ 16 h 247"/>
                  <a:gd name="T38" fmla="*/ 124 w 134"/>
                  <a:gd name="T39" fmla="*/ 17 h 247"/>
                  <a:gd name="T40" fmla="*/ 113 w 134"/>
                  <a:gd name="T41" fmla="*/ 23 h 247"/>
                  <a:gd name="T42" fmla="*/ 96 w 134"/>
                  <a:gd name="T43" fmla="*/ 24 h 247"/>
                  <a:gd name="T44" fmla="*/ 83 w 134"/>
                  <a:gd name="T45" fmla="*/ 22 h 247"/>
                  <a:gd name="T46" fmla="*/ 70 w 134"/>
                  <a:gd name="T47" fmla="*/ 19 h 247"/>
                  <a:gd name="T48" fmla="*/ 66 w 134"/>
                  <a:gd name="T49" fmla="*/ 35 h 247"/>
                  <a:gd name="T50" fmla="*/ 68 w 134"/>
                  <a:gd name="T51" fmla="*/ 53 h 247"/>
                  <a:gd name="T52" fmla="*/ 77 w 134"/>
                  <a:gd name="T53" fmla="*/ 66 h 247"/>
                  <a:gd name="T54" fmla="*/ 85 w 134"/>
                  <a:gd name="T55" fmla="*/ 81 h 247"/>
                  <a:gd name="T56" fmla="*/ 85 w 134"/>
                  <a:gd name="T57" fmla="*/ 102 h 247"/>
                  <a:gd name="T58" fmla="*/ 77 w 134"/>
                  <a:gd name="T59" fmla="*/ 109 h 247"/>
                  <a:gd name="T60" fmla="*/ 65 w 134"/>
                  <a:gd name="T61" fmla="*/ 107 h 247"/>
                  <a:gd name="T62" fmla="*/ 61 w 134"/>
                  <a:gd name="T63" fmla="*/ 97 h 247"/>
                  <a:gd name="T64" fmla="*/ 66 w 134"/>
                  <a:gd name="T65" fmla="*/ 79 h 247"/>
                  <a:gd name="T66" fmla="*/ 52 w 134"/>
                  <a:gd name="T67" fmla="*/ 75 h 247"/>
                  <a:gd name="T68" fmla="*/ 43 w 134"/>
                  <a:gd name="T69" fmla="*/ 67 h 247"/>
                  <a:gd name="T70" fmla="*/ 4 w 134"/>
                  <a:gd name="T71" fmla="*/ 91 h 247"/>
                  <a:gd name="T72" fmla="*/ 0 w 134"/>
                  <a:gd name="T73" fmla="*/ 98 h 247"/>
                  <a:gd name="T74" fmla="*/ 11 w 134"/>
                  <a:gd name="T75" fmla="*/ 101 h 247"/>
                  <a:gd name="T76" fmla="*/ 22 w 134"/>
                  <a:gd name="T77" fmla="*/ 108 h 247"/>
                  <a:gd name="T78" fmla="*/ 35 w 134"/>
                  <a:gd name="T79" fmla="*/ 115 h 247"/>
                  <a:gd name="T80" fmla="*/ 40 w 134"/>
                  <a:gd name="T81" fmla="*/ 138 h 247"/>
                  <a:gd name="T82" fmla="*/ 36 w 134"/>
                  <a:gd name="T83" fmla="*/ 152 h 247"/>
                  <a:gd name="T84" fmla="*/ 37 w 134"/>
                  <a:gd name="T85" fmla="*/ 161 h 247"/>
                  <a:gd name="T86" fmla="*/ 41 w 134"/>
                  <a:gd name="T87" fmla="*/ 169 h 247"/>
                  <a:gd name="T88" fmla="*/ 35 w 134"/>
                  <a:gd name="T89" fmla="*/ 181 h 247"/>
                  <a:gd name="T90" fmla="*/ 32 w 134"/>
                  <a:gd name="T91" fmla="*/ 195 h 247"/>
                  <a:gd name="T92" fmla="*/ 17 w 134"/>
                  <a:gd name="T93" fmla="*/ 224 h 247"/>
                  <a:gd name="T94" fmla="*/ 19 w 134"/>
                  <a:gd name="T95" fmla="*/ 236 h 247"/>
                  <a:gd name="T96" fmla="*/ 24 w 134"/>
                  <a:gd name="T97" fmla="*/ 254 h 247"/>
                  <a:gd name="T98" fmla="*/ 23 w 134"/>
                  <a:gd name="T99" fmla="*/ 277 h 247"/>
                  <a:gd name="T100" fmla="*/ 25 w 134"/>
                  <a:gd name="T101" fmla="*/ 289 h 247"/>
                  <a:gd name="T102" fmla="*/ 37 w 134"/>
                  <a:gd name="T103" fmla="*/ 296 h 2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4"/>
                  <a:gd name="T157" fmla="*/ 0 h 247"/>
                  <a:gd name="T158" fmla="*/ 134 w 134"/>
                  <a:gd name="T159" fmla="*/ 247 h 24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4" h="247">
                    <a:moveTo>
                      <a:pt x="31" y="247"/>
                    </a:moveTo>
                    <a:cubicBezTo>
                      <a:pt x="31" y="246"/>
                      <a:pt x="31" y="243"/>
                      <a:pt x="31" y="242"/>
                    </a:cubicBezTo>
                    <a:cubicBezTo>
                      <a:pt x="31" y="239"/>
                      <a:pt x="29" y="237"/>
                      <a:pt x="28" y="235"/>
                    </a:cubicBezTo>
                    <a:cubicBezTo>
                      <a:pt x="28" y="234"/>
                      <a:pt x="28" y="232"/>
                      <a:pt x="29" y="230"/>
                    </a:cubicBezTo>
                    <a:cubicBezTo>
                      <a:pt x="29" y="228"/>
                      <a:pt x="30" y="226"/>
                      <a:pt x="31" y="225"/>
                    </a:cubicBezTo>
                    <a:cubicBezTo>
                      <a:pt x="31" y="224"/>
                      <a:pt x="32" y="225"/>
                      <a:pt x="33" y="225"/>
                    </a:cubicBezTo>
                    <a:cubicBezTo>
                      <a:pt x="35" y="223"/>
                      <a:pt x="37" y="222"/>
                      <a:pt x="39" y="220"/>
                    </a:cubicBezTo>
                    <a:cubicBezTo>
                      <a:pt x="42" y="219"/>
                      <a:pt x="45" y="218"/>
                      <a:pt x="48" y="217"/>
                    </a:cubicBezTo>
                    <a:cubicBezTo>
                      <a:pt x="51" y="215"/>
                      <a:pt x="55" y="214"/>
                      <a:pt x="59" y="212"/>
                    </a:cubicBezTo>
                    <a:cubicBezTo>
                      <a:pt x="60" y="210"/>
                      <a:pt x="62" y="209"/>
                      <a:pt x="63" y="207"/>
                    </a:cubicBezTo>
                    <a:cubicBezTo>
                      <a:pt x="63" y="206"/>
                      <a:pt x="63" y="204"/>
                      <a:pt x="63" y="203"/>
                    </a:cubicBezTo>
                    <a:cubicBezTo>
                      <a:pt x="64" y="199"/>
                      <a:pt x="64" y="196"/>
                      <a:pt x="64" y="193"/>
                    </a:cubicBezTo>
                    <a:cubicBezTo>
                      <a:pt x="64" y="189"/>
                      <a:pt x="64" y="185"/>
                      <a:pt x="64" y="181"/>
                    </a:cubicBezTo>
                    <a:cubicBezTo>
                      <a:pt x="63" y="178"/>
                      <a:pt x="63" y="176"/>
                      <a:pt x="62" y="173"/>
                    </a:cubicBezTo>
                    <a:cubicBezTo>
                      <a:pt x="62" y="169"/>
                      <a:pt x="61" y="165"/>
                      <a:pt x="60" y="161"/>
                    </a:cubicBezTo>
                    <a:cubicBezTo>
                      <a:pt x="59" y="160"/>
                      <a:pt x="57" y="160"/>
                      <a:pt x="56" y="159"/>
                    </a:cubicBezTo>
                    <a:cubicBezTo>
                      <a:pt x="56" y="158"/>
                      <a:pt x="58" y="157"/>
                      <a:pt x="58" y="155"/>
                    </a:cubicBezTo>
                    <a:cubicBezTo>
                      <a:pt x="58" y="151"/>
                      <a:pt x="54" y="148"/>
                      <a:pt x="55" y="144"/>
                    </a:cubicBezTo>
                    <a:cubicBezTo>
                      <a:pt x="55" y="143"/>
                      <a:pt x="58" y="142"/>
                      <a:pt x="59" y="141"/>
                    </a:cubicBezTo>
                    <a:cubicBezTo>
                      <a:pt x="63" y="137"/>
                      <a:pt x="67" y="133"/>
                      <a:pt x="71" y="128"/>
                    </a:cubicBezTo>
                    <a:cubicBezTo>
                      <a:pt x="75" y="124"/>
                      <a:pt x="78" y="120"/>
                      <a:pt x="82" y="116"/>
                    </a:cubicBezTo>
                    <a:cubicBezTo>
                      <a:pt x="83" y="115"/>
                      <a:pt x="84" y="113"/>
                      <a:pt x="85" y="112"/>
                    </a:cubicBezTo>
                    <a:cubicBezTo>
                      <a:pt x="91" y="108"/>
                      <a:pt x="96" y="105"/>
                      <a:pt x="102" y="102"/>
                    </a:cubicBezTo>
                    <a:cubicBezTo>
                      <a:pt x="106" y="99"/>
                      <a:pt x="111" y="98"/>
                      <a:pt x="114" y="95"/>
                    </a:cubicBezTo>
                    <a:cubicBezTo>
                      <a:pt x="120" y="90"/>
                      <a:pt x="124" y="84"/>
                      <a:pt x="128" y="78"/>
                    </a:cubicBezTo>
                    <a:cubicBezTo>
                      <a:pt x="130" y="74"/>
                      <a:pt x="133" y="71"/>
                      <a:pt x="134" y="67"/>
                    </a:cubicBezTo>
                    <a:cubicBezTo>
                      <a:pt x="134" y="66"/>
                      <a:pt x="131" y="66"/>
                      <a:pt x="131" y="65"/>
                    </a:cubicBezTo>
                    <a:cubicBezTo>
                      <a:pt x="131" y="64"/>
                      <a:pt x="133" y="63"/>
                      <a:pt x="133" y="61"/>
                    </a:cubicBezTo>
                    <a:cubicBezTo>
                      <a:pt x="133" y="60"/>
                      <a:pt x="130" y="59"/>
                      <a:pt x="130" y="57"/>
                    </a:cubicBezTo>
                    <a:cubicBezTo>
                      <a:pt x="129" y="53"/>
                      <a:pt x="131" y="49"/>
                      <a:pt x="131" y="44"/>
                    </a:cubicBezTo>
                    <a:cubicBezTo>
                      <a:pt x="131" y="41"/>
                      <a:pt x="130" y="37"/>
                      <a:pt x="130" y="33"/>
                    </a:cubicBezTo>
                    <a:cubicBezTo>
                      <a:pt x="129" y="28"/>
                      <a:pt x="128" y="23"/>
                      <a:pt x="128" y="18"/>
                    </a:cubicBezTo>
                    <a:cubicBezTo>
                      <a:pt x="128" y="15"/>
                      <a:pt x="128" y="12"/>
                      <a:pt x="129" y="9"/>
                    </a:cubicBezTo>
                    <a:cubicBezTo>
                      <a:pt x="129" y="8"/>
                      <a:pt x="132" y="7"/>
                      <a:pt x="132" y="5"/>
                    </a:cubicBezTo>
                    <a:cubicBezTo>
                      <a:pt x="132" y="4"/>
                      <a:pt x="132" y="2"/>
                      <a:pt x="131" y="1"/>
                    </a:cubicBezTo>
                    <a:cubicBezTo>
                      <a:pt x="130" y="0"/>
                      <a:pt x="128" y="2"/>
                      <a:pt x="127" y="2"/>
                    </a:cubicBezTo>
                    <a:cubicBezTo>
                      <a:pt x="124" y="5"/>
                      <a:pt x="121" y="9"/>
                      <a:pt x="117" y="11"/>
                    </a:cubicBezTo>
                    <a:cubicBezTo>
                      <a:pt x="116" y="12"/>
                      <a:pt x="113" y="12"/>
                      <a:pt x="111" y="13"/>
                    </a:cubicBezTo>
                    <a:cubicBezTo>
                      <a:pt x="110" y="14"/>
                      <a:pt x="108" y="15"/>
                      <a:pt x="106" y="16"/>
                    </a:cubicBezTo>
                    <a:cubicBezTo>
                      <a:pt x="105" y="16"/>
                      <a:pt x="105" y="14"/>
                      <a:pt x="103" y="14"/>
                    </a:cubicBezTo>
                    <a:cubicBezTo>
                      <a:pt x="102" y="13"/>
                      <a:pt x="100" y="13"/>
                      <a:pt x="99" y="14"/>
                    </a:cubicBezTo>
                    <a:cubicBezTo>
                      <a:pt x="96" y="15"/>
                      <a:pt x="96" y="18"/>
                      <a:pt x="94" y="19"/>
                    </a:cubicBezTo>
                    <a:cubicBezTo>
                      <a:pt x="91" y="20"/>
                      <a:pt x="90" y="17"/>
                      <a:pt x="87" y="17"/>
                    </a:cubicBezTo>
                    <a:cubicBezTo>
                      <a:pt x="85" y="17"/>
                      <a:pt x="83" y="20"/>
                      <a:pt x="80" y="20"/>
                    </a:cubicBezTo>
                    <a:cubicBezTo>
                      <a:pt x="77" y="19"/>
                      <a:pt x="77" y="14"/>
                      <a:pt x="74" y="13"/>
                    </a:cubicBezTo>
                    <a:cubicBezTo>
                      <a:pt x="72" y="13"/>
                      <a:pt x="71" y="17"/>
                      <a:pt x="69" y="18"/>
                    </a:cubicBezTo>
                    <a:cubicBezTo>
                      <a:pt x="67" y="18"/>
                      <a:pt x="64" y="18"/>
                      <a:pt x="62" y="18"/>
                    </a:cubicBezTo>
                    <a:cubicBezTo>
                      <a:pt x="61" y="17"/>
                      <a:pt x="60" y="17"/>
                      <a:pt x="58" y="16"/>
                    </a:cubicBezTo>
                    <a:cubicBezTo>
                      <a:pt x="58" y="19"/>
                      <a:pt x="57" y="21"/>
                      <a:pt x="56" y="23"/>
                    </a:cubicBezTo>
                    <a:cubicBezTo>
                      <a:pt x="56" y="25"/>
                      <a:pt x="55" y="27"/>
                      <a:pt x="55" y="29"/>
                    </a:cubicBezTo>
                    <a:cubicBezTo>
                      <a:pt x="55" y="31"/>
                      <a:pt x="55" y="34"/>
                      <a:pt x="55" y="36"/>
                    </a:cubicBezTo>
                    <a:cubicBezTo>
                      <a:pt x="56" y="38"/>
                      <a:pt x="56" y="41"/>
                      <a:pt x="57" y="44"/>
                    </a:cubicBezTo>
                    <a:cubicBezTo>
                      <a:pt x="57" y="46"/>
                      <a:pt x="57" y="48"/>
                      <a:pt x="58" y="50"/>
                    </a:cubicBezTo>
                    <a:cubicBezTo>
                      <a:pt x="59" y="52"/>
                      <a:pt x="62" y="53"/>
                      <a:pt x="64" y="55"/>
                    </a:cubicBezTo>
                    <a:cubicBezTo>
                      <a:pt x="66" y="57"/>
                      <a:pt x="66" y="59"/>
                      <a:pt x="67" y="61"/>
                    </a:cubicBezTo>
                    <a:cubicBezTo>
                      <a:pt x="69" y="64"/>
                      <a:pt x="70" y="66"/>
                      <a:pt x="71" y="68"/>
                    </a:cubicBezTo>
                    <a:cubicBezTo>
                      <a:pt x="72" y="71"/>
                      <a:pt x="71" y="75"/>
                      <a:pt x="71" y="79"/>
                    </a:cubicBezTo>
                    <a:cubicBezTo>
                      <a:pt x="71" y="81"/>
                      <a:pt x="72" y="83"/>
                      <a:pt x="71" y="85"/>
                    </a:cubicBezTo>
                    <a:cubicBezTo>
                      <a:pt x="70" y="87"/>
                      <a:pt x="67" y="85"/>
                      <a:pt x="65" y="86"/>
                    </a:cubicBezTo>
                    <a:cubicBezTo>
                      <a:pt x="64" y="87"/>
                      <a:pt x="64" y="89"/>
                      <a:pt x="64" y="91"/>
                    </a:cubicBezTo>
                    <a:cubicBezTo>
                      <a:pt x="63" y="93"/>
                      <a:pt x="64" y="98"/>
                      <a:pt x="62" y="97"/>
                    </a:cubicBezTo>
                    <a:cubicBezTo>
                      <a:pt x="58" y="96"/>
                      <a:pt x="56" y="92"/>
                      <a:pt x="54" y="89"/>
                    </a:cubicBezTo>
                    <a:cubicBezTo>
                      <a:pt x="53" y="87"/>
                      <a:pt x="52" y="86"/>
                      <a:pt x="52" y="84"/>
                    </a:cubicBezTo>
                    <a:cubicBezTo>
                      <a:pt x="51" y="83"/>
                      <a:pt x="50" y="82"/>
                      <a:pt x="51" y="81"/>
                    </a:cubicBezTo>
                    <a:cubicBezTo>
                      <a:pt x="52" y="78"/>
                      <a:pt x="54" y="77"/>
                      <a:pt x="55" y="75"/>
                    </a:cubicBezTo>
                    <a:cubicBezTo>
                      <a:pt x="56" y="72"/>
                      <a:pt x="56" y="69"/>
                      <a:pt x="55" y="66"/>
                    </a:cubicBezTo>
                    <a:cubicBezTo>
                      <a:pt x="54" y="64"/>
                      <a:pt x="54" y="61"/>
                      <a:pt x="52" y="61"/>
                    </a:cubicBezTo>
                    <a:cubicBezTo>
                      <a:pt x="49" y="60"/>
                      <a:pt x="46" y="65"/>
                      <a:pt x="43" y="63"/>
                    </a:cubicBezTo>
                    <a:cubicBezTo>
                      <a:pt x="40" y="62"/>
                      <a:pt x="41" y="57"/>
                      <a:pt x="39" y="55"/>
                    </a:cubicBezTo>
                    <a:cubicBezTo>
                      <a:pt x="39" y="54"/>
                      <a:pt x="37" y="56"/>
                      <a:pt x="36" y="56"/>
                    </a:cubicBezTo>
                    <a:lnTo>
                      <a:pt x="1" y="70"/>
                    </a:lnTo>
                    <a:lnTo>
                      <a:pt x="3" y="76"/>
                    </a:lnTo>
                    <a:lnTo>
                      <a:pt x="2" y="79"/>
                    </a:lnTo>
                    <a:cubicBezTo>
                      <a:pt x="2" y="80"/>
                      <a:pt x="1" y="81"/>
                      <a:pt x="0" y="82"/>
                    </a:cubicBezTo>
                    <a:cubicBezTo>
                      <a:pt x="0" y="83"/>
                      <a:pt x="1" y="84"/>
                      <a:pt x="2" y="84"/>
                    </a:cubicBezTo>
                    <a:cubicBezTo>
                      <a:pt x="4" y="85"/>
                      <a:pt x="7" y="84"/>
                      <a:pt x="9" y="84"/>
                    </a:cubicBezTo>
                    <a:cubicBezTo>
                      <a:pt x="11" y="85"/>
                      <a:pt x="13" y="85"/>
                      <a:pt x="15" y="86"/>
                    </a:cubicBezTo>
                    <a:cubicBezTo>
                      <a:pt x="16" y="87"/>
                      <a:pt x="17" y="88"/>
                      <a:pt x="18" y="90"/>
                    </a:cubicBezTo>
                    <a:cubicBezTo>
                      <a:pt x="19" y="91"/>
                      <a:pt x="19" y="93"/>
                      <a:pt x="21" y="94"/>
                    </a:cubicBezTo>
                    <a:cubicBezTo>
                      <a:pt x="23" y="95"/>
                      <a:pt x="27" y="94"/>
                      <a:pt x="29" y="96"/>
                    </a:cubicBezTo>
                    <a:cubicBezTo>
                      <a:pt x="32" y="98"/>
                      <a:pt x="33" y="102"/>
                      <a:pt x="33" y="105"/>
                    </a:cubicBezTo>
                    <a:cubicBezTo>
                      <a:pt x="34" y="108"/>
                      <a:pt x="33" y="111"/>
                      <a:pt x="33" y="115"/>
                    </a:cubicBezTo>
                    <a:cubicBezTo>
                      <a:pt x="33" y="117"/>
                      <a:pt x="35" y="119"/>
                      <a:pt x="35" y="121"/>
                    </a:cubicBezTo>
                    <a:cubicBezTo>
                      <a:pt x="34" y="123"/>
                      <a:pt x="31" y="125"/>
                      <a:pt x="30" y="127"/>
                    </a:cubicBezTo>
                    <a:cubicBezTo>
                      <a:pt x="29" y="128"/>
                      <a:pt x="27" y="128"/>
                      <a:pt x="28" y="129"/>
                    </a:cubicBezTo>
                    <a:cubicBezTo>
                      <a:pt x="28" y="131"/>
                      <a:pt x="30" y="132"/>
                      <a:pt x="31" y="134"/>
                    </a:cubicBezTo>
                    <a:cubicBezTo>
                      <a:pt x="31" y="135"/>
                      <a:pt x="30" y="137"/>
                      <a:pt x="30" y="138"/>
                    </a:cubicBezTo>
                    <a:cubicBezTo>
                      <a:pt x="31" y="139"/>
                      <a:pt x="34" y="140"/>
                      <a:pt x="34" y="141"/>
                    </a:cubicBezTo>
                    <a:cubicBezTo>
                      <a:pt x="34" y="143"/>
                      <a:pt x="32" y="145"/>
                      <a:pt x="31" y="146"/>
                    </a:cubicBezTo>
                    <a:cubicBezTo>
                      <a:pt x="30" y="148"/>
                      <a:pt x="30" y="150"/>
                      <a:pt x="29" y="151"/>
                    </a:cubicBezTo>
                    <a:cubicBezTo>
                      <a:pt x="28" y="152"/>
                      <a:pt x="27" y="153"/>
                      <a:pt x="27" y="154"/>
                    </a:cubicBezTo>
                    <a:cubicBezTo>
                      <a:pt x="26" y="157"/>
                      <a:pt x="28" y="161"/>
                      <a:pt x="27" y="163"/>
                    </a:cubicBezTo>
                    <a:cubicBezTo>
                      <a:pt x="23" y="169"/>
                      <a:pt x="17" y="174"/>
                      <a:pt x="13" y="179"/>
                    </a:cubicBezTo>
                    <a:cubicBezTo>
                      <a:pt x="13" y="182"/>
                      <a:pt x="13" y="184"/>
                      <a:pt x="14" y="187"/>
                    </a:cubicBezTo>
                    <a:cubicBezTo>
                      <a:pt x="14" y="188"/>
                      <a:pt x="16" y="190"/>
                      <a:pt x="16" y="191"/>
                    </a:cubicBezTo>
                    <a:cubicBezTo>
                      <a:pt x="16" y="193"/>
                      <a:pt x="15" y="195"/>
                      <a:pt x="16" y="197"/>
                    </a:cubicBezTo>
                    <a:cubicBezTo>
                      <a:pt x="16" y="200"/>
                      <a:pt x="17" y="202"/>
                      <a:pt x="18" y="205"/>
                    </a:cubicBezTo>
                    <a:cubicBezTo>
                      <a:pt x="19" y="207"/>
                      <a:pt x="20" y="210"/>
                      <a:pt x="20" y="212"/>
                    </a:cubicBezTo>
                    <a:cubicBezTo>
                      <a:pt x="20" y="217"/>
                      <a:pt x="20" y="222"/>
                      <a:pt x="19" y="227"/>
                    </a:cubicBezTo>
                    <a:cubicBezTo>
                      <a:pt x="19" y="229"/>
                      <a:pt x="19" y="230"/>
                      <a:pt x="19" y="231"/>
                    </a:cubicBezTo>
                    <a:cubicBezTo>
                      <a:pt x="19" y="232"/>
                      <a:pt x="20" y="233"/>
                      <a:pt x="21" y="235"/>
                    </a:cubicBezTo>
                    <a:cubicBezTo>
                      <a:pt x="20" y="237"/>
                      <a:pt x="21" y="239"/>
                      <a:pt x="21" y="241"/>
                    </a:cubicBezTo>
                    <a:cubicBezTo>
                      <a:pt x="21" y="243"/>
                      <a:pt x="21" y="244"/>
                      <a:pt x="21" y="246"/>
                    </a:cubicBezTo>
                    <a:lnTo>
                      <a:pt x="31" y="247"/>
                    </a:ln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7030A0"/>
                  </a:solidFill>
                </a:endParaRPr>
              </a:p>
            </p:txBody>
          </p:sp>
          <p:sp>
            <p:nvSpPr>
              <p:cNvPr id="8206" name="Freeform 2517"/>
              <p:cNvSpPr>
                <a:spLocks noChangeAspect="1"/>
              </p:cNvSpPr>
              <p:nvPr/>
            </p:nvSpPr>
            <p:spPr bwMode="auto">
              <a:xfrm>
                <a:off x="5268055" y="4302173"/>
                <a:ext cx="80144" cy="219258"/>
              </a:xfrm>
              <a:custGeom>
                <a:avLst/>
                <a:gdLst>
                  <a:gd name="T0" fmla="*/ 7 w 41"/>
                  <a:gd name="T1" fmla="*/ 0 h 113"/>
                  <a:gd name="T2" fmla="*/ 18 w 41"/>
                  <a:gd name="T3" fmla="*/ 6 h 113"/>
                  <a:gd name="T4" fmla="*/ 30 w 41"/>
                  <a:gd name="T5" fmla="*/ 18 h 113"/>
                  <a:gd name="T6" fmla="*/ 29 w 41"/>
                  <a:gd name="T7" fmla="*/ 30 h 113"/>
                  <a:gd name="T8" fmla="*/ 32 w 41"/>
                  <a:gd name="T9" fmla="*/ 37 h 113"/>
                  <a:gd name="T10" fmla="*/ 30 w 41"/>
                  <a:gd name="T11" fmla="*/ 45 h 113"/>
                  <a:gd name="T12" fmla="*/ 29 w 41"/>
                  <a:gd name="T13" fmla="*/ 53 h 113"/>
                  <a:gd name="T14" fmla="*/ 29 w 41"/>
                  <a:gd name="T15" fmla="*/ 61 h 113"/>
                  <a:gd name="T16" fmla="*/ 31 w 41"/>
                  <a:gd name="T17" fmla="*/ 70 h 113"/>
                  <a:gd name="T18" fmla="*/ 32 w 41"/>
                  <a:gd name="T19" fmla="*/ 78 h 113"/>
                  <a:gd name="T20" fmla="*/ 39 w 41"/>
                  <a:gd name="T21" fmla="*/ 84 h 113"/>
                  <a:gd name="T22" fmla="*/ 43 w 41"/>
                  <a:gd name="T23" fmla="*/ 91 h 113"/>
                  <a:gd name="T24" fmla="*/ 48 w 41"/>
                  <a:gd name="T25" fmla="*/ 99 h 113"/>
                  <a:gd name="T26" fmla="*/ 48 w 41"/>
                  <a:gd name="T27" fmla="*/ 112 h 113"/>
                  <a:gd name="T28" fmla="*/ 48 w 41"/>
                  <a:gd name="T29" fmla="*/ 119 h 113"/>
                  <a:gd name="T30" fmla="*/ 41 w 41"/>
                  <a:gd name="T31" fmla="*/ 121 h 113"/>
                  <a:gd name="T32" fmla="*/ 39 w 41"/>
                  <a:gd name="T33" fmla="*/ 127 h 113"/>
                  <a:gd name="T34" fmla="*/ 37 w 41"/>
                  <a:gd name="T35" fmla="*/ 134 h 113"/>
                  <a:gd name="T36" fmla="*/ 27 w 41"/>
                  <a:gd name="T37" fmla="*/ 124 h 113"/>
                  <a:gd name="T38" fmla="*/ 25 w 41"/>
                  <a:gd name="T39" fmla="*/ 118 h 113"/>
                  <a:gd name="T40" fmla="*/ 24 w 41"/>
                  <a:gd name="T41" fmla="*/ 115 h 113"/>
                  <a:gd name="T42" fmla="*/ 29 w 41"/>
                  <a:gd name="T43" fmla="*/ 108 h 113"/>
                  <a:gd name="T44" fmla="*/ 29 w 41"/>
                  <a:gd name="T45" fmla="*/ 97 h 113"/>
                  <a:gd name="T46" fmla="*/ 25 w 41"/>
                  <a:gd name="T47" fmla="*/ 91 h 113"/>
                  <a:gd name="T48" fmla="*/ 14 w 41"/>
                  <a:gd name="T49" fmla="*/ 93 h 113"/>
                  <a:gd name="T50" fmla="*/ 10 w 41"/>
                  <a:gd name="T51" fmla="*/ 84 h 113"/>
                  <a:gd name="T52" fmla="*/ 6 w 41"/>
                  <a:gd name="T53" fmla="*/ 85 h 113"/>
                  <a:gd name="T54" fmla="*/ 0 w 41"/>
                  <a:gd name="T55" fmla="*/ 79 h 113"/>
                  <a:gd name="T56" fmla="*/ 6 w 41"/>
                  <a:gd name="T57" fmla="*/ 69 h 113"/>
                  <a:gd name="T58" fmla="*/ 5 w 41"/>
                  <a:gd name="T59" fmla="*/ 59 h 113"/>
                  <a:gd name="T60" fmla="*/ 13 w 41"/>
                  <a:gd name="T61" fmla="*/ 55 h 113"/>
                  <a:gd name="T62" fmla="*/ 11 w 41"/>
                  <a:gd name="T63" fmla="*/ 53 h 113"/>
                  <a:gd name="T64" fmla="*/ 11 w 41"/>
                  <a:gd name="T65" fmla="*/ 41 h 113"/>
                  <a:gd name="T66" fmla="*/ 13 w 41"/>
                  <a:gd name="T67" fmla="*/ 33 h 113"/>
                  <a:gd name="T68" fmla="*/ 10 w 41"/>
                  <a:gd name="T69" fmla="*/ 27 h 113"/>
                  <a:gd name="T70" fmla="*/ 17 w 41"/>
                  <a:gd name="T71" fmla="*/ 24 h 113"/>
                  <a:gd name="T72" fmla="*/ 14 w 41"/>
                  <a:gd name="T73" fmla="*/ 16 h 113"/>
                  <a:gd name="T74" fmla="*/ 7 w 41"/>
                  <a:gd name="T75" fmla="*/ 7 h 113"/>
                  <a:gd name="T76" fmla="*/ 7 w 41"/>
                  <a:gd name="T77" fmla="*/ 0 h 11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1"/>
                  <a:gd name="T118" fmla="*/ 0 h 113"/>
                  <a:gd name="T119" fmla="*/ 41 w 41"/>
                  <a:gd name="T120" fmla="*/ 113 h 11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1" h="113">
                    <a:moveTo>
                      <a:pt x="6" y="0"/>
                    </a:moveTo>
                    <a:cubicBezTo>
                      <a:pt x="9" y="2"/>
                      <a:pt x="12" y="3"/>
                      <a:pt x="15" y="5"/>
                    </a:cubicBezTo>
                    <a:cubicBezTo>
                      <a:pt x="19" y="8"/>
                      <a:pt x="23" y="11"/>
                      <a:pt x="25" y="15"/>
                    </a:cubicBezTo>
                    <a:cubicBezTo>
                      <a:pt x="26" y="18"/>
                      <a:pt x="23" y="21"/>
                      <a:pt x="24" y="25"/>
                    </a:cubicBezTo>
                    <a:cubicBezTo>
                      <a:pt x="24" y="27"/>
                      <a:pt x="26" y="29"/>
                      <a:pt x="27" y="31"/>
                    </a:cubicBezTo>
                    <a:cubicBezTo>
                      <a:pt x="27" y="34"/>
                      <a:pt x="26" y="36"/>
                      <a:pt x="25" y="38"/>
                    </a:cubicBezTo>
                    <a:cubicBezTo>
                      <a:pt x="25" y="40"/>
                      <a:pt x="24" y="42"/>
                      <a:pt x="24" y="44"/>
                    </a:cubicBezTo>
                    <a:cubicBezTo>
                      <a:pt x="24" y="46"/>
                      <a:pt x="24" y="49"/>
                      <a:pt x="24" y="51"/>
                    </a:cubicBezTo>
                    <a:cubicBezTo>
                      <a:pt x="25" y="53"/>
                      <a:pt x="25" y="56"/>
                      <a:pt x="26" y="59"/>
                    </a:cubicBezTo>
                    <a:cubicBezTo>
                      <a:pt x="26" y="61"/>
                      <a:pt x="26" y="63"/>
                      <a:pt x="27" y="65"/>
                    </a:cubicBezTo>
                    <a:cubicBezTo>
                      <a:pt x="28" y="67"/>
                      <a:pt x="31" y="68"/>
                      <a:pt x="33" y="70"/>
                    </a:cubicBezTo>
                    <a:cubicBezTo>
                      <a:pt x="35" y="72"/>
                      <a:pt x="35" y="74"/>
                      <a:pt x="36" y="76"/>
                    </a:cubicBezTo>
                    <a:cubicBezTo>
                      <a:pt x="38" y="79"/>
                      <a:pt x="39" y="81"/>
                      <a:pt x="40" y="83"/>
                    </a:cubicBezTo>
                    <a:cubicBezTo>
                      <a:pt x="41" y="86"/>
                      <a:pt x="40" y="90"/>
                      <a:pt x="40" y="94"/>
                    </a:cubicBezTo>
                    <a:cubicBezTo>
                      <a:pt x="40" y="96"/>
                      <a:pt x="41" y="98"/>
                      <a:pt x="40" y="100"/>
                    </a:cubicBezTo>
                    <a:cubicBezTo>
                      <a:pt x="39" y="102"/>
                      <a:pt x="36" y="100"/>
                      <a:pt x="34" y="101"/>
                    </a:cubicBezTo>
                    <a:cubicBezTo>
                      <a:pt x="33" y="102"/>
                      <a:pt x="33" y="104"/>
                      <a:pt x="33" y="106"/>
                    </a:cubicBezTo>
                    <a:cubicBezTo>
                      <a:pt x="32" y="108"/>
                      <a:pt x="33" y="113"/>
                      <a:pt x="31" y="112"/>
                    </a:cubicBezTo>
                    <a:cubicBezTo>
                      <a:pt x="27" y="111"/>
                      <a:pt x="25" y="107"/>
                      <a:pt x="23" y="104"/>
                    </a:cubicBezTo>
                    <a:cubicBezTo>
                      <a:pt x="22" y="102"/>
                      <a:pt x="21" y="101"/>
                      <a:pt x="21" y="99"/>
                    </a:cubicBezTo>
                    <a:cubicBezTo>
                      <a:pt x="20" y="98"/>
                      <a:pt x="19" y="97"/>
                      <a:pt x="20" y="96"/>
                    </a:cubicBezTo>
                    <a:cubicBezTo>
                      <a:pt x="21" y="93"/>
                      <a:pt x="23" y="92"/>
                      <a:pt x="24" y="90"/>
                    </a:cubicBezTo>
                    <a:cubicBezTo>
                      <a:pt x="25" y="87"/>
                      <a:pt x="25" y="84"/>
                      <a:pt x="24" y="81"/>
                    </a:cubicBezTo>
                    <a:cubicBezTo>
                      <a:pt x="23" y="79"/>
                      <a:pt x="23" y="76"/>
                      <a:pt x="21" y="76"/>
                    </a:cubicBezTo>
                    <a:cubicBezTo>
                      <a:pt x="18" y="75"/>
                      <a:pt x="15" y="80"/>
                      <a:pt x="12" y="78"/>
                    </a:cubicBezTo>
                    <a:cubicBezTo>
                      <a:pt x="9" y="77"/>
                      <a:pt x="10" y="72"/>
                      <a:pt x="8" y="70"/>
                    </a:cubicBezTo>
                    <a:cubicBezTo>
                      <a:pt x="8" y="69"/>
                      <a:pt x="6" y="71"/>
                      <a:pt x="5" y="71"/>
                    </a:cubicBezTo>
                    <a:cubicBezTo>
                      <a:pt x="4" y="69"/>
                      <a:pt x="0" y="68"/>
                      <a:pt x="0" y="66"/>
                    </a:cubicBezTo>
                    <a:cubicBezTo>
                      <a:pt x="0" y="63"/>
                      <a:pt x="4" y="61"/>
                      <a:pt x="5" y="58"/>
                    </a:cubicBezTo>
                    <a:cubicBezTo>
                      <a:pt x="6" y="55"/>
                      <a:pt x="3" y="52"/>
                      <a:pt x="4" y="49"/>
                    </a:cubicBezTo>
                    <a:cubicBezTo>
                      <a:pt x="5" y="47"/>
                      <a:pt x="9" y="48"/>
                      <a:pt x="11" y="46"/>
                    </a:cubicBezTo>
                    <a:cubicBezTo>
                      <a:pt x="11" y="45"/>
                      <a:pt x="10" y="45"/>
                      <a:pt x="9" y="44"/>
                    </a:cubicBezTo>
                    <a:cubicBezTo>
                      <a:pt x="9" y="41"/>
                      <a:pt x="8" y="37"/>
                      <a:pt x="9" y="34"/>
                    </a:cubicBezTo>
                    <a:cubicBezTo>
                      <a:pt x="9" y="32"/>
                      <a:pt x="12" y="30"/>
                      <a:pt x="11" y="28"/>
                    </a:cubicBezTo>
                    <a:cubicBezTo>
                      <a:pt x="11" y="26"/>
                      <a:pt x="7" y="25"/>
                      <a:pt x="8" y="23"/>
                    </a:cubicBezTo>
                    <a:cubicBezTo>
                      <a:pt x="8" y="21"/>
                      <a:pt x="13" y="23"/>
                      <a:pt x="14" y="20"/>
                    </a:cubicBezTo>
                    <a:cubicBezTo>
                      <a:pt x="15" y="18"/>
                      <a:pt x="14" y="15"/>
                      <a:pt x="12" y="13"/>
                    </a:cubicBezTo>
                    <a:cubicBezTo>
                      <a:pt x="11" y="10"/>
                      <a:pt x="7" y="9"/>
                      <a:pt x="6" y="6"/>
                    </a:cubicBezTo>
                    <a:cubicBezTo>
                      <a:pt x="5" y="5"/>
                      <a:pt x="6" y="2"/>
                      <a:pt x="6" y="0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207" name="Freeform 2518"/>
              <p:cNvSpPr>
                <a:spLocks noChangeAspect="1"/>
              </p:cNvSpPr>
              <p:nvPr/>
            </p:nvSpPr>
            <p:spPr bwMode="auto">
              <a:xfrm>
                <a:off x="5004725" y="4271314"/>
                <a:ext cx="292771" cy="285847"/>
              </a:xfrm>
              <a:custGeom>
                <a:avLst/>
                <a:gdLst>
                  <a:gd name="T0" fmla="*/ 161 w 149"/>
                  <a:gd name="T1" fmla="*/ 19 h 147"/>
                  <a:gd name="T2" fmla="*/ 141 w 149"/>
                  <a:gd name="T3" fmla="*/ 10 h 147"/>
                  <a:gd name="T4" fmla="*/ 106 w 149"/>
                  <a:gd name="T5" fmla="*/ 4 h 147"/>
                  <a:gd name="T6" fmla="*/ 103 w 149"/>
                  <a:gd name="T7" fmla="*/ 29 h 147"/>
                  <a:gd name="T8" fmla="*/ 99 w 149"/>
                  <a:gd name="T9" fmla="*/ 53 h 147"/>
                  <a:gd name="T10" fmla="*/ 109 w 149"/>
                  <a:gd name="T11" fmla="*/ 73 h 147"/>
                  <a:gd name="T12" fmla="*/ 119 w 149"/>
                  <a:gd name="T13" fmla="*/ 72 h 147"/>
                  <a:gd name="T14" fmla="*/ 107 w 149"/>
                  <a:gd name="T15" fmla="*/ 93 h 147"/>
                  <a:gd name="T16" fmla="*/ 89 w 149"/>
                  <a:gd name="T17" fmla="*/ 72 h 147"/>
                  <a:gd name="T18" fmla="*/ 76 w 149"/>
                  <a:gd name="T19" fmla="*/ 59 h 147"/>
                  <a:gd name="T20" fmla="*/ 55 w 149"/>
                  <a:gd name="T21" fmla="*/ 62 h 147"/>
                  <a:gd name="T22" fmla="*/ 48 w 149"/>
                  <a:gd name="T23" fmla="*/ 54 h 147"/>
                  <a:gd name="T24" fmla="*/ 29 w 149"/>
                  <a:gd name="T25" fmla="*/ 51 h 147"/>
                  <a:gd name="T26" fmla="*/ 29 w 149"/>
                  <a:gd name="T27" fmla="*/ 67 h 147"/>
                  <a:gd name="T28" fmla="*/ 26 w 149"/>
                  <a:gd name="T29" fmla="*/ 79 h 147"/>
                  <a:gd name="T30" fmla="*/ 0 w 149"/>
                  <a:gd name="T31" fmla="*/ 84 h 147"/>
                  <a:gd name="T32" fmla="*/ 11 w 149"/>
                  <a:gd name="T33" fmla="*/ 156 h 147"/>
                  <a:gd name="T34" fmla="*/ 23 w 149"/>
                  <a:gd name="T35" fmla="*/ 168 h 147"/>
                  <a:gd name="T36" fmla="*/ 42 w 149"/>
                  <a:gd name="T37" fmla="*/ 165 h 147"/>
                  <a:gd name="T38" fmla="*/ 53 w 149"/>
                  <a:gd name="T39" fmla="*/ 171 h 147"/>
                  <a:gd name="T40" fmla="*/ 66 w 149"/>
                  <a:gd name="T41" fmla="*/ 175 h 147"/>
                  <a:gd name="T42" fmla="*/ 80 w 149"/>
                  <a:gd name="T43" fmla="*/ 168 h 147"/>
                  <a:gd name="T44" fmla="*/ 91 w 149"/>
                  <a:gd name="T45" fmla="*/ 154 h 147"/>
                  <a:gd name="T46" fmla="*/ 105 w 149"/>
                  <a:gd name="T47" fmla="*/ 139 h 147"/>
                  <a:gd name="T48" fmla="*/ 126 w 149"/>
                  <a:gd name="T49" fmla="*/ 132 h 147"/>
                  <a:gd name="T50" fmla="*/ 125 w 149"/>
                  <a:gd name="T51" fmla="*/ 121 h 147"/>
                  <a:gd name="T52" fmla="*/ 161 w 149"/>
                  <a:gd name="T53" fmla="*/ 98 h 147"/>
                  <a:gd name="T54" fmla="*/ 166 w 149"/>
                  <a:gd name="T55" fmla="*/ 78 h 147"/>
                  <a:gd name="T56" fmla="*/ 172 w 149"/>
                  <a:gd name="T57" fmla="*/ 72 h 147"/>
                  <a:gd name="T58" fmla="*/ 174 w 149"/>
                  <a:gd name="T59" fmla="*/ 53 h 147"/>
                  <a:gd name="T60" fmla="*/ 178 w 149"/>
                  <a:gd name="T61" fmla="*/ 43 h 147"/>
                  <a:gd name="T62" fmla="*/ 168 w 149"/>
                  <a:gd name="T63" fmla="*/ 26 h 1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9"/>
                  <a:gd name="T97" fmla="*/ 0 h 147"/>
                  <a:gd name="T98" fmla="*/ 149 w 149"/>
                  <a:gd name="T99" fmla="*/ 147 h 1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9" h="147">
                    <a:moveTo>
                      <a:pt x="140" y="16"/>
                    </a:moveTo>
                    <a:lnTo>
                      <a:pt x="134" y="16"/>
                    </a:lnTo>
                    <a:lnTo>
                      <a:pt x="126" y="13"/>
                    </a:lnTo>
                    <a:lnTo>
                      <a:pt x="117" y="8"/>
                    </a:lnTo>
                    <a:lnTo>
                      <a:pt x="111" y="2"/>
                    </a:lnTo>
                    <a:cubicBezTo>
                      <a:pt x="103" y="3"/>
                      <a:pt x="95" y="0"/>
                      <a:pt x="88" y="3"/>
                    </a:cubicBezTo>
                    <a:cubicBezTo>
                      <a:pt x="84" y="6"/>
                      <a:pt x="85" y="13"/>
                      <a:pt x="84" y="17"/>
                    </a:cubicBezTo>
                    <a:cubicBezTo>
                      <a:pt x="84" y="20"/>
                      <a:pt x="86" y="21"/>
                      <a:pt x="86" y="24"/>
                    </a:cubicBezTo>
                    <a:cubicBezTo>
                      <a:pt x="86" y="28"/>
                      <a:pt x="85" y="33"/>
                      <a:pt x="84" y="38"/>
                    </a:cubicBezTo>
                    <a:cubicBezTo>
                      <a:pt x="84" y="40"/>
                      <a:pt x="82" y="42"/>
                      <a:pt x="82" y="44"/>
                    </a:cubicBezTo>
                    <a:cubicBezTo>
                      <a:pt x="82" y="48"/>
                      <a:pt x="82" y="51"/>
                      <a:pt x="83" y="54"/>
                    </a:cubicBezTo>
                    <a:cubicBezTo>
                      <a:pt x="85" y="57"/>
                      <a:pt x="88" y="60"/>
                      <a:pt x="91" y="61"/>
                    </a:cubicBezTo>
                    <a:cubicBezTo>
                      <a:pt x="92" y="62"/>
                      <a:pt x="93" y="62"/>
                      <a:pt x="95" y="62"/>
                    </a:cubicBezTo>
                    <a:cubicBezTo>
                      <a:pt x="96" y="62"/>
                      <a:pt x="100" y="59"/>
                      <a:pt x="99" y="60"/>
                    </a:cubicBezTo>
                    <a:cubicBezTo>
                      <a:pt x="98" y="65"/>
                      <a:pt x="98" y="72"/>
                      <a:pt x="97" y="77"/>
                    </a:cubicBezTo>
                    <a:cubicBezTo>
                      <a:pt x="96" y="80"/>
                      <a:pt x="91" y="79"/>
                      <a:pt x="89" y="78"/>
                    </a:cubicBezTo>
                    <a:cubicBezTo>
                      <a:pt x="85" y="76"/>
                      <a:pt x="84" y="71"/>
                      <a:pt x="81" y="67"/>
                    </a:cubicBezTo>
                    <a:cubicBezTo>
                      <a:pt x="78" y="65"/>
                      <a:pt x="76" y="62"/>
                      <a:pt x="74" y="60"/>
                    </a:cubicBezTo>
                    <a:cubicBezTo>
                      <a:pt x="72" y="58"/>
                      <a:pt x="70" y="57"/>
                      <a:pt x="68" y="55"/>
                    </a:cubicBezTo>
                    <a:cubicBezTo>
                      <a:pt x="66" y="53"/>
                      <a:pt x="66" y="49"/>
                      <a:pt x="63" y="49"/>
                    </a:cubicBezTo>
                    <a:cubicBezTo>
                      <a:pt x="60" y="49"/>
                      <a:pt x="60" y="54"/>
                      <a:pt x="58" y="55"/>
                    </a:cubicBezTo>
                    <a:cubicBezTo>
                      <a:pt x="54" y="55"/>
                      <a:pt x="50" y="54"/>
                      <a:pt x="46" y="52"/>
                    </a:cubicBezTo>
                    <a:cubicBezTo>
                      <a:pt x="44" y="52"/>
                      <a:pt x="43" y="50"/>
                      <a:pt x="41" y="48"/>
                    </a:cubicBezTo>
                    <a:cubicBezTo>
                      <a:pt x="41" y="47"/>
                      <a:pt x="41" y="45"/>
                      <a:pt x="40" y="45"/>
                    </a:cubicBezTo>
                    <a:cubicBezTo>
                      <a:pt x="37" y="45"/>
                      <a:pt x="34" y="48"/>
                      <a:pt x="31" y="48"/>
                    </a:cubicBezTo>
                    <a:cubicBezTo>
                      <a:pt x="28" y="47"/>
                      <a:pt x="27" y="45"/>
                      <a:pt x="24" y="43"/>
                    </a:cubicBezTo>
                    <a:cubicBezTo>
                      <a:pt x="25" y="45"/>
                      <a:pt x="26" y="47"/>
                      <a:pt x="26" y="49"/>
                    </a:cubicBezTo>
                    <a:cubicBezTo>
                      <a:pt x="26" y="51"/>
                      <a:pt x="25" y="54"/>
                      <a:pt x="24" y="56"/>
                    </a:cubicBezTo>
                    <a:cubicBezTo>
                      <a:pt x="24" y="58"/>
                      <a:pt x="24" y="60"/>
                      <a:pt x="24" y="62"/>
                    </a:cubicBezTo>
                    <a:cubicBezTo>
                      <a:pt x="24" y="64"/>
                      <a:pt x="22" y="65"/>
                      <a:pt x="22" y="66"/>
                    </a:cubicBezTo>
                    <a:cubicBezTo>
                      <a:pt x="23" y="68"/>
                      <a:pt x="28" y="70"/>
                      <a:pt x="26" y="70"/>
                    </a:cubicBezTo>
                    <a:lnTo>
                      <a:pt x="0" y="70"/>
                    </a:lnTo>
                    <a:lnTo>
                      <a:pt x="0" y="119"/>
                    </a:lnTo>
                    <a:cubicBezTo>
                      <a:pt x="3" y="123"/>
                      <a:pt x="6" y="126"/>
                      <a:pt x="9" y="130"/>
                    </a:cubicBezTo>
                    <a:cubicBezTo>
                      <a:pt x="10" y="132"/>
                      <a:pt x="11" y="135"/>
                      <a:pt x="13" y="136"/>
                    </a:cubicBezTo>
                    <a:cubicBezTo>
                      <a:pt x="15" y="138"/>
                      <a:pt x="17" y="139"/>
                      <a:pt x="19" y="140"/>
                    </a:cubicBezTo>
                    <a:cubicBezTo>
                      <a:pt x="23" y="139"/>
                      <a:pt x="26" y="138"/>
                      <a:pt x="30" y="137"/>
                    </a:cubicBezTo>
                    <a:cubicBezTo>
                      <a:pt x="32" y="137"/>
                      <a:pt x="34" y="137"/>
                      <a:pt x="35" y="138"/>
                    </a:cubicBezTo>
                    <a:cubicBezTo>
                      <a:pt x="37" y="139"/>
                      <a:pt x="38" y="142"/>
                      <a:pt x="40" y="144"/>
                    </a:cubicBezTo>
                    <a:cubicBezTo>
                      <a:pt x="41" y="143"/>
                      <a:pt x="42" y="143"/>
                      <a:pt x="44" y="143"/>
                    </a:cubicBezTo>
                    <a:cubicBezTo>
                      <a:pt x="47" y="143"/>
                      <a:pt x="49" y="144"/>
                      <a:pt x="51" y="144"/>
                    </a:cubicBezTo>
                    <a:cubicBezTo>
                      <a:pt x="53" y="145"/>
                      <a:pt x="54" y="146"/>
                      <a:pt x="55" y="146"/>
                    </a:cubicBezTo>
                    <a:cubicBezTo>
                      <a:pt x="58" y="147"/>
                      <a:pt x="60" y="146"/>
                      <a:pt x="62" y="145"/>
                    </a:cubicBezTo>
                    <a:cubicBezTo>
                      <a:pt x="64" y="144"/>
                      <a:pt x="65" y="142"/>
                      <a:pt x="67" y="140"/>
                    </a:cubicBezTo>
                    <a:cubicBezTo>
                      <a:pt x="68" y="138"/>
                      <a:pt x="69" y="136"/>
                      <a:pt x="70" y="134"/>
                    </a:cubicBezTo>
                    <a:cubicBezTo>
                      <a:pt x="72" y="132"/>
                      <a:pt x="74" y="130"/>
                      <a:pt x="76" y="129"/>
                    </a:cubicBezTo>
                    <a:cubicBezTo>
                      <a:pt x="79" y="126"/>
                      <a:pt x="83" y="126"/>
                      <a:pt x="86" y="123"/>
                    </a:cubicBezTo>
                    <a:cubicBezTo>
                      <a:pt x="88" y="121"/>
                      <a:pt x="85" y="117"/>
                      <a:pt x="87" y="116"/>
                    </a:cubicBezTo>
                    <a:cubicBezTo>
                      <a:pt x="89" y="113"/>
                      <a:pt x="94" y="111"/>
                      <a:pt x="98" y="110"/>
                    </a:cubicBezTo>
                    <a:cubicBezTo>
                      <a:pt x="100" y="109"/>
                      <a:pt x="102" y="110"/>
                      <a:pt x="105" y="110"/>
                    </a:cubicBezTo>
                    <a:lnTo>
                      <a:pt x="106" y="107"/>
                    </a:lnTo>
                    <a:lnTo>
                      <a:pt x="104" y="101"/>
                    </a:lnTo>
                    <a:lnTo>
                      <a:pt x="139" y="87"/>
                    </a:lnTo>
                    <a:cubicBezTo>
                      <a:pt x="138" y="85"/>
                      <a:pt x="134" y="84"/>
                      <a:pt x="134" y="82"/>
                    </a:cubicBezTo>
                    <a:cubicBezTo>
                      <a:pt x="134" y="79"/>
                      <a:pt x="138" y="77"/>
                      <a:pt x="139" y="74"/>
                    </a:cubicBezTo>
                    <a:cubicBezTo>
                      <a:pt x="140" y="71"/>
                      <a:pt x="137" y="68"/>
                      <a:pt x="138" y="65"/>
                    </a:cubicBezTo>
                    <a:cubicBezTo>
                      <a:pt x="139" y="63"/>
                      <a:pt x="143" y="64"/>
                      <a:pt x="145" y="62"/>
                    </a:cubicBezTo>
                    <a:cubicBezTo>
                      <a:pt x="145" y="61"/>
                      <a:pt x="144" y="61"/>
                      <a:pt x="143" y="60"/>
                    </a:cubicBezTo>
                    <a:cubicBezTo>
                      <a:pt x="143" y="57"/>
                      <a:pt x="142" y="53"/>
                      <a:pt x="143" y="50"/>
                    </a:cubicBezTo>
                    <a:cubicBezTo>
                      <a:pt x="143" y="48"/>
                      <a:pt x="146" y="46"/>
                      <a:pt x="145" y="44"/>
                    </a:cubicBezTo>
                    <a:cubicBezTo>
                      <a:pt x="145" y="42"/>
                      <a:pt x="141" y="41"/>
                      <a:pt x="142" y="39"/>
                    </a:cubicBezTo>
                    <a:cubicBezTo>
                      <a:pt x="142" y="37"/>
                      <a:pt x="147" y="39"/>
                      <a:pt x="148" y="36"/>
                    </a:cubicBezTo>
                    <a:cubicBezTo>
                      <a:pt x="149" y="34"/>
                      <a:pt x="148" y="31"/>
                      <a:pt x="146" y="29"/>
                    </a:cubicBezTo>
                    <a:cubicBezTo>
                      <a:pt x="145" y="26"/>
                      <a:pt x="141" y="25"/>
                      <a:pt x="140" y="22"/>
                    </a:cubicBezTo>
                    <a:cubicBezTo>
                      <a:pt x="139" y="21"/>
                      <a:pt x="140" y="18"/>
                      <a:pt x="140" y="16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7030A0"/>
                  </a:solidFill>
                </a:endParaRPr>
              </a:p>
            </p:txBody>
          </p:sp>
          <p:sp>
            <p:nvSpPr>
              <p:cNvPr id="8208" name="Freeform 2519"/>
              <p:cNvSpPr>
                <a:spLocks noChangeAspect="1"/>
              </p:cNvSpPr>
              <p:nvPr/>
            </p:nvSpPr>
            <p:spPr bwMode="auto">
              <a:xfrm>
                <a:off x="4751209" y="4203100"/>
                <a:ext cx="309127" cy="350812"/>
              </a:xfrm>
              <a:custGeom>
                <a:avLst/>
                <a:gdLst>
                  <a:gd name="T0" fmla="*/ 11 w 157"/>
                  <a:gd name="T1" fmla="*/ 6 h 180"/>
                  <a:gd name="T2" fmla="*/ 12 w 157"/>
                  <a:gd name="T3" fmla="*/ 16 h 180"/>
                  <a:gd name="T4" fmla="*/ 25 w 157"/>
                  <a:gd name="T5" fmla="*/ 48 h 180"/>
                  <a:gd name="T6" fmla="*/ 22 w 157"/>
                  <a:gd name="T7" fmla="*/ 64 h 180"/>
                  <a:gd name="T8" fmla="*/ 33 w 157"/>
                  <a:gd name="T9" fmla="*/ 94 h 180"/>
                  <a:gd name="T10" fmla="*/ 23 w 157"/>
                  <a:gd name="T11" fmla="*/ 120 h 180"/>
                  <a:gd name="T12" fmla="*/ 10 w 157"/>
                  <a:gd name="T13" fmla="*/ 144 h 180"/>
                  <a:gd name="T14" fmla="*/ 1 w 157"/>
                  <a:gd name="T15" fmla="*/ 180 h 180"/>
                  <a:gd name="T16" fmla="*/ 8 w 157"/>
                  <a:gd name="T17" fmla="*/ 202 h 180"/>
                  <a:gd name="T18" fmla="*/ 26 w 157"/>
                  <a:gd name="T19" fmla="*/ 199 h 180"/>
                  <a:gd name="T20" fmla="*/ 100 w 157"/>
                  <a:gd name="T21" fmla="*/ 204 h 180"/>
                  <a:gd name="T22" fmla="*/ 117 w 157"/>
                  <a:gd name="T23" fmla="*/ 214 h 180"/>
                  <a:gd name="T24" fmla="*/ 140 w 157"/>
                  <a:gd name="T25" fmla="*/ 214 h 180"/>
                  <a:gd name="T26" fmla="*/ 178 w 157"/>
                  <a:gd name="T27" fmla="*/ 210 h 180"/>
                  <a:gd name="T28" fmla="*/ 166 w 157"/>
                  <a:gd name="T29" fmla="*/ 198 h 180"/>
                  <a:gd name="T30" fmla="*/ 155 w 157"/>
                  <a:gd name="T31" fmla="*/ 126 h 180"/>
                  <a:gd name="T32" fmla="*/ 182 w 157"/>
                  <a:gd name="T33" fmla="*/ 121 h 180"/>
                  <a:gd name="T34" fmla="*/ 184 w 157"/>
                  <a:gd name="T35" fmla="*/ 109 h 180"/>
                  <a:gd name="T36" fmla="*/ 184 w 157"/>
                  <a:gd name="T37" fmla="*/ 94 h 180"/>
                  <a:gd name="T38" fmla="*/ 171 w 157"/>
                  <a:gd name="T39" fmla="*/ 94 h 180"/>
                  <a:gd name="T40" fmla="*/ 159 w 157"/>
                  <a:gd name="T41" fmla="*/ 92 h 180"/>
                  <a:gd name="T42" fmla="*/ 160 w 157"/>
                  <a:gd name="T43" fmla="*/ 73 h 180"/>
                  <a:gd name="T44" fmla="*/ 154 w 157"/>
                  <a:gd name="T45" fmla="*/ 44 h 180"/>
                  <a:gd name="T46" fmla="*/ 153 w 157"/>
                  <a:gd name="T47" fmla="*/ 31 h 180"/>
                  <a:gd name="T48" fmla="*/ 136 w 157"/>
                  <a:gd name="T49" fmla="*/ 25 h 180"/>
                  <a:gd name="T50" fmla="*/ 130 w 157"/>
                  <a:gd name="T51" fmla="*/ 22 h 180"/>
                  <a:gd name="T52" fmla="*/ 119 w 157"/>
                  <a:gd name="T53" fmla="*/ 31 h 180"/>
                  <a:gd name="T54" fmla="*/ 117 w 157"/>
                  <a:gd name="T55" fmla="*/ 40 h 180"/>
                  <a:gd name="T56" fmla="*/ 102 w 157"/>
                  <a:gd name="T57" fmla="*/ 40 h 180"/>
                  <a:gd name="T58" fmla="*/ 79 w 157"/>
                  <a:gd name="T59" fmla="*/ 26 h 180"/>
                  <a:gd name="T60" fmla="*/ 76 w 157"/>
                  <a:gd name="T61" fmla="*/ 7 h 180"/>
                  <a:gd name="T62" fmla="*/ 24 w 157"/>
                  <a:gd name="T63" fmla="*/ 1 h 180"/>
                  <a:gd name="T64" fmla="*/ 12 w 157"/>
                  <a:gd name="T65" fmla="*/ 4 h 1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7"/>
                  <a:gd name="T100" fmla="*/ 0 h 180"/>
                  <a:gd name="T101" fmla="*/ 157 w 157"/>
                  <a:gd name="T102" fmla="*/ 180 h 1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7" h="180">
                    <a:moveTo>
                      <a:pt x="6" y="0"/>
                    </a:moveTo>
                    <a:cubicBezTo>
                      <a:pt x="6" y="1"/>
                      <a:pt x="9" y="3"/>
                      <a:pt x="9" y="5"/>
                    </a:cubicBezTo>
                    <a:cubicBezTo>
                      <a:pt x="9" y="6"/>
                      <a:pt x="6" y="5"/>
                      <a:pt x="7" y="6"/>
                    </a:cubicBezTo>
                    <a:cubicBezTo>
                      <a:pt x="7" y="9"/>
                      <a:pt x="9" y="11"/>
                      <a:pt x="10" y="13"/>
                    </a:cubicBezTo>
                    <a:cubicBezTo>
                      <a:pt x="12" y="16"/>
                      <a:pt x="14" y="18"/>
                      <a:pt x="15" y="21"/>
                    </a:cubicBezTo>
                    <a:cubicBezTo>
                      <a:pt x="17" y="27"/>
                      <a:pt x="21" y="33"/>
                      <a:pt x="21" y="40"/>
                    </a:cubicBezTo>
                    <a:cubicBezTo>
                      <a:pt x="21" y="42"/>
                      <a:pt x="17" y="43"/>
                      <a:pt x="16" y="46"/>
                    </a:cubicBezTo>
                    <a:cubicBezTo>
                      <a:pt x="16" y="48"/>
                      <a:pt x="17" y="51"/>
                      <a:pt x="18" y="53"/>
                    </a:cubicBezTo>
                    <a:cubicBezTo>
                      <a:pt x="19" y="57"/>
                      <a:pt x="21" y="61"/>
                      <a:pt x="22" y="65"/>
                    </a:cubicBezTo>
                    <a:cubicBezTo>
                      <a:pt x="24" y="69"/>
                      <a:pt x="27" y="73"/>
                      <a:pt x="27" y="78"/>
                    </a:cubicBezTo>
                    <a:cubicBezTo>
                      <a:pt x="27" y="83"/>
                      <a:pt x="26" y="89"/>
                      <a:pt x="24" y="93"/>
                    </a:cubicBezTo>
                    <a:cubicBezTo>
                      <a:pt x="23" y="96"/>
                      <a:pt x="21" y="98"/>
                      <a:pt x="19" y="100"/>
                    </a:cubicBezTo>
                    <a:cubicBezTo>
                      <a:pt x="17" y="103"/>
                      <a:pt x="13" y="106"/>
                      <a:pt x="11" y="110"/>
                    </a:cubicBezTo>
                    <a:cubicBezTo>
                      <a:pt x="9" y="113"/>
                      <a:pt x="9" y="116"/>
                      <a:pt x="8" y="120"/>
                    </a:cubicBezTo>
                    <a:cubicBezTo>
                      <a:pt x="7" y="125"/>
                      <a:pt x="6" y="131"/>
                      <a:pt x="5" y="137"/>
                    </a:cubicBezTo>
                    <a:cubicBezTo>
                      <a:pt x="4" y="142"/>
                      <a:pt x="2" y="146"/>
                      <a:pt x="1" y="150"/>
                    </a:cubicBezTo>
                    <a:cubicBezTo>
                      <a:pt x="0" y="156"/>
                      <a:pt x="0" y="162"/>
                      <a:pt x="0" y="168"/>
                    </a:cubicBezTo>
                    <a:cubicBezTo>
                      <a:pt x="2" y="168"/>
                      <a:pt x="4" y="168"/>
                      <a:pt x="7" y="168"/>
                    </a:cubicBezTo>
                    <a:cubicBezTo>
                      <a:pt x="10" y="167"/>
                      <a:pt x="12" y="164"/>
                      <a:pt x="15" y="164"/>
                    </a:cubicBezTo>
                    <a:cubicBezTo>
                      <a:pt x="17" y="164"/>
                      <a:pt x="20" y="165"/>
                      <a:pt x="22" y="166"/>
                    </a:cubicBezTo>
                    <a:cubicBezTo>
                      <a:pt x="24" y="167"/>
                      <a:pt x="26" y="170"/>
                      <a:pt x="28" y="170"/>
                    </a:cubicBezTo>
                    <a:cubicBezTo>
                      <a:pt x="46" y="171"/>
                      <a:pt x="65" y="168"/>
                      <a:pt x="83" y="170"/>
                    </a:cubicBezTo>
                    <a:cubicBezTo>
                      <a:pt x="86" y="170"/>
                      <a:pt x="87" y="174"/>
                      <a:pt x="89" y="176"/>
                    </a:cubicBezTo>
                    <a:cubicBezTo>
                      <a:pt x="92" y="177"/>
                      <a:pt x="94" y="178"/>
                      <a:pt x="97" y="178"/>
                    </a:cubicBezTo>
                    <a:cubicBezTo>
                      <a:pt x="101" y="179"/>
                      <a:pt x="105" y="180"/>
                      <a:pt x="109" y="180"/>
                    </a:cubicBezTo>
                    <a:cubicBezTo>
                      <a:pt x="111" y="180"/>
                      <a:pt x="114" y="178"/>
                      <a:pt x="116" y="178"/>
                    </a:cubicBezTo>
                    <a:cubicBezTo>
                      <a:pt x="119" y="178"/>
                      <a:pt x="122" y="180"/>
                      <a:pt x="124" y="180"/>
                    </a:cubicBezTo>
                    <a:cubicBezTo>
                      <a:pt x="132" y="179"/>
                      <a:pt x="140" y="176"/>
                      <a:pt x="148" y="175"/>
                    </a:cubicBezTo>
                    <a:cubicBezTo>
                      <a:pt x="146" y="174"/>
                      <a:pt x="144" y="173"/>
                      <a:pt x="142" y="171"/>
                    </a:cubicBezTo>
                    <a:cubicBezTo>
                      <a:pt x="140" y="170"/>
                      <a:pt x="139" y="167"/>
                      <a:pt x="138" y="165"/>
                    </a:cubicBezTo>
                    <a:cubicBezTo>
                      <a:pt x="135" y="161"/>
                      <a:pt x="132" y="158"/>
                      <a:pt x="129" y="154"/>
                    </a:cubicBezTo>
                    <a:lnTo>
                      <a:pt x="129" y="105"/>
                    </a:lnTo>
                    <a:lnTo>
                      <a:pt x="155" y="105"/>
                    </a:lnTo>
                    <a:cubicBezTo>
                      <a:pt x="157" y="105"/>
                      <a:pt x="152" y="103"/>
                      <a:pt x="151" y="101"/>
                    </a:cubicBezTo>
                    <a:cubicBezTo>
                      <a:pt x="151" y="100"/>
                      <a:pt x="153" y="99"/>
                      <a:pt x="153" y="97"/>
                    </a:cubicBezTo>
                    <a:cubicBezTo>
                      <a:pt x="153" y="95"/>
                      <a:pt x="153" y="93"/>
                      <a:pt x="153" y="91"/>
                    </a:cubicBezTo>
                    <a:cubicBezTo>
                      <a:pt x="154" y="89"/>
                      <a:pt x="155" y="86"/>
                      <a:pt x="155" y="84"/>
                    </a:cubicBezTo>
                    <a:cubicBezTo>
                      <a:pt x="155" y="82"/>
                      <a:pt x="154" y="80"/>
                      <a:pt x="153" y="78"/>
                    </a:cubicBezTo>
                    <a:cubicBezTo>
                      <a:pt x="153" y="77"/>
                      <a:pt x="153" y="76"/>
                      <a:pt x="152" y="76"/>
                    </a:cubicBezTo>
                    <a:cubicBezTo>
                      <a:pt x="149" y="76"/>
                      <a:pt x="145" y="77"/>
                      <a:pt x="142" y="78"/>
                    </a:cubicBezTo>
                    <a:cubicBezTo>
                      <a:pt x="139" y="79"/>
                      <a:pt x="135" y="81"/>
                      <a:pt x="132" y="81"/>
                    </a:cubicBezTo>
                    <a:cubicBezTo>
                      <a:pt x="130" y="81"/>
                      <a:pt x="131" y="79"/>
                      <a:pt x="132" y="77"/>
                    </a:cubicBezTo>
                    <a:cubicBezTo>
                      <a:pt x="132" y="76"/>
                      <a:pt x="133" y="74"/>
                      <a:pt x="133" y="72"/>
                    </a:cubicBezTo>
                    <a:cubicBezTo>
                      <a:pt x="133" y="68"/>
                      <a:pt x="134" y="64"/>
                      <a:pt x="133" y="61"/>
                    </a:cubicBezTo>
                    <a:cubicBezTo>
                      <a:pt x="132" y="58"/>
                      <a:pt x="127" y="58"/>
                      <a:pt x="127" y="55"/>
                    </a:cubicBezTo>
                    <a:cubicBezTo>
                      <a:pt x="126" y="50"/>
                      <a:pt x="128" y="43"/>
                      <a:pt x="128" y="37"/>
                    </a:cubicBezTo>
                    <a:cubicBezTo>
                      <a:pt x="128" y="35"/>
                      <a:pt x="127" y="33"/>
                      <a:pt x="126" y="30"/>
                    </a:cubicBezTo>
                    <a:cubicBezTo>
                      <a:pt x="126" y="29"/>
                      <a:pt x="128" y="28"/>
                      <a:pt x="127" y="26"/>
                    </a:cubicBezTo>
                    <a:cubicBezTo>
                      <a:pt x="127" y="24"/>
                      <a:pt x="127" y="21"/>
                      <a:pt x="125" y="20"/>
                    </a:cubicBezTo>
                    <a:cubicBezTo>
                      <a:pt x="121" y="18"/>
                      <a:pt x="117" y="21"/>
                      <a:pt x="113" y="21"/>
                    </a:cubicBezTo>
                    <a:cubicBezTo>
                      <a:pt x="112" y="20"/>
                      <a:pt x="112" y="18"/>
                      <a:pt x="111" y="18"/>
                    </a:cubicBezTo>
                    <a:cubicBezTo>
                      <a:pt x="110" y="17"/>
                      <a:pt x="109" y="18"/>
                      <a:pt x="108" y="18"/>
                    </a:cubicBezTo>
                    <a:cubicBezTo>
                      <a:pt x="105" y="18"/>
                      <a:pt x="102" y="18"/>
                      <a:pt x="100" y="20"/>
                    </a:cubicBezTo>
                    <a:cubicBezTo>
                      <a:pt x="98" y="21"/>
                      <a:pt x="100" y="24"/>
                      <a:pt x="99" y="26"/>
                    </a:cubicBezTo>
                    <a:cubicBezTo>
                      <a:pt x="99" y="27"/>
                      <a:pt x="98" y="28"/>
                      <a:pt x="98" y="29"/>
                    </a:cubicBezTo>
                    <a:cubicBezTo>
                      <a:pt x="97" y="30"/>
                      <a:pt x="98" y="32"/>
                      <a:pt x="97" y="33"/>
                    </a:cubicBezTo>
                    <a:cubicBezTo>
                      <a:pt x="95" y="34"/>
                      <a:pt x="93" y="33"/>
                      <a:pt x="92" y="33"/>
                    </a:cubicBezTo>
                    <a:cubicBezTo>
                      <a:pt x="89" y="33"/>
                      <a:pt x="87" y="33"/>
                      <a:pt x="85" y="33"/>
                    </a:cubicBezTo>
                    <a:cubicBezTo>
                      <a:pt x="80" y="33"/>
                      <a:pt x="76" y="35"/>
                      <a:pt x="72" y="33"/>
                    </a:cubicBezTo>
                    <a:cubicBezTo>
                      <a:pt x="68" y="31"/>
                      <a:pt x="67" y="26"/>
                      <a:pt x="66" y="22"/>
                    </a:cubicBezTo>
                    <a:cubicBezTo>
                      <a:pt x="65" y="19"/>
                      <a:pt x="64" y="16"/>
                      <a:pt x="64" y="14"/>
                    </a:cubicBezTo>
                    <a:cubicBezTo>
                      <a:pt x="64" y="11"/>
                      <a:pt x="64" y="9"/>
                      <a:pt x="63" y="6"/>
                    </a:cubicBezTo>
                    <a:cubicBezTo>
                      <a:pt x="63" y="4"/>
                      <a:pt x="64" y="1"/>
                      <a:pt x="62" y="1"/>
                    </a:cubicBezTo>
                    <a:lnTo>
                      <a:pt x="20" y="1"/>
                    </a:lnTo>
                    <a:cubicBezTo>
                      <a:pt x="18" y="1"/>
                      <a:pt x="16" y="1"/>
                      <a:pt x="14" y="1"/>
                    </a:cubicBezTo>
                    <a:cubicBezTo>
                      <a:pt x="12" y="1"/>
                      <a:pt x="11" y="3"/>
                      <a:pt x="10" y="3"/>
                    </a:cubicBezTo>
                    <a:cubicBezTo>
                      <a:pt x="8" y="3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09" name="Freeform 2520"/>
              <p:cNvSpPr>
                <a:spLocks noChangeAspect="1"/>
              </p:cNvSpPr>
              <p:nvPr/>
            </p:nvSpPr>
            <p:spPr bwMode="auto">
              <a:xfrm>
                <a:off x="5192818" y="4060177"/>
                <a:ext cx="263330" cy="310210"/>
              </a:xfrm>
              <a:custGeom>
                <a:avLst/>
                <a:gdLst>
                  <a:gd name="T0" fmla="*/ 18 w 134"/>
                  <a:gd name="T1" fmla="*/ 132 h 159"/>
                  <a:gd name="T2" fmla="*/ 25 w 134"/>
                  <a:gd name="T3" fmla="*/ 139 h 159"/>
                  <a:gd name="T4" fmla="*/ 36 w 134"/>
                  <a:gd name="T5" fmla="*/ 145 h 159"/>
                  <a:gd name="T6" fmla="*/ 46 w 134"/>
                  <a:gd name="T7" fmla="*/ 149 h 159"/>
                  <a:gd name="T8" fmla="*/ 53 w 134"/>
                  <a:gd name="T9" fmla="*/ 149 h 159"/>
                  <a:gd name="T10" fmla="*/ 64 w 134"/>
                  <a:gd name="T11" fmla="*/ 155 h 159"/>
                  <a:gd name="T12" fmla="*/ 76 w 134"/>
                  <a:gd name="T13" fmla="*/ 167 h 159"/>
                  <a:gd name="T14" fmla="*/ 74 w 134"/>
                  <a:gd name="T15" fmla="*/ 179 h 159"/>
                  <a:gd name="T16" fmla="*/ 78 w 134"/>
                  <a:gd name="T17" fmla="*/ 186 h 159"/>
                  <a:gd name="T18" fmla="*/ 83 w 134"/>
                  <a:gd name="T19" fmla="*/ 189 h 159"/>
                  <a:gd name="T20" fmla="*/ 91 w 134"/>
                  <a:gd name="T21" fmla="*/ 189 h 159"/>
                  <a:gd name="T22" fmla="*/ 97 w 134"/>
                  <a:gd name="T23" fmla="*/ 183 h 159"/>
                  <a:gd name="T24" fmla="*/ 105 w 134"/>
                  <a:gd name="T25" fmla="*/ 191 h 159"/>
                  <a:gd name="T26" fmla="*/ 113 w 134"/>
                  <a:gd name="T27" fmla="*/ 187 h 159"/>
                  <a:gd name="T28" fmla="*/ 121 w 134"/>
                  <a:gd name="T29" fmla="*/ 190 h 159"/>
                  <a:gd name="T30" fmla="*/ 127 w 134"/>
                  <a:gd name="T31" fmla="*/ 184 h 159"/>
                  <a:gd name="T32" fmla="*/ 132 w 134"/>
                  <a:gd name="T33" fmla="*/ 184 h 159"/>
                  <a:gd name="T34" fmla="*/ 136 w 134"/>
                  <a:gd name="T35" fmla="*/ 186 h 159"/>
                  <a:gd name="T36" fmla="*/ 142 w 134"/>
                  <a:gd name="T37" fmla="*/ 183 h 159"/>
                  <a:gd name="T38" fmla="*/ 149 w 134"/>
                  <a:gd name="T39" fmla="*/ 180 h 159"/>
                  <a:gd name="T40" fmla="*/ 161 w 134"/>
                  <a:gd name="T41" fmla="*/ 169 h 159"/>
                  <a:gd name="T42" fmla="*/ 159 w 134"/>
                  <a:gd name="T43" fmla="*/ 163 h 159"/>
                  <a:gd name="T44" fmla="*/ 155 w 134"/>
                  <a:gd name="T45" fmla="*/ 155 h 159"/>
                  <a:gd name="T46" fmla="*/ 153 w 134"/>
                  <a:gd name="T47" fmla="*/ 147 h 159"/>
                  <a:gd name="T48" fmla="*/ 147 w 134"/>
                  <a:gd name="T49" fmla="*/ 132 h 159"/>
                  <a:gd name="T50" fmla="*/ 148 w 134"/>
                  <a:gd name="T51" fmla="*/ 124 h 159"/>
                  <a:gd name="T52" fmla="*/ 148 w 134"/>
                  <a:gd name="T53" fmla="*/ 114 h 159"/>
                  <a:gd name="T54" fmla="*/ 150 w 134"/>
                  <a:gd name="T55" fmla="*/ 108 h 159"/>
                  <a:gd name="T56" fmla="*/ 145 w 134"/>
                  <a:gd name="T57" fmla="*/ 96 h 159"/>
                  <a:gd name="T58" fmla="*/ 139 w 134"/>
                  <a:gd name="T59" fmla="*/ 91 h 159"/>
                  <a:gd name="T60" fmla="*/ 139 w 134"/>
                  <a:gd name="T61" fmla="*/ 84 h 159"/>
                  <a:gd name="T62" fmla="*/ 143 w 134"/>
                  <a:gd name="T63" fmla="*/ 76 h 159"/>
                  <a:gd name="T64" fmla="*/ 148 w 134"/>
                  <a:gd name="T65" fmla="*/ 70 h 159"/>
                  <a:gd name="T66" fmla="*/ 123 w 134"/>
                  <a:gd name="T67" fmla="*/ 47 h 159"/>
                  <a:gd name="T68" fmla="*/ 121 w 134"/>
                  <a:gd name="T69" fmla="*/ 40 h 159"/>
                  <a:gd name="T70" fmla="*/ 61 w 134"/>
                  <a:gd name="T71" fmla="*/ 0 h 159"/>
                  <a:gd name="T72" fmla="*/ 55 w 134"/>
                  <a:gd name="T73" fmla="*/ 4 h 159"/>
                  <a:gd name="T74" fmla="*/ 41 w 134"/>
                  <a:gd name="T75" fmla="*/ 4 h 159"/>
                  <a:gd name="T76" fmla="*/ 23 w 134"/>
                  <a:gd name="T77" fmla="*/ 2 h 159"/>
                  <a:gd name="T78" fmla="*/ 13 w 134"/>
                  <a:gd name="T79" fmla="*/ 5 h 159"/>
                  <a:gd name="T80" fmla="*/ 19 w 134"/>
                  <a:gd name="T81" fmla="*/ 12 h 159"/>
                  <a:gd name="T82" fmla="*/ 19 w 134"/>
                  <a:gd name="T83" fmla="*/ 20 h 159"/>
                  <a:gd name="T84" fmla="*/ 22 w 134"/>
                  <a:gd name="T85" fmla="*/ 26 h 159"/>
                  <a:gd name="T86" fmla="*/ 16 w 134"/>
                  <a:gd name="T87" fmla="*/ 32 h 159"/>
                  <a:gd name="T88" fmla="*/ 16 w 134"/>
                  <a:gd name="T89" fmla="*/ 36 h 159"/>
                  <a:gd name="T90" fmla="*/ 20 w 134"/>
                  <a:gd name="T91" fmla="*/ 40 h 159"/>
                  <a:gd name="T92" fmla="*/ 20 w 134"/>
                  <a:gd name="T93" fmla="*/ 44 h 159"/>
                  <a:gd name="T94" fmla="*/ 14 w 134"/>
                  <a:gd name="T95" fmla="*/ 50 h 159"/>
                  <a:gd name="T96" fmla="*/ 11 w 134"/>
                  <a:gd name="T97" fmla="*/ 56 h 159"/>
                  <a:gd name="T98" fmla="*/ 0 w 134"/>
                  <a:gd name="T99" fmla="*/ 68 h 159"/>
                  <a:gd name="T100" fmla="*/ 1 w 134"/>
                  <a:gd name="T101" fmla="*/ 78 h 159"/>
                  <a:gd name="T102" fmla="*/ 1 w 134"/>
                  <a:gd name="T103" fmla="*/ 86 h 159"/>
                  <a:gd name="T104" fmla="*/ 2 w 134"/>
                  <a:gd name="T105" fmla="*/ 97 h 159"/>
                  <a:gd name="T106" fmla="*/ 8 w 134"/>
                  <a:gd name="T107" fmla="*/ 106 h 159"/>
                  <a:gd name="T108" fmla="*/ 14 w 134"/>
                  <a:gd name="T109" fmla="*/ 118 h 159"/>
                  <a:gd name="T110" fmla="*/ 18 w 134"/>
                  <a:gd name="T111" fmla="*/ 132 h 15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34"/>
                  <a:gd name="T169" fmla="*/ 0 h 159"/>
                  <a:gd name="T170" fmla="*/ 134 w 134"/>
                  <a:gd name="T171" fmla="*/ 159 h 15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34" h="159">
                    <a:moveTo>
                      <a:pt x="15" y="110"/>
                    </a:moveTo>
                    <a:lnTo>
                      <a:pt x="21" y="116"/>
                    </a:lnTo>
                    <a:lnTo>
                      <a:pt x="30" y="121"/>
                    </a:lnTo>
                    <a:lnTo>
                      <a:pt x="38" y="124"/>
                    </a:lnTo>
                    <a:lnTo>
                      <a:pt x="44" y="124"/>
                    </a:lnTo>
                    <a:cubicBezTo>
                      <a:pt x="47" y="126"/>
                      <a:pt x="50" y="127"/>
                      <a:pt x="53" y="129"/>
                    </a:cubicBezTo>
                    <a:cubicBezTo>
                      <a:pt x="57" y="132"/>
                      <a:pt x="61" y="135"/>
                      <a:pt x="63" y="139"/>
                    </a:cubicBezTo>
                    <a:cubicBezTo>
                      <a:pt x="64" y="142"/>
                      <a:pt x="61" y="145"/>
                      <a:pt x="62" y="149"/>
                    </a:cubicBezTo>
                    <a:cubicBezTo>
                      <a:pt x="62" y="151"/>
                      <a:pt x="64" y="153"/>
                      <a:pt x="65" y="155"/>
                    </a:cubicBezTo>
                    <a:cubicBezTo>
                      <a:pt x="67" y="156"/>
                      <a:pt x="68" y="156"/>
                      <a:pt x="69" y="157"/>
                    </a:cubicBezTo>
                    <a:cubicBezTo>
                      <a:pt x="71" y="157"/>
                      <a:pt x="74" y="157"/>
                      <a:pt x="76" y="157"/>
                    </a:cubicBezTo>
                    <a:cubicBezTo>
                      <a:pt x="78" y="156"/>
                      <a:pt x="79" y="152"/>
                      <a:pt x="81" y="152"/>
                    </a:cubicBezTo>
                    <a:cubicBezTo>
                      <a:pt x="84" y="153"/>
                      <a:pt x="84" y="158"/>
                      <a:pt x="87" y="159"/>
                    </a:cubicBezTo>
                    <a:cubicBezTo>
                      <a:pt x="90" y="159"/>
                      <a:pt x="92" y="156"/>
                      <a:pt x="94" y="156"/>
                    </a:cubicBezTo>
                    <a:cubicBezTo>
                      <a:pt x="97" y="156"/>
                      <a:pt x="98" y="159"/>
                      <a:pt x="101" y="158"/>
                    </a:cubicBezTo>
                    <a:cubicBezTo>
                      <a:pt x="103" y="157"/>
                      <a:pt x="103" y="154"/>
                      <a:pt x="106" y="153"/>
                    </a:cubicBezTo>
                    <a:cubicBezTo>
                      <a:pt x="107" y="152"/>
                      <a:pt x="109" y="152"/>
                      <a:pt x="110" y="153"/>
                    </a:cubicBezTo>
                    <a:cubicBezTo>
                      <a:pt x="112" y="153"/>
                      <a:pt x="112" y="155"/>
                      <a:pt x="113" y="155"/>
                    </a:cubicBezTo>
                    <a:cubicBezTo>
                      <a:pt x="115" y="154"/>
                      <a:pt x="117" y="153"/>
                      <a:pt x="118" y="152"/>
                    </a:cubicBezTo>
                    <a:cubicBezTo>
                      <a:pt x="120" y="151"/>
                      <a:pt x="123" y="151"/>
                      <a:pt x="124" y="150"/>
                    </a:cubicBezTo>
                    <a:cubicBezTo>
                      <a:pt x="128" y="148"/>
                      <a:pt x="131" y="144"/>
                      <a:pt x="134" y="141"/>
                    </a:cubicBezTo>
                    <a:cubicBezTo>
                      <a:pt x="134" y="139"/>
                      <a:pt x="133" y="138"/>
                      <a:pt x="132" y="136"/>
                    </a:cubicBezTo>
                    <a:cubicBezTo>
                      <a:pt x="131" y="134"/>
                      <a:pt x="129" y="132"/>
                      <a:pt x="129" y="129"/>
                    </a:cubicBezTo>
                    <a:cubicBezTo>
                      <a:pt x="128" y="127"/>
                      <a:pt x="128" y="124"/>
                      <a:pt x="127" y="122"/>
                    </a:cubicBezTo>
                    <a:cubicBezTo>
                      <a:pt x="126" y="118"/>
                      <a:pt x="123" y="114"/>
                      <a:pt x="122" y="110"/>
                    </a:cubicBezTo>
                    <a:cubicBezTo>
                      <a:pt x="122" y="108"/>
                      <a:pt x="123" y="105"/>
                      <a:pt x="123" y="103"/>
                    </a:cubicBezTo>
                    <a:cubicBezTo>
                      <a:pt x="124" y="100"/>
                      <a:pt x="123" y="97"/>
                      <a:pt x="123" y="95"/>
                    </a:cubicBezTo>
                    <a:cubicBezTo>
                      <a:pt x="124" y="93"/>
                      <a:pt x="125" y="92"/>
                      <a:pt x="125" y="90"/>
                    </a:cubicBezTo>
                    <a:cubicBezTo>
                      <a:pt x="124" y="86"/>
                      <a:pt x="123" y="83"/>
                      <a:pt x="121" y="80"/>
                    </a:cubicBezTo>
                    <a:cubicBezTo>
                      <a:pt x="120" y="78"/>
                      <a:pt x="117" y="78"/>
                      <a:pt x="116" y="76"/>
                    </a:cubicBezTo>
                    <a:cubicBezTo>
                      <a:pt x="115" y="74"/>
                      <a:pt x="116" y="72"/>
                      <a:pt x="116" y="70"/>
                    </a:cubicBezTo>
                    <a:cubicBezTo>
                      <a:pt x="117" y="67"/>
                      <a:pt x="118" y="65"/>
                      <a:pt x="119" y="63"/>
                    </a:cubicBezTo>
                    <a:cubicBezTo>
                      <a:pt x="120" y="61"/>
                      <a:pt x="122" y="59"/>
                      <a:pt x="123" y="58"/>
                    </a:cubicBezTo>
                    <a:lnTo>
                      <a:pt x="102" y="39"/>
                    </a:lnTo>
                    <a:lnTo>
                      <a:pt x="101" y="33"/>
                    </a:lnTo>
                    <a:lnTo>
                      <a:pt x="51" y="0"/>
                    </a:lnTo>
                    <a:cubicBezTo>
                      <a:pt x="49" y="1"/>
                      <a:pt x="48" y="2"/>
                      <a:pt x="46" y="3"/>
                    </a:cubicBezTo>
                    <a:cubicBezTo>
                      <a:pt x="42" y="4"/>
                      <a:pt x="38" y="4"/>
                      <a:pt x="34" y="3"/>
                    </a:cubicBezTo>
                    <a:cubicBezTo>
                      <a:pt x="29" y="3"/>
                      <a:pt x="24" y="2"/>
                      <a:pt x="19" y="2"/>
                    </a:cubicBezTo>
                    <a:cubicBezTo>
                      <a:pt x="16" y="2"/>
                      <a:pt x="14" y="4"/>
                      <a:pt x="11" y="4"/>
                    </a:cubicBezTo>
                    <a:cubicBezTo>
                      <a:pt x="13" y="6"/>
                      <a:pt x="15" y="7"/>
                      <a:pt x="16" y="10"/>
                    </a:cubicBezTo>
                    <a:cubicBezTo>
                      <a:pt x="17" y="12"/>
                      <a:pt x="16" y="14"/>
                      <a:pt x="16" y="17"/>
                    </a:cubicBezTo>
                    <a:cubicBezTo>
                      <a:pt x="16" y="18"/>
                      <a:pt x="18" y="20"/>
                      <a:pt x="18" y="22"/>
                    </a:cubicBezTo>
                    <a:cubicBezTo>
                      <a:pt x="17" y="24"/>
                      <a:pt x="14" y="25"/>
                      <a:pt x="13" y="27"/>
                    </a:cubicBezTo>
                    <a:lnTo>
                      <a:pt x="13" y="30"/>
                    </a:lnTo>
                    <a:lnTo>
                      <a:pt x="17" y="33"/>
                    </a:lnTo>
                    <a:lnTo>
                      <a:pt x="17" y="37"/>
                    </a:lnTo>
                    <a:lnTo>
                      <a:pt x="12" y="42"/>
                    </a:lnTo>
                    <a:lnTo>
                      <a:pt x="9" y="47"/>
                    </a:lnTo>
                    <a:lnTo>
                      <a:pt x="0" y="57"/>
                    </a:lnTo>
                    <a:cubicBezTo>
                      <a:pt x="0" y="60"/>
                      <a:pt x="1" y="63"/>
                      <a:pt x="1" y="65"/>
                    </a:cubicBezTo>
                    <a:cubicBezTo>
                      <a:pt x="1" y="68"/>
                      <a:pt x="1" y="70"/>
                      <a:pt x="1" y="72"/>
                    </a:cubicBezTo>
                    <a:cubicBezTo>
                      <a:pt x="1" y="75"/>
                      <a:pt x="1" y="78"/>
                      <a:pt x="2" y="81"/>
                    </a:cubicBezTo>
                    <a:cubicBezTo>
                      <a:pt x="3" y="84"/>
                      <a:pt x="5" y="86"/>
                      <a:pt x="7" y="88"/>
                    </a:cubicBezTo>
                    <a:cubicBezTo>
                      <a:pt x="9" y="92"/>
                      <a:pt x="11" y="95"/>
                      <a:pt x="12" y="98"/>
                    </a:cubicBezTo>
                    <a:cubicBezTo>
                      <a:pt x="14" y="102"/>
                      <a:pt x="14" y="106"/>
                      <a:pt x="15" y="110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0" name="Freeform 2521"/>
              <p:cNvSpPr>
                <a:spLocks noChangeAspect="1"/>
              </p:cNvSpPr>
              <p:nvPr/>
            </p:nvSpPr>
            <p:spPr bwMode="auto">
              <a:xfrm>
                <a:off x="5179733" y="4104029"/>
                <a:ext cx="47433" cy="66590"/>
              </a:xfrm>
              <a:custGeom>
                <a:avLst/>
                <a:gdLst>
                  <a:gd name="T0" fmla="*/ 8 w 24"/>
                  <a:gd name="T1" fmla="*/ 41 h 34"/>
                  <a:gd name="T2" fmla="*/ 6 w 24"/>
                  <a:gd name="T3" fmla="*/ 31 h 34"/>
                  <a:gd name="T4" fmla="*/ 4 w 24"/>
                  <a:gd name="T5" fmla="*/ 16 h 34"/>
                  <a:gd name="T6" fmla="*/ 5 w 24"/>
                  <a:gd name="T7" fmla="*/ 11 h 34"/>
                  <a:gd name="T8" fmla="*/ 0 w 24"/>
                  <a:gd name="T9" fmla="*/ 6 h 34"/>
                  <a:gd name="T10" fmla="*/ 5 w 24"/>
                  <a:gd name="T11" fmla="*/ 5 h 34"/>
                  <a:gd name="T12" fmla="*/ 7 w 24"/>
                  <a:gd name="T13" fmla="*/ 7 h 34"/>
                  <a:gd name="T14" fmla="*/ 12 w 24"/>
                  <a:gd name="T15" fmla="*/ 7 h 34"/>
                  <a:gd name="T16" fmla="*/ 15 w 24"/>
                  <a:gd name="T17" fmla="*/ 1 h 34"/>
                  <a:gd name="T18" fmla="*/ 21 w 24"/>
                  <a:gd name="T19" fmla="*/ 2 h 34"/>
                  <a:gd name="T20" fmla="*/ 24 w 24"/>
                  <a:gd name="T21" fmla="*/ 5 h 34"/>
                  <a:gd name="T22" fmla="*/ 24 w 24"/>
                  <a:gd name="T23" fmla="*/ 8 h 34"/>
                  <a:gd name="T24" fmla="*/ 29 w 24"/>
                  <a:gd name="T25" fmla="*/ 12 h 34"/>
                  <a:gd name="T26" fmla="*/ 29 w 24"/>
                  <a:gd name="T27" fmla="*/ 17 h 34"/>
                  <a:gd name="T28" fmla="*/ 23 w 24"/>
                  <a:gd name="T29" fmla="*/ 23 h 34"/>
                  <a:gd name="T30" fmla="*/ 19 w 24"/>
                  <a:gd name="T31" fmla="*/ 29 h 34"/>
                  <a:gd name="T32" fmla="*/ 8 w 24"/>
                  <a:gd name="T33" fmla="*/ 41 h 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"/>
                  <a:gd name="T52" fmla="*/ 0 h 34"/>
                  <a:gd name="T53" fmla="*/ 24 w 24"/>
                  <a:gd name="T54" fmla="*/ 34 h 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" h="34">
                    <a:moveTo>
                      <a:pt x="7" y="34"/>
                    </a:moveTo>
                    <a:cubicBezTo>
                      <a:pt x="6" y="31"/>
                      <a:pt x="5" y="29"/>
                      <a:pt x="5" y="26"/>
                    </a:cubicBezTo>
                    <a:cubicBezTo>
                      <a:pt x="4" y="22"/>
                      <a:pt x="3" y="17"/>
                      <a:pt x="3" y="13"/>
                    </a:cubicBezTo>
                    <a:cubicBezTo>
                      <a:pt x="3" y="12"/>
                      <a:pt x="4" y="11"/>
                      <a:pt x="4" y="9"/>
                    </a:cubicBezTo>
                    <a:cubicBezTo>
                      <a:pt x="3" y="8"/>
                      <a:pt x="2" y="6"/>
                      <a:pt x="0" y="5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5" y="4"/>
                      <a:pt x="5" y="6"/>
                      <a:pt x="6" y="6"/>
                    </a:cubicBezTo>
                    <a:cubicBezTo>
                      <a:pt x="7" y="6"/>
                      <a:pt x="9" y="6"/>
                      <a:pt x="10" y="6"/>
                    </a:cubicBezTo>
                    <a:cubicBezTo>
                      <a:pt x="11" y="5"/>
                      <a:pt x="11" y="2"/>
                      <a:pt x="12" y="1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9" y="2"/>
                      <a:pt x="19" y="3"/>
                      <a:pt x="20" y="4"/>
                    </a:cubicBezTo>
                    <a:lnTo>
                      <a:pt x="20" y="7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19" y="19"/>
                    </a:lnTo>
                    <a:lnTo>
                      <a:pt x="16" y="24"/>
                    </a:lnTo>
                    <a:lnTo>
                      <a:pt x="7" y="34"/>
                    </a:ln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1" name="Freeform 2522"/>
              <p:cNvSpPr>
                <a:spLocks noChangeAspect="1"/>
              </p:cNvSpPr>
              <p:nvPr/>
            </p:nvSpPr>
            <p:spPr bwMode="auto">
              <a:xfrm>
                <a:off x="5178097" y="4068298"/>
                <a:ext cx="50704" cy="48724"/>
              </a:xfrm>
              <a:custGeom>
                <a:avLst/>
                <a:gdLst>
                  <a:gd name="T0" fmla="*/ 1 w 26"/>
                  <a:gd name="T1" fmla="*/ 29 h 25"/>
                  <a:gd name="T2" fmla="*/ 0 w 26"/>
                  <a:gd name="T3" fmla="*/ 24 h 25"/>
                  <a:gd name="T4" fmla="*/ 5 w 26"/>
                  <a:gd name="T5" fmla="*/ 10 h 25"/>
                  <a:gd name="T6" fmla="*/ 10 w 26"/>
                  <a:gd name="T7" fmla="*/ 4 h 25"/>
                  <a:gd name="T8" fmla="*/ 17 w 26"/>
                  <a:gd name="T9" fmla="*/ 5 h 25"/>
                  <a:gd name="T10" fmla="*/ 23 w 26"/>
                  <a:gd name="T11" fmla="*/ 0 h 25"/>
                  <a:gd name="T12" fmla="*/ 29 w 26"/>
                  <a:gd name="T13" fmla="*/ 7 h 25"/>
                  <a:gd name="T14" fmla="*/ 29 w 26"/>
                  <a:gd name="T15" fmla="*/ 16 h 25"/>
                  <a:gd name="T16" fmla="*/ 31 w 26"/>
                  <a:gd name="T17" fmla="*/ 22 h 25"/>
                  <a:gd name="T18" fmla="*/ 25 w 26"/>
                  <a:gd name="T19" fmla="*/ 28 h 25"/>
                  <a:gd name="T20" fmla="*/ 21 w 26"/>
                  <a:gd name="T21" fmla="*/ 25 h 25"/>
                  <a:gd name="T22" fmla="*/ 16 w 26"/>
                  <a:gd name="T23" fmla="*/ 24 h 25"/>
                  <a:gd name="T24" fmla="*/ 13 w 26"/>
                  <a:gd name="T25" fmla="*/ 30 h 25"/>
                  <a:gd name="T26" fmla="*/ 8 w 26"/>
                  <a:gd name="T27" fmla="*/ 30 h 25"/>
                  <a:gd name="T28" fmla="*/ 6 w 26"/>
                  <a:gd name="T29" fmla="*/ 28 h 25"/>
                  <a:gd name="T30" fmla="*/ 1 w 26"/>
                  <a:gd name="T31" fmla="*/ 29 h 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6"/>
                  <a:gd name="T49" fmla="*/ 0 h 25"/>
                  <a:gd name="T50" fmla="*/ 26 w 26"/>
                  <a:gd name="T51" fmla="*/ 25 h 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6" h="25">
                    <a:moveTo>
                      <a:pt x="1" y="24"/>
                    </a:moveTo>
                    <a:cubicBezTo>
                      <a:pt x="1" y="22"/>
                      <a:pt x="0" y="21"/>
                      <a:pt x="0" y="20"/>
                    </a:cubicBezTo>
                    <a:cubicBezTo>
                      <a:pt x="1" y="16"/>
                      <a:pt x="3" y="12"/>
                      <a:pt x="4" y="8"/>
                    </a:cubicBezTo>
                    <a:cubicBezTo>
                      <a:pt x="5" y="6"/>
                      <a:pt x="7" y="5"/>
                      <a:pt x="8" y="3"/>
                    </a:cubicBezTo>
                    <a:cubicBezTo>
                      <a:pt x="10" y="4"/>
                      <a:pt x="12" y="5"/>
                      <a:pt x="14" y="4"/>
                    </a:cubicBezTo>
                    <a:cubicBezTo>
                      <a:pt x="17" y="4"/>
                      <a:pt x="18" y="1"/>
                      <a:pt x="19" y="0"/>
                    </a:cubicBezTo>
                    <a:cubicBezTo>
                      <a:pt x="21" y="2"/>
                      <a:pt x="23" y="3"/>
                      <a:pt x="24" y="6"/>
                    </a:cubicBezTo>
                    <a:cubicBezTo>
                      <a:pt x="25" y="8"/>
                      <a:pt x="24" y="10"/>
                      <a:pt x="24" y="13"/>
                    </a:cubicBezTo>
                    <a:cubicBezTo>
                      <a:pt x="24" y="14"/>
                      <a:pt x="26" y="16"/>
                      <a:pt x="26" y="18"/>
                    </a:cubicBezTo>
                    <a:cubicBezTo>
                      <a:pt x="25" y="20"/>
                      <a:pt x="22" y="21"/>
                      <a:pt x="21" y="23"/>
                    </a:cubicBezTo>
                    <a:cubicBezTo>
                      <a:pt x="20" y="22"/>
                      <a:pt x="20" y="21"/>
                      <a:pt x="18" y="21"/>
                    </a:cubicBezTo>
                    <a:cubicBezTo>
                      <a:pt x="17" y="20"/>
                      <a:pt x="15" y="19"/>
                      <a:pt x="13" y="20"/>
                    </a:cubicBezTo>
                    <a:cubicBezTo>
                      <a:pt x="12" y="21"/>
                      <a:pt x="12" y="24"/>
                      <a:pt x="11" y="25"/>
                    </a:cubicBezTo>
                    <a:cubicBezTo>
                      <a:pt x="10" y="25"/>
                      <a:pt x="8" y="25"/>
                      <a:pt x="7" y="25"/>
                    </a:cubicBezTo>
                    <a:cubicBezTo>
                      <a:pt x="6" y="25"/>
                      <a:pt x="6" y="23"/>
                      <a:pt x="5" y="23"/>
                    </a:cubicBezTo>
                    <a:cubicBezTo>
                      <a:pt x="4" y="23"/>
                      <a:pt x="3" y="23"/>
                      <a:pt x="1" y="24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2" name="Freeform 2523"/>
              <p:cNvSpPr>
                <a:spLocks noChangeAspect="1"/>
              </p:cNvSpPr>
              <p:nvPr/>
            </p:nvSpPr>
            <p:spPr bwMode="auto">
              <a:xfrm>
                <a:off x="4757752" y="4162498"/>
                <a:ext cx="27806" cy="42227"/>
              </a:xfrm>
              <a:custGeom>
                <a:avLst/>
                <a:gdLst>
                  <a:gd name="T0" fmla="*/ 4 w 14"/>
                  <a:gd name="T1" fmla="*/ 25 h 21"/>
                  <a:gd name="T2" fmla="*/ 4 w 14"/>
                  <a:gd name="T3" fmla="*/ 17 h 21"/>
                  <a:gd name="T4" fmla="*/ 0 w 14"/>
                  <a:gd name="T5" fmla="*/ 10 h 21"/>
                  <a:gd name="T6" fmla="*/ 12 w 14"/>
                  <a:gd name="T7" fmla="*/ 1 h 21"/>
                  <a:gd name="T8" fmla="*/ 17 w 14"/>
                  <a:gd name="T9" fmla="*/ 5 h 21"/>
                  <a:gd name="T10" fmla="*/ 7 w 14"/>
                  <a:gd name="T11" fmla="*/ 11 h 21"/>
                  <a:gd name="T12" fmla="*/ 9 w 14"/>
                  <a:gd name="T13" fmla="*/ 24 h 21"/>
                  <a:gd name="T14" fmla="*/ 4 w 14"/>
                  <a:gd name="T15" fmla="*/ 25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21"/>
                  <a:gd name="T26" fmla="*/ 14 w 14"/>
                  <a:gd name="T27" fmla="*/ 21 h 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21">
                    <a:moveTo>
                      <a:pt x="3" y="20"/>
                    </a:moveTo>
                    <a:cubicBezTo>
                      <a:pt x="3" y="18"/>
                      <a:pt x="3" y="16"/>
                      <a:pt x="3" y="14"/>
                    </a:cubicBezTo>
                    <a:cubicBezTo>
                      <a:pt x="2" y="12"/>
                      <a:pt x="1" y="10"/>
                      <a:pt x="0" y="8"/>
                    </a:cubicBezTo>
                    <a:cubicBezTo>
                      <a:pt x="3" y="6"/>
                      <a:pt x="6" y="2"/>
                      <a:pt x="10" y="1"/>
                    </a:cubicBezTo>
                    <a:cubicBezTo>
                      <a:pt x="11" y="0"/>
                      <a:pt x="13" y="3"/>
                      <a:pt x="14" y="4"/>
                    </a:cubicBezTo>
                    <a:cubicBezTo>
                      <a:pt x="11" y="5"/>
                      <a:pt x="8" y="7"/>
                      <a:pt x="6" y="9"/>
                    </a:cubicBezTo>
                    <a:cubicBezTo>
                      <a:pt x="5" y="12"/>
                      <a:pt x="8" y="16"/>
                      <a:pt x="7" y="19"/>
                    </a:cubicBezTo>
                    <a:cubicBezTo>
                      <a:pt x="6" y="21"/>
                      <a:pt x="4" y="20"/>
                      <a:pt x="3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3" name="Freeform 2524"/>
              <p:cNvSpPr>
                <a:spLocks noChangeAspect="1"/>
              </p:cNvSpPr>
              <p:nvPr/>
            </p:nvSpPr>
            <p:spPr bwMode="auto">
              <a:xfrm>
                <a:off x="4764294" y="3889643"/>
                <a:ext cx="472685" cy="537588"/>
              </a:xfrm>
              <a:custGeom>
                <a:avLst/>
                <a:gdLst>
                  <a:gd name="T0" fmla="*/ 22 w 241"/>
                  <a:gd name="T1" fmla="*/ 171 h 275"/>
                  <a:gd name="T2" fmla="*/ 40 w 241"/>
                  <a:gd name="T3" fmla="*/ 175 h 275"/>
                  <a:gd name="T4" fmla="*/ 61 w 241"/>
                  <a:gd name="T5" fmla="*/ 146 h 275"/>
                  <a:gd name="T6" fmla="*/ 71 w 241"/>
                  <a:gd name="T7" fmla="*/ 114 h 275"/>
                  <a:gd name="T8" fmla="*/ 86 w 241"/>
                  <a:gd name="T9" fmla="*/ 102 h 275"/>
                  <a:gd name="T10" fmla="*/ 88 w 241"/>
                  <a:gd name="T11" fmla="*/ 65 h 275"/>
                  <a:gd name="T12" fmla="*/ 97 w 241"/>
                  <a:gd name="T13" fmla="*/ 29 h 275"/>
                  <a:gd name="T14" fmla="*/ 107 w 241"/>
                  <a:gd name="T15" fmla="*/ 4 h 275"/>
                  <a:gd name="T16" fmla="*/ 137 w 241"/>
                  <a:gd name="T17" fmla="*/ 16 h 275"/>
                  <a:gd name="T18" fmla="*/ 162 w 241"/>
                  <a:gd name="T19" fmla="*/ 7 h 275"/>
                  <a:gd name="T20" fmla="*/ 186 w 241"/>
                  <a:gd name="T21" fmla="*/ 2 h 275"/>
                  <a:gd name="T22" fmla="*/ 200 w 241"/>
                  <a:gd name="T23" fmla="*/ 0 h 275"/>
                  <a:gd name="T24" fmla="*/ 216 w 241"/>
                  <a:gd name="T25" fmla="*/ 7 h 275"/>
                  <a:gd name="T26" fmla="*/ 236 w 241"/>
                  <a:gd name="T27" fmla="*/ 11 h 275"/>
                  <a:gd name="T28" fmla="*/ 257 w 241"/>
                  <a:gd name="T29" fmla="*/ 12 h 275"/>
                  <a:gd name="T30" fmla="*/ 276 w 241"/>
                  <a:gd name="T31" fmla="*/ 28 h 275"/>
                  <a:gd name="T32" fmla="*/ 279 w 241"/>
                  <a:gd name="T33" fmla="*/ 40 h 275"/>
                  <a:gd name="T34" fmla="*/ 289 w 241"/>
                  <a:gd name="T35" fmla="*/ 54 h 275"/>
                  <a:gd name="T36" fmla="*/ 276 w 241"/>
                  <a:gd name="T37" fmla="*/ 70 h 275"/>
                  <a:gd name="T38" fmla="*/ 265 w 241"/>
                  <a:gd name="T39" fmla="*/ 93 h 275"/>
                  <a:gd name="T40" fmla="*/ 258 w 241"/>
                  <a:gd name="T41" fmla="*/ 119 h 275"/>
                  <a:gd name="T42" fmla="*/ 259 w 241"/>
                  <a:gd name="T43" fmla="*/ 143 h 275"/>
                  <a:gd name="T44" fmla="*/ 263 w 241"/>
                  <a:gd name="T45" fmla="*/ 173 h 275"/>
                  <a:gd name="T46" fmla="*/ 265 w 241"/>
                  <a:gd name="T47" fmla="*/ 202 h 275"/>
                  <a:gd name="T48" fmla="*/ 281 w 241"/>
                  <a:gd name="T49" fmla="*/ 237 h 275"/>
                  <a:gd name="T50" fmla="*/ 251 w 241"/>
                  <a:gd name="T51" fmla="*/ 264 h 275"/>
                  <a:gd name="T52" fmla="*/ 247 w 241"/>
                  <a:gd name="T53" fmla="*/ 300 h 275"/>
                  <a:gd name="T54" fmla="*/ 266 w 241"/>
                  <a:gd name="T55" fmla="*/ 307 h 275"/>
                  <a:gd name="T56" fmla="*/ 245 w 241"/>
                  <a:gd name="T57" fmla="*/ 315 h 275"/>
                  <a:gd name="T58" fmla="*/ 223 w 241"/>
                  <a:gd name="T59" fmla="*/ 294 h 275"/>
                  <a:gd name="T60" fmla="*/ 197 w 241"/>
                  <a:gd name="T61" fmla="*/ 292 h 275"/>
                  <a:gd name="T62" fmla="*/ 176 w 241"/>
                  <a:gd name="T63" fmla="*/ 286 h 275"/>
                  <a:gd name="T64" fmla="*/ 151 w 241"/>
                  <a:gd name="T65" fmla="*/ 290 h 275"/>
                  <a:gd name="T66" fmla="*/ 152 w 241"/>
                  <a:gd name="T67" fmla="*/ 266 h 275"/>
                  <a:gd name="T68" fmla="*/ 144 w 241"/>
                  <a:gd name="T69" fmla="*/ 229 h 275"/>
                  <a:gd name="T70" fmla="*/ 128 w 241"/>
                  <a:gd name="T71" fmla="*/ 218 h 275"/>
                  <a:gd name="T72" fmla="*/ 113 w 241"/>
                  <a:gd name="T73" fmla="*/ 217 h 275"/>
                  <a:gd name="T74" fmla="*/ 109 w 241"/>
                  <a:gd name="T75" fmla="*/ 232 h 275"/>
                  <a:gd name="T76" fmla="*/ 79 w 241"/>
                  <a:gd name="T77" fmla="*/ 232 h 275"/>
                  <a:gd name="T78" fmla="*/ 68 w 241"/>
                  <a:gd name="T79" fmla="*/ 200 h 275"/>
                  <a:gd name="T80" fmla="*/ 10 w 241"/>
                  <a:gd name="T81" fmla="*/ 194 h 275"/>
                  <a:gd name="T82" fmla="*/ 5 w 241"/>
                  <a:gd name="T83" fmla="*/ 191 h 2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41"/>
                  <a:gd name="T127" fmla="*/ 0 h 275"/>
                  <a:gd name="T128" fmla="*/ 241 w 241"/>
                  <a:gd name="T129" fmla="*/ 275 h 27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41" h="275">
                    <a:moveTo>
                      <a:pt x="11" y="144"/>
                    </a:moveTo>
                    <a:cubicBezTo>
                      <a:pt x="12" y="144"/>
                      <a:pt x="14" y="147"/>
                      <a:pt x="16" y="147"/>
                    </a:cubicBezTo>
                    <a:cubicBezTo>
                      <a:pt x="17" y="146"/>
                      <a:pt x="17" y="143"/>
                      <a:pt x="18" y="142"/>
                    </a:cubicBezTo>
                    <a:cubicBezTo>
                      <a:pt x="21" y="140"/>
                      <a:pt x="24" y="138"/>
                      <a:pt x="27" y="138"/>
                    </a:cubicBezTo>
                    <a:cubicBezTo>
                      <a:pt x="29" y="138"/>
                      <a:pt x="26" y="142"/>
                      <a:pt x="27" y="144"/>
                    </a:cubicBezTo>
                    <a:cubicBezTo>
                      <a:pt x="28" y="145"/>
                      <a:pt x="31" y="146"/>
                      <a:pt x="33" y="145"/>
                    </a:cubicBezTo>
                    <a:cubicBezTo>
                      <a:pt x="36" y="144"/>
                      <a:pt x="36" y="140"/>
                      <a:pt x="38" y="138"/>
                    </a:cubicBezTo>
                    <a:cubicBezTo>
                      <a:pt x="40" y="136"/>
                      <a:pt x="45" y="137"/>
                      <a:pt x="47" y="134"/>
                    </a:cubicBezTo>
                    <a:cubicBezTo>
                      <a:pt x="49" y="130"/>
                      <a:pt x="50" y="126"/>
                      <a:pt x="51" y="121"/>
                    </a:cubicBezTo>
                    <a:cubicBezTo>
                      <a:pt x="52" y="117"/>
                      <a:pt x="49" y="113"/>
                      <a:pt x="50" y="110"/>
                    </a:cubicBezTo>
                    <a:cubicBezTo>
                      <a:pt x="51" y="106"/>
                      <a:pt x="55" y="104"/>
                      <a:pt x="57" y="101"/>
                    </a:cubicBezTo>
                    <a:cubicBezTo>
                      <a:pt x="58" y="99"/>
                      <a:pt x="57" y="96"/>
                      <a:pt x="59" y="95"/>
                    </a:cubicBezTo>
                    <a:cubicBezTo>
                      <a:pt x="61" y="93"/>
                      <a:pt x="64" y="94"/>
                      <a:pt x="66" y="93"/>
                    </a:cubicBezTo>
                    <a:cubicBezTo>
                      <a:pt x="67" y="92"/>
                      <a:pt x="65" y="89"/>
                      <a:pt x="66" y="88"/>
                    </a:cubicBezTo>
                    <a:cubicBezTo>
                      <a:pt x="67" y="87"/>
                      <a:pt x="71" y="87"/>
                      <a:pt x="72" y="85"/>
                    </a:cubicBezTo>
                    <a:cubicBezTo>
                      <a:pt x="73" y="82"/>
                      <a:pt x="71" y="78"/>
                      <a:pt x="72" y="75"/>
                    </a:cubicBezTo>
                    <a:cubicBezTo>
                      <a:pt x="72" y="71"/>
                      <a:pt x="72" y="67"/>
                      <a:pt x="72" y="63"/>
                    </a:cubicBezTo>
                    <a:cubicBezTo>
                      <a:pt x="72" y="60"/>
                      <a:pt x="73" y="57"/>
                      <a:pt x="73" y="54"/>
                    </a:cubicBezTo>
                    <a:cubicBezTo>
                      <a:pt x="74" y="49"/>
                      <a:pt x="75" y="45"/>
                      <a:pt x="77" y="41"/>
                    </a:cubicBezTo>
                    <a:cubicBezTo>
                      <a:pt x="78" y="37"/>
                      <a:pt x="81" y="34"/>
                      <a:pt x="81" y="30"/>
                    </a:cubicBezTo>
                    <a:cubicBezTo>
                      <a:pt x="82" y="28"/>
                      <a:pt x="81" y="26"/>
                      <a:pt x="81" y="24"/>
                    </a:cubicBezTo>
                    <a:cubicBezTo>
                      <a:pt x="81" y="21"/>
                      <a:pt x="80" y="18"/>
                      <a:pt x="81" y="14"/>
                    </a:cubicBezTo>
                    <a:cubicBezTo>
                      <a:pt x="81" y="12"/>
                      <a:pt x="83" y="9"/>
                      <a:pt x="84" y="7"/>
                    </a:cubicBezTo>
                    <a:cubicBezTo>
                      <a:pt x="85" y="5"/>
                      <a:pt x="87" y="4"/>
                      <a:pt x="89" y="3"/>
                    </a:cubicBezTo>
                    <a:cubicBezTo>
                      <a:pt x="90" y="3"/>
                      <a:pt x="93" y="2"/>
                      <a:pt x="94" y="3"/>
                    </a:cubicBezTo>
                    <a:cubicBezTo>
                      <a:pt x="98" y="5"/>
                      <a:pt x="101" y="9"/>
                      <a:pt x="105" y="11"/>
                    </a:cubicBezTo>
                    <a:cubicBezTo>
                      <a:pt x="108" y="13"/>
                      <a:pt x="111" y="12"/>
                      <a:pt x="114" y="13"/>
                    </a:cubicBezTo>
                    <a:cubicBezTo>
                      <a:pt x="119" y="14"/>
                      <a:pt x="123" y="17"/>
                      <a:pt x="127" y="16"/>
                    </a:cubicBezTo>
                    <a:cubicBezTo>
                      <a:pt x="130" y="16"/>
                      <a:pt x="130" y="11"/>
                      <a:pt x="131" y="9"/>
                    </a:cubicBezTo>
                    <a:cubicBezTo>
                      <a:pt x="132" y="8"/>
                      <a:pt x="134" y="6"/>
                      <a:pt x="135" y="6"/>
                    </a:cubicBezTo>
                    <a:cubicBezTo>
                      <a:pt x="138" y="6"/>
                      <a:pt x="140" y="9"/>
                      <a:pt x="142" y="9"/>
                    </a:cubicBezTo>
                    <a:cubicBezTo>
                      <a:pt x="145" y="9"/>
                      <a:pt x="149" y="7"/>
                      <a:pt x="152" y="6"/>
                    </a:cubicBezTo>
                    <a:cubicBezTo>
                      <a:pt x="153" y="5"/>
                      <a:pt x="154" y="2"/>
                      <a:pt x="155" y="2"/>
                    </a:cubicBezTo>
                    <a:cubicBezTo>
                      <a:pt x="157" y="2"/>
                      <a:pt x="157" y="5"/>
                      <a:pt x="158" y="5"/>
                    </a:cubicBezTo>
                    <a:cubicBezTo>
                      <a:pt x="160" y="6"/>
                      <a:pt x="162" y="6"/>
                      <a:pt x="164" y="5"/>
                    </a:cubicBezTo>
                    <a:cubicBezTo>
                      <a:pt x="166" y="4"/>
                      <a:pt x="165" y="0"/>
                      <a:pt x="167" y="0"/>
                    </a:cubicBezTo>
                    <a:cubicBezTo>
                      <a:pt x="170" y="0"/>
                      <a:pt x="171" y="4"/>
                      <a:pt x="173" y="4"/>
                    </a:cubicBezTo>
                    <a:cubicBezTo>
                      <a:pt x="175" y="4"/>
                      <a:pt x="176" y="2"/>
                      <a:pt x="177" y="2"/>
                    </a:cubicBezTo>
                    <a:cubicBezTo>
                      <a:pt x="179" y="2"/>
                      <a:pt x="178" y="6"/>
                      <a:pt x="180" y="6"/>
                    </a:cubicBezTo>
                    <a:cubicBezTo>
                      <a:pt x="183" y="5"/>
                      <a:pt x="184" y="2"/>
                      <a:pt x="187" y="2"/>
                    </a:cubicBezTo>
                    <a:cubicBezTo>
                      <a:pt x="188" y="2"/>
                      <a:pt x="190" y="4"/>
                      <a:pt x="191" y="5"/>
                    </a:cubicBezTo>
                    <a:cubicBezTo>
                      <a:pt x="193" y="6"/>
                      <a:pt x="195" y="8"/>
                      <a:pt x="197" y="9"/>
                    </a:cubicBezTo>
                    <a:cubicBezTo>
                      <a:pt x="199" y="10"/>
                      <a:pt x="202" y="12"/>
                      <a:pt x="204" y="12"/>
                    </a:cubicBezTo>
                    <a:cubicBezTo>
                      <a:pt x="206" y="12"/>
                      <a:pt x="207" y="10"/>
                      <a:pt x="208" y="10"/>
                    </a:cubicBezTo>
                    <a:cubicBezTo>
                      <a:pt x="210" y="9"/>
                      <a:pt x="212" y="10"/>
                      <a:pt x="214" y="10"/>
                    </a:cubicBezTo>
                    <a:cubicBezTo>
                      <a:pt x="216" y="9"/>
                      <a:pt x="216" y="7"/>
                      <a:pt x="218" y="7"/>
                    </a:cubicBezTo>
                    <a:cubicBezTo>
                      <a:pt x="221" y="9"/>
                      <a:pt x="224" y="13"/>
                      <a:pt x="226" y="17"/>
                    </a:cubicBezTo>
                    <a:cubicBezTo>
                      <a:pt x="228" y="18"/>
                      <a:pt x="228" y="21"/>
                      <a:pt x="230" y="23"/>
                    </a:cubicBezTo>
                    <a:cubicBezTo>
                      <a:pt x="231" y="24"/>
                      <a:pt x="232" y="25"/>
                      <a:pt x="233" y="26"/>
                    </a:cubicBezTo>
                    <a:cubicBezTo>
                      <a:pt x="234" y="27"/>
                      <a:pt x="236" y="29"/>
                      <a:pt x="235" y="30"/>
                    </a:cubicBezTo>
                    <a:cubicBezTo>
                      <a:pt x="235" y="31"/>
                      <a:pt x="233" y="32"/>
                      <a:pt x="233" y="33"/>
                    </a:cubicBezTo>
                    <a:cubicBezTo>
                      <a:pt x="233" y="35"/>
                      <a:pt x="236" y="35"/>
                      <a:pt x="237" y="36"/>
                    </a:cubicBezTo>
                    <a:cubicBezTo>
                      <a:pt x="237" y="39"/>
                      <a:pt x="234" y="41"/>
                      <a:pt x="235" y="43"/>
                    </a:cubicBezTo>
                    <a:cubicBezTo>
                      <a:pt x="236" y="44"/>
                      <a:pt x="240" y="43"/>
                      <a:pt x="241" y="45"/>
                    </a:cubicBezTo>
                    <a:cubicBezTo>
                      <a:pt x="241" y="47"/>
                      <a:pt x="237" y="47"/>
                      <a:pt x="236" y="49"/>
                    </a:cubicBezTo>
                    <a:cubicBezTo>
                      <a:pt x="234" y="50"/>
                      <a:pt x="232" y="51"/>
                      <a:pt x="231" y="53"/>
                    </a:cubicBezTo>
                    <a:cubicBezTo>
                      <a:pt x="230" y="54"/>
                      <a:pt x="231" y="56"/>
                      <a:pt x="230" y="58"/>
                    </a:cubicBezTo>
                    <a:cubicBezTo>
                      <a:pt x="229" y="59"/>
                      <a:pt x="227" y="59"/>
                      <a:pt x="227" y="61"/>
                    </a:cubicBezTo>
                    <a:cubicBezTo>
                      <a:pt x="225" y="63"/>
                      <a:pt x="225" y="65"/>
                      <a:pt x="224" y="68"/>
                    </a:cubicBezTo>
                    <a:cubicBezTo>
                      <a:pt x="223" y="71"/>
                      <a:pt x="222" y="74"/>
                      <a:pt x="221" y="77"/>
                    </a:cubicBezTo>
                    <a:cubicBezTo>
                      <a:pt x="220" y="79"/>
                      <a:pt x="220" y="81"/>
                      <a:pt x="220" y="83"/>
                    </a:cubicBezTo>
                    <a:cubicBezTo>
                      <a:pt x="220" y="87"/>
                      <a:pt x="219" y="90"/>
                      <a:pt x="219" y="94"/>
                    </a:cubicBezTo>
                    <a:cubicBezTo>
                      <a:pt x="218" y="96"/>
                      <a:pt x="216" y="97"/>
                      <a:pt x="215" y="99"/>
                    </a:cubicBezTo>
                    <a:cubicBezTo>
                      <a:pt x="214" y="103"/>
                      <a:pt x="212" y="107"/>
                      <a:pt x="211" y="111"/>
                    </a:cubicBezTo>
                    <a:cubicBezTo>
                      <a:pt x="211" y="112"/>
                      <a:pt x="212" y="113"/>
                      <a:pt x="212" y="115"/>
                    </a:cubicBezTo>
                    <a:cubicBezTo>
                      <a:pt x="214" y="116"/>
                      <a:pt x="215" y="118"/>
                      <a:pt x="216" y="119"/>
                    </a:cubicBezTo>
                    <a:cubicBezTo>
                      <a:pt x="216" y="121"/>
                      <a:pt x="215" y="122"/>
                      <a:pt x="215" y="123"/>
                    </a:cubicBezTo>
                    <a:cubicBezTo>
                      <a:pt x="215" y="127"/>
                      <a:pt x="216" y="132"/>
                      <a:pt x="217" y="136"/>
                    </a:cubicBezTo>
                    <a:cubicBezTo>
                      <a:pt x="217" y="139"/>
                      <a:pt x="218" y="141"/>
                      <a:pt x="219" y="144"/>
                    </a:cubicBezTo>
                    <a:cubicBezTo>
                      <a:pt x="219" y="147"/>
                      <a:pt x="220" y="150"/>
                      <a:pt x="220" y="152"/>
                    </a:cubicBezTo>
                    <a:cubicBezTo>
                      <a:pt x="220" y="155"/>
                      <a:pt x="220" y="157"/>
                      <a:pt x="220" y="159"/>
                    </a:cubicBezTo>
                    <a:cubicBezTo>
                      <a:pt x="220" y="162"/>
                      <a:pt x="220" y="165"/>
                      <a:pt x="221" y="168"/>
                    </a:cubicBezTo>
                    <a:cubicBezTo>
                      <a:pt x="222" y="171"/>
                      <a:pt x="224" y="173"/>
                      <a:pt x="226" y="175"/>
                    </a:cubicBezTo>
                    <a:cubicBezTo>
                      <a:pt x="228" y="179"/>
                      <a:pt x="230" y="182"/>
                      <a:pt x="231" y="185"/>
                    </a:cubicBezTo>
                    <a:cubicBezTo>
                      <a:pt x="233" y="189"/>
                      <a:pt x="233" y="193"/>
                      <a:pt x="234" y="197"/>
                    </a:cubicBezTo>
                    <a:cubicBezTo>
                      <a:pt x="226" y="198"/>
                      <a:pt x="218" y="195"/>
                      <a:pt x="211" y="198"/>
                    </a:cubicBezTo>
                    <a:cubicBezTo>
                      <a:pt x="207" y="201"/>
                      <a:pt x="208" y="208"/>
                      <a:pt x="207" y="212"/>
                    </a:cubicBezTo>
                    <a:cubicBezTo>
                      <a:pt x="207" y="215"/>
                      <a:pt x="209" y="216"/>
                      <a:pt x="209" y="219"/>
                    </a:cubicBezTo>
                    <a:cubicBezTo>
                      <a:pt x="209" y="223"/>
                      <a:pt x="208" y="228"/>
                      <a:pt x="207" y="233"/>
                    </a:cubicBezTo>
                    <a:cubicBezTo>
                      <a:pt x="207" y="235"/>
                      <a:pt x="205" y="237"/>
                      <a:pt x="205" y="239"/>
                    </a:cubicBezTo>
                    <a:cubicBezTo>
                      <a:pt x="205" y="243"/>
                      <a:pt x="205" y="246"/>
                      <a:pt x="206" y="249"/>
                    </a:cubicBezTo>
                    <a:cubicBezTo>
                      <a:pt x="208" y="252"/>
                      <a:pt x="211" y="255"/>
                      <a:pt x="214" y="256"/>
                    </a:cubicBezTo>
                    <a:cubicBezTo>
                      <a:pt x="215" y="257"/>
                      <a:pt x="216" y="257"/>
                      <a:pt x="218" y="257"/>
                    </a:cubicBezTo>
                    <a:cubicBezTo>
                      <a:pt x="219" y="257"/>
                      <a:pt x="223" y="254"/>
                      <a:pt x="222" y="255"/>
                    </a:cubicBezTo>
                    <a:cubicBezTo>
                      <a:pt x="221" y="260"/>
                      <a:pt x="221" y="267"/>
                      <a:pt x="220" y="272"/>
                    </a:cubicBezTo>
                    <a:cubicBezTo>
                      <a:pt x="219" y="275"/>
                      <a:pt x="214" y="274"/>
                      <a:pt x="212" y="273"/>
                    </a:cubicBezTo>
                    <a:cubicBezTo>
                      <a:pt x="208" y="271"/>
                      <a:pt x="207" y="266"/>
                      <a:pt x="204" y="262"/>
                    </a:cubicBezTo>
                    <a:cubicBezTo>
                      <a:pt x="201" y="260"/>
                      <a:pt x="199" y="257"/>
                      <a:pt x="197" y="255"/>
                    </a:cubicBezTo>
                    <a:cubicBezTo>
                      <a:pt x="195" y="253"/>
                      <a:pt x="193" y="252"/>
                      <a:pt x="191" y="250"/>
                    </a:cubicBezTo>
                    <a:cubicBezTo>
                      <a:pt x="189" y="248"/>
                      <a:pt x="189" y="244"/>
                      <a:pt x="186" y="244"/>
                    </a:cubicBezTo>
                    <a:cubicBezTo>
                      <a:pt x="183" y="244"/>
                      <a:pt x="183" y="249"/>
                      <a:pt x="181" y="250"/>
                    </a:cubicBezTo>
                    <a:cubicBezTo>
                      <a:pt x="177" y="250"/>
                      <a:pt x="173" y="249"/>
                      <a:pt x="169" y="247"/>
                    </a:cubicBezTo>
                    <a:cubicBezTo>
                      <a:pt x="167" y="247"/>
                      <a:pt x="166" y="245"/>
                      <a:pt x="164" y="243"/>
                    </a:cubicBezTo>
                    <a:cubicBezTo>
                      <a:pt x="164" y="242"/>
                      <a:pt x="164" y="240"/>
                      <a:pt x="163" y="240"/>
                    </a:cubicBezTo>
                    <a:cubicBezTo>
                      <a:pt x="160" y="240"/>
                      <a:pt x="157" y="243"/>
                      <a:pt x="154" y="243"/>
                    </a:cubicBezTo>
                    <a:cubicBezTo>
                      <a:pt x="151" y="242"/>
                      <a:pt x="150" y="240"/>
                      <a:pt x="147" y="238"/>
                    </a:cubicBezTo>
                    <a:cubicBezTo>
                      <a:pt x="147" y="237"/>
                      <a:pt x="147" y="236"/>
                      <a:pt x="146" y="236"/>
                    </a:cubicBezTo>
                    <a:cubicBezTo>
                      <a:pt x="143" y="236"/>
                      <a:pt x="139" y="237"/>
                      <a:pt x="136" y="238"/>
                    </a:cubicBezTo>
                    <a:cubicBezTo>
                      <a:pt x="133" y="239"/>
                      <a:pt x="129" y="241"/>
                      <a:pt x="126" y="241"/>
                    </a:cubicBezTo>
                    <a:cubicBezTo>
                      <a:pt x="124" y="241"/>
                      <a:pt x="125" y="239"/>
                      <a:pt x="126" y="237"/>
                    </a:cubicBezTo>
                    <a:cubicBezTo>
                      <a:pt x="126" y="236"/>
                      <a:pt x="127" y="234"/>
                      <a:pt x="127" y="232"/>
                    </a:cubicBezTo>
                    <a:cubicBezTo>
                      <a:pt x="127" y="228"/>
                      <a:pt x="128" y="224"/>
                      <a:pt x="127" y="221"/>
                    </a:cubicBezTo>
                    <a:cubicBezTo>
                      <a:pt x="126" y="218"/>
                      <a:pt x="121" y="218"/>
                      <a:pt x="121" y="215"/>
                    </a:cubicBezTo>
                    <a:cubicBezTo>
                      <a:pt x="120" y="210"/>
                      <a:pt x="122" y="203"/>
                      <a:pt x="122" y="197"/>
                    </a:cubicBezTo>
                    <a:cubicBezTo>
                      <a:pt x="122" y="195"/>
                      <a:pt x="121" y="193"/>
                      <a:pt x="120" y="190"/>
                    </a:cubicBezTo>
                    <a:cubicBezTo>
                      <a:pt x="120" y="189"/>
                      <a:pt x="122" y="188"/>
                      <a:pt x="121" y="186"/>
                    </a:cubicBezTo>
                    <a:cubicBezTo>
                      <a:pt x="121" y="184"/>
                      <a:pt x="121" y="181"/>
                      <a:pt x="119" y="180"/>
                    </a:cubicBezTo>
                    <a:cubicBezTo>
                      <a:pt x="115" y="178"/>
                      <a:pt x="111" y="181"/>
                      <a:pt x="107" y="181"/>
                    </a:cubicBezTo>
                    <a:cubicBezTo>
                      <a:pt x="106" y="180"/>
                      <a:pt x="106" y="178"/>
                      <a:pt x="105" y="178"/>
                    </a:cubicBezTo>
                    <a:cubicBezTo>
                      <a:pt x="104" y="177"/>
                      <a:pt x="103" y="178"/>
                      <a:pt x="102" y="178"/>
                    </a:cubicBezTo>
                    <a:cubicBezTo>
                      <a:pt x="99" y="178"/>
                      <a:pt x="96" y="178"/>
                      <a:pt x="94" y="180"/>
                    </a:cubicBezTo>
                    <a:cubicBezTo>
                      <a:pt x="92" y="181"/>
                      <a:pt x="94" y="184"/>
                      <a:pt x="93" y="186"/>
                    </a:cubicBezTo>
                    <a:cubicBezTo>
                      <a:pt x="93" y="187"/>
                      <a:pt x="92" y="188"/>
                      <a:pt x="92" y="189"/>
                    </a:cubicBezTo>
                    <a:cubicBezTo>
                      <a:pt x="91" y="190"/>
                      <a:pt x="92" y="192"/>
                      <a:pt x="91" y="193"/>
                    </a:cubicBezTo>
                    <a:cubicBezTo>
                      <a:pt x="89" y="194"/>
                      <a:pt x="87" y="193"/>
                      <a:pt x="86" y="193"/>
                    </a:cubicBezTo>
                    <a:cubicBezTo>
                      <a:pt x="83" y="193"/>
                      <a:pt x="81" y="193"/>
                      <a:pt x="79" y="193"/>
                    </a:cubicBezTo>
                    <a:cubicBezTo>
                      <a:pt x="74" y="193"/>
                      <a:pt x="70" y="195"/>
                      <a:pt x="66" y="193"/>
                    </a:cubicBezTo>
                    <a:cubicBezTo>
                      <a:pt x="62" y="191"/>
                      <a:pt x="61" y="186"/>
                      <a:pt x="60" y="182"/>
                    </a:cubicBezTo>
                    <a:cubicBezTo>
                      <a:pt x="59" y="179"/>
                      <a:pt x="58" y="176"/>
                      <a:pt x="58" y="174"/>
                    </a:cubicBezTo>
                    <a:cubicBezTo>
                      <a:pt x="58" y="171"/>
                      <a:pt x="58" y="169"/>
                      <a:pt x="57" y="166"/>
                    </a:cubicBezTo>
                    <a:cubicBezTo>
                      <a:pt x="57" y="164"/>
                      <a:pt x="58" y="161"/>
                      <a:pt x="56" y="161"/>
                    </a:cubicBezTo>
                    <a:lnTo>
                      <a:pt x="14" y="161"/>
                    </a:lnTo>
                    <a:cubicBezTo>
                      <a:pt x="12" y="161"/>
                      <a:pt x="10" y="161"/>
                      <a:pt x="8" y="161"/>
                    </a:cubicBezTo>
                    <a:cubicBezTo>
                      <a:pt x="6" y="161"/>
                      <a:pt x="5" y="163"/>
                      <a:pt x="4" y="163"/>
                    </a:cubicBezTo>
                    <a:cubicBezTo>
                      <a:pt x="2" y="163"/>
                      <a:pt x="1" y="161"/>
                      <a:pt x="0" y="160"/>
                    </a:cubicBezTo>
                    <a:cubicBezTo>
                      <a:pt x="1" y="160"/>
                      <a:pt x="3" y="161"/>
                      <a:pt x="4" y="159"/>
                    </a:cubicBezTo>
                    <a:cubicBezTo>
                      <a:pt x="5" y="156"/>
                      <a:pt x="2" y="152"/>
                      <a:pt x="3" y="149"/>
                    </a:cubicBezTo>
                    <a:cubicBezTo>
                      <a:pt x="5" y="147"/>
                      <a:pt x="8" y="145"/>
                      <a:pt x="11" y="144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4" name="Freeform 2525"/>
              <p:cNvSpPr>
                <a:spLocks noChangeAspect="1"/>
              </p:cNvSpPr>
              <p:nvPr/>
            </p:nvSpPr>
            <p:spPr bwMode="auto">
              <a:xfrm>
                <a:off x="4736488" y="3935119"/>
                <a:ext cx="188093" cy="243620"/>
              </a:xfrm>
              <a:custGeom>
                <a:avLst/>
                <a:gdLst>
                  <a:gd name="T0" fmla="*/ 13 w 96"/>
                  <a:gd name="T1" fmla="*/ 150 h 125"/>
                  <a:gd name="T2" fmla="*/ 6 w 96"/>
                  <a:gd name="T3" fmla="*/ 140 h 125"/>
                  <a:gd name="T4" fmla="*/ 0 w 96"/>
                  <a:gd name="T5" fmla="*/ 132 h 125"/>
                  <a:gd name="T6" fmla="*/ 2 w 96"/>
                  <a:gd name="T7" fmla="*/ 126 h 125"/>
                  <a:gd name="T8" fmla="*/ 10 w 96"/>
                  <a:gd name="T9" fmla="*/ 127 h 125"/>
                  <a:gd name="T10" fmla="*/ 11 w 96"/>
                  <a:gd name="T11" fmla="*/ 119 h 125"/>
                  <a:gd name="T12" fmla="*/ 5 w 96"/>
                  <a:gd name="T13" fmla="*/ 113 h 125"/>
                  <a:gd name="T14" fmla="*/ 6 w 96"/>
                  <a:gd name="T15" fmla="*/ 104 h 125"/>
                  <a:gd name="T16" fmla="*/ 17 w 96"/>
                  <a:gd name="T17" fmla="*/ 106 h 125"/>
                  <a:gd name="T18" fmla="*/ 19 w 96"/>
                  <a:gd name="T19" fmla="*/ 97 h 125"/>
                  <a:gd name="T20" fmla="*/ 26 w 96"/>
                  <a:gd name="T21" fmla="*/ 103 h 125"/>
                  <a:gd name="T22" fmla="*/ 36 w 96"/>
                  <a:gd name="T23" fmla="*/ 102 h 125"/>
                  <a:gd name="T24" fmla="*/ 38 w 96"/>
                  <a:gd name="T25" fmla="*/ 106 h 125"/>
                  <a:gd name="T26" fmla="*/ 43 w 96"/>
                  <a:gd name="T27" fmla="*/ 106 h 125"/>
                  <a:gd name="T28" fmla="*/ 44 w 96"/>
                  <a:gd name="T29" fmla="*/ 95 h 125"/>
                  <a:gd name="T30" fmla="*/ 44 w 96"/>
                  <a:gd name="T31" fmla="*/ 83 h 125"/>
                  <a:gd name="T32" fmla="*/ 47 w 96"/>
                  <a:gd name="T33" fmla="*/ 74 h 125"/>
                  <a:gd name="T34" fmla="*/ 40 w 96"/>
                  <a:gd name="T35" fmla="*/ 72 h 125"/>
                  <a:gd name="T36" fmla="*/ 42 w 96"/>
                  <a:gd name="T37" fmla="*/ 59 h 125"/>
                  <a:gd name="T38" fmla="*/ 50 w 96"/>
                  <a:gd name="T39" fmla="*/ 54 h 125"/>
                  <a:gd name="T40" fmla="*/ 50 w 96"/>
                  <a:gd name="T41" fmla="*/ 42 h 125"/>
                  <a:gd name="T42" fmla="*/ 34 w 96"/>
                  <a:gd name="T43" fmla="*/ 41 h 125"/>
                  <a:gd name="T44" fmla="*/ 31 w 96"/>
                  <a:gd name="T45" fmla="*/ 35 h 125"/>
                  <a:gd name="T46" fmla="*/ 35 w 96"/>
                  <a:gd name="T47" fmla="*/ 26 h 125"/>
                  <a:gd name="T48" fmla="*/ 52 w 96"/>
                  <a:gd name="T49" fmla="*/ 26 h 125"/>
                  <a:gd name="T50" fmla="*/ 75 w 96"/>
                  <a:gd name="T51" fmla="*/ 35 h 125"/>
                  <a:gd name="T52" fmla="*/ 75 w 96"/>
                  <a:gd name="T53" fmla="*/ 29 h 125"/>
                  <a:gd name="T54" fmla="*/ 77 w 96"/>
                  <a:gd name="T55" fmla="*/ 22 h 125"/>
                  <a:gd name="T56" fmla="*/ 80 w 96"/>
                  <a:gd name="T57" fmla="*/ 18 h 125"/>
                  <a:gd name="T58" fmla="*/ 81 w 96"/>
                  <a:gd name="T59" fmla="*/ 8 h 125"/>
                  <a:gd name="T60" fmla="*/ 83 w 96"/>
                  <a:gd name="T61" fmla="*/ 2 h 125"/>
                  <a:gd name="T62" fmla="*/ 93 w 96"/>
                  <a:gd name="T63" fmla="*/ 2 h 125"/>
                  <a:gd name="T64" fmla="*/ 98 w 96"/>
                  <a:gd name="T65" fmla="*/ 0 h 125"/>
                  <a:gd name="T66" fmla="*/ 105 w 96"/>
                  <a:gd name="T67" fmla="*/ 2 h 125"/>
                  <a:gd name="T68" fmla="*/ 114 w 96"/>
                  <a:gd name="T69" fmla="*/ 1 h 125"/>
                  <a:gd name="T70" fmla="*/ 114 w 96"/>
                  <a:gd name="T71" fmla="*/ 8 h 125"/>
                  <a:gd name="T72" fmla="*/ 109 w 96"/>
                  <a:gd name="T73" fmla="*/ 22 h 125"/>
                  <a:gd name="T74" fmla="*/ 104 w 96"/>
                  <a:gd name="T75" fmla="*/ 37 h 125"/>
                  <a:gd name="T76" fmla="*/ 103 w 96"/>
                  <a:gd name="T77" fmla="*/ 48 h 125"/>
                  <a:gd name="T78" fmla="*/ 103 w 96"/>
                  <a:gd name="T79" fmla="*/ 62 h 125"/>
                  <a:gd name="T80" fmla="*/ 103 w 96"/>
                  <a:gd name="T81" fmla="*/ 74 h 125"/>
                  <a:gd name="T82" fmla="*/ 96 w 96"/>
                  <a:gd name="T83" fmla="*/ 78 h 125"/>
                  <a:gd name="T84" fmla="*/ 96 w 96"/>
                  <a:gd name="T85" fmla="*/ 84 h 125"/>
                  <a:gd name="T86" fmla="*/ 87 w 96"/>
                  <a:gd name="T87" fmla="*/ 86 h 125"/>
                  <a:gd name="T88" fmla="*/ 85 w 96"/>
                  <a:gd name="T89" fmla="*/ 94 h 125"/>
                  <a:gd name="T90" fmla="*/ 77 w 96"/>
                  <a:gd name="T91" fmla="*/ 104 h 125"/>
                  <a:gd name="T92" fmla="*/ 78 w 96"/>
                  <a:gd name="T93" fmla="*/ 118 h 125"/>
                  <a:gd name="T94" fmla="*/ 73 w 96"/>
                  <a:gd name="T95" fmla="*/ 133 h 125"/>
                  <a:gd name="T96" fmla="*/ 62 w 96"/>
                  <a:gd name="T97" fmla="*/ 138 h 125"/>
                  <a:gd name="T98" fmla="*/ 56 w 96"/>
                  <a:gd name="T99" fmla="*/ 146 h 125"/>
                  <a:gd name="T100" fmla="*/ 49 w 96"/>
                  <a:gd name="T101" fmla="*/ 145 h 125"/>
                  <a:gd name="T102" fmla="*/ 49 w 96"/>
                  <a:gd name="T103" fmla="*/ 138 h 125"/>
                  <a:gd name="T104" fmla="*/ 38 w 96"/>
                  <a:gd name="T105" fmla="*/ 143 h 125"/>
                  <a:gd name="T106" fmla="*/ 36 w 96"/>
                  <a:gd name="T107" fmla="*/ 149 h 125"/>
                  <a:gd name="T108" fmla="*/ 30 w 96"/>
                  <a:gd name="T109" fmla="*/ 145 h 125"/>
                  <a:gd name="T110" fmla="*/ 25 w 96"/>
                  <a:gd name="T111" fmla="*/ 142 h 125"/>
                  <a:gd name="T112" fmla="*/ 13 w 96"/>
                  <a:gd name="T113" fmla="*/ 150 h 1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6"/>
                  <a:gd name="T172" fmla="*/ 0 h 125"/>
                  <a:gd name="T173" fmla="*/ 96 w 96"/>
                  <a:gd name="T174" fmla="*/ 125 h 1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6" h="125">
                    <a:moveTo>
                      <a:pt x="11" y="125"/>
                    </a:moveTo>
                    <a:lnTo>
                      <a:pt x="5" y="117"/>
                    </a:lnTo>
                    <a:lnTo>
                      <a:pt x="0" y="110"/>
                    </a:lnTo>
                    <a:cubicBezTo>
                      <a:pt x="1" y="108"/>
                      <a:pt x="1" y="106"/>
                      <a:pt x="2" y="105"/>
                    </a:cubicBezTo>
                    <a:cubicBezTo>
                      <a:pt x="4" y="104"/>
                      <a:pt x="7" y="107"/>
                      <a:pt x="8" y="106"/>
                    </a:cubicBezTo>
                    <a:cubicBezTo>
                      <a:pt x="9" y="104"/>
                      <a:pt x="9" y="101"/>
                      <a:pt x="9" y="99"/>
                    </a:cubicBezTo>
                    <a:cubicBezTo>
                      <a:pt x="8" y="97"/>
                      <a:pt x="4" y="96"/>
                      <a:pt x="4" y="94"/>
                    </a:cubicBezTo>
                    <a:cubicBezTo>
                      <a:pt x="3" y="91"/>
                      <a:pt x="3" y="88"/>
                      <a:pt x="5" y="87"/>
                    </a:cubicBezTo>
                    <a:cubicBezTo>
                      <a:pt x="8" y="85"/>
                      <a:pt x="12" y="90"/>
                      <a:pt x="14" y="88"/>
                    </a:cubicBezTo>
                    <a:cubicBezTo>
                      <a:pt x="16" y="87"/>
                      <a:pt x="14" y="82"/>
                      <a:pt x="16" y="81"/>
                    </a:cubicBezTo>
                    <a:cubicBezTo>
                      <a:pt x="19" y="80"/>
                      <a:pt x="20" y="85"/>
                      <a:pt x="22" y="86"/>
                    </a:cubicBezTo>
                    <a:cubicBezTo>
                      <a:pt x="25" y="87"/>
                      <a:pt x="28" y="85"/>
                      <a:pt x="30" y="85"/>
                    </a:cubicBezTo>
                    <a:cubicBezTo>
                      <a:pt x="31" y="86"/>
                      <a:pt x="31" y="88"/>
                      <a:pt x="32" y="88"/>
                    </a:cubicBezTo>
                    <a:cubicBezTo>
                      <a:pt x="33" y="89"/>
                      <a:pt x="35" y="90"/>
                      <a:pt x="36" y="88"/>
                    </a:cubicBezTo>
                    <a:cubicBezTo>
                      <a:pt x="38" y="86"/>
                      <a:pt x="37" y="82"/>
                      <a:pt x="37" y="79"/>
                    </a:cubicBezTo>
                    <a:cubicBezTo>
                      <a:pt x="37" y="76"/>
                      <a:pt x="37" y="72"/>
                      <a:pt x="37" y="69"/>
                    </a:cubicBezTo>
                    <a:cubicBezTo>
                      <a:pt x="37" y="67"/>
                      <a:pt x="40" y="64"/>
                      <a:pt x="39" y="62"/>
                    </a:cubicBezTo>
                    <a:cubicBezTo>
                      <a:pt x="38" y="60"/>
                      <a:pt x="34" y="62"/>
                      <a:pt x="33" y="60"/>
                    </a:cubicBezTo>
                    <a:cubicBezTo>
                      <a:pt x="32" y="56"/>
                      <a:pt x="33" y="52"/>
                      <a:pt x="35" y="49"/>
                    </a:cubicBezTo>
                    <a:cubicBezTo>
                      <a:pt x="36" y="47"/>
                      <a:pt x="40" y="47"/>
                      <a:pt x="42" y="45"/>
                    </a:cubicBezTo>
                    <a:cubicBezTo>
                      <a:pt x="43" y="42"/>
                      <a:pt x="45" y="37"/>
                      <a:pt x="42" y="35"/>
                    </a:cubicBezTo>
                    <a:cubicBezTo>
                      <a:pt x="39" y="32"/>
                      <a:pt x="32" y="36"/>
                      <a:pt x="28" y="34"/>
                    </a:cubicBezTo>
                    <a:cubicBezTo>
                      <a:pt x="26" y="34"/>
                      <a:pt x="26" y="31"/>
                      <a:pt x="26" y="29"/>
                    </a:cubicBezTo>
                    <a:cubicBezTo>
                      <a:pt x="26" y="27"/>
                      <a:pt x="28" y="24"/>
                      <a:pt x="29" y="22"/>
                    </a:cubicBezTo>
                    <a:cubicBezTo>
                      <a:pt x="34" y="22"/>
                      <a:pt x="38" y="21"/>
                      <a:pt x="43" y="22"/>
                    </a:cubicBezTo>
                    <a:cubicBezTo>
                      <a:pt x="50" y="23"/>
                      <a:pt x="56" y="28"/>
                      <a:pt x="63" y="29"/>
                    </a:cubicBezTo>
                    <a:cubicBezTo>
                      <a:pt x="64" y="29"/>
                      <a:pt x="62" y="26"/>
                      <a:pt x="63" y="24"/>
                    </a:cubicBezTo>
                    <a:cubicBezTo>
                      <a:pt x="63" y="22"/>
                      <a:pt x="63" y="20"/>
                      <a:pt x="64" y="18"/>
                    </a:cubicBezTo>
                    <a:cubicBezTo>
                      <a:pt x="65" y="17"/>
                      <a:pt x="67" y="17"/>
                      <a:pt x="67" y="15"/>
                    </a:cubicBezTo>
                    <a:cubicBezTo>
                      <a:pt x="68" y="13"/>
                      <a:pt x="68" y="10"/>
                      <a:pt x="68" y="7"/>
                    </a:cubicBezTo>
                    <a:cubicBezTo>
                      <a:pt x="68" y="6"/>
                      <a:pt x="68" y="3"/>
                      <a:pt x="69" y="2"/>
                    </a:cubicBezTo>
                    <a:cubicBezTo>
                      <a:pt x="72" y="1"/>
                      <a:pt x="75" y="2"/>
                      <a:pt x="78" y="2"/>
                    </a:cubicBezTo>
                    <a:cubicBezTo>
                      <a:pt x="79" y="2"/>
                      <a:pt x="80" y="0"/>
                      <a:pt x="82" y="0"/>
                    </a:cubicBezTo>
                    <a:cubicBezTo>
                      <a:pt x="84" y="1"/>
                      <a:pt x="86" y="2"/>
                      <a:pt x="88" y="2"/>
                    </a:cubicBezTo>
                    <a:cubicBezTo>
                      <a:pt x="90" y="3"/>
                      <a:pt x="92" y="2"/>
                      <a:pt x="95" y="1"/>
                    </a:cubicBezTo>
                    <a:cubicBezTo>
                      <a:pt x="95" y="3"/>
                      <a:pt x="96" y="5"/>
                      <a:pt x="95" y="7"/>
                    </a:cubicBezTo>
                    <a:cubicBezTo>
                      <a:pt x="95" y="11"/>
                      <a:pt x="92" y="14"/>
                      <a:pt x="91" y="18"/>
                    </a:cubicBezTo>
                    <a:cubicBezTo>
                      <a:pt x="89" y="22"/>
                      <a:pt x="88" y="26"/>
                      <a:pt x="87" y="31"/>
                    </a:cubicBezTo>
                    <a:cubicBezTo>
                      <a:pt x="87" y="34"/>
                      <a:pt x="86" y="37"/>
                      <a:pt x="86" y="40"/>
                    </a:cubicBezTo>
                    <a:cubicBezTo>
                      <a:pt x="86" y="44"/>
                      <a:pt x="86" y="48"/>
                      <a:pt x="86" y="52"/>
                    </a:cubicBezTo>
                    <a:cubicBezTo>
                      <a:pt x="85" y="55"/>
                      <a:pt x="87" y="59"/>
                      <a:pt x="86" y="62"/>
                    </a:cubicBezTo>
                    <a:cubicBezTo>
                      <a:pt x="85" y="64"/>
                      <a:pt x="81" y="64"/>
                      <a:pt x="80" y="65"/>
                    </a:cubicBezTo>
                    <a:cubicBezTo>
                      <a:pt x="79" y="66"/>
                      <a:pt x="81" y="69"/>
                      <a:pt x="80" y="70"/>
                    </a:cubicBezTo>
                    <a:cubicBezTo>
                      <a:pt x="78" y="71"/>
                      <a:pt x="75" y="70"/>
                      <a:pt x="73" y="72"/>
                    </a:cubicBezTo>
                    <a:cubicBezTo>
                      <a:pt x="71" y="73"/>
                      <a:pt x="72" y="76"/>
                      <a:pt x="71" y="78"/>
                    </a:cubicBezTo>
                    <a:cubicBezTo>
                      <a:pt x="69" y="81"/>
                      <a:pt x="65" y="83"/>
                      <a:pt x="64" y="87"/>
                    </a:cubicBezTo>
                    <a:cubicBezTo>
                      <a:pt x="63" y="90"/>
                      <a:pt x="66" y="94"/>
                      <a:pt x="65" y="98"/>
                    </a:cubicBezTo>
                    <a:cubicBezTo>
                      <a:pt x="64" y="103"/>
                      <a:pt x="63" y="107"/>
                      <a:pt x="61" y="111"/>
                    </a:cubicBezTo>
                    <a:cubicBezTo>
                      <a:pt x="59" y="114"/>
                      <a:pt x="54" y="113"/>
                      <a:pt x="52" y="115"/>
                    </a:cubicBezTo>
                    <a:cubicBezTo>
                      <a:pt x="50" y="117"/>
                      <a:pt x="50" y="121"/>
                      <a:pt x="47" y="122"/>
                    </a:cubicBezTo>
                    <a:cubicBezTo>
                      <a:pt x="45" y="123"/>
                      <a:pt x="42" y="122"/>
                      <a:pt x="41" y="121"/>
                    </a:cubicBezTo>
                    <a:cubicBezTo>
                      <a:pt x="40" y="119"/>
                      <a:pt x="43" y="115"/>
                      <a:pt x="41" y="115"/>
                    </a:cubicBezTo>
                    <a:cubicBezTo>
                      <a:pt x="38" y="115"/>
                      <a:pt x="35" y="117"/>
                      <a:pt x="32" y="119"/>
                    </a:cubicBezTo>
                    <a:cubicBezTo>
                      <a:pt x="31" y="120"/>
                      <a:pt x="31" y="123"/>
                      <a:pt x="30" y="124"/>
                    </a:cubicBezTo>
                    <a:cubicBezTo>
                      <a:pt x="28" y="124"/>
                      <a:pt x="26" y="121"/>
                      <a:pt x="25" y="121"/>
                    </a:cubicBezTo>
                    <a:cubicBezTo>
                      <a:pt x="24" y="120"/>
                      <a:pt x="22" y="117"/>
                      <a:pt x="21" y="118"/>
                    </a:cubicBezTo>
                    <a:cubicBezTo>
                      <a:pt x="17" y="119"/>
                      <a:pt x="14" y="123"/>
                      <a:pt x="11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5" name="Freeform 2526"/>
              <p:cNvSpPr>
                <a:spLocks noChangeAspect="1"/>
              </p:cNvSpPr>
              <p:nvPr/>
            </p:nvSpPr>
            <p:spPr bwMode="auto">
              <a:xfrm>
                <a:off x="2623309" y="3884771"/>
                <a:ext cx="971539" cy="1127147"/>
              </a:xfrm>
              <a:custGeom>
                <a:avLst/>
                <a:gdLst>
                  <a:gd name="T0" fmla="*/ 344 w 495"/>
                  <a:gd name="T1" fmla="*/ 671 h 578"/>
                  <a:gd name="T2" fmla="*/ 317 w 495"/>
                  <a:gd name="T3" fmla="*/ 652 h 578"/>
                  <a:gd name="T4" fmla="*/ 269 w 495"/>
                  <a:gd name="T5" fmla="*/ 628 h 578"/>
                  <a:gd name="T6" fmla="*/ 320 w 495"/>
                  <a:gd name="T7" fmla="*/ 561 h 578"/>
                  <a:gd name="T8" fmla="*/ 311 w 495"/>
                  <a:gd name="T9" fmla="*/ 525 h 578"/>
                  <a:gd name="T10" fmla="*/ 280 w 495"/>
                  <a:gd name="T11" fmla="*/ 479 h 578"/>
                  <a:gd name="T12" fmla="*/ 248 w 495"/>
                  <a:gd name="T13" fmla="*/ 439 h 578"/>
                  <a:gd name="T14" fmla="*/ 244 w 495"/>
                  <a:gd name="T15" fmla="*/ 377 h 578"/>
                  <a:gd name="T16" fmla="*/ 212 w 495"/>
                  <a:gd name="T17" fmla="*/ 348 h 578"/>
                  <a:gd name="T18" fmla="*/ 175 w 495"/>
                  <a:gd name="T19" fmla="*/ 319 h 578"/>
                  <a:gd name="T20" fmla="*/ 130 w 495"/>
                  <a:gd name="T21" fmla="*/ 275 h 578"/>
                  <a:gd name="T22" fmla="*/ 82 w 495"/>
                  <a:gd name="T23" fmla="*/ 282 h 578"/>
                  <a:gd name="T24" fmla="*/ 50 w 495"/>
                  <a:gd name="T25" fmla="*/ 257 h 578"/>
                  <a:gd name="T26" fmla="*/ 4 w 495"/>
                  <a:gd name="T27" fmla="*/ 239 h 578"/>
                  <a:gd name="T28" fmla="*/ 18 w 495"/>
                  <a:gd name="T29" fmla="*/ 189 h 578"/>
                  <a:gd name="T30" fmla="*/ 61 w 495"/>
                  <a:gd name="T31" fmla="*/ 166 h 578"/>
                  <a:gd name="T32" fmla="*/ 62 w 495"/>
                  <a:gd name="T33" fmla="*/ 78 h 578"/>
                  <a:gd name="T34" fmla="*/ 85 w 495"/>
                  <a:gd name="T35" fmla="*/ 60 h 578"/>
                  <a:gd name="T36" fmla="*/ 106 w 495"/>
                  <a:gd name="T37" fmla="*/ 68 h 578"/>
                  <a:gd name="T38" fmla="*/ 145 w 495"/>
                  <a:gd name="T39" fmla="*/ 67 h 578"/>
                  <a:gd name="T40" fmla="*/ 160 w 495"/>
                  <a:gd name="T41" fmla="*/ 48 h 578"/>
                  <a:gd name="T42" fmla="*/ 148 w 495"/>
                  <a:gd name="T43" fmla="*/ 25 h 578"/>
                  <a:gd name="T44" fmla="*/ 172 w 495"/>
                  <a:gd name="T45" fmla="*/ 22 h 578"/>
                  <a:gd name="T46" fmla="*/ 209 w 495"/>
                  <a:gd name="T47" fmla="*/ 1 h 578"/>
                  <a:gd name="T48" fmla="*/ 221 w 495"/>
                  <a:gd name="T49" fmla="*/ 23 h 578"/>
                  <a:gd name="T50" fmla="*/ 224 w 495"/>
                  <a:gd name="T51" fmla="*/ 62 h 578"/>
                  <a:gd name="T52" fmla="*/ 242 w 495"/>
                  <a:gd name="T53" fmla="*/ 65 h 578"/>
                  <a:gd name="T54" fmla="*/ 270 w 495"/>
                  <a:gd name="T55" fmla="*/ 58 h 578"/>
                  <a:gd name="T56" fmla="*/ 288 w 495"/>
                  <a:gd name="T57" fmla="*/ 46 h 578"/>
                  <a:gd name="T58" fmla="*/ 313 w 495"/>
                  <a:gd name="T59" fmla="*/ 54 h 578"/>
                  <a:gd name="T60" fmla="*/ 342 w 495"/>
                  <a:gd name="T61" fmla="*/ 18 h 578"/>
                  <a:gd name="T62" fmla="*/ 361 w 495"/>
                  <a:gd name="T63" fmla="*/ 61 h 578"/>
                  <a:gd name="T64" fmla="*/ 353 w 495"/>
                  <a:gd name="T65" fmla="*/ 84 h 578"/>
                  <a:gd name="T66" fmla="*/ 310 w 495"/>
                  <a:gd name="T67" fmla="*/ 121 h 578"/>
                  <a:gd name="T68" fmla="*/ 332 w 495"/>
                  <a:gd name="T69" fmla="*/ 131 h 578"/>
                  <a:gd name="T70" fmla="*/ 354 w 495"/>
                  <a:gd name="T71" fmla="*/ 98 h 578"/>
                  <a:gd name="T72" fmla="*/ 383 w 495"/>
                  <a:gd name="T73" fmla="*/ 108 h 578"/>
                  <a:gd name="T74" fmla="*/ 372 w 495"/>
                  <a:gd name="T75" fmla="*/ 122 h 578"/>
                  <a:gd name="T76" fmla="*/ 377 w 495"/>
                  <a:gd name="T77" fmla="*/ 122 h 578"/>
                  <a:gd name="T78" fmla="*/ 416 w 495"/>
                  <a:gd name="T79" fmla="*/ 108 h 578"/>
                  <a:gd name="T80" fmla="*/ 448 w 495"/>
                  <a:gd name="T81" fmla="*/ 128 h 578"/>
                  <a:gd name="T82" fmla="*/ 492 w 495"/>
                  <a:gd name="T83" fmla="*/ 137 h 578"/>
                  <a:gd name="T84" fmla="*/ 554 w 495"/>
                  <a:gd name="T85" fmla="*/ 172 h 578"/>
                  <a:gd name="T86" fmla="*/ 593 w 495"/>
                  <a:gd name="T87" fmla="*/ 213 h 578"/>
                  <a:gd name="T88" fmla="*/ 553 w 495"/>
                  <a:gd name="T89" fmla="*/ 297 h 578"/>
                  <a:gd name="T90" fmla="*/ 534 w 495"/>
                  <a:gd name="T91" fmla="*/ 349 h 578"/>
                  <a:gd name="T92" fmla="*/ 522 w 495"/>
                  <a:gd name="T93" fmla="*/ 438 h 578"/>
                  <a:gd name="T94" fmla="*/ 491 w 495"/>
                  <a:gd name="T95" fmla="*/ 495 h 578"/>
                  <a:gd name="T96" fmla="*/ 454 w 495"/>
                  <a:gd name="T97" fmla="*/ 497 h 578"/>
                  <a:gd name="T98" fmla="*/ 397 w 495"/>
                  <a:gd name="T99" fmla="*/ 546 h 578"/>
                  <a:gd name="T100" fmla="*/ 397 w 495"/>
                  <a:gd name="T101" fmla="*/ 599 h 578"/>
                  <a:gd name="T102" fmla="*/ 358 w 495"/>
                  <a:gd name="T103" fmla="*/ 657 h 578"/>
                  <a:gd name="T104" fmla="*/ 361 w 495"/>
                  <a:gd name="T105" fmla="*/ 624 h 578"/>
                  <a:gd name="T106" fmla="*/ 347 w 495"/>
                  <a:gd name="T107" fmla="*/ 675 h 57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5"/>
                  <a:gd name="T163" fmla="*/ 0 h 578"/>
                  <a:gd name="T164" fmla="*/ 495 w 495"/>
                  <a:gd name="T165" fmla="*/ 578 h 57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5" h="578">
                    <a:moveTo>
                      <a:pt x="281" y="578"/>
                    </a:moveTo>
                    <a:cubicBezTo>
                      <a:pt x="280" y="577"/>
                      <a:pt x="278" y="576"/>
                      <a:pt x="277" y="575"/>
                    </a:cubicBezTo>
                    <a:cubicBezTo>
                      <a:pt x="277" y="573"/>
                      <a:pt x="278" y="571"/>
                      <a:pt x="279" y="570"/>
                    </a:cubicBezTo>
                    <a:cubicBezTo>
                      <a:pt x="280" y="567"/>
                      <a:pt x="280" y="565"/>
                      <a:pt x="282" y="563"/>
                    </a:cubicBezTo>
                    <a:cubicBezTo>
                      <a:pt x="283" y="562"/>
                      <a:pt x="285" y="563"/>
                      <a:pt x="285" y="563"/>
                    </a:cubicBezTo>
                    <a:cubicBezTo>
                      <a:pt x="286" y="562"/>
                      <a:pt x="286" y="560"/>
                      <a:pt x="287" y="559"/>
                    </a:cubicBezTo>
                    <a:cubicBezTo>
                      <a:pt x="287" y="556"/>
                      <a:pt x="289" y="553"/>
                      <a:pt x="287" y="552"/>
                    </a:cubicBezTo>
                    <a:cubicBezTo>
                      <a:pt x="285" y="551"/>
                      <a:pt x="286" y="556"/>
                      <a:pt x="285" y="558"/>
                    </a:cubicBezTo>
                    <a:cubicBezTo>
                      <a:pt x="283" y="559"/>
                      <a:pt x="281" y="559"/>
                      <a:pt x="279" y="559"/>
                    </a:cubicBezTo>
                    <a:cubicBezTo>
                      <a:pt x="278" y="559"/>
                      <a:pt x="277" y="558"/>
                      <a:pt x="276" y="557"/>
                    </a:cubicBezTo>
                    <a:cubicBezTo>
                      <a:pt x="275" y="556"/>
                      <a:pt x="275" y="554"/>
                      <a:pt x="274" y="553"/>
                    </a:cubicBezTo>
                    <a:cubicBezTo>
                      <a:pt x="271" y="549"/>
                      <a:pt x="268" y="545"/>
                      <a:pt x="264" y="543"/>
                    </a:cubicBezTo>
                    <a:cubicBezTo>
                      <a:pt x="260" y="541"/>
                      <a:pt x="256" y="541"/>
                      <a:pt x="253" y="539"/>
                    </a:cubicBezTo>
                    <a:cubicBezTo>
                      <a:pt x="251" y="537"/>
                      <a:pt x="250" y="534"/>
                      <a:pt x="247" y="532"/>
                    </a:cubicBezTo>
                    <a:cubicBezTo>
                      <a:pt x="247" y="532"/>
                      <a:pt x="247" y="533"/>
                      <a:pt x="246" y="534"/>
                    </a:cubicBezTo>
                    <a:cubicBezTo>
                      <a:pt x="245" y="534"/>
                      <a:pt x="244" y="536"/>
                      <a:pt x="243" y="536"/>
                    </a:cubicBezTo>
                    <a:cubicBezTo>
                      <a:pt x="239" y="531"/>
                      <a:pt x="239" y="523"/>
                      <a:pt x="234" y="520"/>
                    </a:cubicBezTo>
                    <a:cubicBezTo>
                      <a:pt x="232" y="518"/>
                      <a:pt x="227" y="522"/>
                      <a:pt x="224" y="523"/>
                    </a:cubicBezTo>
                    <a:cubicBezTo>
                      <a:pt x="228" y="518"/>
                      <a:pt x="232" y="514"/>
                      <a:pt x="235" y="509"/>
                    </a:cubicBezTo>
                    <a:cubicBezTo>
                      <a:pt x="238" y="504"/>
                      <a:pt x="239" y="498"/>
                      <a:pt x="242" y="494"/>
                    </a:cubicBezTo>
                    <a:cubicBezTo>
                      <a:pt x="244" y="491"/>
                      <a:pt x="248" y="491"/>
                      <a:pt x="250" y="489"/>
                    </a:cubicBezTo>
                    <a:cubicBezTo>
                      <a:pt x="252" y="487"/>
                      <a:pt x="253" y="484"/>
                      <a:pt x="255" y="482"/>
                    </a:cubicBezTo>
                    <a:cubicBezTo>
                      <a:pt x="259" y="479"/>
                      <a:pt x="265" y="479"/>
                      <a:pt x="267" y="476"/>
                    </a:cubicBezTo>
                    <a:cubicBezTo>
                      <a:pt x="269" y="473"/>
                      <a:pt x="267" y="470"/>
                      <a:pt x="267" y="467"/>
                    </a:cubicBezTo>
                    <a:cubicBezTo>
                      <a:pt x="267" y="464"/>
                      <a:pt x="269" y="462"/>
                      <a:pt x="268" y="460"/>
                    </a:cubicBezTo>
                    <a:cubicBezTo>
                      <a:pt x="268" y="458"/>
                      <a:pt x="265" y="455"/>
                      <a:pt x="264" y="453"/>
                    </a:cubicBezTo>
                    <a:cubicBezTo>
                      <a:pt x="263" y="452"/>
                      <a:pt x="262" y="451"/>
                      <a:pt x="261" y="451"/>
                    </a:cubicBezTo>
                    <a:cubicBezTo>
                      <a:pt x="259" y="451"/>
                      <a:pt x="257" y="451"/>
                      <a:pt x="256" y="451"/>
                    </a:cubicBezTo>
                    <a:cubicBezTo>
                      <a:pt x="256" y="449"/>
                      <a:pt x="256" y="447"/>
                      <a:pt x="256" y="445"/>
                    </a:cubicBezTo>
                    <a:cubicBezTo>
                      <a:pt x="257" y="443"/>
                      <a:pt x="258" y="440"/>
                      <a:pt x="259" y="437"/>
                    </a:cubicBezTo>
                    <a:cubicBezTo>
                      <a:pt x="259" y="434"/>
                      <a:pt x="261" y="430"/>
                      <a:pt x="261" y="426"/>
                    </a:cubicBezTo>
                    <a:cubicBezTo>
                      <a:pt x="260" y="424"/>
                      <a:pt x="257" y="423"/>
                      <a:pt x="255" y="423"/>
                    </a:cubicBezTo>
                    <a:cubicBezTo>
                      <a:pt x="251" y="422"/>
                      <a:pt x="247" y="427"/>
                      <a:pt x="244" y="425"/>
                    </a:cubicBezTo>
                    <a:cubicBezTo>
                      <a:pt x="241" y="424"/>
                      <a:pt x="239" y="420"/>
                      <a:pt x="239" y="417"/>
                    </a:cubicBezTo>
                    <a:cubicBezTo>
                      <a:pt x="238" y="413"/>
                      <a:pt x="242" y="408"/>
                      <a:pt x="241" y="403"/>
                    </a:cubicBezTo>
                    <a:cubicBezTo>
                      <a:pt x="240" y="401"/>
                      <a:pt x="236" y="400"/>
                      <a:pt x="233" y="399"/>
                    </a:cubicBezTo>
                    <a:cubicBezTo>
                      <a:pt x="229" y="398"/>
                      <a:pt x="225" y="399"/>
                      <a:pt x="222" y="398"/>
                    </a:cubicBezTo>
                    <a:cubicBezTo>
                      <a:pt x="219" y="398"/>
                      <a:pt x="216" y="399"/>
                      <a:pt x="213" y="398"/>
                    </a:cubicBezTo>
                    <a:cubicBezTo>
                      <a:pt x="212" y="398"/>
                      <a:pt x="213" y="396"/>
                      <a:pt x="213" y="395"/>
                    </a:cubicBezTo>
                    <a:cubicBezTo>
                      <a:pt x="213" y="390"/>
                      <a:pt x="214" y="386"/>
                      <a:pt x="213" y="381"/>
                    </a:cubicBezTo>
                    <a:cubicBezTo>
                      <a:pt x="212" y="378"/>
                      <a:pt x="208" y="378"/>
                      <a:pt x="207" y="375"/>
                    </a:cubicBezTo>
                    <a:cubicBezTo>
                      <a:pt x="206" y="372"/>
                      <a:pt x="207" y="369"/>
                      <a:pt x="207" y="366"/>
                    </a:cubicBezTo>
                    <a:cubicBezTo>
                      <a:pt x="208" y="362"/>
                      <a:pt x="210" y="357"/>
                      <a:pt x="211" y="353"/>
                    </a:cubicBezTo>
                    <a:cubicBezTo>
                      <a:pt x="212" y="348"/>
                      <a:pt x="212" y="344"/>
                      <a:pt x="212" y="339"/>
                    </a:cubicBezTo>
                    <a:cubicBezTo>
                      <a:pt x="211" y="335"/>
                      <a:pt x="211" y="331"/>
                      <a:pt x="208" y="328"/>
                    </a:cubicBezTo>
                    <a:cubicBezTo>
                      <a:pt x="207" y="326"/>
                      <a:pt x="202" y="327"/>
                      <a:pt x="201" y="325"/>
                    </a:cubicBezTo>
                    <a:cubicBezTo>
                      <a:pt x="200" y="322"/>
                      <a:pt x="203" y="320"/>
                      <a:pt x="203" y="317"/>
                    </a:cubicBezTo>
                    <a:cubicBezTo>
                      <a:pt x="204" y="316"/>
                      <a:pt x="203" y="315"/>
                      <a:pt x="203" y="314"/>
                    </a:cubicBezTo>
                    <a:cubicBezTo>
                      <a:pt x="203" y="313"/>
                      <a:pt x="202" y="314"/>
                      <a:pt x="202" y="314"/>
                    </a:cubicBezTo>
                    <a:cubicBezTo>
                      <a:pt x="194" y="314"/>
                      <a:pt x="186" y="314"/>
                      <a:pt x="179" y="314"/>
                    </a:cubicBezTo>
                    <a:cubicBezTo>
                      <a:pt x="178" y="314"/>
                      <a:pt x="179" y="313"/>
                      <a:pt x="179" y="312"/>
                    </a:cubicBezTo>
                    <a:cubicBezTo>
                      <a:pt x="177" y="307"/>
                      <a:pt x="174" y="303"/>
                      <a:pt x="174" y="298"/>
                    </a:cubicBezTo>
                    <a:cubicBezTo>
                      <a:pt x="174" y="296"/>
                      <a:pt x="177" y="297"/>
                      <a:pt x="177" y="296"/>
                    </a:cubicBezTo>
                    <a:cubicBezTo>
                      <a:pt x="178" y="294"/>
                      <a:pt x="178" y="292"/>
                      <a:pt x="177" y="290"/>
                    </a:cubicBezTo>
                    <a:cubicBezTo>
                      <a:pt x="177" y="288"/>
                      <a:pt x="175" y="286"/>
                      <a:pt x="174" y="284"/>
                    </a:cubicBezTo>
                    <a:cubicBezTo>
                      <a:pt x="174" y="281"/>
                      <a:pt x="176" y="277"/>
                      <a:pt x="174" y="275"/>
                    </a:cubicBezTo>
                    <a:cubicBezTo>
                      <a:pt x="173" y="274"/>
                      <a:pt x="169" y="273"/>
                      <a:pt x="166" y="273"/>
                    </a:cubicBezTo>
                    <a:cubicBezTo>
                      <a:pt x="162" y="272"/>
                      <a:pt x="159" y="273"/>
                      <a:pt x="155" y="272"/>
                    </a:cubicBezTo>
                    <a:cubicBezTo>
                      <a:pt x="153" y="271"/>
                      <a:pt x="153" y="267"/>
                      <a:pt x="151" y="266"/>
                    </a:cubicBezTo>
                    <a:cubicBezTo>
                      <a:pt x="149" y="266"/>
                      <a:pt x="148" y="267"/>
                      <a:pt x="146" y="266"/>
                    </a:cubicBezTo>
                    <a:cubicBezTo>
                      <a:pt x="144" y="265"/>
                      <a:pt x="144" y="261"/>
                      <a:pt x="142" y="260"/>
                    </a:cubicBezTo>
                    <a:cubicBezTo>
                      <a:pt x="139" y="259"/>
                      <a:pt x="137" y="260"/>
                      <a:pt x="134" y="260"/>
                    </a:cubicBezTo>
                    <a:cubicBezTo>
                      <a:pt x="131" y="259"/>
                      <a:pt x="126" y="260"/>
                      <a:pt x="123" y="258"/>
                    </a:cubicBezTo>
                    <a:cubicBezTo>
                      <a:pt x="120" y="254"/>
                      <a:pt x="116" y="249"/>
                      <a:pt x="113" y="245"/>
                    </a:cubicBezTo>
                    <a:cubicBezTo>
                      <a:pt x="112" y="243"/>
                      <a:pt x="112" y="241"/>
                      <a:pt x="111" y="239"/>
                    </a:cubicBezTo>
                    <a:cubicBezTo>
                      <a:pt x="110" y="236"/>
                      <a:pt x="111" y="233"/>
                      <a:pt x="108" y="229"/>
                    </a:cubicBezTo>
                    <a:cubicBezTo>
                      <a:pt x="108" y="226"/>
                      <a:pt x="112" y="220"/>
                      <a:pt x="109" y="218"/>
                    </a:cubicBezTo>
                    <a:cubicBezTo>
                      <a:pt x="105" y="219"/>
                      <a:pt x="100" y="217"/>
                      <a:pt x="95" y="219"/>
                    </a:cubicBezTo>
                    <a:cubicBezTo>
                      <a:pt x="92" y="220"/>
                      <a:pt x="91" y="224"/>
                      <a:pt x="88" y="225"/>
                    </a:cubicBezTo>
                    <a:cubicBezTo>
                      <a:pt x="86" y="226"/>
                      <a:pt x="83" y="226"/>
                      <a:pt x="82" y="227"/>
                    </a:cubicBezTo>
                    <a:cubicBezTo>
                      <a:pt x="79" y="228"/>
                      <a:pt x="78" y="231"/>
                      <a:pt x="76" y="232"/>
                    </a:cubicBezTo>
                    <a:cubicBezTo>
                      <a:pt x="73" y="234"/>
                      <a:pt x="71" y="235"/>
                      <a:pt x="68" y="235"/>
                    </a:cubicBezTo>
                    <a:cubicBezTo>
                      <a:pt x="66" y="236"/>
                      <a:pt x="64" y="235"/>
                      <a:pt x="63" y="235"/>
                    </a:cubicBezTo>
                    <a:cubicBezTo>
                      <a:pt x="61" y="235"/>
                      <a:pt x="59" y="234"/>
                      <a:pt x="58" y="234"/>
                    </a:cubicBezTo>
                    <a:cubicBezTo>
                      <a:pt x="57" y="234"/>
                      <a:pt x="55" y="235"/>
                      <a:pt x="54" y="235"/>
                    </a:cubicBezTo>
                    <a:cubicBezTo>
                      <a:pt x="51" y="235"/>
                      <a:pt x="47" y="238"/>
                      <a:pt x="46" y="235"/>
                    </a:cubicBezTo>
                    <a:cubicBezTo>
                      <a:pt x="43" y="229"/>
                      <a:pt x="45" y="221"/>
                      <a:pt x="44" y="214"/>
                    </a:cubicBezTo>
                    <a:cubicBezTo>
                      <a:pt x="44" y="214"/>
                      <a:pt x="43" y="214"/>
                      <a:pt x="42" y="214"/>
                    </a:cubicBezTo>
                    <a:cubicBezTo>
                      <a:pt x="39" y="217"/>
                      <a:pt x="38" y="221"/>
                      <a:pt x="34" y="223"/>
                    </a:cubicBezTo>
                    <a:cubicBezTo>
                      <a:pt x="32" y="224"/>
                      <a:pt x="28" y="224"/>
                      <a:pt x="25" y="223"/>
                    </a:cubicBezTo>
                    <a:cubicBezTo>
                      <a:pt x="23" y="221"/>
                      <a:pt x="24" y="217"/>
                      <a:pt x="22" y="215"/>
                    </a:cubicBezTo>
                    <a:cubicBezTo>
                      <a:pt x="20" y="213"/>
                      <a:pt x="15" y="215"/>
                      <a:pt x="14" y="213"/>
                    </a:cubicBezTo>
                    <a:cubicBezTo>
                      <a:pt x="12" y="211"/>
                      <a:pt x="16" y="208"/>
                      <a:pt x="15" y="206"/>
                    </a:cubicBezTo>
                    <a:cubicBezTo>
                      <a:pt x="12" y="203"/>
                      <a:pt x="5" y="203"/>
                      <a:pt x="3" y="199"/>
                    </a:cubicBezTo>
                    <a:cubicBezTo>
                      <a:pt x="1" y="197"/>
                      <a:pt x="2" y="193"/>
                      <a:pt x="2" y="190"/>
                    </a:cubicBezTo>
                    <a:cubicBezTo>
                      <a:pt x="2" y="188"/>
                      <a:pt x="2" y="185"/>
                      <a:pt x="2" y="182"/>
                    </a:cubicBezTo>
                    <a:cubicBezTo>
                      <a:pt x="2" y="180"/>
                      <a:pt x="0" y="177"/>
                      <a:pt x="2" y="175"/>
                    </a:cubicBezTo>
                    <a:cubicBezTo>
                      <a:pt x="4" y="172"/>
                      <a:pt x="10" y="172"/>
                      <a:pt x="12" y="168"/>
                    </a:cubicBezTo>
                    <a:cubicBezTo>
                      <a:pt x="13" y="167"/>
                      <a:pt x="9" y="166"/>
                      <a:pt x="10" y="164"/>
                    </a:cubicBezTo>
                    <a:cubicBezTo>
                      <a:pt x="10" y="161"/>
                      <a:pt x="14" y="160"/>
                      <a:pt x="15" y="157"/>
                    </a:cubicBezTo>
                    <a:cubicBezTo>
                      <a:pt x="16" y="154"/>
                      <a:pt x="14" y="152"/>
                      <a:pt x="15" y="150"/>
                    </a:cubicBezTo>
                    <a:cubicBezTo>
                      <a:pt x="17" y="146"/>
                      <a:pt x="21" y="144"/>
                      <a:pt x="24" y="142"/>
                    </a:cubicBezTo>
                    <a:cubicBezTo>
                      <a:pt x="26" y="142"/>
                      <a:pt x="28" y="143"/>
                      <a:pt x="29" y="142"/>
                    </a:cubicBezTo>
                    <a:cubicBezTo>
                      <a:pt x="33" y="142"/>
                      <a:pt x="36" y="140"/>
                      <a:pt x="39" y="139"/>
                    </a:cubicBezTo>
                    <a:cubicBezTo>
                      <a:pt x="41" y="139"/>
                      <a:pt x="44" y="137"/>
                      <a:pt x="46" y="137"/>
                    </a:cubicBezTo>
                    <a:cubicBezTo>
                      <a:pt x="48" y="137"/>
                      <a:pt x="49" y="138"/>
                      <a:pt x="51" y="138"/>
                    </a:cubicBezTo>
                    <a:cubicBezTo>
                      <a:pt x="53" y="125"/>
                      <a:pt x="55" y="110"/>
                      <a:pt x="57" y="97"/>
                    </a:cubicBezTo>
                    <a:cubicBezTo>
                      <a:pt x="58" y="94"/>
                      <a:pt x="58" y="92"/>
                      <a:pt x="59" y="90"/>
                    </a:cubicBezTo>
                    <a:cubicBezTo>
                      <a:pt x="57" y="88"/>
                      <a:pt x="55" y="87"/>
                      <a:pt x="54" y="85"/>
                    </a:cubicBezTo>
                    <a:cubicBezTo>
                      <a:pt x="52" y="84"/>
                      <a:pt x="50" y="83"/>
                      <a:pt x="49" y="82"/>
                    </a:cubicBezTo>
                    <a:cubicBezTo>
                      <a:pt x="49" y="77"/>
                      <a:pt x="49" y="72"/>
                      <a:pt x="49" y="67"/>
                    </a:cubicBezTo>
                    <a:cubicBezTo>
                      <a:pt x="50" y="66"/>
                      <a:pt x="51" y="66"/>
                      <a:pt x="52" y="65"/>
                    </a:cubicBezTo>
                    <a:cubicBezTo>
                      <a:pt x="55" y="65"/>
                      <a:pt x="57" y="66"/>
                      <a:pt x="59" y="65"/>
                    </a:cubicBezTo>
                    <a:cubicBezTo>
                      <a:pt x="60" y="65"/>
                      <a:pt x="59" y="64"/>
                      <a:pt x="59" y="63"/>
                    </a:cubicBezTo>
                    <a:cubicBezTo>
                      <a:pt x="58" y="61"/>
                      <a:pt x="58" y="60"/>
                      <a:pt x="57" y="59"/>
                    </a:cubicBezTo>
                    <a:cubicBezTo>
                      <a:pt x="56" y="58"/>
                      <a:pt x="55" y="59"/>
                      <a:pt x="54" y="59"/>
                    </a:cubicBezTo>
                    <a:cubicBezTo>
                      <a:pt x="53" y="56"/>
                      <a:pt x="53" y="54"/>
                      <a:pt x="53" y="51"/>
                    </a:cubicBezTo>
                    <a:cubicBezTo>
                      <a:pt x="59" y="51"/>
                      <a:pt x="65" y="50"/>
                      <a:pt x="71" y="50"/>
                    </a:cubicBezTo>
                    <a:cubicBezTo>
                      <a:pt x="71" y="49"/>
                      <a:pt x="71" y="48"/>
                      <a:pt x="72" y="48"/>
                    </a:cubicBezTo>
                    <a:cubicBezTo>
                      <a:pt x="73" y="48"/>
                      <a:pt x="74" y="49"/>
                      <a:pt x="76" y="50"/>
                    </a:cubicBezTo>
                    <a:cubicBezTo>
                      <a:pt x="77" y="48"/>
                      <a:pt x="77" y="45"/>
                      <a:pt x="79" y="45"/>
                    </a:cubicBezTo>
                    <a:cubicBezTo>
                      <a:pt x="80" y="44"/>
                      <a:pt x="80" y="47"/>
                      <a:pt x="81" y="48"/>
                    </a:cubicBezTo>
                    <a:cubicBezTo>
                      <a:pt x="83" y="52"/>
                      <a:pt x="84" y="56"/>
                      <a:pt x="86" y="60"/>
                    </a:cubicBezTo>
                    <a:cubicBezTo>
                      <a:pt x="87" y="59"/>
                      <a:pt x="87" y="58"/>
                      <a:pt x="88" y="57"/>
                    </a:cubicBezTo>
                    <a:cubicBezTo>
                      <a:pt x="91" y="60"/>
                      <a:pt x="93" y="64"/>
                      <a:pt x="96" y="65"/>
                    </a:cubicBezTo>
                    <a:cubicBezTo>
                      <a:pt x="98" y="67"/>
                      <a:pt x="101" y="66"/>
                      <a:pt x="104" y="65"/>
                    </a:cubicBezTo>
                    <a:cubicBezTo>
                      <a:pt x="107" y="63"/>
                      <a:pt x="110" y="60"/>
                      <a:pt x="113" y="58"/>
                    </a:cubicBezTo>
                    <a:cubicBezTo>
                      <a:pt x="114" y="57"/>
                      <a:pt x="115" y="57"/>
                      <a:pt x="116" y="56"/>
                    </a:cubicBezTo>
                    <a:cubicBezTo>
                      <a:pt x="117" y="56"/>
                      <a:pt x="118" y="54"/>
                      <a:pt x="119" y="54"/>
                    </a:cubicBezTo>
                    <a:cubicBezTo>
                      <a:pt x="120" y="54"/>
                      <a:pt x="120" y="56"/>
                      <a:pt x="121" y="56"/>
                    </a:cubicBezTo>
                    <a:cubicBezTo>
                      <a:pt x="122" y="56"/>
                      <a:pt x="122" y="55"/>
                      <a:pt x="122" y="54"/>
                    </a:cubicBezTo>
                    <a:cubicBezTo>
                      <a:pt x="123" y="52"/>
                      <a:pt x="121" y="50"/>
                      <a:pt x="122" y="48"/>
                    </a:cubicBezTo>
                    <a:cubicBezTo>
                      <a:pt x="123" y="47"/>
                      <a:pt x="126" y="48"/>
                      <a:pt x="128" y="47"/>
                    </a:cubicBezTo>
                    <a:cubicBezTo>
                      <a:pt x="128" y="46"/>
                      <a:pt x="127" y="45"/>
                      <a:pt x="128" y="45"/>
                    </a:cubicBezTo>
                    <a:cubicBezTo>
                      <a:pt x="129" y="43"/>
                      <a:pt x="132" y="43"/>
                      <a:pt x="133" y="42"/>
                    </a:cubicBezTo>
                    <a:cubicBezTo>
                      <a:pt x="134" y="41"/>
                      <a:pt x="134" y="40"/>
                      <a:pt x="133" y="40"/>
                    </a:cubicBezTo>
                    <a:cubicBezTo>
                      <a:pt x="130" y="39"/>
                      <a:pt x="127" y="40"/>
                      <a:pt x="124" y="40"/>
                    </a:cubicBezTo>
                    <a:cubicBezTo>
                      <a:pt x="123" y="40"/>
                      <a:pt x="122" y="39"/>
                      <a:pt x="122" y="38"/>
                    </a:cubicBezTo>
                    <a:cubicBezTo>
                      <a:pt x="121" y="37"/>
                      <a:pt x="122" y="35"/>
                      <a:pt x="122" y="34"/>
                    </a:cubicBezTo>
                    <a:cubicBezTo>
                      <a:pt x="121" y="34"/>
                      <a:pt x="120" y="33"/>
                      <a:pt x="120" y="32"/>
                    </a:cubicBezTo>
                    <a:cubicBezTo>
                      <a:pt x="121" y="30"/>
                      <a:pt x="123" y="29"/>
                      <a:pt x="123" y="27"/>
                    </a:cubicBezTo>
                    <a:cubicBezTo>
                      <a:pt x="124" y="25"/>
                      <a:pt x="124" y="23"/>
                      <a:pt x="123" y="21"/>
                    </a:cubicBezTo>
                    <a:cubicBezTo>
                      <a:pt x="122" y="19"/>
                      <a:pt x="119" y="20"/>
                      <a:pt x="118" y="18"/>
                    </a:cubicBezTo>
                    <a:cubicBezTo>
                      <a:pt x="118" y="17"/>
                      <a:pt x="120" y="17"/>
                      <a:pt x="122" y="17"/>
                    </a:cubicBezTo>
                    <a:cubicBezTo>
                      <a:pt x="125" y="17"/>
                      <a:pt x="127" y="20"/>
                      <a:pt x="130" y="20"/>
                    </a:cubicBezTo>
                    <a:cubicBezTo>
                      <a:pt x="132" y="21"/>
                      <a:pt x="133" y="20"/>
                      <a:pt x="134" y="20"/>
                    </a:cubicBezTo>
                    <a:cubicBezTo>
                      <a:pt x="137" y="21"/>
                      <a:pt x="139" y="22"/>
                      <a:pt x="141" y="22"/>
                    </a:cubicBezTo>
                    <a:cubicBezTo>
                      <a:pt x="142" y="21"/>
                      <a:pt x="141" y="19"/>
                      <a:pt x="143" y="18"/>
                    </a:cubicBezTo>
                    <a:cubicBezTo>
                      <a:pt x="147" y="17"/>
                      <a:pt x="152" y="18"/>
                      <a:pt x="156" y="17"/>
                    </a:cubicBezTo>
                    <a:cubicBezTo>
                      <a:pt x="158" y="16"/>
                      <a:pt x="158" y="14"/>
                      <a:pt x="160" y="13"/>
                    </a:cubicBezTo>
                    <a:cubicBezTo>
                      <a:pt x="162" y="12"/>
                      <a:pt x="164" y="13"/>
                      <a:pt x="165" y="12"/>
                    </a:cubicBezTo>
                    <a:cubicBezTo>
                      <a:pt x="166" y="11"/>
                      <a:pt x="167" y="9"/>
                      <a:pt x="167" y="7"/>
                    </a:cubicBezTo>
                    <a:cubicBezTo>
                      <a:pt x="168" y="5"/>
                      <a:pt x="167" y="2"/>
                      <a:pt x="167" y="1"/>
                    </a:cubicBezTo>
                    <a:cubicBezTo>
                      <a:pt x="170" y="1"/>
                      <a:pt x="172" y="0"/>
                      <a:pt x="174" y="1"/>
                    </a:cubicBezTo>
                    <a:cubicBezTo>
                      <a:pt x="176" y="1"/>
                      <a:pt x="175" y="4"/>
                      <a:pt x="175" y="5"/>
                    </a:cubicBezTo>
                    <a:cubicBezTo>
                      <a:pt x="175" y="6"/>
                      <a:pt x="173" y="7"/>
                      <a:pt x="173" y="8"/>
                    </a:cubicBezTo>
                    <a:cubicBezTo>
                      <a:pt x="173" y="9"/>
                      <a:pt x="173" y="11"/>
                      <a:pt x="174" y="11"/>
                    </a:cubicBezTo>
                    <a:cubicBezTo>
                      <a:pt x="176" y="12"/>
                      <a:pt x="178" y="10"/>
                      <a:pt x="180" y="11"/>
                    </a:cubicBezTo>
                    <a:cubicBezTo>
                      <a:pt x="181" y="12"/>
                      <a:pt x="179" y="15"/>
                      <a:pt x="180" y="17"/>
                    </a:cubicBezTo>
                    <a:cubicBezTo>
                      <a:pt x="181" y="18"/>
                      <a:pt x="184" y="17"/>
                      <a:pt x="184" y="19"/>
                    </a:cubicBezTo>
                    <a:cubicBezTo>
                      <a:pt x="182" y="21"/>
                      <a:pt x="177" y="21"/>
                      <a:pt x="176" y="24"/>
                    </a:cubicBezTo>
                    <a:cubicBezTo>
                      <a:pt x="176" y="28"/>
                      <a:pt x="176" y="34"/>
                      <a:pt x="176" y="38"/>
                    </a:cubicBezTo>
                    <a:cubicBezTo>
                      <a:pt x="176" y="40"/>
                      <a:pt x="179" y="40"/>
                      <a:pt x="179" y="41"/>
                    </a:cubicBezTo>
                    <a:cubicBezTo>
                      <a:pt x="180" y="42"/>
                      <a:pt x="179" y="45"/>
                      <a:pt x="179" y="46"/>
                    </a:cubicBezTo>
                    <a:cubicBezTo>
                      <a:pt x="179" y="48"/>
                      <a:pt x="180" y="49"/>
                      <a:pt x="181" y="49"/>
                    </a:cubicBezTo>
                    <a:cubicBezTo>
                      <a:pt x="182" y="51"/>
                      <a:pt x="185" y="51"/>
                      <a:pt x="187" y="52"/>
                    </a:cubicBezTo>
                    <a:cubicBezTo>
                      <a:pt x="188" y="53"/>
                      <a:pt x="186" y="55"/>
                      <a:pt x="187" y="56"/>
                    </a:cubicBezTo>
                    <a:cubicBezTo>
                      <a:pt x="188" y="57"/>
                      <a:pt x="189" y="59"/>
                      <a:pt x="191" y="59"/>
                    </a:cubicBezTo>
                    <a:cubicBezTo>
                      <a:pt x="192" y="60"/>
                      <a:pt x="194" y="61"/>
                      <a:pt x="195" y="60"/>
                    </a:cubicBezTo>
                    <a:cubicBezTo>
                      <a:pt x="196" y="59"/>
                      <a:pt x="194" y="57"/>
                      <a:pt x="194" y="56"/>
                    </a:cubicBezTo>
                    <a:cubicBezTo>
                      <a:pt x="195" y="54"/>
                      <a:pt x="197" y="53"/>
                      <a:pt x="199" y="52"/>
                    </a:cubicBezTo>
                    <a:cubicBezTo>
                      <a:pt x="200" y="52"/>
                      <a:pt x="201" y="54"/>
                      <a:pt x="202" y="54"/>
                    </a:cubicBezTo>
                    <a:cubicBezTo>
                      <a:pt x="203" y="53"/>
                      <a:pt x="202" y="50"/>
                      <a:pt x="204" y="49"/>
                    </a:cubicBezTo>
                    <a:cubicBezTo>
                      <a:pt x="205" y="49"/>
                      <a:pt x="206" y="50"/>
                      <a:pt x="208" y="49"/>
                    </a:cubicBezTo>
                    <a:cubicBezTo>
                      <a:pt x="209" y="49"/>
                      <a:pt x="209" y="47"/>
                      <a:pt x="210" y="47"/>
                    </a:cubicBezTo>
                    <a:cubicBezTo>
                      <a:pt x="212" y="47"/>
                      <a:pt x="213" y="48"/>
                      <a:pt x="214" y="48"/>
                    </a:cubicBezTo>
                    <a:cubicBezTo>
                      <a:pt x="216" y="49"/>
                      <a:pt x="218" y="48"/>
                      <a:pt x="220" y="48"/>
                    </a:cubicBezTo>
                    <a:cubicBezTo>
                      <a:pt x="221" y="48"/>
                      <a:pt x="224" y="48"/>
                      <a:pt x="225" y="48"/>
                    </a:cubicBezTo>
                    <a:cubicBezTo>
                      <a:pt x="227" y="48"/>
                      <a:pt x="229" y="47"/>
                      <a:pt x="229" y="46"/>
                    </a:cubicBezTo>
                    <a:cubicBezTo>
                      <a:pt x="229" y="44"/>
                      <a:pt x="225" y="45"/>
                      <a:pt x="225" y="43"/>
                    </a:cubicBezTo>
                    <a:cubicBezTo>
                      <a:pt x="225" y="41"/>
                      <a:pt x="227" y="39"/>
                      <a:pt x="229" y="38"/>
                    </a:cubicBezTo>
                    <a:cubicBezTo>
                      <a:pt x="231" y="38"/>
                      <a:pt x="232" y="40"/>
                      <a:pt x="234" y="40"/>
                    </a:cubicBezTo>
                    <a:cubicBezTo>
                      <a:pt x="235" y="40"/>
                      <a:pt x="237" y="39"/>
                      <a:pt x="238" y="39"/>
                    </a:cubicBezTo>
                    <a:cubicBezTo>
                      <a:pt x="239" y="39"/>
                      <a:pt x="240" y="37"/>
                      <a:pt x="240" y="38"/>
                    </a:cubicBezTo>
                    <a:cubicBezTo>
                      <a:pt x="242" y="38"/>
                      <a:pt x="242" y="40"/>
                      <a:pt x="242" y="41"/>
                    </a:cubicBezTo>
                    <a:cubicBezTo>
                      <a:pt x="244" y="43"/>
                      <a:pt x="245" y="44"/>
                      <a:pt x="247" y="45"/>
                    </a:cubicBezTo>
                    <a:cubicBezTo>
                      <a:pt x="249" y="46"/>
                      <a:pt x="251" y="46"/>
                      <a:pt x="252" y="45"/>
                    </a:cubicBezTo>
                    <a:cubicBezTo>
                      <a:pt x="253" y="45"/>
                      <a:pt x="254" y="43"/>
                      <a:pt x="255" y="43"/>
                    </a:cubicBezTo>
                    <a:cubicBezTo>
                      <a:pt x="257" y="42"/>
                      <a:pt x="258" y="42"/>
                      <a:pt x="259" y="43"/>
                    </a:cubicBezTo>
                    <a:cubicBezTo>
                      <a:pt x="260" y="43"/>
                      <a:pt x="260" y="45"/>
                      <a:pt x="261" y="45"/>
                    </a:cubicBezTo>
                    <a:cubicBezTo>
                      <a:pt x="262" y="46"/>
                      <a:pt x="265" y="46"/>
                      <a:pt x="267" y="45"/>
                    </a:cubicBezTo>
                    <a:cubicBezTo>
                      <a:pt x="269" y="44"/>
                      <a:pt x="270" y="41"/>
                      <a:pt x="270" y="39"/>
                    </a:cubicBezTo>
                    <a:cubicBezTo>
                      <a:pt x="271" y="36"/>
                      <a:pt x="271" y="33"/>
                      <a:pt x="272" y="29"/>
                    </a:cubicBezTo>
                    <a:cubicBezTo>
                      <a:pt x="273" y="27"/>
                      <a:pt x="275" y="24"/>
                      <a:pt x="277" y="22"/>
                    </a:cubicBezTo>
                    <a:cubicBezTo>
                      <a:pt x="279" y="20"/>
                      <a:pt x="281" y="19"/>
                      <a:pt x="284" y="17"/>
                    </a:cubicBezTo>
                    <a:cubicBezTo>
                      <a:pt x="285" y="16"/>
                      <a:pt x="284" y="15"/>
                      <a:pt x="285" y="15"/>
                    </a:cubicBezTo>
                    <a:cubicBezTo>
                      <a:pt x="287" y="15"/>
                      <a:pt x="288" y="17"/>
                      <a:pt x="288" y="18"/>
                    </a:cubicBezTo>
                    <a:cubicBezTo>
                      <a:pt x="289" y="21"/>
                      <a:pt x="287" y="24"/>
                      <a:pt x="288" y="27"/>
                    </a:cubicBezTo>
                    <a:cubicBezTo>
                      <a:pt x="289" y="29"/>
                      <a:pt x="290" y="30"/>
                      <a:pt x="291" y="32"/>
                    </a:cubicBezTo>
                    <a:cubicBezTo>
                      <a:pt x="293" y="36"/>
                      <a:pt x="294" y="41"/>
                      <a:pt x="295" y="45"/>
                    </a:cubicBezTo>
                    <a:cubicBezTo>
                      <a:pt x="296" y="47"/>
                      <a:pt x="295" y="49"/>
                      <a:pt x="296" y="51"/>
                    </a:cubicBezTo>
                    <a:cubicBezTo>
                      <a:pt x="297" y="52"/>
                      <a:pt x="300" y="50"/>
                      <a:pt x="301" y="51"/>
                    </a:cubicBezTo>
                    <a:cubicBezTo>
                      <a:pt x="302" y="52"/>
                      <a:pt x="297" y="53"/>
                      <a:pt x="298" y="54"/>
                    </a:cubicBezTo>
                    <a:cubicBezTo>
                      <a:pt x="299" y="55"/>
                      <a:pt x="302" y="54"/>
                      <a:pt x="303" y="56"/>
                    </a:cubicBezTo>
                    <a:cubicBezTo>
                      <a:pt x="303" y="57"/>
                      <a:pt x="299" y="55"/>
                      <a:pt x="299" y="56"/>
                    </a:cubicBezTo>
                    <a:cubicBezTo>
                      <a:pt x="299" y="58"/>
                      <a:pt x="302" y="58"/>
                      <a:pt x="302" y="59"/>
                    </a:cubicBezTo>
                    <a:cubicBezTo>
                      <a:pt x="302" y="61"/>
                      <a:pt x="300" y="62"/>
                      <a:pt x="299" y="64"/>
                    </a:cubicBezTo>
                    <a:cubicBezTo>
                      <a:pt x="297" y="66"/>
                      <a:pt x="296" y="68"/>
                      <a:pt x="294" y="70"/>
                    </a:cubicBezTo>
                    <a:cubicBezTo>
                      <a:pt x="293" y="72"/>
                      <a:pt x="291" y="73"/>
                      <a:pt x="290" y="74"/>
                    </a:cubicBezTo>
                    <a:cubicBezTo>
                      <a:pt x="288" y="76"/>
                      <a:pt x="287" y="78"/>
                      <a:pt x="285" y="80"/>
                    </a:cubicBezTo>
                    <a:cubicBezTo>
                      <a:pt x="284" y="83"/>
                      <a:pt x="283" y="87"/>
                      <a:pt x="281" y="90"/>
                    </a:cubicBezTo>
                    <a:cubicBezTo>
                      <a:pt x="279" y="92"/>
                      <a:pt x="278" y="94"/>
                      <a:pt x="275" y="95"/>
                    </a:cubicBezTo>
                    <a:cubicBezTo>
                      <a:pt x="272" y="97"/>
                      <a:pt x="268" y="98"/>
                      <a:pt x="264" y="99"/>
                    </a:cubicBezTo>
                    <a:cubicBezTo>
                      <a:pt x="262" y="100"/>
                      <a:pt x="260" y="101"/>
                      <a:pt x="258" y="101"/>
                    </a:cubicBezTo>
                    <a:cubicBezTo>
                      <a:pt x="260" y="102"/>
                      <a:pt x="263" y="103"/>
                      <a:pt x="265" y="103"/>
                    </a:cubicBezTo>
                    <a:cubicBezTo>
                      <a:pt x="268" y="102"/>
                      <a:pt x="270" y="100"/>
                      <a:pt x="273" y="99"/>
                    </a:cubicBezTo>
                    <a:cubicBezTo>
                      <a:pt x="273" y="98"/>
                      <a:pt x="275" y="98"/>
                      <a:pt x="275" y="99"/>
                    </a:cubicBezTo>
                    <a:cubicBezTo>
                      <a:pt x="275" y="102"/>
                      <a:pt x="273" y="105"/>
                      <a:pt x="274" y="108"/>
                    </a:cubicBezTo>
                    <a:cubicBezTo>
                      <a:pt x="274" y="111"/>
                      <a:pt x="277" y="112"/>
                      <a:pt x="279" y="115"/>
                    </a:cubicBezTo>
                    <a:cubicBezTo>
                      <a:pt x="278" y="113"/>
                      <a:pt x="277" y="111"/>
                      <a:pt x="277" y="109"/>
                    </a:cubicBezTo>
                    <a:cubicBezTo>
                      <a:pt x="276" y="106"/>
                      <a:pt x="276" y="103"/>
                      <a:pt x="277" y="100"/>
                    </a:cubicBezTo>
                    <a:cubicBezTo>
                      <a:pt x="278" y="99"/>
                      <a:pt x="281" y="99"/>
                      <a:pt x="282" y="98"/>
                    </a:cubicBezTo>
                    <a:cubicBezTo>
                      <a:pt x="284" y="96"/>
                      <a:pt x="286" y="94"/>
                      <a:pt x="288" y="92"/>
                    </a:cubicBezTo>
                    <a:cubicBezTo>
                      <a:pt x="289" y="90"/>
                      <a:pt x="289" y="87"/>
                      <a:pt x="291" y="85"/>
                    </a:cubicBezTo>
                    <a:cubicBezTo>
                      <a:pt x="292" y="84"/>
                      <a:pt x="295" y="86"/>
                      <a:pt x="296" y="85"/>
                    </a:cubicBezTo>
                    <a:cubicBezTo>
                      <a:pt x="296" y="84"/>
                      <a:pt x="295" y="83"/>
                      <a:pt x="295" y="82"/>
                    </a:cubicBezTo>
                    <a:cubicBezTo>
                      <a:pt x="295" y="80"/>
                      <a:pt x="296" y="79"/>
                      <a:pt x="297" y="78"/>
                    </a:cubicBezTo>
                    <a:cubicBezTo>
                      <a:pt x="299" y="78"/>
                      <a:pt x="301" y="78"/>
                      <a:pt x="302" y="78"/>
                    </a:cubicBezTo>
                    <a:cubicBezTo>
                      <a:pt x="304" y="79"/>
                      <a:pt x="304" y="81"/>
                      <a:pt x="306" y="81"/>
                    </a:cubicBezTo>
                    <a:cubicBezTo>
                      <a:pt x="310" y="81"/>
                      <a:pt x="314" y="79"/>
                      <a:pt x="318" y="79"/>
                    </a:cubicBezTo>
                    <a:cubicBezTo>
                      <a:pt x="319" y="79"/>
                      <a:pt x="321" y="78"/>
                      <a:pt x="321" y="79"/>
                    </a:cubicBezTo>
                    <a:cubicBezTo>
                      <a:pt x="321" y="83"/>
                      <a:pt x="320" y="87"/>
                      <a:pt x="319" y="90"/>
                    </a:cubicBezTo>
                    <a:cubicBezTo>
                      <a:pt x="318" y="93"/>
                      <a:pt x="318" y="95"/>
                      <a:pt x="317" y="97"/>
                    </a:cubicBezTo>
                    <a:cubicBezTo>
                      <a:pt x="316" y="99"/>
                      <a:pt x="314" y="100"/>
                      <a:pt x="313" y="100"/>
                    </a:cubicBezTo>
                    <a:cubicBezTo>
                      <a:pt x="307" y="101"/>
                      <a:pt x="301" y="99"/>
                      <a:pt x="296" y="100"/>
                    </a:cubicBezTo>
                    <a:cubicBezTo>
                      <a:pt x="294" y="101"/>
                      <a:pt x="292" y="103"/>
                      <a:pt x="291" y="104"/>
                    </a:cubicBezTo>
                    <a:cubicBezTo>
                      <a:pt x="294" y="104"/>
                      <a:pt x="298" y="103"/>
                      <a:pt x="302" y="103"/>
                    </a:cubicBezTo>
                    <a:cubicBezTo>
                      <a:pt x="305" y="103"/>
                      <a:pt x="307" y="102"/>
                      <a:pt x="310" y="102"/>
                    </a:cubicBezTo>
                    <a:cubicBezTo>
                      <a:pt x="310" y="105"/>
                      <a:pt x="309" y="108"/>
                      <a:pt x="308" y="111"/>
                    </a:cubicBezTo>
                    <a:cubicBezTo>
                      <a:pt x="308" y="113"/>
                      <a:pt x="305" y="114"/>
                      <a:pt x="305" y="117"/>
                    </a:cubicBezTo>
                    <a:cubicBezTo>
                      <a:pt x="304" y="120"/>
                      <a:pt x="306" y="123"/>
                      <a:pt x="307" y="126"/>
                    </a:cubicBezTo>
                    <a:cubicBezTo>
                      <a:pt x="307" y="123"/>
                      <a:pt x="307" y="121"/>
                      <a:pt x="308" y="118"/>
                    </a:cubicBezTo>
                    <a:cubicBezTo>
                      <a:pt x="308" y="117"/>
                      <a:pt x="309" y="115"/>
                      <a:pt x="309" y="114"/>
                    </a:cubicBezTo>
                    <a:cubicBezTo>
                      <a:pt x="311" y="110"/>
                      <a:pt x="312" y="106"/>
                      <a:pt x="314" y="102"/>
                    </a:cubicBezTo>
                    <a:cubicBezTo>
                      <a:pt x="315" y="100"/>
                      <a:pt x="318" y="100"/>
                      <a:pt x="320" y="98"/>
                    </a:cubicBezTo>
                    <a:cubicBezTo>
                      <a:pt x="321" y="97"/>
                      <a:pt x="323" y="95"/>
                      <a:pt x="324" y="93"/>
                    </a:cubicBezTo>
                    <a:cubicBezTo>
                      <a:pt x="325" y="90"/>
                      <a:pt x="324" y="87"/>
                      <a:pt x="326" y="85"/>
                    </a:cubicBezTo>
                    <a:cubicBezTo>
                      <a:pt x="328" y="83"/>
                      <a:pt x="330" y="85"/>
                      <a:pt x="332" y="85"/>
                    </a:cubicBezTo>
                    <a:cubicBezTo>
                      <a:pt x="335" y="85"/>
                      <a:pt x="338" y="84"/>
                      <a:pt x="340" y="85"/>
                    </a:cubicBezTo>
                    <a:cubicBezTo>
                      <a:pt x="343" y="86"/>
                      <a:pt x="345" y="89"/>
                      <a:pt x="347" y="90"/>
                    </a:cubicBezTo>
                    <a:cubicBezTo>
                      <a:pt x="352" y="92"/>
                      <a:pt x="357" y="92"/>
                      <a:pt x="361" y="94"/>
                    </a:cubicBezTo>
                    <a:cubicBezTo>
                      <a:pt x="362" y="94"/>
                      <a:pt x="360" y="97"/>
                      <a:pt x="361" y="97"/>
                    </a:cubicBezTo>
                    <a:cubicBezTo>
                      <a:pt x="362" y="98"/>
                      <a:pt x="363" y="95"/>
                      <a:pt x="364" y="95"/>
                    </a:cubicBezTo>
                    <a:cubicBezTo>
                      <a:pt x="365" y="95"/>
                      <a:pt x="366" y="96"/>
                      <a:pt x="367" y="97"/>
                    </a:cubicBezTo>
                    <a:cubicBezTo>
                      <a:pt x="369" y="98"/>
                      <a:pt x="370" y="99"/>
                      <a:pt x="371" y="100"/>
                    </a:cubicBezTo>
                    <a:cubicBezTo>
                      <a:pt x="372" y="102"/>
                      <a:pt x="373" y="105"/>
                      <a:pt x="373" y="107"/>
                    </a:cubicBezTo>
                    <a:cubicBezTo>
                      <a:pt x="373" y="109"/>
                      <a:pt x="371" y="112"/>
                      <a:pt x="372" y="114"/>
                    </a:cubicBezTo>
                    <a:cubicBezTo>
                      <a:pt x="372" y="115"/>
                      <a:pt x="375" y="116"/>
                      <a:pt x="376" y="115"/>
                    </a:cubicBezTo>
                    <a:cubicBezTo>
                      <a:pt x="379" y="114"/>
                      <a:pt x="381" y="111"/>
                      <a:pt x="384" y="110"/>
                    </a:cubicBezTo>
                    <a:cubicBezTo>
                      <a:pt x="386" y="109"/>
                      <a:pt x="389" y="110"/>
                      <a:pt x="391" y="110"/>
                    </a:cubicBezTo>
                    <a:cubicBezTo>
                      <a:pt x="392" y="110"/>
                      <a:pt x="394" y="111"/>
                      <a:pt x="396" y="111"/>
                    </a:cubicBezTo>
                    <a:cubicBezTo>
                      <a:pt x="400" y="112"/>
                      <a:pt x="405" y="113"/>
                      <a:pt x="410" y="114"/>
                    </a:cubicBezTo>
                    <a:cubicBezTo>
                      <a:pt x="414" y="114"/>
                      <a:pt x="419" y="113"/>
                      <a:pt x="423" y="114"/>
                    </a:cubicBezTo>
                    <a:cubicBezTo>
                      <a:pt x="427" y="114"/>
                      <a:pt x="431" y="115"/>
                      <a:pt x="435" y="117"/>
                    </a:cubicBezTo>
                    <a:cubicBezTo>
                      <a:pt x="440" y="120"/>
                      <a:pt x="444" y="124"/>
                      <a:pt x="448" y="128"/>
                    </a:cubicBezTo>
                    <a:cubicBezTo>
                      <a:pt x="451" y="130"/>
                      <a:pt x="451" y="134"/>
                      <a:pt x="453" y="137"/>
                    </a:cubicBezTo>
                    <a:cubicBezTo>
                      <a:pt x="455" y="138"/>
                      <a:pt x="457" y="137"/>
                      <a:pt x="459" y="138"/>
                    </a:cubicBezTo>
                    <a:cubicBezTo>
                      <a:pt x="460" y="139"/>
                      <a:pt x="460" y="141"/>
                      <a:pt x="462" y="143"/>
                    </a:cubicBezTo>
                    <a:cubicBezTo>
                      <a:pt x="463" y="144"/>
                      <a:pt x="465" y="144"/>
                      <a:pt x="466" y="145"/>
                    </a:cubicBezTo>
                    <a:cubicBezTo>
                      <a:pt x="468" y="146"/>
                      <a:pt x="470" y="148"/>
                      <a:pt x="472" y="148"/>
                    </a:cubicBezTo>
                    <a:cubicBezTo>
                      <a:pt x="476" y="149"/>
                      <a:pt x="481" y="146"/>
                      <a:pt x="485" y="147"/>
                    </a:cubicBezTo>
                    <a:cubicBezTo>
                      <a:pt x="488" y="149"/>
                      <a:pt x="489" y="153"/>
                      <a:pt x="490" y="156"/>
                    </a:cubicBezTo>
                    <a:cubicBezTo>
                      <a:pt x="491" y="158"/>
                      <a:pt x="490" y="160"/>
                      <a:pt x="490" y="162"/>
                    </a:cubicBezTo>
                    <a:cubicBezTo>
                      <a:pt x="491" y="167"/>
                      <a:pt x="494" y="172"/>
                      <a:pt x="494" y="177"/>
                    </a:cubicBezTo>
                    <a:cubicBezTo>
                      <a:pt x="495" y="181"/>
                      <a:pt x="495" y="185"/>
                      <a:pt x="494" y="188"/>
                    </a:cubicBezTo>
                    <a:cubicBezTo>
                      <a:pt x="494" y="192"/>
                      <a:pt x="494" y="196"/>
                      <a:pt x="492" y="200"/>
                    </a:cubicBezTo>
                    <a:cubicBezTo>
                      <a:pt x="490" y="204"/>
                      <a:pt x="485" y="207"/>
                      <a:pt x="483" y="212"/>
                    </a:cubicBezTo>
                    <a:cubicBezTo>
                      <a:pt x="481" y="216"/>
                      <a:pt x="481" y="221"/>
                      <a:pt x="478" y="224"/>
                    </a:cubicBezTo>
                    <a:cubicBezTo>
                      <a:pt x="476" y="228"/>
                      <a:pt x="470" y="230"/>
                      <a:pt x="467" y="234"/>
                    </a:cubicBezTo>
                    <a:cubicBezTo>
                      <a:pt x="464" y="238"/>
                      <a:pt x="463" y="243"/>
                      <a:pt x="461" y="247"/>
                    </a:cubicBezTo>
                    <a:cubicBezTo>
                      <a:pt x="459" y="251"/>
                      <a:pt x="458" y="256"/>
                      <a:pt x="454" y="260"/>
                    </a:cubicBezTo>
                    <a:cubicBezTo>
                      <a:pt x="453" y="261"/>
                      <a:pt x="449" y="258"/>
                      <a:pt x="448" y="260"/>
                    </a:cubicBezTo>
                    <a:cubicBezTo>
                      <a:pt x="446" y="263"/>
                      <a:pt x="447" y="267"/>
                      <a:pt x="446" y="271"/>
                    </a:cubicBezTo>
                    <a:cubicBezTo>
                      <a:pt x="445" y="273"/>
                      <a:pt x="443" y="275"/>
                      <a:pt x="443" y="277"/>
                    </a:cubicBezTo>
                    <a:cubicBezTo>
                      <a:pt x="443" y="278"/>
                      <a:pt x="446" y="279"/>
                      <a:pt x="446" y="281"/>
                    </a:cubicBezTo>
                    <a:cubicBezTo>
                      <a:pt x="447" y="284"/>
                      <a:pt x="445" y="287"/>
                      <a:pt x="445" y="291"/>
                    </a:cubicBezTo>
                    <a:cubicBezTo>
                      <a:pt x="445" y="296"/>
                      <a:pt x="448" y="300"/>
                      <a:pt x="447" y="305"/>
                    </a:cubicBezTo>
                    <a:cubicBezTo>
                      <a:pt x="447" y="313"/>
                      <a:pt x="443" y="320"/>
                      <a:pt x="443" y="328"/>
                    </a:cubicBezTo>
                    <a:cubicBezTo>
                      <a:pt x="442" y="330"/>
                      <a:pt x="445" y="332"/>
                      <a:pt x="444" y="334"/>
                    </a:cubicBezTo>
                    <a:cubicBezTo>
                      <a:pt x="444" y="336"/>
                      <a:pt x="441" y="337"/>
                      <a:pt x="441" y="339"/>
                    </a:cubicBezTo>
                    <a:cubicBezTo>
                      <a:pt x="440" y="344"/>
                      <a:pt x="441" y="350"/>
                      <a:pt x="440" y="356"/>
                    </a:cubicBezTo>
                    <a:cubicBezTo>
                      <a:pt x="439" y="359"/>
                      <a:pt x="436" y="362"/>
                      <a:pt x="435" y="365"/>
                    </a:cubicBezTo>
                    <a:cubicBezTo>
                      <a:pt x="433" y="368"/>
                      <a:pt x="431" y="371"/>
                      <a:pt x="430" y="375"/>
                    </a:cubicBezTo>
                    <a:cubicBezTo>
                      <a:pt x="428" y="378"/>
                      <a:pt x="426" y="381"/>
                      <a:pt x="424" y="385"/>
                    </a:cubicBezTo>
                    <a:cubicBezTo>
                      <a:pt x="423" y="387"/>
                      <a:pt x="422" y="389"/>
                      <a:pt x="422" y="391"/>
                    </a:cubicBezTo>
                    <a:cubicBezTo>
                      <a:pt x="422" y="394"/>
                      <a:pt x="424" y="397"/>
                      <a:pt x="422" y="399"/>
                    </a:cubicBezTo>
                    <a:cubicBezTo>
                      <a:pt x="420" y="402"/>
                      <a:pt x="415" y="403"/>
                      <a:pt x="412" y="406"/>
                    </a:cubicBezTo>
                    <a:cubicBezTo>
                      <a:pt x="410" y="407"/>
                      <a:pt x="411" y="411"/>
                      <a:pt x="409" y="412"/>
                    </a:cubicBezTo>
                    <a:cubicBezTo>
                      <a:pt x="407" y="413"/>
                      <a:pt x="404" y="413"/>
                      <a:pt x="401" y="412"/>
                    </a:cubicBezTo>
                    <a:cubicBezTo>
                      <a:pt x="400" y="412"/>
                      <a:pt x="399" y="409"/>
                      <a:pt x="397" y="409"/>
                    </a:cubicBezTo>
                    <a:cubicBezTo>
                      <a:pt x="396" y="409"/>
                      <a:pt x="397" y="412"/>
                      <a:pt x="396" y="412"/>
                    </a:cubicBezTo>
                    <a:cubicBezTo>
                      <a:pt x="394" y="414"/>
                      <a:pt x="391" y="415"/>
                      <a:pt x="388" y="415"/>
                    </a:cubicBezTo>
                    <a:cubicBezTo>
                      <a:pt x="386" y="415"/>
                      <a:pt x="384" y="412"/>
                      <a:pt x="382" y="412"/>
                    </a:cubicBezTo>
                    <a:cubicBezTo>
                      <a:pt x="380" y="412"/>
                      <a:pt x="379" y="413"/>
                      <a:pt x="378" y="414"/>
                    </a:cubicBezTo>
                    <a:cubicBezTo>
                      <a:pt x="375" y="416"/>
                      <a:pt x="374" y="419"/>
                      <a:pt x="372" y="421"/>
                    </a:cubicBezTo>
                    <a:cubicBezTo>
                      <a:pt x="371" y="422"/>
                      <a:pt x="369" y="424"/>
                      <a:pt x="367" y="425"/>
                    </a:cubicBezTo>
                    <a:cubicBezTo>
                      <a:pt x="364" y="426"/>
                      <a:pt x="360" y="425"/>
                      <a:pt x="358" y="426"/>
                    </a:cubicBezTo>
                    <a:cubicBezTo>
                      <a:pt x="352" y="429"/>
                      <a:pt x="348" y="435"/>
                      <a:pt x="343" y="439"/>
                    </a:cubicBezTo>
                    <a:cubicBezTo>
                      <a:pt x="341" y="441"/>
                      <a:pt x="339" y="443"/>
                      <a:pt x="338" y="445"/>
                    </a:cubicBezTo>
                    <a:cubicBezTo>
                      <a:pt x="335" y="448"/>
                      <a:pt x="332" y="451"/>
                      <a:pt x="331" y="455"/>
                    </a:cubicBezTo>
                    <a:cubicBezTo>
                      <a:pt x="330" y="457"/>
                      <a:pt x="331" y="460"/>
                      <a:pt x="331" y="463"/>
                    </a:cubicBezTo>
                    <a:cubicBezTo>
                      <a:pt x="331" y="464"/>
                      <a:pt x="329" y="465"/>
                      <a:pt x="329" y="466"/>
                    </a:cubicBezTo>
                    <a:cubicBezTo>
                      <a:pt x="330" y="469"/>
                      <a:pt x="333" y="472"/>
                      <a:pt x="334" y="476"/>
                    </a:cubicBezTo>
                    <a:cubicBezTo>
                      <a:pt x="334" y="482"/>
                      <a:pt x="334" y="488"/>
                      <a:pt x="332" y="494"/>
                    </a:cubicBezTo>
                    <a:cubicBezTo>
                      <a:pt x="332" y="495"/>
                      <a:pt x="329" y="494"/>
                      <a:pt x="329" y="495"/>
                    </a:cubicBezTo>
                    <a:cubicBezTo>
                      <a:pt x="329" y="497"/>
                      <a:pt x="332" y="498"/>
                      <a:pt x="331" y="499"/>
                    </a:cubicBezTo>
                    <a:cubicBezTo>
                      <a:pt x="329" y="502"/>
                      <a:pt x="323" y="504"/>
                      <a:pt x="321" y="507"/>
                    </a:cubicBezTo>
                    <a:cubicBezTo>
                      <a:pt x="317" y="513"/>
                      <a:pt x="315" y="521"/>
                      <a:pt x="312" y="528"/>
                    </a:cubicBezTo>
                    <a:cubicBezTo>
                      <a:pt x="311" y="532"/>
                      <a:pt x="310" y="537"/>
                      <a:pt x="307" y="541"/>
                    </a:cubicBezTo>
                    <a:cubicBezTo>
                      <a:pt x="304" y="545"/>
                      <a:pt x="300" y="548"/>
                      <a:pt x="296" y="551"/>
                    </a:cubicBezTo>
                    <a:cubicBezTo>
                      <a:pt x="295" y="552"/>
                      <a:pt x="293" y="550"/>
                      <a:pt x="293" y="549"/>
                    </a:cubicBezTo>
                    <a:cubicBezTo>
                      <a:pt x="294" y="547"/>
                      <a:pt x="296" y="548"/>
                      <a:pt x="298" y="547"/>
                    </a:cubicBezTo>
                    <a:cubicBezTo>
                      <a:pt x="300" y="545"/>
                      <a:pt x="302" y="544"/>
                      <a:pt x="303" y="541"/>
                    </a:cubicBezTo>
                    <a:cubicBezTo>
                      <a:pt x="304" y="540"/>
                      <a:pt x="302" y="538"/>
                      <a:pt x="303" y="537"/>
                    </a:cubicBezTo>
                    <a:cubicBezTo>
                      <a:pt x="304" y="536"/>
                      <a:pt x="306" y="537"/>
                      <a:pt x="306" y="536"/>
                    </a:cubicBezTo>
                    <a:cubicBezTo>
                      <a:pt x="308" y="533"/>
                      <a:pt x="310" y="529"/>
                      <a:pt x="310" y="525"/>
                    </a:cubicBezTo>
                    <a:cubicBezTo>
                      <a:pt x="309" y="523"/>
                      <a:pt x="307" y="527"/>
                      <a:pt x="305" y="526"/>
                    </a:cubicBezTo>
                    <a:cubicBezTo>
                      <a:pt x="303" y="525"/>
                      <a:pt x="303" y="521"/>
                      <a:pt x="301" y="520"/>
                    </a:cubicBezTo>
                    <a:cubicBezTo>
                      <a:pt x="299" y="520"/>
                      <a:pt x="299" y="523"/>
                      <a:pt x="300" y="525"/>
                    </a:cubicBezTo>
                    <a:cubicBezTo>
                      <a:pt x="300" y="526"/>
                      <a:pt x="303" y="527"/>
                      <a:pt x="303" y="528"/>
                    </a:cubicBezTo>
                    <a:cubicBezTo>
                      <a:pt x="302" y="533"/>
                      <a:pt x="297" y="536"/>
                      <a:pt x="295" y="540"/>
                    </a:cubicBezTo>
                    <a:cubicBezTo>
                      <a:pt x="294" y="543"/>
                      <a:pt x="292" y="546"/>
                      <a:pt x="291" y="549"/>
                    </a:cubicBezTo>
                    <a:cubicBezTo>
                      <a:pt x="291" y="550"/>
                      <a:pt x="294" y="551"/>
                      <a:pt x="293" y="553"/>
                    </a:cubicBezTo>
                    <a:cubicBezTo>
                      <a:pt x="293" y="556"/>
                      <a:pt x="290" y="559"/>
                      <a:pt x="289" y="562"/>
                    </a:cubicBezTo>
                    <a:cubicBezTo>
                      <a:pt x="287" y="565"/>
                      <a:pt x="287" y="568"/>
                      <a:pt x="285" y="571"/>
                    </a:cubicBezTo>
                    <a:cubicBezTo>
                      <a:pt x="284" y="573"/>
                      <a:pt x="282" y="576"/>
                      <a:pt x="281" y="57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6" name="Freeform 2527"/>
              <p:cNvSpPr>
                <a:spLocks noChangeAspect="1"/>
              </p:cNvSpPr>
              <p:nvPr/>
            </p:nvSpPr>
            <p:spPr bwMode="auto">
              <a:xfrm>
                <a:off x="2737800" y="4307045"/>
                <a:ext cx="302584" cy="384920"/>
              </a:xfrm>
              <a:custGeom>
                <a:avLst/>
                <a:gdLst>
                  <a:gd name="T0" fmla="*/ 118 w 154"/>
                  <a:gd name="T1" fmla="*/ 201 h 197"/>
                  <a:gd name="T2" fmla="*/ 121 w 154"/>
                  <a:gd name="T3" fmla="*/ 186 h 197"/>
                  <a:gd name="T4" fmla="*/ 150 w 154"/>
                  <a:gd name="T5" fmla="*/ 168 h 197"/>
                  <a:gd name="T6" fmla="*/ 179 w 154"/>
                  <a:gd name="T7" fmla="*/ 179 h 197"/>
                  <a:gd name="T8" fmla="*/ 185 w 154"/>
                  <a:gd name="T9" fmla="*/ 147 h 197"/>
                  <a:gd name="T10" fmla="*/ 172 w 154"/>
                  <a:gd name="T11" fmla="*/ 130 h 197"/>
                  <a:gd name="T12" fmla="*/ 174 w 154"/>
                  <a:gd name="T13" fmla="*/ 117 h 197"/>
                  <a:gd name="T14" fmla="*/ 145 w 154"/>
                  <a:gd name="T15" fmla="*/ 117 h 197"/>
                  <a:gd name="T16" fmla="*/ 139 w 154"/>
                  <a:gd name="T17" fmla="*/ 97 h 197"/>
                  <a:gd name="T18" fmla="*/ 143 w 154"/>
                  <a:gd name="T19" fmla="*/ 88 h 197"/>
                  <a:gd name="T20" fmla="*/ 139 w 154"/>
                  <a:gd name="T21" fmla="*/ 70 h 197"/>
                  <a:gd name="T22" fmla="*/ 117 w 154"/>
                  <a:gd name="T23" fmla="*/ 66 h 197"/>
                  <a:gd name="T24" fmla="*/ 106 w 154"/>
                  <a:gd name="T25" fmla="*/ 59 h 197"/>
                  <a:gd name="T26" fmla="*/ 91 w 154"/>
                  <a:gd name="T27" fmla="*/ 52 h 197"/>
                  <a:gd name="T28" fmla="*/ 66 w 154"/>
                  <a:gd name="T29" fmla="*/ 34 h 197"/>
                  <a:gd name="T30" fmla="*/ 60 w 154"/>
                  <a:gd name="T31" fmla="*/ 14 h 197"/>
                  <a:gd name="T32" fmla="*/ 44 w 154"/>
                  <a:gd name="T33" fmla="*/ 2 h 197"/>
                  <a:gd name="T34" fmla="*/ 29 w 154"/>
                  <a:gd name="T35" fmla="*/ 12 h 197"/>
                  <a:gd name="T36" fmla="*/ 12 w 154"/>
                  <a:gd name="T37" fmla="*/ 22 h 197"/>
                  <a:gd name="T38" fmla="*/ 0 w 154"/>
                  <a:gd name="T39" fmla="*/ 20 h 197"/>
                  <a:gd name="T40" fmla="*/ 16 w 154"/>
                  <a:gd name="T41" fmla="*/ 57 h 197"/>
                  <a:gd name="T42" fmla="*/ 13 w 154"/>
                  <a:gd name="T43" fmla="*/ 71 h 197"/>
                  <a:gd name="T44" fmla="*/ 13 w 154"/>
                  <a:gd name="T45" fmla="*/ 79 h 197"/>
                  <a:gd name="T46" fmla="*/ 10 w 154"/>
                  <a:gd name="T47" fmla="*/ 100 h 197"/>
                  <a:gd name="T48" fmla="*/ 6 w 154"/>
                  <a:gd name="T49" fmla="*/ 129 h 197"/>
                  <a:gd name="T50" fmla="*/ 6 w 154"/>
                  <a:gd name="T51" fmla="*/ 141 h 197"/>
                  <a:gd name="T52" fmla="*/ 16 w 154"/>
                  <a:gd name="T53" fmla="*/ 164 h 197"/>
                  <a:gd name="T54" fmla="*/ 19 w 154"/>
                  <a:gd name="T55" fmla="*/ 177 h 197"/>
                  <a:gd name="T56" fmla="*/ 19 w 154"/>
                  <a:gd name="T57" fmla="*/ 183 h 197"/>
                  <a:gd name="T58" fmla="*/ 23 w 154"/>
                  <a:gd name="T59" fmla="*/ 194 h 197"/>
                  <a:gd name="T60" fmla="*/ 26 w 154"/>
                  <a:gd name="T61" fmla="*/ 200 h 197"/>
                  <a:gd name="T62" fmla="*/ 35 w 154"/>
                  <a:gd name="T63" fmla="*/ 226 h 197"/>
                  <a:gd name="T64" fmla="*/ 40 w 154"/>
                  <a:gd name="T65" fmla="*/ 233 h 197"/>
                  <a:gd name="T66" fmla="*/ 49 w 154"/>
                  <a:gd name="T67" fmla="*/ 227 h 197"/>
                  <a:gd name="T68" fmla="*/ 56 w 154"/>
                  <a:gd name="T69" fmla="*/ 221 h 197"/>
                  <a:gd name="T70" fmla="*/ 67 w 154"/>
                  <a:gd name="T71" fmla="*/ 220 h 197"/>
                  <a:gd name="T72" fmla="*/ 88 w 154"/>
                  <a:gd name="T73" fmla="*/ 235 h 197"/>
                  <a:gd name="T74" fmla="*/ 94 w 154"/>
                  <a:gd name="T75" fmla="*/ 218 h 197"/>
                  <a:gd name="T76" fmla="*/ 113 w 154"/>
                  <a:gd name="T77" fmla="*/ 223 h 19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54"/>
                  <a:gd name="T118" fmla="*/ 0 h 197"/>
                  <a:gd name="T119" fmla="*/ 154 w 154"/>
                  <a:gd name="T120" fmla="*/ 197 h 19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54" h="197">
                    <a:moveTo>
                      <a:pt x="94" y="185"/>
                    </a:moveTo>
                    <a:cubicBezTo>
                      <a:pt x="96" y="179"/>
                      <a:pt x="97" y="173"/>
                      <a:pt x="98" y="167"/>
                    </a:cubicBezTo>
                    <a:cubicBezTo>
                      <a:pt x="98" y="164"/>
                      <a:pt x="97" y="162"/>
                      <a:pt x="97" y="160"/>
                    </a:cubicBezTo>
                    <a:cubicBezTo>
                      <a:pt x="99" y="158"/>
                      <a:pt x="100" y="156"/>
                      <a:pt x="101" y="155"/>
                    </a:cubicBezTo>
                    <a:cubicBezTo>
                      <a:pt x="102" y="152"/>
                      <a:pt x="102" y="149"/>
                      <a:pt x="103" y="147"/>
                    </a:cubicBezTo>
                    <a:cubicBezTo>
                      <a:pt x="110" y="144"/>
                      <a:pt x="117" y="142"/>
                      <a:pt x="125" y="140"/>
                    </a:cubicBezTo>
                    <a:cubicBezTo>
                      <a:pt x="129" y="140"/>
                      <a:pt x="133" y="141"/>
                      <a:pt x="138" y="141"/>
                    </a:cubicBezTo>
                    <a:cubicBezTo>
                      <a:pt x="141" y="144"/>
                      <a:pt x="145" y="146"/>
                      <a:pt x="149" y="149"/>
                    </a:cubicBezTo>
                    <a:cubicBezTo>
                      <a:pt x="150" y="145"/>
                      <a:pt x="152" y="140"/>
                      <a:pt x="153" y="136"/>
                    </a:cubicBezTo>
                    <a:cubicBezTo>
                      <a:pt x="154" y="131"/>
                      <a:pt x="154" y="127"/>
                      <a:pt x="154" y="122"/>
                    </a:cubicBezTo>
                    <a:cubicBezTo>
                      <a:pt x="153" y="118"/>
                      <a:pt x="153" y="114"/>
                      <a:pt x="150" y="111"/>
                    </a:cubicBezTo>
                    <a:cubicBezTo>
                      <a:pt x="149" y="109"/>
                      <a:pt x="144" y="110"/>
                      <a:pt x="143" y="108"/>
                    </a:cubicBezTo>
                    <a:cubicBezTo>
                      <a:pt x="142" y="105"/>
                      <a:pt x="145" y="103"/>
                      <a:pt x="145" y="100"/>
                    </a:cubicBezTo>
                    <a:cubicBezTo>
                      <a:pt x="146" y="99"/>
                      <a:pt x="145" y="98"/>
                      <a:pt x="145" y="97"/>
                    </a:cubicBezTo>
                    <a:cubicBezTo>
                      <a:pt x="145" y="96"/>
                      <a:pt x="144" y="97"/>
                      <a:pt x="144" y="97"/>
                    </a:cubicBezTo>
                    <a:cubicBezTo>
                      <a:pt x="136" y="97"/>
                      <a:pt x="128" y="97"/>
                      <a:pt x="121" y="97"/>
                    </a:cubicBezTo>
                    <a:cubicBezTo>
                      <a:pt x="120" y="97"/>
                      <a:pt x="121" y="96"/>
                      <a:pt x="121" y="95"/>
                    </a:cubicBezTo>
                    <a:cubicBezTo>
                      <a:pt x="119" y="90"/>
                      <a:pt x="116" y="86"/>
                      <a:pt x="116" y="81"/>
                    </a:cubicBezTo>
                    <a:cubicBezTo>
                      <a:pt x="116" y="79"/>
                      <a:pt x="119" y="80"/>
                      <a:pt x="119" y="79"/>
                    </a:cubicBezTo>
                    <a:cubicBezTo>
                      <a:pt x="120" y="77"/>
                      <a:pt x="120" y="75"/>
                      <a:pt x="119" y="73"/>
                    </a:cubicBezTo>
                    <a:cubicBezTo>
                      <a:pt x="119" y="71"/>
                      <a:pt x="117" y="69"/>
                      <a:pt x="116" y="67"/>
                    </a:cubicBezTo>
                    <a:cubicBezTo>
                      <a:pt x="116" y="64"/>
                      <a:pt x="118" y="60"/>
                      <a:pt x="116" y="58"/>
                    </a:cubicBezTo>
                    <a:cubicBezTo>
                      <a:pt x="115" y="57"/>
                      <a:pt x="111" y="56"/>
                      <a:pt x="108" y="56"/>
                    </a:cubicBezTo>
                    <a:cubicBezTo>
                      <a:pt x="104" y="55"/>
                      <a:pt x="101" y="56"/>
                      <a:pt x="97" y="55"/>
                    </a:cubicBezTo>
                    <a:cubicBezTo>
                      <a:pt x="95" y="54"/>
                      <a:pt x="95" y="50"/>
                      <a:pt x="93" y="49"/>
                    </a:cubicBezTo>
                    <a:cubicBezTo>
                      <a:pt x="91" y="49"/>
                      <a:pt x="90" y="50"/>
                      <a:pt x="88" y="49"/>
                    </a:cubicBezTo>
                    <a:cubicBezTo>
                      <a:pt x="86" y="48"/>
                      <a:pt x="86" y="44"/>
                      <a:pt x="84" y="43"/>
                    </a:cubicBezTo>
                    <a:cubicBezTo>
                      <a:pt x="81" y="42"/>
                      <a:pt x="79" y="43"/>
                      <a:pt x="76" y="43"/>
                    </a:cubicBezTo>
                    <a:cubicBezTo>
                      <a:pt x="73" y="42"/>
                      <a:pt x="68" y="43"/>
                      <a:pt x="65" y="41"/>
                    </a:cubicBezTo>
                    <a:cubicBezTo>
                      <a:pt x="62" y="37"/>
                      <a:pt x="58" y="32"/>
                      <a:pt x="55" y="28"/>
                    </a:cubicBezTo>
                    <a:cubicBezTo>
                      <a:pt x="54" y="26"/>
                      <a:pt x="54" y="24"/>
                      <a:pt x="53" y="22"/>
                    </a:cubicBezTo>
                    <a:cubicBezTo>
                      <a:pt x="52" y="19"/>
                      <a:pt x="53" y="16"/>
                      <a:pt x="50" y="12"/>
                    </a:cubicBezTo>
                    <a:cubicBezTo>
                      <a:pt x="50" y="9"/>
                      <a:pt x="54" y="3"/>
                      <a:pt x="51" y="1"/>
                    </a:cubicBezTo>
                    <a:cubicBezTo>
                      <a:pt x="47" y="2"/>
                      <a:pt x="42" y="0"/>
                      <a:pt x="37" y="2"/>
                    </a:cubicBezTo>
                    <a:cubicBezTo>
                      <a:pt x="34" y="3"/>
                      <a:pt x="33" y="7"/>
                      <a:pt x="30" y="8"/>
                    </a:cubicBezTo>
                    <a:cubicBezTo>
                      <a:pt x="28" y="9"/>
                      <a:pt x="25" y="9"/>
                      <a:pt x="24" y="10"/>
                    </a:cubicBezTo>
                    <a:cubicBezTo>
                      <a:pt x="21" y="11"/>
                      <a:pt x="20" y="14"/>
                      <a:pt x="18" y="15"/>
                    </a:cubicBezTo>
                    <a:cubicBezTo>
                      <a:pt x="15" y="17"/>
                      <a:pt x="13" y="18"/>
                      <a:pt x="10" y="18"/>
                    </a:cubicBezTo>
                    <a:cubicBezTo>
                      <a:pt x="8" y="19"/>
                      <a:pt x="6" y="18"/>
                      <a:pt x="5" y="18"/>
                    </a:cubicBezTo>
                    <a:cubicBezTo>
                      <a:pt x="3" y="18"/>
                      <a:pt x="1" y="17"/>
                      <a:pt x="0" y="17"/>
                    </a:cubicBezTo>
                    <a:cubicBezTo>
                      <a:pt x="5" y="25"/>
                      <a:pt x="10" y="33"/>
                      <a:pt x="16" y="41"/>
                    </a:cubicBezTo>
                    <a:cubicBezTo>
                      <a:pt x="15" y="43"/>
                      <a:pt x="14" y="45"/>
                      <a:pt x="13" y="47"/>
                    </a:cubicBezTo>
                    <a:cubicBezTo>
                      <a:pt x="12" y="49"/>
                      <a:pt x="11" y="50"/>
                      <a:pt x="10" y="52"/>
                    </a:cubicBezTo>
                    <a:cubicBezTo>
                      <a:pt x="10" y="54"/>
                      <a:pt x="11" y="56"/>
                      <a:pt x="11" y="59"/>
                    </a:cubicBezTo>
                    <a:cubicBezTo>
                      <a:pt x="10" y="60"/>
                      <a:pt x="8" y="58"/>
                      <a:pt x="8" y="59"/>
                    </a:cubicBezTo>
                    <a:cubicBezTo>
                      <a:pt x="8" y="61"/>
                      <a:pt x="11" y="64"/>
                      <a:pt x="11" y="66"/>
                    </a:cubicBezTo>
                    <a:cubicBezTo>
                      <a:pt x="11" y="70"/>
                      <a:pt x="6" y="73"/>
                      <a:pt x="6" y="77"/>
                    </a:cubicBezTo>
                    <a:cubicBezTo>
                      <a:pt x="5" y="79"/>
                      <a:pt x="8" y="81"/>
                      <a:pt x="8" y="83"/>
                    </a:cubicBezTo>
                    <a:cubicBezTo>
                      <a:pt x="9" y="88"/>
                      <a:pt x="9" y="94"/>
                      <a:pt x="8" y="100"/>
                    </a:cubicBezTo>
                    <a:cubicBezTo>
                      <a:pt x="8" y="102"/>
                      <a:pt x="7" y="105"/>
                      <a:pt x="5" y="107"/>
                    </a:cubicBezTo>
                    <a:cubicBezTo>
                      <a:pt x="4" y="108"/>
                      <a:pt x="2" y="109"/>
                      <a:pt x="2" y="110"/>
                    </a:cubicBezTo>
                    <a:cubicBezTo>
                      <a:pt x="1" y="112"/>
                      <a:pt x="4" y="115"/>
                      <a:pt x="5" y="117"/>
                    </a:cubicBezTo>
                    <a:cubicBezTo>
                      <a:pt x="6" y="119"/>
                      <a:pt x="9" y="120"/>
                      <a:pt x="10" y="122"/>
                    </a:cubicBezTo>
                    <a:cubicBezTo>
                      <a:pt x="12" y="127"/>
                      <a:pt x="11" y="131"/>
                      <a:pt x="13" y="136"/>
                    </a:cubicBezTo>
                    <a:cubicBezTo>
                      <a:pt x="14" y="138"/>
                      <a:pt x="17" y="140"/>
                      <a:pt x="18" y="142"/>
                    </a:cubicBezTo>
                    <a:cubicBezTo>
                      <a:pt x="18" y="144"/>
                      <a:pt x="16" y="145"/>
                      <a:pt x="16" y="147"/>
                    </a:cubicBezTo>
                    <a:cubicBezTo>
                      <a:pt x="16" y="148"/>
                      <a:pt x="18" y="149"/>
                      <a:pt x="17" y="150"/>
                    </a:cubicBezTo>
                    <a:cubicBezTo>
                      <a:pt x="17" y="150"/>
                      <a:pt x="16" y="151"/>
                      <a:pt x="16" y="152"/>
                    </a:cubicBezTo>
                    <a:cubicBezTo>
                      <a:pt x="16" y="154"/>
                      <a:pt x="16" y="156"/>
                      <a:pt x="16" y="158"/>
                    </a:cubicBezTo>
                    <a:cubicBezTo>
                      <a:pt x="17" y="159"/>
                      <a:pt x="19" y="159"/>
                      <a:pt x="19" y="161"/>
                    </a:cubicBezTo>
                    <a:cubicBezTo>
                      <a:pt x="19" y="162"/>
                      <a:pt x="18" y="164"/>
                      <a:pt x="19" y="165"/>
                    </a:cubicBezTo>
                    <a:cubicBezTo>
                      <a:pt x="19" y="166"/>
                      <a:pt x="21" y="165"/>
                      <a:pt x="22" y="166"/>
                    </a:cubicBezTo>
                    <a:cubicBezTo>
                      <a:pt x="23" y="168"/>
                      <a:pt x="23" y="171"/>
                      <a:pt x="24" y="173"/>
                    </a:cubicBezTo>
                    <a:cubicBezTo>
                      <a:pt x="26" y="178"/>
                      <a:pt x="28" y="183"/>
                      <a:pt x="29" y="188"/>
                    </a:cubicBezTo>
                    <a:cubicBezTo>
                      <a:pt x="30" y="189"/>
                      <a:pt x="29" y="191"/>
                      <a:pt x="30" y="193"/>
                    </a:cubicBezTo>
                    <a:cubicBezTo>
                      <a:pt x="31" y="194"/>
                      <a:pt x="32" y="194"/>
                      <a:pt x="33" y="194"/>
                    </a:cubicBezTo>
                    <a:cubicBezTo>
                      <a:pt x="35" y="195"/>
                      <a:pt x="36" y="194"/>
                      <a:pt x="37" y="194"/>
                    </a:cubicBezTo>
                    <a:cubicBezTo>
                      <a:pt x="38" y="193"/>
                      <a:pt x="39" y="191"/>
                      <a:pt x="41" y="189"/>
                    </a:cubicBezTo>
                    <a:cubicBezTo>
                      <a:pt x="41" y="188"/>
                      <a:pt x="42" y="187"/>
                      <a:pt x="44" y="186"/>
                    </a:cubicBezTo>
                    <a:cubicBezTo>
                      <a:pt x="45" y="185"/>
                      <a:pt x="47" y="186"/>
                      <a:pt x="47" y="184"/>
                    </a:cubicBezTo>
                    <a:cubicBezTo>
                      <a:pt x="49" y="183"/>
                      <a:pt x="47" y="178"/>
                      <a:pt x="49" y="178"/>
                    </a:cubicBezTo>
                    <a:cubicBezTo>
                      <a:pt x="52" y="177"/>
                      <a:pt x="53" y="182"/>
                      <a:pt x="56" y="183"/>
                    </a:cubicBezTo>
                    <a:cubicBezTo>
                      <a:pt x="60" y="185"/>
                      <a:pt x="66" y="182"/>
                      <a:pt x="69" y="184"/>
                    </a:cubicBezTo>
                    <a:cubicBezTo>
                      <a:pt x="72" y="186"/>
                      <a:pt x="70" y="193"/>
                      <a:pt x="73" y="195"/>
                    </a:cubicBezTo>
                    <a:cubicBezTo>
                      <a:pt x="75" y="197"/>
                      <a:pt x="73" y="190"/>
                      <a:pt x="74" y="188"/>
                    </a:cubicBezTo>
                    <a:cubicBezTo>
                      <a:pt x="75" y="185"/>
                      <a:pt x="76" y="182"/>
                      <a:pt x="78" y="181"/>
                    </a:cubicBezTo>
                    <a:cubicBezTo>
                      <a:pt x="82" y="180"/>
                      <a:pt x="87" y="180"/>
                      <a:pt x="91" y="181"/>
                    </a:cubicBezTo>
                    <a:cubicBezTo>
                      <a:pt x="92" y="182"/>
                      <a:pt x="93" y="184"/>
                      <a:pt x="94" y="18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7" name="Freeform 2528"/>
              <p:cNvSpPr>
                <a:spLocks noChangeAspect="1"/>
              </p:cNvSpPr>
              <p:nvPr/>
            </p:nvSpPr>
            <p:spPr bwMode="auto">
              <a:xfrm>
                <a:off x="2922622" y="4579899"/>
                <a:ext cx="212626" cy="241996"/>
              </a:xfrm>
              <a:custGeom>
                <a:avLst/>
                <a:gdLst>
                  <a:gd name="T0" fmla="*/ 124 w 109"/>
                  <a:gd name="T1" fmla="*/ 113 h 124"/>
                  <a:gd name="T2" fmla="*/ 124 w 109"/>
                  <a:gd name="T3" fmla="*/ 106 h 124"/>
                  <a:gd name="T4" fmla="*/ 128 w 109"/>
                  <a:gd name="T5" fmla="*/ 96 h 124"/>
                  <a:gd name="T6" fmla="*/ 130 w 109"/>
                  <a:gd name="T7" fmla="*/ 83 h 124"/>
                  <a:gd name="T8" fmla="*/ 123 w 109"/>
                  <a:gd name="T9" fmla="*/ 79 h 124"/>
                  <a:gd name="T10" fmla="*/ 110 w 109"/>
                  <a:gd name="T11" fmla="*/ 82 h 124"/>
                  <a:gd name="T12" fmla="*/ 104 w 109"/>
                  <a:gd name="T13" fmla="*/ 72 h 124"/>
                  <a:gd name="T14" fmla="*/ 106 w 109"/>
                  <a:gd name="T15" fmla="*/ 55 h 124"/>
                  <a:gd name="T16" fmla="*/ 97 w 109"/>
                  <a:gd name="T17" fmla="*/ 50 h 124"/>
                  <a:gd name="T18" fmla="*/ 83 w 109"/>
                  <a:gd name="T19" fmla="*/ 49 h 124"/>
                  <a:gd name="T20" fmla="*/ 73 w 109"/>
                  <a:gd name="T21" fmla="*/ 49 h 124"/>
                  <a:gd name="T22" fmla="*/ 73 w 109"/>
                  <a:gd name="T23" fmla="*/ 46 h 124"/>
                  <a:gd name="T24" fmla="*/ 73 w 109"/>
                  <a:gd name="T25" fmla="*/ 29 h 124"/>
                  <a:gd name="T26" fmla="*/ 66 w 109"/>
                  <a:gd name="T27" fmla="*/ 22 h 124"/>
                  <a:gd name="T28" fmla="*/ 66 w 109"/>
                  <a:gd name="T29" fmla="*/ 11 h 124"/>
                  <a:gd name="T30" fmla="*/ 52 w 109"/>
                  <a:gd name="T31" fmla="*/ 1 h 124"/>
                  <a:gd name="T32" fmla="*/ 37 w 109"/>
                  <a:gd name="T33" fmla="*/ 0 h 124"/>
                  <a:gd name="T34" fmla="*/ 11 w 109"/>
                  <a:gd name="T35" fmla="*/ 8 h 124"/>
                  <a:gd name="T36" fmla="*/ 8 w 109"/>
                  <a:gd name="T37" fmla="*/ 18 h 124"/>
                  <a:gd name="T38" fmla="*/ 4 w 109"/>
                  <a:gd name="T39" fmla="*/ 24 h 124"/>
                  <a:gd name="T40" fmla="*/ 5 w 109"/>
                  <a:gd name="T41" fmla="*/ 32 h 124"/>
                  <a:gd name="T42" fmla="*/ 0 w 109"/>
                  <a:gd name="T43" fmla="*/ 54 h 124"/>
                  <a:gd name="T44" fmla="*/ 6 w 109"/>
                  <a:gd name="T45" fmla="*/ 61 h 124"/>
                  <a:gd name="T46" fmla="*/ 11 w 109"/>
                  <a:gd name="T47" fmla="*/ 71 h 124"/>
                  <a:gd name="T48" fmla="*/ 25 w 109"/>
                  <a:gd name="T49" fmla="*/ 79 h 124"/>
                  <a:gd name="T50" fmla="*/ 35 w 109"/>
                  <a:gd name="T51" fmla="*/ 87 h 124"/>
                  <a:gd name="T52" fmla="*/ 43 w 109"/>
                  <a:gd name="T53" fmla="*/ 87 h 124"/>
                  <a:gd name="T54" fmla="*/ 57 w 109"/>
                  <a:gd name="T55" fmla="*/ 99 h 124"/>
                  <a:gd name="T56" fmla="*/ 74 w 109"/>
                  <a:gd name="T57" fmla="*/ 103 h 124"/>
                  <a:gd name="T58" fmla="*/ 78 w 109"/>
                  <a:gd name="T59" fmla="*/ 109 h 124"/>
                  <a:gd name="T60" fmla="*/ 78 w 109"/>
                  <a:gd name="T61" fmla="*/ 123 h 124"/>
                  <a:gd name="T62" fmla="*/ 70 w 109"/>
                  <a:gd name="T63" fmla="*/ 125 h 124"/>
                  <a:gd name="T64" fmla="*/ 70 w 109"/>
                  <a:gd name="T65" fmla="*/ 133 h 124"/>
                  <a:gd name="T66" fmla="*/ 66 w 109"/>
                  <a:gd name="T67" fmla="*/ 144 h 124"/>
                  <a:gd name="T68" fmla="*/ 76 w 109"/>
                  <a:gd name="T69" fmla="*/ 144 h 124"/>
                  <a:gd name="T70" fmla="*/ 92 w 109"/>
                  <a:gd name="T71" fmla="*/ 149 h 124"/>
                  <a:gd name="T72" fmla="*/ 101 w 109"/>
                  <a:gd name="T73" fmla="*/ 145 h 124"/>
                  <a:gd name="T74" fmla="*/ 107 w 109"/>
                  <a:gd name="T75" fmla="*/ 147 h 124"/>
                  <a:gd name="T76" fmla="*/ 110 w 109"/>
                  <a:gd name="T77" fmla="*/ 148 h 124"/>
                  <a:gd name="T78" fmla="*/ 116 w 109"/>
                  <a:gd name="T79" fmla="*/ 137 h 124"/>
                  <a:gd name="T80" fmla="*/ 124 w 109"/>
                  <a:gd name="T81" fmla="*/ 130 h 124"/>
                  <a:gd name="T82" fmla="*/ 124 w 109"/>
                  <a:gd name="T83" fmla="*/ 123 h 124"/>
                  <a:gd name="T84" fmla="*/ 124 w 109"/>
                  <a:gd name="T85" fmla="*/ 113 h 12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9"/>
                  <a:gd name="T130" fmla="*/ 0 h 124"/>
                  <a:gd name="T131" fmla="*/ 109 w 109"/>
                  <a:gd name="T132" fmla="*/ 124 h 12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9" h="124">
                    <a:moveTo>
                      <a:pt x="104" y="94"/>
                    </a:moveTo>
                    <a:cubicBezTo>
                      <a:pt x="104" y="92"/>
                      <a:pt x="104" y="90"/>
                      <a:pt x="104" y="88"/>
                    </a:cubicBezTo>
                    <a:cubicBezTo>
                      <a:pt x="105" y="86"/>
                      <a:pt x="106" y="83"/>
                      <a:pt x="107" y="80"/>
                    </a:cubicBezTo>
                    <a:cubicBezTo>
                      <a:pt x="107" y="77"/>
                      <a:pt x="109" y="73"/>
                      <a:pt x="109" y="69"/>
                    </a:cubicBezTo>
                    <a:cubicBezTo>
                      <a:pt x="108" y="67"/>
                      <a:pt x="105" y="66"/>
                      <a:pt x="103" y="66"/>
                    </a:cubicBezTo>
                    <a:cubicBezTo>
                      <a:pt x="99" y="65"/>
                      <a:pt x="95" y="70"/>
                      <a:pt x="92" y="68"/>
                    </a:cubicBezTo>
                    <a:cubicBezTo>
                      <a:pt x="89" y="67"/>
                      <a:pt x="87" y="63"/>
                      <a:pt x="87" y="60"/>
                    </a:cubicBezTo>
                    <a:cubicBezTo>
                      <a:pt x="86" y="56"/>
                      <a:pt x="90" y="51"/>
                      <a:pt x="89" y="46"/>
                    </a:cubicBezTo>
                    <a:cubicBezTo>
                      <a:pt x="88" y="44"/>
                      <a:pt x="84" y="43"/>
                      <a:pt x="81" y="42"/>
                    </a:cubicBezTo>
                    <a:cubicBezTo>
                      <a:pt x="77" y="41"/>
                      <a:pt x="73" y="42"/>
                      <a:pt x="70" y="41"/>
                    </a:cubicBezTo>
                    <a:cubicBezTo>
                      <a:pt x="67" y="41"/>
                      <a:pt x="64" y="42"/>
                      <a:pt x="61" y="41"/>
                    </a:cubicBezTo>
                    <a:cubicBezTo>
                      <a:pt x="60" y="41"/>
                      <a:pt x="61" y="39"/>
                      <a:pt x="61" y="38"/>
                    </a:cubicBezTo>
                    <a:cubicBezTo>
                      <a:pt x="61" y="33"/>
                      <a:pt x="62" y="29"/>
                      <a:pt x="61" y="24"/>
                    </a:cubicBezTo>
                    <a:cubicBezTo>
                      <a:pt x="60" y="21"/>
                      <a:pt x="56" y="21"/>
                      <a:pt x="55" y="18"/>
                    </a:cubicBezTo>
                    <a:cubicBezTo>
                      <a:pt x="54" y="15"/>
                      <a:pt x="55" y="12"/>
                      <a:pt x="55" y="9"/>
                    </a:cubicBezTo>
                    <a:cubicBezTo>
                      <a:pt x="51" y="6"/>
                      <a:pt x="47" y="4"/>
                      <a:pt x="44" y="1"/>
                    </a:cubicBezTo>
                    <a:cubicBezTo>
                      <a:pt x="39" y="1"/>
                      <a:pt x="35" y="0"/>
                      <a:pt x="31" y="0"/>
                    </a:cubicBezTo>
                    <a:cubicBezTo>
                      <a:pt x="23" y="2"/>
                      <a:pt x="16" y="4"/>
                      <a:pt x="9" y="7"/>
                    </a:cubicBezTo>
                    <a:cubicBezTo>
                      <a:pt x="8" y="9"/>
                      <a:pt x="8" y="12"/>
                      <a:pt x="7" y="15"/>
                    </a:cubicBezTo>
                    <a:cubicBezTo>
                      <a:pt x="6" y="16"/>
                      <a:pt x="5" y="18"/>
                      <a:pt x="3" y="20"/>
                    </a:cubicBezTo>
                    <a:cubicBezTo>
                      <a:pt x="3" y="22"/>
                      <a:pt x="4" y="24"/>
                      <a:pt x="4" y="27"/>
                    </a:cubicBezTo>
                    <a:cubicBezTo>
                      <a:pt x="3" y="33"/>
                      <a:pt x="2" y="39"/>
                      <a:pt x="0" y="45"/>
                    </a:cubicBezTo>
                    <a:cubicBezTo>
                      <a:pt x="2" y="47"/>
                      <a:pt x="4" y="49"/>
                      <a:pt x="5" y="51"/>
                    </a:cubicBezTo>
                    <a:cubicBezTo>
                      <a:pt x="7" y="53"/>
                      <a:pt x="7" y="56"/>
                      <a:pt x="9" y="59"/>
                    </a:cubicBezTo>
                    <a:cubicBezTo>
                      <a:pt x="13" y="62"/>
                      <a:pt x="17" y="63"/>
                      <a:pt x="21" y="66"/>
                    </a:cubicBezTo>
                    <a:cubicBezTo>
                      <a:pt x="24" y="68"/>
                      <a:pt x="26" y="70"/>
                      <a:pt x="29" y="72"/>
                    </a:cubicBezTo>
                    <a:cubicBezTo>
                      <a:pt x="31" y="73"/>
                      <a:pt x="34" y="71"/>
                      <a:pt x="36" y="72"/>
                    </a:cubicBezTo>
                    <a:cubicBezTo>
                      <a:pt x="40" y="74"/>
                      <a:pt x="43" y="79"/>
                      <a:pt x="48" y="82"/>
                    </a:cubicBezTo>
                    <a:cubicBezTo>
                      <a:pt x="52" y="84"/>
                      <a:pt x="57" y="84"/>
                      <a:pt x="62" y="86"/>
                    </a:cubicBezTo>
                    <a:cubicBezTo>
                      <a:pt x="64" y="87"/>
                      <a:pt x="65" y="89"/>
                      <a:pt x="65" y="91"/>
                    </a:cubicBezTo>
                    <a:cubicBezTo>
                      <a:pt x="66" y="95"/>
                      <a:pt x="66" y="99"/>
                      <a:pt x="65" y="102"/>
                    </a:cubicBezTo>
                    <a:cubicBezTo>
                      <a:pt x="64" y="104"/>
                      <a:pt x="60" y="103"/>
                      <a:pt x="59" y="104"/>
                    </a:cubicBezTo>
                    <a:cubicBezTo>
                      <a:pt x="57" y="106"/>
                      <a:pt x="59" y="109"/>
                      <a:pt x="59" y="111"/>
                    </a:cubicBezTo>
                    <a:cubicBezTo>
                      <a:pt x="58" y="114"/>
                      <a:pt x="53" y="117"/>
                      <a:pt x="55" y="120"/>
                    </a:cubicBezTo>
                    <a:cubicBezTo>
                      <a:pt x="56" y="123"/>
                      <a:pt x="61" y="119"/>
                      <a:pt x="64" y="120"/>
                    </a:cubicBezTo>
                    <a:cubicBezTo>
                      <a:pt x="69" y="121"/>
                      <a:pt x="73" y="124"/>
                      <a:pt x="77" y="124"/>
                    </a:cubicBezTo>
                    <a:cubicBezTo>
                      <a:pt x="80" y="124"/>
                      <a:pt x="82" y="121"/>
                      <a:pt x="85" y="121"/>
                    </a:cubicBezTo>
                    <a:cubicBezTo>
                      <a:pt x="87" y="120"/>
                      <a:pt x="89" y="121"/>
                      <a:pt x="90" y="122"/>
                    </a:cubicBezTo>
                    <a:cubicBezTo>
                      <a:pt x="91" y="122"/>
                      <a:pt x="91" y="123"/>
                      <a:pt x="92" y="123"/>
                    </a:cubicBezTo>
                    <a:cubicBezTo>
                      <a:pt x="94" y="120"/>
                      <a:pt x="95" y="117"/>
                      <a:pt x="97" y="114"/>
                    </a:cubicBezTo>
                    <a:cubicBezTo>
                      <a:pt x="99" y="112"/>
                      <a:pt x="102" y="110"/>
                      <a:pt x="104" y="108"/>
                    </a:cubicBezTo>
                    <a:cubicBezTo>
                      <a:pt x="105" y="106"/>
                      <a:pt x="104" y="104"/>
                      <a:pt x="104" y="102"/>
                    </a:cubicBezTo>
                    <a:cubicBezTo>
                      <a:pt x="104" y="99"/>
                      <a:pt x="104" y="97"/>
                      <a:pt x="104" y="9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8" name="Freeform 2529"/>
              <p:cNvSpPr>
                <a:spLocks noChangeAspect="1"/>
              </p:cNvSpPr>
              <p:nvPr/>
            </p:nvSpPr>
            <p:spPr bwMode="auto">
              <a:xfrm>
                <a:off x="3045290" y="4894980"/>
                <a:ext cx="129212" cy="152668"/>
              </a:xfrm>
              <a:custGeom>
                <a:avLst/>
                <a:gdLst>
                  <a:gd name="T0" fmla="*/ 74 w 66"/>
                  <a:gd name="T1" fmla="*/ 68 h 79"/>
                  <a:gd name="T2" fmla="*/ 79 w 66"/>
                  <a:gd name="T3" fmla="*/ 71 h 79"/>
                  <a:gd name="T4" fmla="*/ 74 w 66"/>
                  <a:gd name="T5" fmla="*/ 79 h 79"/>
                  <a:gd name="T6" fmla="*/ 71 w 66"/>
                  <a:gd name="T7" fmla="*/ 83 h 79"/>
                  <a:gd name="T8" fmla="*/ 55 w 66"/>
                  <a:gd name="T9" fmla="*/ 93 h 79"/>
                  <a:gd name="T10" fmla="*/ 32 w 66"/>
                  <a:gd name="T11" fmla="*/ 93 h 79"/>
                  <a:gd name="T12" fmla="*/ 12 w 66"/>
                  <a:gd name="T13" fmla="*/ 86 h 79"/>
                  <a:gd name="T14" fmla="*/ 2 w 66"/>
                  <a:gd name="T15" fmla="*/ 79 h 79"/>
                  <a:gd name="T16" fmla="*/ 2 w 66"/>
                  <a:gd name="T17" fmla="*/ 64 h 79"/>
                  <a:gd name="T18" fmla="*/ 5 w 66"/>
                  <a:gd name="T19" fmla="*/ 55 h 79"/>
                  <a:gd name="T20" fmla="*/ 4 w 66"/>
                  <a:gd name="T21" fmla="*/ 49 h 79"/>
                  <a:gd name="T22" fmla="*/ 6 w 66"/>
                  <a:gd name="T23" fmla="*/ 45 h 79"/>
                  <a:gd name="T24" fmla="*/ 2 w 66"/>
                  <a:gd name="T25" fmla="*/ 37 h 79"/>
                  <a:gd name="T26" fmla="*/ 7 w 66"/>
                  <a:gd name="T27" fmla="*/ 29 h 79"/>
                  <a:gd name="T28" fmla="*/ 7 w 66"/>
                  <a:gd name="T29" fmla="*/ 13 h 79"/>
                  <a:gd name="T30" fmla="*/ 11 w 66"/>
                  <a:gd name="T31" fmla="*/ 6 h 79"/>
                  <a:gd name="T32" fmla="*/ 23 w 66"/>
                  <a:gd name="T33" fmla="*/ 2 h 79"/>
                  <a:gd name="T34" fmla="*/ 34 w 66"/>
                  <a:gd name="T35" fmla="*/ 21 h 79"/>
                  <a:gd name="T36" fmla="*/ 37 w 66"/>
                  <a:gd name="T37" fmla="*/ 19 h 79"/>
                  <a:gd name="T38" fmla="*/ 38 w 66"/>
                  <a:gd name="T39" fmla="*/ 17 h 79"/>
                  <a:gd name="T40" fmla="*/ 45 w 66"/>
                  <a:gd name="T41" fmla="*/ 25 h 79"/>
                  <a:gd name="T42" fmla="*/ 59 w 66"/>
                  <a:gd name="T43" fmla="*/ 30 h 79"/>
                  <a:gd name="T44" fmla="*/ 71 w 66"/>
                  <a:gd name="T45" fmla="*/ 42 h 79"/>
                  <a:gd name="T46" fmla="*/ 73 w 66"/>
                  <a:gd name="T47" fmla="*/ 46 h 79"/>
                  <a:gd name="T48" fmla="*/ 77 w 66"/>
                  <a:gd name="T49" fmla="*/ 49 h 79"/>
                  <a:gd name="T50" fmla="*/ 74 w 66"/>
                  <a:gd name="T51" fmla="*/ 57 h 79"/>
                  <a:gd name="T52" fmla="*/ 72 w 66"/>
                  <a:gd name="T53" fmla="*/ 61 h 79"/>
                  <a:gd name="T54" fmla="*/ 74 w 66"/>
                  <a:gd name="T55" fmla="*/ 68 h 7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6"/>
                  <a:gd name="T85" fmla="*/ 0 h 79"/>
                  <a:gd name="T86" fmla="*/ 66 w 66"/>
                  <a:gd name="T87" fmla="*/ 79 h 7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6" h="79">
                    <a:moveTo>
                      <a:pt x="62" y="57"/>
                    </a:moveTo>
                    <a:cubicBezTo>
                      <a:pt x="63" y="58"/>
                      <a:pt x="65" y="59"/>
                      <a:pt x="66" y="60"/>
                    </a:cubicBezTo>
                    <a:cubicBezTo>
                      <a:pt x="65" y="62"/>
                      <a:pt x="63" y="64"/>
                      <a:pt x="62" y="66"/>
                    </a:cubicBezTo>
                    <a:cubicBezTo>
                      <a:pt x="61" y="67"/>
                      <a:pt x="61" y="69"/>
                      <a:pt x="59" y="70"/>
                    </a:cubicBezTo>
                    <a:cubicBezTo>
                      <a:pt x="55" y="73"/>
                      <a:pt x="51" y="77"/>
                      <a:pt x="46" y="78"/>
                    </a:cubicBezTo>
                    <a:cubicBezTo>
                      <a:pt x="40" y="79"/>
                      <a:pt x="34" y="77"/>
                      <a:pt x="27" y="78"/>
                    </a:cubicBezTo>
                    <a:cubicBezTo>
                      <a:pt x="23" y="75"/>
                      <a:pt x="17" y="72"/>
                      <a:pt x="10" y="72"/>
                    </a:cubicBezTo>
                    <a:cubicBezTo>
                      <a:pt x="7" y="72"/>
                      <a:pt x="3" y="69"/>
                      <a:pt x="2" y="66"/>
                    </a:cubicBezTo>
                    <a:cubicBezTo>
                      <a:pt x="0" y="63"/>
                      <a:pt x="1" y="58"/>
                      <a:pt x="2" y="54"/>
                    </a:cubicBezTo>
                    <a:cubicBezTo>
                      <a:pt x="2" y="52"/>
                      <a:pt x="4" y="49"/>
                      <a:pt x="4" y="46"/>
                    </a:cubicBezTo>
                    <a:cubicBezTo>
                      <a:pt x="4" y="45"/>
                      <a:pt x="3" y="43"/>
                      <a:pt x="3" y="41"/>
                    </a:cubicBezTo>
                    <a:cubicBezTo>
                      <a:pt x="3" y="40"/>
                      <a:pt x="5" y="39"/>
                      <a:pt x="5" y="38"/>
                    </a:cubicBezTo>
                    <a:cubicBezTo>
                      <a:pt x="4" y="35"/>
                      <a:pt x="2" y="33"/>
                      <a:pt x="2" y="31"/>
                    </a:cubicBezTo>
                    <a:cubicBezTo>
                      <a:pt x="3" y="28"/>
                      <a:pt x="5" y="26"/>
                      <a:pt x="6" y="24"/>
                    </a:cubicBezTo>
                    <a:cubicBezTo>
                      <a:pt x="6" y="20"/>
                      <a:pt x="5" y="15"/>
                      <a:pt x="6" y="11"/>
                    </a:cubicBezTo>
                    <a:cubicBezTo>
                      <a:pt x="6" y="9"/>
                      <a:pt x="8" y="7"/>
                      <a:pt x="9" y="5"/>
                    </a:cubicBezTo>
                    <a:cubicBezTo>
                      <a:pt x="12" y="4"/>
                      <a:pt x="17" y="0"/>
                      <a:pt x="19" y="2"/>
                    </a:cubicBezTo>
                    <a:cubicBezTo>
                      <a:pt x="24" y="5"/>
                      <a:pt x="24" y="13"/>
                      <a:pt x="28" y="18"/>
                    </a:cubicBezTo>
                    <a:cubicBezTo>
                      <a:pt x="29" y="18"/>
                      <a:pt x="30" y="16"/>
                      <a:pt x="31" y="16"/>
                    </a:cubicBezTo>
                    <a:cubicBezTo>
                      <a:pt x="32" y="15"/>
                      <a:pt x="32" y="14"/>
                      <a:pt x="32" y="14"/>
                    </a:cubicBezTo>
                    <a:cubicBezTo>
                      <a:pt x="35" y="16"/>
                      <a:pt x="36" y="19"/>
                      <a:pt x="38" y="21"/>
                    </a:cubicBezTo>
                    <a:cubicBezTo>
                      <a:pt x="41" y="23"/>
                      <a:pt x="45" y="23"/>
                      <a:pt x="49" y="25"/>
                    </a:cubicBezTo>
                    <a:cubicBezTo>
                      <a:pt x="53" y="27"/>
                      <a:pt x="56" y="31"/>
                      <a:pt x="59" y="35"/>
                    </a:cubicBezTo>
                    <a:cubicBezTo>
                      <a:pt x="60" y="36"/>
                      <a:pt x="60" y="38"/>
                      <a:pt x="61" y="39"/>
                    </a:cubicBezTo>
                    <a:cubicBezTo>
                      <a:pt x="62" y="40"/>
                      <a:pt x="63" y="41"/>
                      <a:pt x="64" y="41"/>
                    </a:cubicBezTo>
                    <a:cubicBezTo>
                      <a:pt x="64" y="43"/>
                      <a:pt x="63" y="46"/>
                      <a:pt x="62" y="48"/>
                    </a:cubicBezTo>
                    <a:cubicBezTo>
                      <a:pt x="62" y="49"/>
                      <a:pt x="60" y="50"/>
                      <a:pt x="60" y="51"/>
                    </a:cubicBezTo>
                    <a:cubicBezTo>
                      <a:pt x="60" y="53"/>
                      <a:pt x="60" y="56"/>
                      <a:pt x="62" y="5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19" name="Freeform 2530"/>
              <p:cNvSpPr>
                <a:spLocks noChangeAspect="1"/>
              </p:cNvSpPr>
              <p:nvPr/>
            </p:nvSpPr>
            <p:spPr bwMode="auto">
              <a:xfrm>
                <a:off x="2827758" y="5617719"/>
                <a:ext cx="55610" cy="87703"/>
              </a:xfrm>
              <a:custGeom>
                <a:avLst/>
                <a:gdLst>
                  <a:gd name="T0" fmla="*/ 34 w 28"/>
                  <a:gd name="T1" fmla="*/ 52 h 45"/>
                  <a:gd name="T2" fmla="*/ 32 w 28"/>
                  <a:gd name="T3" fmla="*/ 50 h 45"/>
                  <a:gd name="T4" fmla="*/ 32 w 28"/>
                  <a:gd name="T5" fmla="*/ 54 h 45"/>
                  <a:gd name="T6" fmla="*/ 22 w 28"/>
                  <a:gd name="T7" fmla="*/ 52 h 45"/>
                  <a:gd name="T8" fmla="*/ 11 w 28"/>
                  <a:gd name="T9" fmla="*/ 50 h 45"/>
                  <a:gd name="T10" fmla="*/ 4 w 28"/>
                  <a:gd name="T11" fmla="*/ 52 h 45"/>
                  <a:gd name="T12" fmla="*/ 1 w 28"/>
                  <a:gd name="T13" fmla="*/ 46 h 45"/>
                  <a:gd name="T14" fmla="*/ 1 w 28"/>
                  <a:gd name="T15" fmla="*/ 41 h 45"/>
                  <a:gd name="T16" fmla="*/ 5 w 28"/>
                  <a:gd name="T17" fmla="*/ 44 h 45"/>
                  <a:gd name="T18" fmla="*/ 11 w 28"/>
                  <a:gd name="T19" fmla="*/ 43 h 45"/>
                  <a:gd name="T20" fmla="*/ 11 w 28"/>
                  <a:gd name="T21" fmla="*/ 41 h 45"/>
                  <a:gd name="T22" fmla="*/ 16 w 28"/>
                  <a:gd name="T23" fmla="*/ 40 h 45"/>
                  <a:gd name="T24" fmla="*/ 22 w 28"/>
                  <a:gd name="T25" fmla="*/ 44 h 45"/>
                  <a:gd name="T26" fmla="*/ 27 w 28"/>
                  <a:gd name="T27" fmla="*/ 44 h 45"/>
                  <a:gd name="T28" fmla="*/ 27 w 28"/>
                  <a:gd name="T29" fmla="*/ 42 h 45"/>
                  <a:gd name="T30" fmla="*/ 16 w 28"/>
                  <a:gd name="T31" fmla="*/ 36 h 45"/>
                  <a:gd name="T32" fmla="*/ 10 w 28"/>
                  <a:gd name="T33" fmla="*/ 32 h 45"/>
                  <a:gd name="T34" fmla="*/ 12 w 28"/>
                  <a:gd name="T35" fmla="*/ 28 h 45"/>
                  <a:gd name="T36" fmla="*/ 21 w 28"/>
                  <a:gd name="T37" fmla="*/ 23 h 45"/>
                  <a:gd name="T38" fmla="*/ 19 w 28"/>
                  <a:gd name="T39" fmla="*/ 18 h 45"/>
                  <a:gd name="T40" fmla="*/ 7 w 28"/>
                  <a:gd name="T41" fmla="*/ 23 h 45"/>
                  <a:gd name="T42" fmla="*/ 4 w 28"/>
                  <a:gd name="T43" fmla="*/ 14 h 45"/>
                  <a:gd name="T44" fmla="*/ 9 w 28"/>
                  <a:gd name="T45" fmla="*/ 11 h 45"/>
                  <a:gd name="T46" fmla="*/ 5 w 28"/>
                  <a:gd name="T47" fmla="*/ 6 h 45"/>
                  <a:gd name="T48" fmla="*/ 9 w 28"/>
                  <a:gd name="T49" fmla="*/ 7 h 45"/>
                  <a:gd name="T50" fmla="*/ 12 w 28"/>
                  <a:gd name="T51" fmla="*/ 7 h 45"/>
                  <a:gd name="T52" fmla="*/ 16 w 28"/>
                  <a:gd name="T53" fmla="*/ 0 h 45"/>
                  <a:gd name="T54" fmla="*/ 22 w 28"/>
                  <a:gd name="T55" fmla="*/ 5 h 45"/>
                  <a:gd name="T56" fmla="*/ 27 w 28"/>
                  <a:gd name="T57" fmla="*/ 4 h 45"/>
                  <a:gd name="T58" fmla="*/ 34 w 28"/>
                  <a:gd name="T59" fmla="*/ 52 h 4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8"/>
                  <a:gd name="T91" fmla="*/ 0 h 45"/>
                  <a:gd name="T92" fmla="*/ 28 w 28"/>
                  <a:gd name="T93" fmla="*/ 45 h 45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8" h="45">
                    <a:moveTo>
                      <a:pt x="28" y="43"/>
                    </a:moveTo>
                    <a:cubicBezTo>
                      <a:pt x="28" y="43"/>
                      <a:pt x="27" y="41"/>
                      <a:pt x="26" y="42"/>
                    </a:cubicBezTo>
                    <a:cubicBezTo>
                      <a:pt x="25" y="42"/>
                      <a:pt x="27" y="45"/>
                      <a:pt x="26" y="45"/>
                    </a:cubicBezTo>
                    <a:cubicBezTo>
                      <a:pt x="23" y="45"/>
                      <a:pt x="21" y="44"/>
                      <a:pt x="18" y="43"/>
                    </a:cubicBezTo>
                    <a:cubicBezTo>
                      <a:pt x="15" y="43"/>
                      <a:pt x="12" y="42"/>
                      <a:pt x="9" y="42"/>
                    </a:cubicBezTo>
                    <a:cubicBezTo>
                      <a:pt x="7" y="42"/>
                      <a:pt x="4" y="44"/>
                      <a:pt x="3" y="43"/>
                    </a:cubicBezTo>
                    <a:cubicBezTo>
                      <a:pt x="1" y="42"/>
                      <a:pt x="2" y="40"/>
                      <a:pt x="1" y="38"/>
                    </a:cubicBezTo>
                    <a:cubicBezTo>
                      <a:pt x="1" y="37"/>
                      <a:pt x="0" y="35"/>
                      <a:pt x="1" y="34"/>
                    </a:cubicBezTo>
                    <a:cubicBezTo>
                      <a:pt x="2" y="34"/>
                      <a:pt x="3" y="37"/>
                      <a:pt x="4" y="37"/>
                    </a:cubicBezTo>
                    <a:cubicBezTo>
                      <a:pt x="6" y="37"/>
                      <a:pt x="8" y="37"/>
                      <a:pt x="9" y="36"/>
                    </a:cubicBezTo>
                    <a:cubicBezTo>
                      <a:pt x="10" y="35"/>
                      <a:pt x="9" y="34"/>
                      <a:pt x="9" y="34"/>
                    </a:cubicBezTo>
                    <a:cubicBezTo>
                      <a:pt x="10" y="33"/>
                      <a:pt x="12" y="33"/>
                      <a:pt x="13" y="33"/>
                    </a:cubicBezTo>
                    <a:cubicBezTo>
                      <a:pt x="15" y="34"/>
                      <a:pt x="16" y="36"/>
                      <a:pt x="18" y="37"/>
                    </a:cubicBezTo>
                    <a:cubicBezTo>
                      <a:pt x="19" y="38"/>
                      <a:pt x="21" y="38"/>
                      <a:pt x="22" y="37"/>
                    </a:cubicBezTo>
                    <a:cubicBezTo>
                      <a:pt x="23" y="37"/>
                      <a:pt x="23" y="35"/>
                      <a:pt x="22" y="35"/>
                    </a:cubicBezTo>
                    <a:cubicBezTo>
                      <a:pt x="19" y="33"/>
                      <a:pt x="16" y="32"/>
                      <a:pt x="13" y="30"/>
                    </a:cubicBezTo>
                    <a:cubicBezTo>
                      <a:pt x="11" y="29"/>
                      <a:pt x="9" y="28"/>
                      <a:pt x="8" y="27"/>
                    </a:cubicBezTo>
                    <a:cubicBezTo>
                      <a:pt x="8" y="25"/>
                      <a:pt x="9" y="24"/>
                      <a:pt x="10" y="23"/>
                    </a:cubicBezTo>
                    <a:cubicBezTo>
                      <a:pt x="12" y="21"/>
                      <a:pt x="15" y="21"/>
                      <a:pt x="17" y="19"/>
                    </a:cubicBezTo>
                    <a:cubicBezTo>
                      <a:pt x="18" y="18"/>
                      <a:pt x="17" y="15"/>
                      <a:pt x="16" y="15"/>
                    </a:cubicBezTo>
                    <a:cubicBezTo>
                      <a:pt x="12" y="15"/>
                      <a:pt x="9" y="20"/>
                      <a:pt x="6" y="19"/>
                    </a:cubicBezTo>
                    <a:cubicBezTo>
                      <a:pt x="3" y="18"/>
                      <a:pt x="3" y="14"/>
                      <a:pt x="3" y="12"/>
                    </a:cubicBezTo>
                    <a:cubicBezTo>
                      <a:pt x="3" y="10"/>
                      <a:pt x="7" y="11"/>
                      <a:pt x="7" y="9"/>
                    </a:cubicBezTo>
                    <a:cubicBezTo>
                      <a:pt x="7" y="7"/>
                      <a:pt x="4" y="6"/>
                      <a:pt x="4" y="5"/>
                    </a:cubicBezTo>
                    <a:cubicBezTo>
                      <a:pt x="4" y="4"/>
                      <a:pt x="6" y="6"/>
                      <a:pt x="7" y="6"/>
                    </a:cubicBezTo>
                    <a:cubicBezTo>
                      <a:pt x="8" y="6"/>
                      <a:pt x="9" y="7"/>
                      <a:pt x="10" y="6"/>
                    </a:cubicBezTo>
                    <a:cubicBezTo>
                      <a:pt x="12" y="4"/>
                      <a:pt x="11" y="1"/>
                      <a:pt x="13" y="0"/>
                    </a:cubicBezTo>
                    <a:cubicBezTo>
                      <a:pt x="15" y="0"/>
                      <a:pt x="16" y="4"/>
                      <a:pt x="18" y="4"/>
                    </a:cubicBezTo>
                    <a:cubicBezTo>
                      <a:pt x="19" y="4"/>
                      <a:pt x="20" y="4"/>
                      <a:pt x="22" y="3"/>
                    </a:cubicBezTo>
                    <a:cubicBezTo>
                      <a:pt x="24" y="16"/>
                      <a:pt x="26" y="30"/>
                      <a:pt x="28" y="4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0" name="Freeform 2531"/>
              <p:cNvSpPr>
                <a:spLocks noChangeAspect="1"/>
              </p:cNvSpPr>
              <p:nvPr/>
            </p:nvSpPr>
            <p:spPr bwMode="auto">
              <a:xfrm>
                <a:off x="2742707" y="4652985"/>
                <a:ext cx="408897" cy="971230"/>
              </a:xfrm>
              <a:custGeom>
                <a:avLst/>
                <a:gdLst>
                  <a:gd name="T0" fmla="*/ 67 w 208"/>
                  <a:gd name="T1" fmla="*/ 568 h 498"/>
                  <a:gd name="T2" fmla="*/ 72 w 208"/>
                  <a:gd name="T3" fmla="*/ 540 h 498"/>
                  <a:gd name="T4" fmla="*/ 84 w 208"/>
                  <a:gd name="T5" fmla="*/ 522 h 498"/>
                  <a:gd name="T6" fmla="*/ 102 w 208"/>
                  <a:gd name="T7" fmla="*/ 483 h 498"/>
                  <a:gd name="T8" fmla="*/ 78 w 208"/>
                  <a:gd name="T9" fmla="*/ 456 h 498"/>
                  <a:gd name="T10" fmla="*/ 100 w 208"/>
                  <a:gd name="T11" fmla="*/ 436 h 498"/>
                  <a:gd name="T12" fmla="*/ 113 w 208"/>
                  <a:gd name="T13" fmla="*/ 400 h 498"/>
                  <a:gd name="T14" fmla="*/ 121 w 208"/>
                  <a:gd name="T15" fmla="*/ 400 h 498"/>
                  <a:gd name="T16" fmla="*/ 119 w 208"/>
                  <a:gd name="T17" fmla="*/ 388 h 498"/>
                  <a:gd name="T18" fmla="*/ 106 w 208"/>
                  <a:gd name="T19" fmla="*/ 382 h 498"/>
                  <a:gd name="T20" fmla="*/ 105 w 208"/>
                  <a:gd name="T21" fmla="*/ 355 h 498"/>
                  <a:gd name="T22" fmla="*/ 130 w 208"/>
                  <a:gd name="T23" fmla="*/ 364 h 498"/>
                  <a:gd name="T24" fmla="*/ 143 w 208"/>
                  <a:gd name="T25" fmla="*/ 337 h 498"/>
                  <a:gd name="T26" fmla="*/ 151 w 208"/>
                  <a:gd name="T27" fmla="*/ 322 h 498"/>
                  <a:gd name="T28" fmla="*/ 207 w 208"/>
                  <a:gd name="T29" fmla="*/ 300 h 498"/>
                  <a:gd name="T30" fmla="*/ 212 w 208"/>
                  <a:gd name="T31" fmla="*/ 270 h 498"/>
                  <a:gd name="T32" fmla="*/ 207 w 208"/>
                  <a:gd name="T33" fmla="*/ 250 h 498"/>
                  <a:gd name="T34" fmla="*/ 186 w 208"/>
                  <a:gd name="T35" fmla="*/ 232 h 498"/>
                  <a:gd name="T36" fmla="*/ 190 w 208"/>
                  <a:gd name="T37" fmla="*/ 204 h 498"/>
                  <a:gd name="T38" fmla="*/ 188 w 208"/>
                  <a:gd name="T39" fmla="*/ 186 h 498"/>
                  <a:gd name="T40" fmla="*/ 196 w 208"/>
                  <a:gd name="T41" fmla="*/ 155 h 498"/>
                  <a:gd name="T42" fmla="*/ 227 w 208"/>
                  <a:gd name="T43" fmla="*/ 114 h 498"/>
                  <a:gd name="T44" fmla="*/ 248 w 208"/>
                  <a:gd name="T45" fmla="*/ 88 h 498"/>
                  <a:gd name="T46" fmla="*/ 240 w 208"/>
                  <a:gd name="T47" fmla="*/ 68 h 498"/>
                  <a:gd name="T48" fmla="*/ 234 w 208"/>
                  <a:gd name="T49" fmla="*/ 85 h 498"/>
                  <a:gd name="T50" fmla="*/ 218 w 208"/>
                  <a:gd name="T51" fmla="*/ 102 h 498"/>
                  <a:gd name="T52" fmla="*/ 186 w 208"/>
                  <a:gd name="T53" fmla="*/ 100 h 498"/>
                  <a:gd name="T54" fmla="*/ 180 w 208"/>
                  <a:gd name="T55" fmla="*/ 80 h 498"/>
                  <a:gd name="T56" fmla="*/ 184 w 208"/>
                  <a:gd name="T57" fmla="*/ 59 h 498"/>
                  <a:gd name="T58" fmla="*/ 144 w 208"/>
                  <a:gd name="T59" fmla="*/ 42 h 498"/>
                  <a:gd name="T60" fmla="*/ 115 w 208"/>
                  <a:gd name="T61" fmla="*/ 17 h 498"/>
                  <a:gd name="T62" fmla="*/ 90 w 208"/>
                  <a:gd name="T63" fmla="*/ 5 h 498"/>
                  <a:gd name="T64" fmla="*/ 79 w 208"/>
                  <a:gd name="T65" fmla="*/ 8 h 498"/>
                  <a:gd name="T66" fmla="*/ 53 w 208"/>
                  <a:gd name="T67" fmla="*/ 8 h 498"/>
                  <a:gd name="T68" fmla="*/ 41 w 208"/>
                  <a:gd name="T69" fmla="*/ 20 h 498"/>
                  <a:gd name="T70" fmla="*/ 28 w 208"/>
                  <a:gd name="T71" fmla="*/ 49 h 498"/>
                  <a:gd name="T72" fmla="*/ 25 w 208"/>
                  <a:gd name="T73" fmla="*/ 64 h 498"/>
                  <a:gd name="T74" fmla="*/ 26 w 208"/>
                  <a:gd name="T75" fmla="*/ 90 h 498"/>
                  <a:gd name="T76" fmla="*/ 19 w 208"/>
                  <a:gd name="T77" fmla="*/ 114 h 498"/>
                  <a:gd name="T78" fmla="*/ 8 w 208"/>
                  <a:gd name="T79" fmla="*/ 138 h 498"/>
                  <a:gd name="T80" fmla="*/ 5 w 208"/>
                  <a:gd name="T81" fmla="*/ 181 h 498"/>
                  <a:gd name="T82" fmla="*/ 13 w 208"/>
                  <a:gd name="T83" fmla="*/ 198 h 498"/>
                  <a:gd name="T84" fmla="*/ 17 w 208"/>
                  <a:gd name="T85" fmla="*/ 225 h 498"/>
                  <a:gd name="T86" fmla="*/ 12 w 208"/>
                  <a:gd name="T87" fmla="*/ 267 h 498"/>
                  <a:gd name="T88" fmla="*/ 12 w 208"/>
                  <a:gd name="T89" fmla="*/ 312 h 498"/>
                  <a:gd name="T90" fmla="*/ 2 w 208"/>
                  <a:gd name="T91" fmla="*/ 336 h 498"/>
                  <a:gd name="T92" fmla="*/ 6 w 208"/>
                  <a:gd name="T93" fmla="*/ 375 h 498"/>
                  <a:gd name="T94" fmla="*/ 8 w 208"/>
                  <a:gd name="T95" fmla="*/ 401 h 498"/>
                  <a:gd name="T96" fmla="*/ 11 w 208"/>
                  <a:gd name="T97" fmla="*/ 427 h 498"/>
                  <a:gd name="T98" fmla="*/ 20 w 208"/>
                  <a:gd name="T99" fmla="*/ 436 h 498"/>
                  <a:gd name="T100" fmla="*/ 22 w 208"/>
                  <a:gd name="T101" fmla="*/ 443 h 498"/>
                  <a:gd name="T102" fmla="*/ 19 w 208"/>
                  <a:gd name="T103" fmla="*/ 470 h 498"/>
                  <a:gd name="T104" fmla="*/ 8 w 208"/>
                  <a:gd name="T105" fmla="*/ 494 h 498"/>
                  <a:gd name="T106" fmla="*/ 10 w 208"/>
                  <a:gd name="T107" fmla="*/ 520 h 498"/>
                  <a:gd name="T108" fmla="*/ 10 w 208"/>
                  <a:gd name="T109" fmla="*/ 558 h 498"/>
                  <a:gd name="T110" fmla="*/ 26 w 208"/>
                  <a:gd name="T111" fmla="*/ 575 h 498"/>
                  <a:gd name="T112" fmla="*/ 70 w 208"/>
                  <a:gd name="T113" fmla="*/ 590 h 4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08"/>
                  <a:gd name="T172" fmla="*/ 0 h 498"/>
                  <a:gd name="T173" fmla="*/ 208 w 208"/>
                  <a:gd name="T174" fmla="*/ 498 h 49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08" h="498">
                    <a:moveTo>
                      <a:pt x="58" y="491"/>
                    </a:moveTo>
                    <a:cubicBezTo>
                      <a:pt x="61" y="492"/>
                      <a:pt x="69" y="498"/>
                      <a:pt x="68" y="494"/>
                    </a:cubicBezTo>
                    <a:cubicBezTo>
                      <a:pt x="68" y="486"/>
                      <a:pt x="60" y="480"/>
                      <a:pt x="56" y="473"/>
                    </a:cubicBezTo>
                    <a:cubicBezTo>
                      <a:pt x="55" y="470"/>
                      <a:pt x="54" y="467"/>
                      <a:pt x="55" y="464"/>
                    </a:cubicBezTo>
                    <a:cubicBezTo>
                      <a:pt x="56" y="461"/>
                      <a:pt x="60" y="459"/>
                      <a:pt x="61" y="455"/>
                    </a:cubicBezTo>
                    <a:cubicBezTo>
                      <a:pt x="62" y="454"/>
                      <a:pt x="58" y="451"/>
                      <a:pt x="60" y="450"/>
                    </a:cubicBezTo>
                    <a:cubicBezTo>
                      <a:pt x="61" y="449"/>
                      <a:pt x="62" y="453"/>
                      <a:pt x="64" y="453"/>
                    </a:cubicBezTo>
                    <a:cubicBezTo>
                      <a:pt x="66" y="453"/>
                      <a:pt x="69" y="452"/>
                      <a:pt x="70" y="450"/>
                    </a:cubicBezTo>
                    <a:cubicBezTo>
                      <a:pt x="72" y="445"/>
                      <a:pt x="68" y="439"/>
                      <a:pt x="70" y="435"/>
                    </a:cubicBezTo>
                    <a:cubicBezTo>
                      <a:pt x="74" y="428"/>
                      <a:pt x="83" y="424"/>
                      <a:pt x="88" y="417"/>
                    </a:cubicBezTo>
                    <a:cubicBezTo>
                      <a:pt x="90" y="414"/>
                      <a:pt x="91" y="410"/>
                      <a:pt x="90" y="407"/>
                    </a:cubicBezTo>
                    <a:cubicBezTo>
                      <a:pt x="90" y="404"/>
                      <a:pt x="87" y="403"/>
                      <a:pt x="85" y="402"/>
                    </a:cubicBezTo>
                    <a:cubicBezTo>
                      <a:pt x="82" y="401"/>
                      <a:pt x="78" y="401"/>
                      <a:pt x="75" y="399"/>
                    </a:cubicBezTo>
                    <a:cubicBezTo>
                      <a:pt x="71" y="396"/>
                      <a:pt x="67" y="392"/>
                      <a:pt x="65" y="387"/>
                    </a:cubicBezTo>
                    <a:cubicBezTo>
                      <a:pt x="64" y="385"/>
                      <a:pt x="64" y="382"/>
                      <a:pt x="65" y="380"/>
                    </a:cubicBezTo>
                    <a:cubicBezTo>
                      <a:pt x="69" y="375"/>
                      <a:pt x="73" y="370"/>
                      <a:pt x="78" y="367"/>
                    </a:cubicBezTo>
                    <a:cubicBezTo>
                      <a:pt x="80" y="365"/>
                      <a:pt x="84" y="368"/>
                      <a:pt x="87" y="367"/>
                    </a:cubicBezTo>
                    <a:cubicBezTo>
                      <a:pt x="88" y="366"/>
                      <a:pt x="83" y="365"/>
                      <a:pt x="83" y="363"/>
                    </a:cubicBezTo>
                    <a:cubicBezTo>
                      <a:pt x="84" y="361"/>
                      <a:pt x="88" y="360"/>
                      <a:pt x="88" y="358"/>
                    </a:cubicBezTo>
                    <a:cubicBezTo>
                      <a:pt x="89" y="354"/>
                      <a:pt x="86" y="349"/>
                      <a:pt x="87" y="345"/>
                    </a:cubicBezTo>
                    <a:cubicBezTo>
                      <a:pt x="88" y="341"/>
                      <a:pt x="93" y="338"/>
                      <a:pt x="94" y="333"/>
                    </a:cubicBezTo>
                    <a:cubicBezTo>
                      <a:pt x="94" y="331"/>
                      <a:pt x="89" y="330"/>
                      <a:pt x="90" y="328"/>
                    </a:cubicBezTo>
                    <a:cubicBezTo>
                      <a:pt x="92" y="326"/>
                      <a:pt x="96" y="325"/>
                      <a:pt x="99" y="326"/>
                    </a:cubicBezTo>
                    <a:cubicBezTo>
                      <a:pt x="101" y="327"/>
                      <a:pt x="99" y="333"/>
                      <a:pt x="101" y="333"/>
                    </a:cubicBezTo>
                    <a:cubicBezTo>
                      <a:pt x="104" y="332"/>
                      <a:pt x="105" y="328"/>
                      <a:pt x="105" y="325"/>
                    </a:cubicBezTo>
                    <a:cubicBezTo>
                      <a:pt x="106" y="322"/>
                      <a:pt x="104" y="319"/>
                      <a:pt x="101" y="318"/>
                    </a:cubicBezTo>
                    <a:cubicBezTo>
                      <a:pt x="100" y="317"/>
                      <a:pt x="100" y="322"/>
                      <a:pt x="99" y="323"/>
                    </a:cubicBezTo>
                    <a:cubicBezTo>
                      <a:pt x="97" y="324"/>
                      <a:pt x="95" y="324"/>
                      <a:pt x="94" y="323"/>
                    </a:cubicBezTo>
                    <a:cubicBezTo>
                      <a:pt x="93" y="323"/>
                      <a:pt x="95" y="321"/>
                      <a:pt x="94" y="320"/>
                    </a:cubicBezTo>
                    <a:cubicBezTo>
                      <a:pt x="92" y="319"/>
                      <a:pt x="89" y="320"/>
                      <a:pt x="88" y="318"/>
                    </a:cubicBezTo>
                    <a:cubicBezTo>
                      <a:pt x="87" y="316"/>
                      <a:pt x="89" y="313"/>
                      <a:pt x="88" y="310"/>
                    </a:cubicBezTo>
                    <a:cubicBezTo>
                      <a:pt x="87" y="307"/>
                      <a:pt x="83" y="306"/>
                      <a:pt x="83" y="303"/>
                    </a:cubicBezTo>
                    <a:cubicBezTo>
                      <a:pt x="83" y="300"/>
                      <a:pt x="85" y="298"/>
                      <a:pt x="87" y="296"/>
                    </a:cubicBezTo>
                    <a:cubicBezTo>
                      <a:pt x="88" y="296"/>
                      <a:pt x="88" y="298"/>
                      <a:pt x="89" y="298"/>
                    </a:cubicBezTo>
                    <a:cubicBezTo>
                      <a:pt x="92" y="300"/>
                      <a:pt x="95" y="302"/>
                      <a:pt x="99" y="303"/>
                    </a:cubicBezTo>
                    <a:cubicBezTo>
                      <a:pt x="102" y="303"/>
                      <a:pt x="105" y="303"/>
                      <a:pt x="108" y="303"/>
                    </a:cubicBezTo>
                    <a:cubicBezTo>
                      <a:pt x="111" y="302"/>
                      <a:pt x="115" y="301"/>
                      <a:pt x="118" y="298"/>
                    </a:cubicBezTo>
                    <a:cubicBezTo>
                      <a:pt x="119" y="296"/>
                      <a:pt x="115" y="294"/>
                      <a:pt x="115" y="292"/>
                    </a:cubicBezTo>
                    <a:cubicBezTo>
                      <a:pt x="115" y="288"/>
                      <a:pt x="119" y="285"/>
                      <a:pt x="119" y="281"/>
                    </a:cubicBezTo>
                    <a:cubicBezTo>
                      <a:pt x="119" y="278"/>
                      <a:pt x="117" y="275"/>
                      <a:pt x="116" y="273"/>
                    </a:cubicBezTo>
                    <a:cubicBezTo>
                      <a:pt x="116" y="270"/>
                      <a:pt x="113" y="265"/>
                      <a:pt x="116" y="263"/>
                    </a:cubicBezTo>
                    <a:cubicBezTo>
                      <a:pt x="119" y="262"/>
                      <a:pt x="122" y="268"/>
                      <a:pt x="126" y="268"/>
                    </a:cubicBezTo>
                    <a:cubicBezTo>
                      <a:pt x="130" y="269"/>
                      <a:pt x="134" y="267"/>
                      <a:pt x="138" y="267"/>
                    </a:cubicBezTo>
                    <a:cubicBezTo>
                      <a:pt x="144" y="266"/>
                      <a:pt x="150" y="266"/>
                      <a:pt x="155" y="263"/>
                    </a:cubicBezTo>
                    <a:cubicBezTo>
                      <a:pt x="161" y="260"/>
                      <a:pt x="167" y="255"/>
                      <a:pt x="172" y="250"/>
                    </a:cubicBezTo>
                    <a:cubicBezTo>
                      <a:pt x="176" y="246"/>
                      <a:pt x="180" y="240"/>
                      <a:pt x="181" y="235"/>
                    </a:cubicBezTo>
                    <a:cubicBezTo>
                      <a:pt x="182" y="232"/>
                      <a:pt x="181" y="228"/>
                      <a:pt x="180" y="225"/>
                    </a:cubicBezTo>
                    <a:cubicBezTo>
                      <a:pt x="179" y="224"/>
                      <a:pt x="177" y="226"/>
                      <a:pt x="176" y="225"/>
                    </a:cubicBezTo>
                    <a:cubicBezTo>
                      <a:pt x="175" y="224"/>
                      <a:pt x="173" y="221"/>
                      <a:pt x="173" y="219"/>
                    </a:cubicBezTo>
                    <a:cubicBezTo>
                      <a:pt x="172" y="218"/>
                      <a:pt x="174" y="217"/>
                      <a:pt x="174" y="215"/>
                    </a:cubicBezTo>
                    <a:cubicBezTo>
                      <a:pt x="174" y="213"/>
                      <a:pt x="174" y="210"/>
                      <a:pt x="172" y="208"/>
                    </a:cubicBezTo>
                    <a:cubicBezTo>
                      <a:pt x="167" y="204"/>
                      <a:pt x="161" y="203"/>
                      <a:pt x="156" y="200"/>
                    </a:cubicBezTo>
                    <a:cubicBezTo>
                      <a:pt x="154" y="199"/>
                      <a:pt x="153" y="197"/>
                      <a:pt x="152" y="195"/>
                    </a:cubicBezTo>
                    <a:cubicBezTo>
                      <a:pt x="152" y="194"/>
                      <a:pt x="155" y="194"/>
                      <a:pt x="155" y="193"/>
                    </a:cubicBezTo>
                    <a:cubicBezTo>
                      <a:pt x="155" y="191"/>
                      <a:pt x="153" y="189"/>
                      <a:pt x="153" y="187"/>
                    </a:cubicBezTo>
                    <a:cubicBezTo>
                      <a:pt x="152" y="183"/>
                      <a:pt x="152" y="180"/>
                      <a:pt x="153" y="176"/>
                    </a:cubicBezTo>
                    <a:cubicBezTo>
                      <a:pt x="154" y="174"/>
                      <a:pt x="157" y="172"/>
                      <a:pt x="158" y="170"/>
                    </a:cubicBezTo>
                    <a:cubicBezTo>
                      <a:pt x="158" y="169"/>
                      <a:pt x="157" y="167"/>
                      <a:pt x="157" y="165"/>
                    </a:cubicBezTo>
                    <a:cubicBezTo>
                      <a:pt x="157" y="164"/>
                      <a:pt x="159" y="163"/>
                      <a:pt x="159" y="162"/>
                    </a:cubicBezTo>
                    <a:cubicBezTo>
                      <a:pt x="158" y="159"/>
                      <a:pt x="156" y="157"/>
                      <a:pt x="156" y="155"/>
                    </a:cubicBezTo>
                    <a:cubicBezTo>
                      <a:pt x="157" y="152"/>
                      <a:pt x="159" y="150"/>
                      <a:pt x="160" y="148"/>
                    </a:cubicBezTo>
                    <a:cubicBezTo>
                      <a:pt x="160" y="144"/>
                      <a:pt x="159" y="139"/>
                      <a:pt x="160" y="135"/>
                    </a:cubicBezTo>
                    <a:cubicBezTo>
                      <a:pt x="160" y="133"/>
                      <a:pt x="162" y="131"/>
                      <a:pt x="163" y="129"/>
                    </a:cubicBezTo>
                    <a:cubicBezTo>
                      <a:pt x="167" y="124"/>
                      <a:pt x="171" y="120"/>
                      <a:pt x="174" y="115"/>
                    </a:cubicBezTo>
                    <a:cubicBezTo>
                      <a:pt x="177" y="110"/>
                      <a:pt x="178" y="104"/>
                      <a:pt x="181" y="100"/>
                    </a:cubicBezTo>
                    <a:cubicBezTo>
                      <a:pt x="183" y="97"/>
                      <a:pt x="187" y="97"/>
                      <a:pt x="189" y="95"/>
                    </a:cubicBezTo>
                    <a:cubicBezTo>
                      <a:pt x="191" y="93"/>
                      <a:pt x="192" y="90"/>
                      <a:pt x="194" y="88"/>
                    </a:cubicBezTo>
                    <a:cubicBezTo>
                      <a:pt x="198" y="85"/>
                      <a:pt x="204" y="85"/>
                      <a:pt x="206" y="82"/>
                    </a:cubicBezTo>
                    <a:cubicBezTo>
                      <a:pt x="208" y="79"/>
                      <a:pt x="206" y="76"/>
                      <a:pt x="206" y="73"/>
                    </a:cubicBezTo>
                    <a:cubicBezTo>
                      <a:pt x="206" y="70"/>
                      <a:pt x="208" y="68"/>
                      <a:pt x="207" y="66"/>
                    </a:cubicBezTo>
                    <a:cubicBezTo>
                      <a:pt x="207" y="64"/>
                      <a:pt x="204" y="61"/>
                      <a:pt x="203" y="59"/>
                    </a:cubicBezTo>
                    <a:cubicBezTo>
                      <a:pt x="202" y="58"/>
                      <a:pt x="201" y="57"/>
                      <a:pt x="200" y="57"/>
                    </a:cubicBezTo>
                    <a:cubicBezTo>
                      <a:pt x="198" y="57"/>
                      <a:pt x="196" y="57"/>
                      <a:pt x="195" y="57"/>
                    </a:cubicBezTo>
                    <a:cubicBezTo>
                      <a:pt x="195" y="60"/>
                      <a:pt x="195" y="62"/>
                      <a:pt x="195" y="65"/>
                    </a:cubicBezTo>
                    <a:cubicBezTo>
                      <a:pt x="195" y="67"/>
                      <a:pt x="196" y="69"/>
                      <a:pt x="195" y="71"/>
                    </a:cubicBezTo>
                    <a:cubicBezTo>
                      <a:pt x="193" y="73"/>
                      <a:pt x="190" y="75"/>
                      <a:pt x="188" y="77"/>
                    </a:cubicBezTo>
                    <a:cubicBezTo>
                      <a:pt x="186" y="80"/>
                      <a:pt x="185" y="83"/>
                      <a:pt x="183" y="86"/>
                    </a:cubicBezTo>
                    <a:cubicBezTo>
                      <a:pt x="182" y="86"/>
                      <a:pt x="182" y="85"/>
                      <a:pt x="181" y="85"/>
                    </a:cubicBezTo>
                    <a:cubicBezTo>
                      <a:pt x="180" y="84"/>
                      <a:pt x="178" y="83"/>
                      <a:pt x="176" y="84"/>
                    </a:cubicBezTo>
                    <a:cubicBezTo>
                      <a:pt x="173" y="84"/>
                      <a:pt x="171" y="87"/>
                      <a:pt x="168" y="87"/>
                    </a:cubicBezTo>
                    <a:cubicBezTo>
                      <a:pt x="164" y="87"/>
                      <a:pt x="160" y="84"/>
                      <a:pt x="155" y="83"/>
                    </a:cubicBezTo>
                    <a:cubicBezTo>
                      <a:pt x="152" y="82"/>
                      <a:pt x="147" y="86"/>
                      <a:pt x="146" y="83"/>
                    </a:cubicBezTo>
                    <a:cubicBezTo>
                      <a:pt x="144" y="80"/>
                      <a:pt x="149" y="77"/>
                      <a:pt x="150" y="74"/>
                    </a:cubicBezTo>
                    <a:cubicBezTo>
                      <a:pt x="150" y="72"/>
                      <a:pt x="148" y="69"/>
                      <a:pt x="150" y="67"/>
                    </a:cubicBezTo>
                    <a:cubicBezTo>
                      <a:pt x="151" y="66"/>
                      <a:pt x="155" y="67"/>
                      <a:pt x="156" y="65"/>
                    </a:cubicBezTo>
                    <a:cubicBezTo>
                      <a:pt x="157" y="62"/>
                      <a:pt x="157" y="58"/>
                      <a:pt x="156" y="54"/>
                    </a:cubicBezTo>
                    <a:cubicBezTo>
                      <a:pt x="156" y="52"/>
                      <a:pt x="155" y="50"/>
                      <a:pt x="153" y="49"/>
                    </a:cubicBezTo>
                    <a:cubicBezTo>
                      <a:pt x="148" y="47"/>
                      <a:pt x="143" y="47"/>
                      <a:pt x="139" y="45"/>
                    </a:cubicBezTo>
                    <a:cubicBezTo>
                      <a:pt x="134" y="42"/>
                      <a:pt x="131" y="37"/>
                      <a:pt x="127" y="35"/>
                    </a:cubicBezTo>
                    <a:cubicBezTo>
                      <a:pt x="125" y="34"/>
                      <a:pt x="122" y="36"/>
                      <a:pt x="120" y="35"/>
                    </a:cubicBezTo>
                    <a:cubicBezTo>
                      <a:pt x="117" y="33"/>
                      <a:pt x="115" y="31"/>
                      <a:pt x="112" y="29"/>
                    </a:cubicBezTo>
                    <a:cubicBezTo>
                      <a:pt x="108" y="26"/>
                      <a:pt x="104" y="25"/>
                      <a:pt x="100" y="22"/>
                    </a:cubicBezTo>
                    <a:cubicBezTo>
                      <a:pt x="98" y="19"/>
                      <a:pt x="98" y="16"/>
                      <a:pt x="96" y="14"/>
                    </a:cubicBezTo>
                    <a:cubicBezTo>
                      <a:pt x="95" y="12"/>
                      <a:pt x="93" y="10"/>
                      <a:pt x="91" y="8"/>
                    </a:cubicBezTo>
                    <a:cubicBezTo>
                      <a:pt x="90" y="7"/>
                      <a:pt x="89" y="5"/>
                      <a:pt x="88" y="4"/>
                    </a:cubicBezTo>
                    <a:cubicBezTo>
                      <a:pt x="84" y="3"/>
                      <a:pt x="79" y="3"/>
                      <a:pt x="75" y="4"/>
                    </a:cubicBezTo>
                    <a:cubicBezTo>
                      <a:pt x="73" y="5"/>
                      <a:pt x="72" y="8"/>
                      <a:pt x="71" y="11"/>
                    </a:cubicBezTo>
                    <a:cubicBezTo>
                      <a:pt x="70" y="13"/>
                      <a:pt x="72" y="20"/>
                      <a:pt x="70" y="18"/>
                    </a:cubicBezTo>
                    <a:cubicBezTo>
                      <a:pt x="67" y="16"/>
                      <a:pt x="69" y="9"/>
                      <a:pt x="66" y="7"/>
                    </a:cubicBezTo>
                    <a:cubicBezTo>
                      <a:pt x="63" y="5"/>
                      <a:pt x="57" y="8"/>
                      <a:pt x="53" y="6"/>
                    </a:cubicBezTo>
                    <a:cubicBezTo>
                      <a:pt x="50" y="5"/>
                      <a:pt x="49" y="0"/>
                      <a:pt x="46" y="1"/>
                    </a:cubicBezTo>
                    <a:cubicBezTo>
                      <a:pt x="44" y="1"/>
                      <a:pt x="46" y="6"/>
                      <a:pt x="44" y="7"/>
                    </a:cubicBezTo>
                    <a:cubicBezTo>
                      <a:pt x="44" y="9"/>
                      <a:pt x="42" y="8"/>
                      <a:pt x="41" y="9"/>
                    </a:cubicBezTo>
                    <a:cubicBezTo>
                      <a:pt x="39" y="10"/>
                      <a:pt x="38" y="11"/>
                      <a:pt x="38" y="12"/>
                    </a:cubicBezTo>
                    <a:cubicBezTo>
                      <a:pt x="36" y="14"/>
                      <a:pt x="35" y="16"/>
                      <a:pt x="34" y="17"/>
                    </a:cubicBezTo>
                    <a:cubicBezTo>
                      <a:pt x="35" y="19"/>
                      <a:pt x="36" y="22"/>
                      <a:pt x="36" y="24"/>
                    </a:cubicBezTo>
                    <a:cubicBezTo>
                      <a:pt x="35" y="28"/>
                      <a:pt x="36" y="32"/>
                      <a:pt x="33" y="36"/>
                    </a:cubicBezTo>
                    <a:cubicBezTo>
                      <a:pt x="31" y="39"/>
                      <a:pt x="26" y="39"/>
                      <a:pt x="23" y="41"/>
                    </a:cubicBezTo>
                    <a:cubicBezTo>
                      <a:pt x="21" y="42"/>
                      <a:pt x="18" y="44"/>
                      <a:pt x="18" y="46"/>
                    </a:cubicBezTo>
                    <a:cubicBezTo>
                      <a:pt x="18" y="49"/>
                      <a:pt x="22" y="50"/>
                      <a:pt x="23" y="52"/>
                    </a:cubicBezTo>
                    <a:cubicBezTo>
                      <a:pt x="23" y="53"/>
                      <a:pt x="21" y="52"/>
                      <a:pt x="21" y="53"/>
                    </a:cubicBezTo>
                    <a:cubicBezTo>
                      <a:pt x="20" y="55"/>
                      <a:pt x="20" y="57"/>
                      <a:pt x="20" y="58"/>
                    </a:cubicBezTo>
                    <a:cubicBezTo>
                      <a:pt x="21" y="62"/>
                      <a:pt x="23" y="65"/>
                      <a:pt x="23" y="68"/>
                    </a:cubicBezTo>
                    <a:cubicBezTo>
                      <a:pt x="23" y="71"/>
                      <a:pt x="21" y="73"/>
                      <a:pt x="22" y="75"/>
                    </a:cubicBezTo>
                    <a:cubicBezTo>
                      <a:pt x="22" y="77"/>
                      <a:pt x="27" y="79"/>
                      <a:pt x="26" y="82"/>
                    </a:cubicBezTo>
                    <a:cubicBezTo>
                      <a:pt x="25" y="84"/>
                      <a:pt x="20" y="81"/>
                      <a:pt x="19" y="83"/>
                    </a:cubicBezTo>
                    <a:cubicBezTo>
                      <a:pt x="17" y="86"/>
                      <a:pt x="18" y="91"/>
                      <a:pt x="16" y="95"/>
                    </a:cubicBezTo>
                    <a:cubicBezTo>
                      <a:pt x="15" y="98"/>
                      <a:pt x="11" y="100"/>
                      <a:pt x="9" y="103"/>
                    </a:cubicBezTo>
                    <a:cubicBezTo>
                      <a:pt x="8" y="106"/>
                      <a:pt x="11" y="112"/>
                      <a:pt x="9" y="111"/>
                    </a:cubicBezTo>
                    <a:cubicBezTo>
                      <a:pt x="8" y="113"/>
                      <a:pt x="8" y="114"/>
                      <a:pt x="7" y="115"/>
                    </a:cubicBezTo>
                    <a:cubicBezTo>
                      <a:pt x="11" y="116"/>
                      <a:pt x="10" y="123"/>
                      <a:pt x="10" y="127"/>
                    </a:cubicBezTo>
                    <a:cubicBezTo>
                      <a:pt x="9" y="132"/>
                      <a:pt x="5" y="136"/>
                      <a:pt x="4" y="141"/>
                    </a:cubicBezTo>
                    <a:cubicBezTo>
                      <a:pt x="3" y="144"/>
                      <a:pt x="3" y="147"/>
                      <a:pt x="4" y="151"/>
                    </a:cubicBezTo>
                    <a:cubicBezTo>
                      <a:pt x="4" y="153"/>
                      <a:pt x="7" y="154"/>
                      <a:pt x="7" y="156"/>
                    </a:cubicBezTo>
                    <a:cubicBezTo>
                      <a:pt x="7" y="158"/>
                      <a:pt x="4" y="159"/>
                      <a:pt x="5" y="160"/>
                    </a:cubicBezTo>
                    <a:cubicBezTo>
                      <a:pt x="6" y="163"/>
                      <a:pt x="10" y="163"/>
                      <a:pt x="11" y="165"/>
                    </a:cubicBezTo>
                    <a:cubicBezTo>
                      <a:pt x="12" y="169"/>
                      <a:pt x="9" y="173"/>
                      <a:pt x="10" y="176"/>
                    </a:cubicBezTo>
                    <a:cubicBezTo>
                      <a:pt x="11" y="178"/>
                      <a:pt x="15" y="174"/>
                      <a:pt x="15" y="176"/>
                    </a:cubicBezTo>
                    <a:cubicBezTo>
                      <a:pt x="17" y="179"/>
                      <a:pt x="14" y="184"/>
                      <a:pt x="14" y="187"/>
                    </a:cubicBezTo>
                    <a:cubicBezTo>
                      <a:pt x="12" y="193"/>
                      <a:pt x="10" y="199"/>
                      <a:pt x="9" y="207"/>
                    </a:cubicBezTo>
                    <a:cubicBezTo>
                      <a:pt x="9" y="208"/>
                      <a:pt x="7" y="208"/>
                      <a:pt x="7" y="209"/>
                    </a:cubicBezTo>
                    <a:cubicBezTo>
                      <a:pt x="7" y="214"/>
                      <a:pt x="12" y="214"/>
                      <a:pt x="10" y="222"/>
                    </a:cubicBezTo>
                    <a:cubicBezTo>
                      <a:pt x="9" y="225"/>
                      <a:pt x="3" y="224"/>
                      <a:pt x="2" y="226"/>
                    </a:cubicBezTo>
                    <a:cubicBezTo>
                      <a:pt x="1" y="233"/>
                      <a:pt x="3" y="239"/>
                      <a:pt x="5" y="246"/>
                    </a:cubicBezTo>
                    <a:cubicBezTo>
                      <a:pt x="6" y="251"/>
                      <a:pt x="11" y="255"/>
                      <a:pt x="10" y="260"/>
                    </a:cubicBezTo>
                    <a:cubicBezTo>
                      <a:pt x="10" y="263"/>
                      <a:pt x="4" y="263"/>
                      <a:pt x="2" y="265"/>
                    </a:cubicBezTo>
                    <a:cubicBezTo>
                      <a:pt x="1" y="268"/>
                      <a:pt x="4" y="271"/>
                      <a:pt x="4" y="274"/>
                    </a:cubicBezTo>
                    <a:cubicBezTo>
                      <a:pt x="4" y="276"/>
                      <a:pt x="2" y="278"/>
                      <a:pt x="2" y="280"/>
                    </a:cubicBezTo>
                    <a:cubicBezTo>
                      <a:pt x="2" y="283"/>
                      <a:pt x="2" y="286"/>
                      <a:pt x="2" y="289"/>
                    </a:cubicBezTo>
                    <a:cubicBezTo>
                      <a:pt x="1" y="293"/>
                      <a:pt x="1" y="297"/>
                      <a:pt x="1" y="301"/>
                    </a:cubicBezTo>
                    <a:cubicBezTo>
                      <a:pt x="2" y="305"/>
                      <a:pt x="5" y="308"/>
                      <a:pt x="5" y="312"/>
                    </a:cubicBezTo>
                    <a:cubicBezTo>
                      <a:pt x="6" y="315"/>
                      <a:pt x="3" y="317"/>
                      <a:pt x="3" y="320"/>
                    </a:cubicBezTo>
                    <a:cubicBezTo>
                      <a:pt x="2" y="324"/>
                      <a:pt x="1" y="328"/>
                      <a:pt x="3" y="333"/>
                    </a:cubicBezTo>
                    <a:cubicBezTo>
                      <a:pt x="3" y="334"/>
                      <a:pt x="6" y="333"/>
                      <a:pt x="7" y="334"/>
                    </a:cubicBezTo>
                    <a:cubicBezTo>
                      <a:pt x="8" y="335"/>
                      <a:pt x="7" y="336"/>
                      <a:pt x="7" y="337"/>
                    </a:cubicBezTo>
                    <a:cubicBezTo>
                      <a:pt x="7" y="341"/>
                      <a:pt x="9" y="344"/>
                      <a:pt x="9" y="347"/>
                    </a:cubicBezTo>
                    <a:cubicBezTo>
                      <a:pt x="10" y="350"/>
                      <a:pt x="7" y="353"/>
                      <a:pt x="9" y="356"/>
                    </a:cubicBezTo>
                    <a:cubicBezTo>
                      <a:pt x="11" y="358"/>
                      <a:pt x="15" y="356"/>
                      <a:pt x="17" y="357"/>
                    </a:cubicBezTo>
                    <a:cubicBezTo>
                      <a:pt x="19" y="357"/>
                      <a:pt x="19" y="359"/>
                      <a:pt x="19" y="360"/>
                    </a:cubicBezTo>
                    <a:cubicBezTo>
                      <a:pt x="19" y="361"/>
                      <a:pt x="18" y="363"/>
                      <a:pt x="17" y="363"/>
                    </a:cubicBezTo>
                    <a:cubicBezTo>
                      <a:pt x="15" y="364"/>
                      <a:pt x="14" y="361"/>
                      <a:pt x="12" y="361"/>
                    </a:cubicBezTo>
                    <a:cubicBezTo>
                      <a:pt x="11" y="361"/>
                      <a:pt x="7" y="362"/>
                      <a:pt x="8" y="363"/>
                    </a:cubicBezTo>
                    <a:cubicBezTo>
                      <a:pt x="10" y="366"/>
                      <a:pt x="17" y="365"/>
                      <a:pt x="18" y="369"/>
                    </a:cubicBezTo>
                    <a:cubicBezTo>
                      <a:pt x="19" y="372"/>
                      <a:pt x="12" y="373"/>
                      <a:pt x="11" y="376"/>
                    </a:cubicBezTo>
                    <a:cubicBezTo>
                      <a:pt x="11" y="378"/>
                      <a:pt x="16" y="379"/>
                      <a:pt x="16" y="381"/>
                    </a:cubicBezTo>
                    <a:cubicBezTo>
                      <a:pt x="17" y="385"/>
                      <a:pt x="16" y="388"/>
                      <a:pt x="16" y="391"/>
                    </a:cubicBezTo>
                    <a:cubicBezTo>
                      <a:pt x="15" y="393"/>
                      <a:pt x="14" y="394"/>
                      <a:pt x="13" y="396"/>
                    </a:cubicBezTo>
                    <a:cubicBezTo>
                      <a:pt x="13" y="397"/>
                      <a:pt x="13" y="399"/>
                      <a:pt x="13" y="400"/>
                    </a:cubicBezTo>
                    <a:cubicBezTo>
                      <a:pt x="11" y="404"/>
                      <a:pt x="7" y="407"/>
                      <a:pt x="7" y="411"/>
                    </a:cubicBezTo>
                    <a:cubicBezTo>
                      <a:pt x="7" y="414"/>
                      <a:pt x="13" y="415"/>
                      <a:pt x="14" y="417"/>
                    </a:cubicBezTo>
                    <a:cubicBezTo>
                      <a:pt x="14" y="421"/>
                      <a:pt x="12" y="424"/>
                      <a:pt x="11" y="427"/>
                    </a:cubicBezTo>
                    <a:cubicBezTo>
                      <a:pt x="10" y="429"/>
                      <a:pt x="10" y="431"/>
                      <a:pt x="8" y="433"/>
                    </a:cubicBezTo>
                    <a:cubicBezTo>
                      <a:pt x="6" y="436"/>
                      <a:pt x="2" y="437"/>
                      <a:pt x="1" y="441"/>
                    </a:cubicBezTo>
                    <a:cubicBezTo>
                      <a:pt x="0" y="445"/>
                      <a:pt x="1" y="450"/>
                      <a:pt x="3" y="453"/>
                    </a:cubicBezTo>
                    <a:cubicBezTo>
                      <a:pt x="5" y="457"/>
                      <a:pt x="4" y="462"/>
                      <a:pt x="8" y="465"/>
                    </a:cubicBezTo>
                    <a:cubicBezTo>
                      <a:pt x="10" y="466"/>
                      <a:pt x="14" y="460"/>
                      <a:pt x="16" y="463"/>
                    </a:cubicBezTo>
                    <a:cubicBezTo>
                      <a:pt x="20" y="466"/>
                      <a:pt x="19" y="472"/>
                      <a:pt x="21" y="477"/>
                    </a:cubicBezTo>
                    <a:cubicBezTo>
                      <a:pt x="21" y="478"/>
                      <a:pt x="21" y="478"/>
                      <a:pt x="22" y="479"/>
                    </a:cubicBezTo>
                    <a:cubicBezTo>
                      <a:pt x="23" y="482"/>
                      <a:pt x="24" y="487"/>
                      <a:pt x="27" y="488"/>
                    </a:cubicBezTo>
                    <a:cubicBezTo>
                      <a:pt x="34" y="490"/>
                      <a:pt x="41" y="487"/>
                      <a:pt x="49" y="488"/>
                    </a:cubicBezTo>
                    <a:cubicBezTo>
                      <a:pt x="52" y="488"/>
                      <a:pt x="55" y="490"/>
                      <a:pt x="58" y="4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1" name="Freeform 2532"/>
              <p:cNvSpPr>
                <a:spLocks noChangeAspect="1"/>
              </p:cNvSpPr>
              <p:nvPr/>
            </p:nvSpPr>
            <p:spPr bwMode="auto">
              <a:xfrm>
                <a:off x="2680555" y="4534423"/>
                <a:ext cx="134118" cy="1065430"/>
              </a:xfrm>
              <a:custGeom>
                <a:avLst/>
                <a:gdLst>
                  <a:gd name="T0" fmla="*/ 71 w 68"/>
                  <a:gd name="T1" fmla="*/ 92 h 547"/>
                  <a:gd name="T2" fmla="*/ 61 w 68"/>
                  <a:gd name="T3" fmla="*/ 60 h 547"/>
                  <a:gd name="T4" fmla="*/ 54 w 68"/>
                  <a:gd name="T5" fmla="*/ 50 h 547"/>
                  <a:gd name="T6" fmla="*/ 54 w 68"/>
                  <a:gd name="T7" fmla="*/ 37 h 547"/>
                  <a:gd name="T8" fmla="*/ 47 w 68"/>
                  <a:gd name="T9" fmla="*/ 7 h 547"/>
                  <a:gd name="T10" fmla="*/ 35 w 68"/>
                  <a:gd name="T11" fmla="*/ 11 h 547"/>
                  <a:gd name="T12" fmla="*/ 34 w 68"/>
                  <a:gd name="T13" fmla="*/ 43 h 547"/>
                  <a:gd name="T14" fmla="*/ 34 w 68"/>
                  <a:gd name="T15" fmla="*/ 97 h 547"/>
                  <a:gd name="T16" fmla="*/ 34 w 68"/>
                  <a:gd name="T17" fmla="*/ 133 h 547"/>
                  <a:gd name="T18" fmla="*/ 33 w 68"/>
                  <a:gd name="T19" fmla="*/ 165 h 547"/>
                  <a:gd name="T20" fmla="*/ 28 w 68"/>
                  <a:gd name="T21" fmla="*/ 223 h 547"/>
                  <a:gd name="T22" fmla="*/ 30 w 68"/>
                  <a:gd name="T23" fmla="*/ 273 h 547"/>
                  <a:gd name="T24" fmla="*/ 27 w 68"/>
                  <a:gd name="T25" fmla="*/ 305 h 547"/>
                  <a:gd name="T26" fmla="*/ 13 w 68"/>
                  <a:gd name="T27" fmla="*/ 354 h 547"/>
                  <a:gd name="T28" fmla="*/ 12 w 68"/>
                  <a:gd name="T29" fmla="*/ 386 h 547"/>
                  <a:gd name="T30" fmla="*/ 12 w 68"/>
                  <a:gd name="T31" fmla="*/ 437 h 547"/>
                  <a:gd name="T32" fmla="*/ 27 w 68"/>
                  <a:gd name="T33" fmla="*/ 433 h 547"/>
                  <a:gd name="T34" fmla="*/ 34 w 68"/>
                  <a:gd name="T35" fmla="*/ 447 h 547"/>
                  <a:gd name="T36" fmla="*/ 36 w 68"/>
                  <a:gd name="T37" fmla="*/ 458 h 547"/>
                  <a:gd name="T38" fmla="*/ 34 w 68"/>
                  <a:gd name="T39" fmla="*/ 491 h 547"/>
                  <a:gd name="T40" fmla="*/ 37 w 68"/>
                  <a:gd name="T41" fmla="*/ 511 h 547"/>
                  <a:gd name="T42" fmla="*/ 28 w 68"/>
                  <a:gd name="T43" fmla="*/ 543 h 547"/>
                  <a:gd name="T44" fmla="*/ 10 w 68"/>
                  <a:gd name="T45" fmla="*/ 529 h 547"/>
                  <a:gd name="T46" fmla="*/ 5 w 68"/>
                  <a:gd name="T47" fmla="*/ 542 h 547"/>
                  <a:gd name="T48" fmla="*/ 27 w 68"/>
                  <a:gd name="T49" fmla="*/ 548 h 547"/>
                  <a:gd name="T50" fmla="*/ 17 w 68"/>
                  <a:gd name="T51" fmla="*/ 562 h 547"/>
                  <a:gd name="T52" fmla="*/ 36 w 68"/>
                  <a:gd name="T53" fmla="*/ 574 h 547"/>
                  <a:gd name="T54" fmla="*/ 22 w 68"/>
                  <a:gd name="T55" fmla="*/ 578 h 547"/>
                  <a:gd name="T56" fmla="*/ 29 w 68"/>
                  <a:gd name="T57" fmla="*/ 602 h 547"/>
                  <a:gd name="T58" fmla="*/ 30 w 68"/>
                  <a:gd name="T59" fmla="*/ 609 h 547"/>
                  <a:gd name="T60" fmla="*/ 34 w 68"/>
                  <a:gd name="T61" fmla="*/ 627 h 547"/>
                  <a:gd name="T62" fmla="*/ 41 w 68"/>
                  <a:gd name="T63" fmla="*/ 639 h 547"/>
                  <a:gd name="T64" fmla="*/ 53 w 68"/>
                  <a:gd name="T65" fmla="*/ 650 h 547"/>
                  <a:gd name="T66" fmla="*/ 58 w 68"/>
                  <a:gd name="T67" fmla="*/ 644 h 547"/>
                  <a:gd name="T68" fmla="*/ 58 w 68"/>
                  <a:gd name="T69" fmla="*/ 628 h 547"/>
                  <a:gd name="T70" fmla="*/ 40 w 68"/>
                  <a:gd name="T71" fmla="*/ 602 h 547"/>
                  <a:gd name="T72" fmla="*/ 55 w 68"/>
                  <a:gd name="T73" fmla="*/ 573 h 547"/>
                  <a:gd name="T74" fmla="*/ 54 w 68"/>
                  <a:gd name="T75" fmla="*/ 548 h 547"/>
                  <a:gd name="T76" fmla="*/ 52 w 68"/>
                  <a:gd name="T77" fmla="*/ 524 h 547"/>
                  <a:gd name="T78" fmla="*/ 53 w 68"/>
                  <a:gd name="T79" fmla="*/ 506 h 547"/>
                  <a:gd name="T80" fmla="*/ 59 w 68"/>
                  <a:gd name="T81" fmla="*/ 501 h 547"/>
                  <a:gd name="T82" fmla="*/ 47 w 68"/>
                  <a:gd name="T83" fmla="*/ 477 h 547"/>
                  <a:gd name="T84" fmla="*/ 42 w 68"/>
                  <a:gd name="T85" fmla="*/ 457 h 547"/>
                  <a:gd name="T86" fmla="*/ 41 w 68"/>
                  <a:gd name="T87" fmla="*/ 420 h 547"/>
                  <a:gd name="T88" fmla="*/ 41 w 68"/>
                  <a:gd name="T89" fmla="*/ 391 h 547"/>
                  <a:gd name="T90" fmla="*/ 41 w 68"/>
                  <a:gd name="T91" fmla="*/ 344 h 547"/>
                  <a:gd name="T92" fmla="*/ 49 w 68"/>
                  <a:gd name="T93" fmla="*/ 321 h 547"/>
                  <a:gd name="T94" fmla="*/ 51 w 68"/>
                  <a:gd name="T95" fmla="*/ 284 h 547"/>
                  <a:gd name="T96" fmla="*/ 47 w 68"/>
                  <a:gd name="T97" fmla="*/ 260 h 547"/>
                  <a:gd name="T98" fmla="*/ 51 w 68"/>
                  <a:gd name="T99" fmla="*/ 225 h 547"/>
                  <a:gd name="T100" fmla="*/ 49 w 68"/>
                  <a:gd name="T101" fmla="*/ 197 h 547"/>
                  <a:gd name="T102" fmla="*/ 70 w 68"/>
                  <a:gd name="T103" fmla="*/ 171 h 547"/>
                  <a:gd name="T104" fmla="*/ 63 w 68"/>
                  <a:gd name="T105" fmla="*/ 143 h 547"/>
                  <a:gd name="T106" fmla="*/ 60 w 68"/>
                  <a:gd name="T107" fmla="*/ 128 h 547"/>
                  <a:gd name="T108" fmla="*/ 82 w 68"/>
                  <a:gd name="T109" fmla="*/ 102 h 54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8"/>
                  <a:gd name="T166" fmla="*/ 0 h 547"/>
                  <a:gd name="T167" fmla="*/ 68 w 68"/>
                  <a:gd name="T168" fmla="*/ 547 h 54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8" h="547">
                    <a:moveTo>
                      <a:pt x="66" y="78"/>
                    </a:moveTo>
                    <a:cubicBezTo>
                      <a:pt x="65" y="78"/>
                      <a:pt x="64" y="79"/>
                      <a:pt x="62" y="78"/>
                    </a:cubicBezTo>
                    <a:cubicBezTo>
                      <a:pt x="61" y="78"/>
                      <a:pt x="60" y="78"/>
                      <a:pt x="59" y="77"/>
                    </a:cubicBezTo>
                    <a:cubicBezTo>
                      <a:pt x="58" y="75"/>
                      <a:pt x="59" y="73"/>
                      <a:pt x="58" y="72"/>
                    </a:cubicBezTo>
                    <a:cubicBezTo>
                      <a:pt x="57" y="67"/>
                      <a:pt x="55" y="62"/>
                      <a:pt x="53" y="57"/>
                    </a:cubicBezTo>
                    <a:cubicBezTo>
                      <a:pt x="52" y="55"/>
                      <a:pt x="52" y="52"/>
                      <a:pt x="51" y="50"/>
                    </a:cubicBezTo>
                    <a:cubicBezTo>
                      <a:pt x="50" y="49"/>
                      <a:pt x="48" y="50"/>
                      <a:pt x="48" y="49"/>
                    </a:cubicBezTo>
                    <a:cubicBezTo>
                      <a:pt x="47" y="48"/>
                      <a:pt x="48" y="46"/>
                      <a:pt x="48" y="45"/>
                    </a:cubicBezTo>
                    <a:cubicBezTo>
                      <a:pt x="48" y="43"/>
                      <a:pt x="46" y="43"/>
                      <a:pt x="45" y="42"/>
                    </a:cubicBezTo>
                    <a:cubicBezTo>
                      <a:pt x="45" y="40"/>
                      <a:pt x="45" y="38"/>
                      <a:pt x="45" y="36"/>
                    </a:cubicBezTo>
                    <a:cubicBezTo>
                      <a:pt x="45" y="35"/>
                      <a:pt x="46" y="34"/>
                      <a:pt x="46" y="34"/>
                    </a:cubicBezTo>
                    <a:cubicBezTo>
                      <a:pt x="47" y="33"/>
                      <a:pt x="45" y="32"/>
                      <a:pt x="45" y="31"/>
                    </a:cubicBezTo>
                    <a:cubicBezTo>
                      <a:pt x="45" y="29"/>
                      <a:pt x="47" y="28"/>
                      <a:pt x="47" y="26"/>
                    </a:cubicBezTo>
                    <a:cubicBezTo>
                      <a:pt x="46" y="24"/>
                      <a:pt x="43" y="22"/>
                      <a:pt x="42" y="20"/>
                    </a:cubicBezTo>
                    <a:cubicBezTo>
                      <a:pt x="40" y="15"/>
                      <a:pt x="41" y="11"/>
                      <a:pt x="39" y="6"/>
                    </a:cubicBezTo>
                    <a:cubicBezTo>
                      <a:pt x="38" y="4"/>
                      <a:pt x="35" y="3"/>
                      <a:pt x="34" y="1"/>
                    </a:cubicBezTo>
                    <a:cubicBezTo>
                      <a:pt x="32" y="1"/>
                      <a:pt x="30" y="0"/>
                      <a:pt x="29" y="1"/>
                    </a:cubicBezTo>
                    <a:cubicBezTo>
                      <a:pt x="28" y="4"/>
                      <a:pt x="31" y="7"/>
                      <a:pt x="29" y="9"/>
                    </a:cubicBezTo>
                    <a:cubicBezTo>
                      <a:pt x="28" y="11"/>
                      <a:pt x="25" y="11"/>
                      <a:pt x="22" y="12"/>
                    </a:cubicBezTo>
                    <a:cubicBezTo>
                      <a:pt x="23" y="15"/>
                      <a:pt x="24" y="18"/>
                      <a:pt x="24" y="21"/>
                    </a:cubicBezTo>
                    <a:cubicBezTo>
                      <a:pt x="25" y="26"/>
                      <a:pt x="27" y="31"/>
                      <a:pt x="28" y="36"/>
                    </a:cubicBezTo>
                    <a:cubicBezTo>
                      <a:pt x="28" y="39"/>
                      <a:pt x="27" y="43"/>
                      <a:pt x="27" y="47"/>
                    </a:cubicBezTo>
                    <a:cubicBezTo>
                      <a:pt x="27" y="51"/>
                      <a:pt x="29" y="54"/>
                      <a:pt x="29" y="58"/>
                    </a:cubicBezTo>
                    <a:cubicBezTo>
                      <a:pt x="30" y="66"/>
                      <a:pt x="29" y="73"/>
                      <a:pt x="28" y="81"/>
                    </a:cubicBezTo>
                    <a:cubicBezTo>
                      <a:pt x="27" y="83"/>
                      <a:pt x="26" y="86"/>
                      <a:pt x="26" y="88"/>
                    </a:cubicBezTo>
                    <a:cubicBezTo>
                      <a:pt x="26" y="90"/>
                      <a:pt x="27" y="91"/>
                      <a:pt x="27" y="93"/>
                    </a:cubicBezTo>
                    <a:cubicBezTo>
                      <a:pt x="28" y="99"/>
                      <a:pt x="27" y="105"/>
                      <a:pt x="28" y="111"/>
                    </a:cubicBezTo>
                    <a:cubicBezTo>
                      <a:pt x="28" y="113"/>
                      <a:pt x="30" y="114"/>
                      <a:pt x="29" y="116"/>
                    </a:cubicBezTo>
                    <a:cubicBezTo>
                      <a:pt x="29" y="118"/>
                      <a:pt x="27" y="120"/>
                      <a:pt x="26" y="122"/>
                    </a:cubicBezTo>
                    <a:cubicBezTo>
                      <a:pt x="26" y="127"/>
                      <a:pt x="27" y="133"/>
                      <a:pt x="27" y="138"/>
                    </a:cubicBezTo>
                    <a:cubicBezTo>
                      <a:pt x="27" y="142"/>
                      <a:pt x="26" y="147"/>
                      <a:pt x="25" y="151"/>
                    </a:cubicBezTo>
                    <a:cubicBezTo>
                      <a:pt x="24" y="158"/>
                      <a:pt x="21" y="164"/>
                      <a:pt x="21" y="171"/>
                    </a:cubicBezTo>
                    <a:cubicBezTo>
                      <a:pt x="20" y="176"/>
                      <a:pt x="24" y="181"/>
                      <a:pt x="23" y="186"/>
                    </a:cubicBezTo>
                    <a:cubicBezTo>
                      <a:pt x="23" y="189"/>
                      <a:pt x="18" y="191"/>
                      <a:pt x="18" y="195"/>
                    </a:cubicBezTo>
                    <a:cubicBezTo>
                      <a:pt x="18" y="200"/>
                      <a:pt x="21" y="205"/>
                      <a:pt x="22" y="211"/>
                    </a:cubicBezTo>
                    <a:cubicBezTo>
                      <a:pt x="23" y="216"/>
                      <a:pt x="25" y="222"/>
                      <a:pt x="25" y="228"/>
                    </a:cubicBezTo>
                    <a:cubicBezTo>
                      <a:pt x="25" y="231"/>
                      <a:pt x="22" y="233"/>
                      <a:pt x="22" y="236"/>
                    </a:cubicBezTo>
                    <a:cubicBezTo>
                      <a:pt x="22" y="239"/>
                      <a:pt x="23" y="242"/>
                      <a:pt x="23" y="246"/>
                    </a:cubicBezTo>
                    <a:cubicBezTo>
                      <a:pt x="23" y="249"/>
                      <a:pt x="23" y="251"/>
                      <a:pt x="22" y="254"/>
                    </a:cubicBezTo>
                    <a:cubicBezTo>
                      <a:pt x="21" y="257"/>
                      <a:pt x="18" y="260"/>
                      <a:pt x="18" y="263"/>
                    </a:cubicBezTo>
                    <a:cubicBezTo>
                      <a:pt x="16" y="272"/>
                      <a:pt x="17" y="280"/>
                      <a:pt x="15" y="289"/>
                    </a:cubicBezTo>
                    <a:cubicBezTo>
                      <a:pt x="15" y="291"/>
                      <a:pt x="12" y="293"/>
                      <a:pt x="11" y="295"/>
                    </a:cubicBezTo>
                    <a:cubicBezTo>
                      <a:pt x="9" y="299"/>
                      <a:pt x="7" y="302"/>
                      <a:pt x="7" y="305"/>
                    </a:cubicBezTo>
                    <a:cubicBezTo>
                      <a:pt x="7" y="308"/>
                      <a:pt x="10" y="311"/>
                      <a:pt x="11" y="314"/>
                    </a:cubicBezTo>
                    <a:cubicBezTo>
                      <a:pt x="11" y="316"/>
                      <a:pt x="10" y="319"/>
                      <a:pt x="10" y="322"/>
                    </a:cubicBezTo>
                    <a:cubicBezTo>
                      <a:pt x="10" y="326"/>
                      <a:pt x="13" y="329"/>
                      <a:pt x="13" y="333"/>
                    </a:cubicBezTo>
                    <a:cubicBezTo>
                      <a:pt x="13" y="337"/>
                      <a:pt x="10" y="341"/>
                      <a:pt x="10" y="346"/>
                    </a:cubicBezTo>
                    <a:cubicBezTo>
                      <a:pt x="9" y="352"/>
                      <a:pt x="9" y="358"/>
                      <a:pt x="10" y="364"/>
                    </a:cubicBezTo>
                    <a:cubicBezTo>
                      <a:pt x="11" y="367"/>
                      <a:pt x="12" y="371"/>
                      <a:pt x="15" y="373"/>
                    </a:cubicBezTo>
                    <a:cubicBezTo>
                      <a:pt x="17" y="374"/>
                      <a:pt x="20" y="375"/>
                      <a:pt x="21" y="373"/>
                    </a:cubicBezTo>
                    <a:cubicBezTo>
                      <a:pt x="23" y="370"/>
                      <a:pt x="21" y="365"/>
                      <a:pt x="22" y="361"/>
                    </a:cubicBezTo>
                    <a:cubicBezTo>
                      <a:pt x="22" y="360"/>
                      <a:pt x="24" y="360"/>
                      <a:pt x="24" y="361"/>
                    </a:cubicBezTo>
                    <a:cubicBezTo>
                      <a:pt x="25" y="363"/>
                      <a:pt x="24" y="366"/>
                      <a:pt x="25" y="368"/>
                    </a:cubicBezTo>
                    <a:cubicBezTo>
                      <a:pt x="25" y="369"/>
                      <a:pt x="27" y="371"/>
                      <a:pt x="28" y="373"/>
                    </a:cubicBezTo>
                    <a:cubicBezTo>
                      <a:pt x="27" y="374"/>
                      <a:pt x="25" y="376"/>
                      <a:pt x="26" y="377"/>
                    </a:cubicBezTo>
                    <a:cubicBezTo>
                      <a:pt x="26" y="378"/>
                      <a:pt x="28" y="376"/>
                      <a:pt x="29" y="378"/>
                    </a:cubicBezTo>
                    <a:cubicBezTo>
                      <a:pt x="30" y="380"/>
                      <a:pt x="30" y="380"/>
                      <a:pt x="30" y="382"/>
                    </a:cubicBezTo>
                    <a:cubicBezTo>
                      <a:pt x="26" y="383"/>
                      <a:pt x="29" y="391"/>
                      <a:pt x="28" y="394"/>
                    </a:cubicBezTo>
                    <a:cubicBezTo>
                      <a:pt x="27" y="396"/>
                      <a:pt x="26" y="398"/>
                      <a:pt x="26" y="401"/>
                    </a:cubicBezTo>
                    <a:cubicBezTo>
                      <a:pt x="26" y="404"/>
                      <a:pt x="28" y="406"/>
                      <a:pt x="28" y="409"/>
                    </a:cubicBezTo>
                    <a:cubicBezTo>
                      <a:pt x="28" y="411"/>
                      <a:pt x="25" y="413"/>
                      <a:pt x="26" y="415"/>
                    </a:cubicBezTo>
                    <a:cubicBezTo>
                      <a:pt x="27" y="417"/>
                      <a:pt x="32" y="416"/>
                      <a:pt x="32" y="417"/>
                    </a:cubicBezTo>
                    <a:cubicBezTo>
                      <a:pt x="34" y="420"/>
                      <a:pt x="33" y="424"/>
                      <a:pt x="31" y="426"/>
                    </a:cubicBezTo>
                    <a:cubicBezTo>
                      <a:pt x="30" y="428"/>
                      <a:pt x="26" y="426"/>
                      <a:pt x="25" y="428"/>
                    </a:cubicBezTo>
                    <a:cubicBezTo>
                      <a:pt x="25" y="431"/>
                      <a:pt x="29" y="432"/>
                      <a:pt x="28" y="434"/>
                    </a:cubicBezTo>
                    <a:cubicBezTo>
                      <a:pt x="28" y="441"/>
                      <a:pt x="25" y="447"/>
                      <a:pt x="23" y="453"/>
                    </a:cubicBezTo>
                    <a:cubicBezTo>
                      <a:pt x="22" y="454"/>
                      <a:pt x="21" y="453"/>
                      <a:pt x="21" y="452"/>
                    </a:cubicBezTo>
                    <a:cubicBezTo>
                      <a:pt x="20" y="449"/>
                      <a:pt x="24" y="445"/>
                      <a:pt x="22" y="444"/>
                    </a:cubicBezTo>
                    <a:cubicBezTo>
                      <a:pt x="17" y="443"/>
                      <a:pt x="13" y="440"/>
                      <a:pt x="8" y="441"/>
                    </a:cubicBezTo>
                    <a:cubicBezTo>
                      <a:pt x="7" y="446"/>
                      <a:pt x="3" y="446"/>
                      <a:pt x="2" y="450"/>
                    </a:cubicBezTo>
                    <a:cubicBezTo>
                      <a:pt x="1" y="452"/>
                      <a:pt x="0" y="456"/>
                      <a:pt x="2" y="457"/>
                    </a:cubicBezTo>
                    <a:cubicBezTo>
                      <a:pt x="4" y="457"/>
                      <a:pt x="6" y="455"/>
                      <a:pt x="4" y="452"/>
                    </a:cubicBezTo>
                    <a:cubicBezTo>
                      <a:pt x="5" y="451"/>
                      <a:pt x="7" y="452"/>
                      <a:pt x="8" y="452"/>
                    </a:cubicBezTo>
                    <a:cubicBezTo>
                      <a:pt x="10" y="451"/>
                      <a:pt x="11" y="454"/>
                      <a:pt x="12" y="455"/>
                    </a:cubicBezTo>
                    <a:cubicBezTo>
                      <a:pt x="15" y="453"/>
                      <a:pt x="20" y="455"/>
                      <a:pt x="22" y="457"/>
                    </a:cubicBezTo>
                    <a:cubicBezTo>
                      <a:pt x="23" y="459"/>
                      <a:pt x="20" y="461"/>
                      <a:pt x="20" y="462"/>
                    </a:cubicBezTo>
                    <a:cubicBezTo>
                      <a:pt x="19" y="463"/>
                      <a:pt x="18" y="465"/>
                      <a:pt x="17" y="466"/>
                    </a:cubicBezTo>
                    <a:cubicBezTo>
                      <a:pt x="16" y="467"/>
                      <a:pt x="14" y="467"/>
                      <a:pt x="14" y="469"/>
                    </a:cubicBezTo>
                    <a:cubicBezTo>
                      <a:pt x="13" y="470"/>
                      <a:pt x="12" y="472"/>
                      <a:pt x="13" y="472"/>
                    </a:cubicBezTo>
                    <a:cubicBezTo>
                      <a:pt x="18" y="473"/>
                      <a:pt x="23" y="470"/>
                      <a:pt x="28" y="472"/>
                    </a:cubicBezTo>
                    <a:cubicBezTo>
                      <a:pt x="30" y="473"/>
                      <a:pt x="32" y="477"/>
                      <a:pt x="30" y="479"/>
                    </a:cubicBezTo>
                    <a:cubicBezTo>
                      <a:pt x="29" y="481"/>
                      <a:pt x="26" y="477"/>
                      <a:pt x="23" y="477"/>
                    </a:cubicBezTo>
                    <a:cubicBezTo>
                      <a:pt x="21" y="476"/>
                      <a:pt x="18" y="474"/>
                      <a:pt x="17" y="476"/>
                    </a:cubicBezTo>
                    <a:cubicBezTo>
                      <a:pt x="15" y="477"/>
                      <a:pt x="16" y="481"/>
                      <a:pt x="18" y="482"/>
                    </a:cubicBezTo>
                    <a:cubicBezTo>
                      <a:pt x="20" y="484"/>
                      <a:pt x="24" y="480"/>
                      <a:pt x="25" y="482"/>
                    </a:cubicBezTo>
                    <a:cubicBezTo>
                      <a:pt x="26" y="485"/>
                      <a:pt x="21" y="487"/>
                      <a:pt x="21" y="490"/>
                    </a:cubicBezTo>
                    <a:cubicBezTo>
                      <a:pt x="21" y="494"/>
                      <a:pt x="21" y="499"/>
                      <a:pt x="24" y="502"/>
                    </a:cubicBezTo>
                    <a:cubicBezTo>
                      <a:pt x="26" y="503"/>
                      <a:pt x="26" y="495"/>
                      <a:pt x="28" y="496"/>
                    </a:cubicBezTo>
                    <a:cubicBezTo>
                      <a:pt x="31" y="497"/>
                      <a:pt x="28" y="501"/>
                      <a:pt x="29" y="503"/>
                    </a:cubicBezTo>
                    <a:cubicBezTo>
                      <a:pt x="28" y="505"/>
                      <a:pt x="26" y="506"/>
                      <a:pt x="25" y="508"/>
                    </a:cubicBezTo>
                    <a:cubicBezTo>
                      <a:pt x="23" y="510"/>
                      <a:pt x="21" y="513"/>
                      <a:pt x="22" y="516"/>
                    </a:cubicBezTo>
                    <a:cubicBezTo>
                      <a:pt x="24" y="518"/>
                      <a:pt x="28" y="517"/>
                      <a:pt x="30" y="519"/>
                    </a:cubicBezTo>
                    <a:cubicBezTo>
                      <a:pt x="31" y="520"/>
                      <a:pt x="28" y="522"/>
                      <a:pt x="28" y="523"/>
                    </a:cubicBezTo>
                    <a:cubicBezTo>
                      <a:pt x="29" y="525"/>
                      <a:pt x="34" y="523"/>
                      <a:pt x="34" y="525"/>
                    </a:cubicBezTo>
                    <a:cubicBezTo>
                      <a:pt x="34" y="527"/>
                      <a:pt x="29" y="526"/>
                      <a:pt x="29" y="528"/>
                    </a:cubicBezTo>
                    <a:cubicBezTo>
                      <a:pt x="29" y="530"/>
                      <a:pt x="33" y="531"/>
                      <a:pt x="34" y="533"/>
                    </a:cubicBezTo>
                    <a:cubicBezTo>
                      <a:pt x="35" y="536"/>
                      <a:pt x="34" y="540"/>
                      <a:pt x="36" y="542"/>
                    </a:cubicBezTo>
                    <a:cubicBezTo>
                      <a:pt x="38" y="545"/>
                      <a:pt x="40" y="547"/>
                      <a:pt x="43" y="547"/>
                    </a:cubicBezTo>
                    <a:cubicBezTo>
                      <a:pt x="45" y="547"/>
                      <a:pt x="43" y="543"/>
                      <a:pt x="44" y="542"/>
                    </a:cubicBezTo>
                    <a:cubicBezTo>
                      <a:pt x="44" y="540"/>
                      <a:pt x="47" y="540"/>
                      <a:pt x="47" y="539"/>
                    </a:cubicBezTo>
                    <a:cubicBezTo>
                      <a:pt x="47" y="537"/>
                      <a:pt x="44" y="536"/>
                      <a:pt x="45" y="535"/>
                    </a:cubicBezTo>
                    <a:cubicBezTo>
                      <a:pt x="45" y="534"/>
                      <a:pt x="47" y="536"/>
                      <a:pt x="48" y="537"/>
                    </a:cubicBezTo>
                    <a:cubicBezTo>
                      <a:pt x="49" y="538"/>
                      <a:pt x="52" y="539"/>
                      <a:pt x="54" y="540"/>
                    </a:cubicBezTo>
                    <a:cubicBezTo>
                      <a:pt x="53" y="539"/>
                      <a:pt x="53" y="539"/>
                      <a:pt x="53" y="538"/>
                    </a:cubicBezTo>
                    <a:cubicBezTo>
                      <a:pt x="51" y="533"/>
                      <a:pt x="52" y="527"/>
                      <a:pt x="48" y="524"/>
                    </a:cubicBezTo>
                    <a:cubicBezTo>
                      <a:pt x="46" y="521"/>
                      <a:pt x="42" y="527"/>
                      <a:pt x="40" y="526"/>
                    </a:cubicBezTo>
                    <a:cubicBezTo>
                      <a:pt x="36" y="523"/>
                      <a:pt x="37" y="518"/>
                      <a:pt x="35" y="514"/>
                    </a:cubicBezTo>
                    <a:cubicBezTo>
                      <a:pt x="33" y="511"/>
                      <a:pt x="32" y="506"/>
                      <a:pt x="33" y="502"/>
                    </a:cubicBezTo>
                    <a:cubicBezTo>
                      <a:pt x="34" y="498"/>
                      <a:pt x="38" y="497"/>
                      <a:pt x="40" y="494"/>
                    </a:cubicBezTo>
                    <a:cubicBezTo>
                      <a:pt x="42" y="492"/>
                      <a:pt x="42" y="490"/>
                      <a:pt x="43" y="488"/>
                    </a:cubicBezTo>
                    <a:cubicBezTo>
                      <a:pt x="44" y="485"/>
                      <a:pt x="46" y="482"/>
                      <a:pt x="46" y="478"/>
                    </a:cubicBezTo>
                    <a:cubicBezTo>
                      <a:pt x="45" y="476"/>
                      <a:pt x="39" y="475"/>
                      <a:pt x="39" y="472"/>
                    </a:cubicBezTo>
                    <a:cubicBezTo>
                      <a:pt x="39" y="468"/>
                      <a:pt x="43" y="465"/>
                      <a:pt x="45" y="461"/>
                    </a:cubicBezTo>
                    <a:cubicBezTo>
                      <a:pt x="45" y="460"/>
                      <a:pt x="45" y="458"/>
                      <a:pt x="45" y="457"/>
                    </a:cubicBezTo>
                    <a:cubicBezTo>
                      <a:pt x="46" y="455"/>
                      <a:pt x="47" y="454"/>
                      <a:pt x="48" y="452"/>
                    </a:cubicBezTo>
                    <a:cubicBezTo>
                      <a:pt x="48" y="449"/>
                      <a:pt x="49" y="446"/>
                      <a:pt x="48" y="442"/>
                    </a:cubicBezTo>
                    <a:cubicBezTo>
                      <a:pt x="48" y="440"/>
                      <a:pt x="43" y="439"/>
                      <a:pt x="43" y="437"/>
                    </a:cubicBezTo>
                    <a:cubicBezTo>
                      <a:pt x="44" y="434"/>
                      <a:pt x="51" y="433"/>
                      <a:pt x="50" y="430"/>
                    </a:cubicBezTo>
                    <a:cubicBezTo>
                      <a:pt x="49" y="426"/>
                      <a:pt x="42" y="427"/>
                      <a:pt x="40" y="424"/>
                    </a:cubicBezTo>
                    <a:cubicBezTo>
                      <a:pt x="39" y="423"/>
                      <a:pt x="43" y="422"/>
                      <a:pt x="44" y="422"/>
                    </a:cubicBezTo>
                    <a:cubicBezTo>
                      <a:pt x="46" y="422"/>
                      <a:pt x="47" y="425"/>
                      <a:pt x="49" y="424"/>
                    </a:cubicBezTo>
                    <a:cubicBezTo>
                      <a:pt x="50" y="424"/>
                      <a:pt x="51" y="422"/>
                      <a:pt x="51" y="421"/>
                    </a:cubicBezTo>
                    <a:cubicBezTo>
                      <a:pt x="51" y="420"/>
                      <a:pt x="51" y="418"/>
                      <a:pt x="49" y="418"/>
                    </a:cubicBezTo>
                    <a:cubicBezTo>
                      <a:pt x="47" y="417"/>
                      <a:pt x="43" y="419"/>
                      <a:pt x="41" y="417"/>
                    </a:cubicBezTo>
                    <a:cubicBezTo>
                      <a:pt x="39" y="414"/>
                      <a:pt x="42" y="411"/>
                      <a:pt x="41" y="408"/>
                    </a:cubicBezTo>
                    <a:cubicBezTo>
                      <a:pt x="41" y="405"/>
                      <a:pt x="39" y="402"/>
                      <a:pt x="39" y="398"/>
                    </a:cubicBezTo>
                    <a:cubicBezTo>
                      <a:pt x="39" y="397"/>
                      <a:pt x="40" y="396"/>
                      <a:pt x="39" y="395"/>
                    </a:cubicBezTo>
                    <a:cubicBezTo>
                      <a:pt x="38" y="394"/>
                      <a:pt x="35" y="395"/>
                      <a:pt x="35" y="394"/>
                    </a:cubicBezTo>
                    <a:cubicBezTo>
                      <a:pt x="33" y="389"/>
                      <a:pt x="34" y="385"/>
                      <a:pt x="35" y="381"/>
                    </a:cubicBezTo>
                    <a:cubicBezTo>
                      <a:pt x="35" y="378"/>
                      <a:pt x="38" y="376"/>
                      <a:pt x="37" y="373"/>
                    </a:cubicBezTo>
                    <a:cubicBezTo>
                      <a:pt x="37" y="369"/>
                      <a:pt x="34" y="366"/>
                      <a:pt x="33" y="362"/>
                    </a:cubicBezTo>
                    <a:cubicBezTo>
                      <a:pt x="33" y="358"/>
                      <a:pt x="33" y="354"/>
                      <a:pt x="34" y="350"/>
                    </a:cubicBezTo>
                    <a:cubicBezTo>
                      <a:pt x="34" y="347"/>
                      <a:pt x="34" y="344"/>
                      <a:pt x="34" y="341"/>
                    </a:cubicBezTo>
                    <a:cubicBezTo>
                      <a:pt x="34" y="339"/>
                      <a:pt x="36" y="337"/>
                      <a:pt x="36" y="335"/>
                    </a:cubicBezTo>
                    <a:cubicBezTo>
                      <a:pt x="36" y="332"/>
                      <a:pt x="33" y="329"/>
                      <a:pt x="34" y="326"/>
                    </a:cubicBezTo>
                    <a:cubicBezTo>
                      <a:pt x="36" y="324"/>
                      <a:pt x="42" y="324"/>
                      <a:pt x="42" y="321"/>
                    </a:cubicBezTo>
                    <a:cubicBezTo>
                      <a:pt x="43" y="316"/>
                      <a:pt x="38" y="312"/>
                      <a:pt x="37" y="307"/>
                    </a:cubicBezTo>
                    <a:cubicBezTo>
                      <a:pt x="35" y="300"/>
                      <a:pt x="33" y="294"/>
                      <a:pt x="34" y="287"/>
                    </a:cubicBezTo>
                    <a:cubicBezTo>
                      <a:pt x="35" y="285"/>
                      <a:pt x="41" y="286"/>
                      <a:pt x="42" y="283"/>
                    </a:cubicBezTo>
                    <a:cubicBezTo>
                      <a:pt x="44" y="275"/>
                      <a:pt x="39" y="275"/>
                      <a:pt x="39" y="270"/>
                    </a:cubicBezTo>
                    <a:cubicBezTo>
                      <a:pt x="39" y="269"/>
                      <a:pt x="41" y="269"/>
                      <a:pt x="41" y="268"/>
                    </a:cubicBezTo>
                    <a:cubicBezTo>
                      <a:pt x="42" y="260"/>
                      <a:pt x="44" y="254"/>
                      <a:pt x="46" y="248"/>
                    </a:cubicBezTo>
                    <a:cubicBezTo>
                      <a:pt x="46" y="245"/>
                      <a:pt x="49" y="240"/>
                      <a:pt x="47" y="237"/>
                    </a:cubicBezTo>
                    <a:cubicBezTo>
                      <a:pt x="47" y="235"/>
                      <a:pt x="43" y="239"/>
                      <a:pt x="42" y="237"/>
                    </a:cubicBezTo>
                    <a:cubicBezTo>
                      <a:pt x="41" y="234"/>
                      <a:pt x="44" y="230"/>
                      <a:pt x="43" y="226"/>
                    </a:cubicBezTo>
                    <a:cubicBezTo>
                      <a:pt x="42" y="224"/>
                      <a:pt x="38" y="224"/>
                      <a:pt x="37" y="221"/>
                    </a:cubicBezTo>
                    <a:cubicBezTo>
                      <a:pt x="36" y="220"/>
                      <a:pt x="39" y="219"/>
                      <a:pt x="39" y="217"/>
                    </a:cubicBezTo>
                    <a:cubicBezTo>
                      <a:pt x="39" y="215"/>
                      <a:pt x="36" y="214"/>
                      <a:pt x="36" y="212"/>
                    </a:cubicBezTo>
                    <a:cubicBezTo>
                      <a:pt x="35" y="208"/>
                      <a:pt x="35" y="205"/>
                      <a:pt x="36" y="202"/>
                    </a:cubicBezTo>
                    <a:cubicBezTo>
                      <a:pt x="37" y="197"/>
                      <a:pt x="41" y="193"/>
                      <a:pt x="42" y="188"/>
                    </a:cubicBezTo>
                    <a:cubicBezTo>
                      <a:pt x="42" y="184"/>
                      <a:pt x="43" y="177"/>
                      <a:pt x="39" y="176"/>
                    </a:cubicBezTo>
                    <a:cubicBezTo>
                      <a:pt x="40" y="175"/>
                      <a:pt x="40" y="174"/>
                      <a:pt x="41" y="172"/>
                    </a:cubicBezTo>
                    <a:cubicBezTo>
                      <a:pt x="43" y="173"/>
                      <a:pt x="40" y="167"/>
                      <a:pt x="41" y="164"/>
                    </a:cubicBezTo>
                    <a:cubicBezTo>
                      <a:pt x="43" y="161"/>
                      <a:pt x="47" y="159"/>
                      <a:pt x="48" y="156"/>
                    </a:cubicBezTo>
                    <a:cubicBezTo>
                      <a:pt x="50" y="152"/>
                      <a:pt x="49" y="147"/>
                      <a:pt x="51" y="144"/>
                    </a:cubicBezTo>
                    <a:cubicBezTo>
                      <a:pt x="52" y="142"/>
                      <a:pt x="57" y="145"/>
                      <a:pt x="58" y="143"/>
                    </a:cubicBezTo>
                    <a:cubicBezTo>
                      <a:pt x="59" y="140"/>
                      <a:pt x="54" y="138"/>
                      <a:pt x="54" y="136"/>
                    </a:cubicBezTo>
                    <a:cubicBezTo>
                      <a:pt x="53" y="134"/>
                      <a:pt x="55" y="132"/>
                      <a:pt x="55" y="129"/>
                    </a:cubicBezTo>
                    <a:cubicBezTo>
                      <a:pt x="55" y="126"/>
                      <a:pt x="53" y="123"/>
                      <a:pt x="52" y="119"/>
                    </a:cubicBezTo>
                    <a:cubicBezTo>
                      <a:pt x="52" y="118"/>
                      <a:pt x="52" y="116"/>
                      <a:pt x="53" y="114"/>
                    </a:cubicBezTo>
                    <a:cubicBezTo>
                      <a:pt x="53" y="113"/>
                      <a:pt x="55" y="114"/>
                      <a:pt x="55" y="113"/>
                    </a:cubicBezTo>
                    <a:cubicBezTo>
                      <a:pt x="54" y="111"/>
                      <a:pt x="50" y="110"/>
                      <a:pt x="50" y="107"/>
                    </a:cubicBezTo>
                    <a:cubicBezTo>
                      <a:pt x="50" y="105"/>
                      <a:pt x="53" y="103"/>
                      <a:pt x="55" y="102"/>
                    </a:cubicBezTo>
                    <a:cubicBezTo>
                      <a:pt x="58" y="100"/>
                      <a:pt x="63" y="100"/>
                      <a:pt x="65" y="97"/>
                    </a:cubicBezTo>
                    <a:cubicBezTo>
                      <a:pt x="68" y="93"/>
                      <a:pt x="67" y="89"/>
                      <a:pt x="68" y="85"/>
                    </a:cubicBezTo>
                    <a:cubicBezTo>
                      <a:pt x="68" y="83"/>
                      <a:pt x="67" y="80"/>
                      <a:pt x="66" y="7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2" name="Freeform 2533"/>
              <p:cNvSpPr>
                <a:spLocks noChangeAspect="1"/>
              </p:cNvSpPr>
              <p:nvPr/>
            </p:nvSpPr>
            <p:spPr bwMode="auto">
              <a:xfrm>
                <a:off x="2438488" y="4032567"/>
                <a:ext cx="330389" cy="524595"/>
              </a:xfrm>
              <a:custGeom>
                <a:avLst/>
                <a:gdLst>
                  <a:gd name="T0" fmla="*/ 94 w 168"/>
                  <a:gd name="T1" fmla="*/ 1 h 269"/>
                  <a:gd name="T2" fmla="*/ 105 w 168"/>
                  <a:gd name="T3" fmla="*/ 11 h 269"/>
                  <a:gd name="T4" fmla="*/ 115 w 168"/>
                  <a:gd name="T5" fmla="*/ 22 h 269"/>
                  <a:gd name="T6" fmla="*/ 124 w 168"/>
                  <a:gd name="T7" fmla="*/ 29 h 269"/>
                  <a:gd name="T8" fmla="*/ 123 w 168"/>
                  <a:gd name="T9" fmla="*/ 38 h 269"/>
                  <a:gd name="T10" fmla="*/ 138 w 168"/>
                  <a:gd name="T11" fmla="*/ 41 h 269"/>
                  <a:gd name="T12" fmla="*/ 151 w 168"/>
                  <a:gd name="T13" fmla="*/ 41 h 269"/>
                  <a:gd name="T14" fmla="*/ 167 w 168"/>
                  <a:gd name="T15" fmla="*/ 38 h 269"/>
                  <a:gd name="T16" fmla="*/ 172 w 168"/>
                  <a:gd name="T17" fmla="*/ 43 h 269"/>
                  <a:gd name="T18" fmla="*/ 170 w 168"/>
                  <a:gd name="T19" fmla="*/ 62 h 269"/>
                  <a:gd name="T20" fmla="*/ 173 w 168"/>
                  <a:gd name="T21" fmla="*/ 68 h 269"/>
                  <a:gd name="T22" fmla="*/ 168 w 168"/>
                  <a:gd name="T23" fmla="*/ 73 h 269"/>
                  <a:gd name="T24" fmla="*/ 148 w 168"/>
                  <a:gd name="T25" fmla="*/ 79 h 269"/>
                  <a:gd name="T26" fmla="*/ 131 w 168"/>
                  <a:gd name="T27" fmla="*/ 89 h 269"/>
                  <a:gd name="T28" fmla="*/ 125 w 168"/>
                  <a:gd name="T29" fmla="*/ 106 h 269"/>
                  <a:gd name="T30" fmla="*/ 115 w 168"/>
                  <a:gd name="T31" fmla="*/ 119 h 269"/>
                  <a:gd name="T32" fmla="*/ 115 w 168"/>
                  <a:gd name="T33" fmla="*/ 137 h 269"/>
                  <a:gd name="T34" fmla="*/ 131 w 168"/>
                  <a:gd name="T35" fmla="*/ 156 h 269"/>
                  <a:gd name="T36" fmla="*/ 139 w 168"/>
                  <a:gd name="T37" fmla="*/ 167 h 269"/>
                  <a:gd name="T38" fmla="*/ 154 w 168"/>
                  <a:gd name="T39" fmla="*/ 177 h 269"/>
                  <a:gd name="T40" fmla="*/ 166 w 168"/>
                  <a:gd name="T41" fmla="*/ 166 h 269"/>
                  <a:gd name="T42" fmla="*/ 178 w 168"/>
                  <a:gd name="T43" fmla="*/ 191 h 269"/>
                  <a:gd name="T44" fmla="*/ 202 w 168"/>
                  <a:gd name="T45" fmla="*/ 219 h 269"/>
                  <a:gd name="T46" fmla="*/ 195 w 168"/>
                  <a:gd name="T47" fmla="*/ 232 h 269"/>
                  <a:gd name="T48" fmla="*/ 192 w 168"/>
                  <a:gd name="T49" fmla="*/ 240 h 269"/>
                  <a:gd name="T50" fmla="*/ 190 w 168"/>
                  <a:gd name="T51" fmla="*/ 262 h 269"/>
                  <a:gd name="T52" fmla="*/ 192 w 168"/>
                  <a:gd name="T53" fmla="*/ 289 h 269"/>
                  <a:gd name="T54" fmla="*/ 185 w 168"/>
                  <a:gd name="T55" fmla="*/ 301 h 269"/>
                  <a:gd name="T56" fmla="*/ 183 w 168"/>
                  <a:gd name="T57" fmla="*/ 310 h 269"/>
                  <a:gd name="T58" fmla="*/ 174 w 168"/>
                  <a:gd name="T59" fmla="*/ 323 h 269"/>
                  <a:gd name="T60" fmla="*/ 159 w 168"/>
                  <a:gd name="T61" fmla="*/ 306 h 269"/>
                  <a:gd name="T62" fmla="*/ 131 w 168"/>
                  <a:gd name="T63" fmla="*/ 288 h 269"/>
                  <a:gd name="T64" fmla="*/ 97 w 168"/>
                  <a:gd name="T65" fmla="*/ 265 h 269"/>
                  <a:gd name="T66" fmla="*/ 83 w 168"/>
                  <a:gd name="T67" fmla="*/ 247 h 269"/>
                  <a:gd name="T68" fmla="*/ 87 w 168"/>
                  <a:gd name="T69" fmla="*/ 235 h 269"/>
                  <a:gd name="T70" fmla="*/ 61 w 168"/>
                  <a:gd name="T71" fmla="*/ 197 h 269"/>
                  <a:gd name="T72" fmla="*/ 42 w 168"/>
                  <a:gd name="T73" fmla="*/ 149 h 269"/>
                  <a:gd name="T74" fmla="*/ 31 w 168"/>
                  <a:gd name="T75" fmla="*/ 122 h 269"/>
                  <a:gd name="T76" fmla="*/ 17 w 168"/>
                  <a:gd name="T77" fmla="*/ 114 h 269"/>
                  <a:gd name="T78" fmla="*/ 5 w 168"/>
                  <a:gd name="T79" fmla="*/ 100 h 269"/>
                  <a:gd name="T80" fmla="*/ 7 w 168"/>
                  <a:gd name="T81" fmla="*/ 92 h 269"/>
                  <a:gd name="T82" fmla="*/ 5 w 168"/>
                  <a:gd name="T83" fmla="*/ 85 h 269"/>
                  <a:gd name="T84" fmla="*/ 11 w 168"/>
                  <a:gd name="T85" fmla="*/ 62 h 269"/>
                  <a:gd name="T86" fmla="*/ 20 w 168"/>
                  <a:gd name="T87" fmla="*/ 64 h 269"/>
                  <a:gd name="T88" fmla="*/ 13 w 168"/>
                  <a:gd name="T89" fmla="*/ 68 h 269"/>
                  <a:gd name="T90" fmla="*/ 16 w 168"/>
                  <a:gd name="T91" fmla="*/ 77 h 269"/>
                  <a:gd name="T92" fmla="*/ 30 w 168"/>
                  <a:gd name="T93" fmla="*/ 76 h 269"/>
                  <a:gd name="T94" fmla="*/ 35 w 168"/>
                  <a:gd name="T95" fmla="*/ 85 h 269"/>
                  <a:gd name="T96" fmla="*/ 44 w 168"/>
                  <a:gd name="T97" fmla="*/ 58 h 269"/>
                  <a:gd name="T98" fmla="*/ 73 w 168"/>
                  <a:gd name="T99" fmla="*/ 43 h 269"/>
                  <a:gd name="T100" fmla="*/ 82 w 168"/>
                  <a:gd name="T101" fmla="*/ 32 h 269"/>
                  <a:gd name="T102" fmla="*/ 89 w 168"/>
                  <a:gd name="T103" fmla="*/ 18 h 269"/>
                  <a:gd name="T104" fmla="*/ 93 w 168"/>
                  <a:gd name="T105" fmla="*/ 8 h 269"/>
                  <a:gd name="T106" fmla="*/ 89 w 168"/>
                  <a:gd name="T107" fmla="*/ 0 h 269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8"/>
                  <a:gd name="T163" fmla="*/ 0 h 269"/>
                  <a:gd name="T164" fmla="*/ 168 w 168"/>
                  <a:gd name="T165" fmla="*/ 269 h 269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8" h="269">
                    <a:moveTo>
                      <a:pt x="74" y="0"/>
                    </a:moveTo>
                    <a:cubicBezTo>
                      <a:pt x="75" y="0"/>
                      <a:pt x="77" y="0"/>
                      <a:pt x="78" y="1"/>
                    </a:cubicBezTo>
                    <a:cubicBezTo>
                      <a:pt x="79" y="1"/>
                      <a:pt x="80" y="2"/>
                      <a:pt x="81" y="3"/>
                    </a:cubicBezTo>
                    <a:cubicBezTo>
                      <a:pt x="83" y="5"/>
                      <a:pt x="85" y="7"/>
                      <a:pt x="87" y="9"/>
                    </a:cubicBezTo>
                    <a:cubicBezTo>
                      <a:pt x="88" y="11"/>
                      <a:pt x="87" y="14"/>
                      <a:pt x="89" y="15"/>
                    </a:cubicBezTo>
                    <a:cubicBezTo>
                      <a:pt x="91" y="17"/>
                      <a:pt x="94" y="17"/>
                      <a:pt x="96" y="18"/>
                    </a:cubicBezTo>
                    <a:cubicBezTo>
                      <a:pt x="98" y="20"/>
                      <a:pt x="99" y="23"/>
                      <a:pt x="101" y="25"/>
                    </a:cubicBezTo>
                    <a:cubicBezTo>
                      <a:pt x="101" y="26"/>
                      <a:pt x="102" y="23"/>
                      <a:pt x="103" y="24"/>
                    </a:cubicBezTo>
                    <a:cubicBezTo>
                      <a:pt x="104" y="25"/>
                      <a:pt x="104" y="26"/>
                      <a:pt x="103" y="28"/>
                    </a:cubicBezTo>
                    <a:cubicBezTo>
                      <a:pt x="103" y="29"/>
                      <a:pt x="101" y="30"/>
                      <a:pt x="102" y="32"/>
                    </a:cubicBezTo>
                    <a:cubicBezTo>
                      <a:pt x="102" y="33"/>
                      <a:pt x="105" y="33"/>
                      <a:pt x="107" y="33"/>
                    </a:cubicBezTo>
                    <a:cubicBezTo>
                      <a:pt x="110" y="34"/>
                      <a:pt x="112" y="34"/>
                      <a:pt x="115" y="34"/>
                    </a:cubicBezTo>
                    <a:cubicBezTo>
                      <a:pt x="117" y="33"/>
                      <a:pt x="119" y="31"/>
                      <a:pt x="122" y="31"/>
                    </a:cubicBezTo>
                    <a:cubicBezTo>
                      <a:pt x="124" y="31"/>
                      <a:pt x="125" y="34"/>
                      <a:pt x="126" y="34"/>
                    </a:cubicBezTo>
                    <a:cubicBezTo>
                      <a:pt x="128" y="34"/>
                      <a:pt x="130" y="32"/>
                      <a:pt x="132" y="31"/>
                    </a:cubicBezTo>
                    <a:cubicBezTo>
                      <a:pt x="134" y="31"/>
                      <a:pt x="137" y="31"/>
                      <a:pt x="139" y="32"/>
                    </a:cubicBezTo>
                    <a:cubicBezTo>
                      <a:pt x="140" y="33"/>
                      <a:pt x="138" y="35"/>
                      <a:pt x="139" y="36"/>
                    </a:cubicBezTo>
                    <a:cubicBezTo>
                      <a:pt x="140" y="37"/>
                      <a:pt x="143" y="35"/>
                      <a:pt x="143" y="36"/>
                    </a:cubicBezTo>
                    <a:cubicBezTo>
                      <a:pt x="142" y="42"/>
                      <a:pt x="138" y="46"/>
                      <a:pt x="137" y="51"/>
                    </a:cubicBezTo>
                    <a:cubicBezTo>
                      <a:pt x="137" y="53"/>
                      <a:pt x="140" y="51"/>
                      <a:pt x="141" y="52"/>
                    </a:cubicBezTo>
                    <a:cubicBezTo>
                      <a:pt x="142" y="52"/>
                      <a:pt x="140" y="53"/>
                      <a:pt x="141" y="54"/>
                    </a:cubicBezTo>
                    <a:cubicBezTo>
                      <a:pt x="141" y="55"/>
                      <a:pt x="143" y="56"/>
                      <a:pt x="144" y="57"/>
                    </a:cubicBezTo>
                    <a:cubicBezTo>
                      <a:pt x="145" y="59"/>
                      <a:pt x="145" y="60"/>
                      <a:pt x="145" y="62"/>
                    </a:cubicBezTo>
                    <a:cubicBezTo>
                      <a:pt x="143" y="62"/>
                      <a:pt x="142" y="61"/>
                      <a:pt x="140" y="61"/>
                    </a:cubicBezTo>
                    <a:cubicBezTo>
                      <a:pt x="138" y="61"/>
                      <a:pt x="135" y="63"/>
                      <a:pt x="133" y="63"/>
                    </a:cubicBezTo>
                    <a:cubicBezTo>
                      <a:pt x="130" y="64"/>
                      <a:pt x="127" y="66"/>
                      <a:pt x="123" y="66"/>
                    </a:cubicBezTo>
                    <a:cubicBezTo>
                      <a:pt x="122" y="67"/>
                      <a:pt x="120" y="66"/>
                      <a:pt x="118" y="66"/>
                    </a:cubicBezTo>
                    <a:cubicBezTo>
                      <a:pt x="115" y="68"/>
                      <a:pt x="111" y="70"/>
                      <a:pt x="109" y="74"/>
                    </a:cubicBezTo>
                    <a:cubicBezTo>
                      <a:pt x="108" y="76"/>
                      <a:pt x="110" y="78"/>
                      <a:pt x="109" y="81"/>
                    </a:cubicBezTo>
                    <a:cubicBezTo>
                      <a:pt x="108" y="84"/>
                      <a:pt x="104" y="85"/>
                      <a:pt x="104" y="88"/>
                    </a:cubicBezTo>
                    <a:cubicBezTo>
                      <a:pt x="103" y="90"/>
                      <a:pt x="107" y="91"/>
                      <a:pt x="106" y="92"/>
                    </a:cubicBezTo>
                    <a:cubicBezTo>
                      <a:pt x="104" y="96"/>
                      <a:pt x="98" y="96"/>
                      <a:pt x="96" y="99"/>
                    </a:cubicBezTo>
                    <a:cubicBezTo>
                      <a:pt x="94" y="101"/>
                      <a:pt x="96" y="104"/>
                      <a:pt x="96" y="106"/>
                    </a:cubicBezTo>
                    <a:cubicBezTo>
                      <a:pt x="96" y="109"/>
                      <a:pt x="96" y="112"/>
                      <a:pt x="96" y="114"/>
                    </a:cubicBezTo>
                    <a:cubicBezTo>
                      <a:pt x="96" y="117"/>
                      <a:pt x="95" y="121"/>
                      <a:pt x="97" y="123"/>
                    </a:cubicBezTo>
                    <a:cubicBezTo>
                      <a:pt x="99" y="127"/>
                      <a:pt x="106" y="127"/>
                      <a:pt x="109" y="130"/>
                    </a:cubicBezTo>
                    <a:cubicBezTo>
                      <a:pt x="110" y="132"/>
                      <a:pt x="106" y="135"/>
                      <a:pt x="108" y="137"/>
                    </a:cubicBezTo>
                    <a:cubicBezTo>
                      <a:pt x="109" y="139"/>
                      <a:pt x="114" y="137"/>
                      <a:pt x="116" y="139"/>
                    </a:cubicBezTo>
                    <a:cubicBezTo>
                      <a:pt x="118" y="141"/>
                      <a:pt x="117" y="145"/>
                      <a:pt x="119" y="147"/>
                    </a:cubicBezTo>
                    <a:cubicBezTo>
                      <a:pt x="122" y="148"/>
                      <a:pt x="126" y="148"/>
                      <a:pt x="128" y="147"/>
                    </a:cubicBezTo>
                    <a:cubicBezTo>
                      <a:pt x="132" y="145"/>
                      <a:pt x="133" y="141"/>
                      <a:pt x="136" y="138"/>
                    </a:cubicBezTo>
                    <a:cubicBezTo>
                      <a:pt x="137" y="138"/>
                      <a:pt x="138" y="138"/>
                      <a:pt x="138" y="138"/>
                    </a:cubicBezTo>
                    <a:cubicBezTo>
                      <a:pt x="139" y="145"/>
                      <a:pt x="137" y="153"/>
                      <a:pt x="140" y="159"/>
                    </a:cubicBezTo>
                    <a:cubicBezTo>
                      <a:pt x="141" y="162"/>
                      <a:pt x="145" y="159"/>
                      <a:pt x="148" y="159"/>
                    </a:cubicBezTo>
                    <a:cubicBezTo>
                      <a:pt x="149" y="159"/>
                      <a:pt x="151" y="158"/>
                      <a:pt x="152" y="158"/>
                    </a:cubicBezTo>
                    <a:cubicBezTo>
                      <a:pt x="157" y="166"/>
                      <a:pt x="162" y="174"/>
                      <a:pt x="168" y="182"/>
                    </a:cubicBezTo>
                    <a:cubicBezTo>
                      <a:pt x="167" y="184"/>
                      <a:pt x="166" y="186"/>
                      <a:pt x="165" y="188"/>
                    </a:cubicBezTo>
                    <a:cubicBezTo>
                      <a:pt x="164" y="190"/>
                      <a:pt x="163" y="191"/>
                      <a:pt x="162" y="193"/>
                    </a:cubicBezTo>
                    <a:cubicBezTo>
                      <a:pt x="162" y="195"/>
                      <a:pt x="163" y="197"/>
                      <a:pt x="163" y="200"/>
                    </a:cubicBezTo>
                    <a:cubicBezTo>
                      <a:pt x="162" y="201"/>
                      <a:pt x="160" y="199"/>
                      <a:pt x="160" y="200"/>
                    </a:cubicBezTo>
                    <a:cubicBezTo>
                      <a:pt x="160" y="202"/>
                      <a:pt x="163" y="205"/>
                      <a:pt x="163" y="207"/>
                    </a:cubicBezTo>
                    <a:cubicBezTo>
                      <a:pt x="163" y="211"/>
                      <a:pt x="158" y="214"/>
                      <a:pt x="158" y="218"/>
                    </a:cubicBezTo>
                    <a:cubicBezTo>
                      <a:pt x="157" y="220"/>
                      <a:pt x="160" y="222"/>
                      <a:pt x="160" y="224"/>
                    </a:cubicBezTo>
                    <a:cubicBezTo>
                      <a:pt x="161" y="229"/>
                      <a:pt x="161" y="235"/>
                      <a:pt x="160" y="241"/>
                    </a:cubicBezTo>
                    <a:cubicBezTo>
                      <a:pt x="160" y="243"/>
                      <a:pt x="159" y="246"/>
                      <a:pt x="157" y="248"/>
                    </a:cubicBezTo>
                    <a:cubicBezTo>
                      <a:pt x="156" y="249"/>
                      <a:pt x="154" y="250"/>
                      <a:pt x="154" y="251"/>
                    </a:cubicBezTo>
                    <a:cubicBezTo>
                      <a:pt x="153" y="253"/>
                      <a:pt x="156" y="256"/>
                      <a:pt x="157" y="258"/>
                    </a:cubicBezTo>
                    <a:cubicBezTo>
                      <a:pt x="155" y="258"/>
                      <a:pt x="153" y="257"/>
                      <a:pt x="152" y="258"/>
                    </a:cubicBezTo>
                    <a:cubicBezTo>
                      <a:pt x="151" y="261"/>
                      <a:pt x="154" y="264"/>
                      <a:pt x="152" y="266"/>
                    </a:cubicBezTo>
                    <a:cubicBezTo>
                      <a:pt x="151" y="268"/>
                      <a:pt x="148" y="268"/>
                      <a:pt x="145" y="269"/>
                    </a:cubicBezTo>
                    <a:cubicBezTo>
                      <a:pt x="143" y="266"/>
                      <a:pt x="140" y="264"/>
                      <a:pt x="138" y="262"/>
                    </a:cubicBezTo>
                    <a:cubicBezTo>
                      <a:pt x="136" y="260"/>
                      <a:pt x="134" y="257"/>
                      <a:pt x="132" y="255"/>
                    </a:cubicBezTo>
                    <a:cubicBezTo>
                      <a:pt x="129" y="252"/>
                      <a:pt x="127" y="249"/>
                      <a:pt x="123" y="246"/>
                    </a:cubicBezTo>
                    <a:cubicBezTo>
                      <a:pt x="119" y="244"/>
                      <a:pt x="114" y="242"/>
                      <a:pt x="109" y="240"/>
                    </a:cubicBezTo>
                    <a:cubicBezTo>
                      <a:pt x="105" y="237"/>
                      <a:pt x="100" y="233"/>
                      <a:pt x="95" y="230"/>
                    </a:cubicBezTo>
                    <a:cubicBezTo>
                      <a:pt x="91" y="227"/>
                      <a:pt x="86" y="225"/>
                      <a:pt x="81" y="221"/>
                    </a:cubicBezTo>
                    <a:cubicBezTo>
                      <a:pt x="79" y="219"/>
                      <a:pt x="76" y="216"/>
                      <a:pt x="74" y="213"/>
                    </a:cubicBezTo>
                    <a:cubicBezTo>
                      <a:pt x="72" y="211"/>
                      <a:pt x="70" y="209"/>
                      <a:pt x="69" y="206"/>
                    </a:cubicBezTo>
                    <a:cubicBezTo>
                      <a:pt x="68" y="205"/>
                      <a:pt x="68" y="203"/>
                      <a:pt x="69" y="202"/>
                    </a:cubicBezTo>
                    <a:cubicBezTo>
                      <a:pt x="69" y="200"/>
                      <a:pt x="72" y="198"/>
                      <a:pt x="72" y="196"/>
                    </a:cubicBezTo>
                    <a:cubicBezTo>
                      <a:pt x="70" y="191"/>
                      <a:pt x="66" y="188"/>
                      <a:pt x="63" y="184"/>
                    </a:cubicBezTo>
                    <a:cubicBezTo>
                      <a:pt x="59" y="177"/>
                      <a:pt x="55" y="171"/>
                      <a:pt x="51" y="164"/>
                    </a:cubicBezTo>
                    <a:cubicBezTo>
                      <a:pt x="47" y="156"/>
                      <a:pt x="43" y="147"/>
                      <a:pt x="40" y="139"/>
                    </a:cubicBezTo>
                    <a:cubicBezTo>
                      <a:pt x="38" y="134"/>
                      <a:pt x="37" y="128"/>
                      <a:pt x="35" y="124"/>
                    </a:cubicBezTo>
                    <a:cubicBezTo>
                      <a:pt x="34" y="120"/>
                      <a:pt x="31" y="117"/>
                      <a:pt x="29" y="113"/>
                    </a:cubicBezTo>
                    <a:cubicBezTo>
                      <a:pt x="28" y="110"/>
                      <a:pt x="28" y="105"/>
                      <a:pt x="26" y="102"/>
                    </a:cubicBezTo>
                    <a:cubicBezTo>
                      <a:pt x="24" y="99"/>
                      <a:pt x="22" y="97"/>
                      <a:pt x="19" y="95"/>
                    </a:cubicBezTo>
                    <a:cubicBezTo>
                      <a:pt x="17" y="94"/>
                      <a:pt x="15" y="95"/>
                      <a:pt x="14" y="95"/>
                    </a:cubicBezTo>
                    <a:cubicBezTo>
                      <a:pt x="11" y="93"/>
                      <a:pt x="7" y="91"/>
                      <a:pt x="5" y="88"/>
                    </a:cubicBezTo>
                    <a:cubicBezTo>
                      <a:pt x="4" y="87"/>
                      <a:pt x="4" y="85"/>
                      <a:pt x="4" y="83"/>
                    </a:cubicBezTo>
                    <a:cubicBezTo>
                      <a:pt x="5" y="82"/>
                      <a:pt x="7" y="82"/>
                      <a:pt x="7" y="80"/>
                    </a:cubicBezTo>
                    <a:cubicBezTo>
                      <a:pt x="7" y="79"/>
                      <a:pt x="7" y="78"/>
                      <a:pt x="6" y="77"/>
                    </a:cubicBezTo>
                    <a:cubicBezTo>
                      <a:pt x="5" y="76"/>
                      <a:pt x="3" y="76"/>
                      <a:pt x="3" y="75"/>
                    </a:cubicBezTo>
                    <a:cubicBezTo>
                      <a:pt x="3" y="74"/>
                      <a:pt x="4" y="72"/>
                      <a:pt x="4" y="71"/>
                    </a:cubicBezTo>
                    <a:cubicBezTo>
                      <a:pt x="3" y="68"/>
                      <a:pt x="0" y="65"/>
                      <a:pt x="1" y="62"/>
                    </a:cubicBezTo>
                    <a:cubicBezTo>
                      <a:pt x="2" y="58"/>
                      <a:pt x="6" y="55"/>
                      <a:pt x="9" y="52"/>
                    </a:cubicBezTo>
                    <a:cubicBezTo>
                      <a:pt x="10" y="50"/>
                      <a:pt x="12" y="49"/>
                      <a:pt x="14" y="48"/>
                    </a:cubicBezTo>
                    <a:cubicBezTo>
                      <a:pt x="15" y="50"/>
                      <a:pt x="16" y="51"/>
                      <a:pt x="17" y="53"/>
                    </a:cubicBezTo>
                    <a:cubicBezTo>
                      <a:pt x="17" y="54"/>
                      <a:pt x="16" y="55"/>
                      <a:pt x="16" y="55"/>
                    </a:cubicBezTo>
                    <a:cubicBezTo>
                      <a:pt x="14" y="56"/>
                      <a:pt x="12" y="56"/>
                      <a:pt x="11" y="57"/>
                    </a:cubicBezTo>
                    <a:cubicBezTo>
                      <a:pt x="12" y="59"/>
                      <a:pt x="12" y="60"/>
                      <a:pt x="13" y="61"/>
                    </a:cubicBezTo>
                    <a:cubicBezTo>
                      <a:pt x="13" y="62"/>
                      <a:pt x="12" y="64"/>
                      <a:pt x="13" y="64"/>
                    </a:cubicBezTo>
                    <a:cubicBezTo>
                      <a:pt x="15" y="64"/>
                      <a:pt x="16" y="62"/>
                      <a:pt x="18" y="61"/>
                    </a:cubicBezTo>
                    <a:cubicBezTo>
                      <a:pt x="20" y="61"/>
                      <a:pt x="23" y="61"/>
                      <a:pt x="25" y="63"/>
                    </a:cubicBezTo>
                    <a:cubicBezTo>
                      <a:pt x="26" y="65"/>
                      <a:pt x="26" y="68"/>
                      <a:pt x="27" y="70"/>
                    </a:cubicBezTo>
                    <a:cubicBezTo>
                      <a:pt x="28" y="70"/>
                      <a:pt x="29" y="71"/>
                      <a:pt x="29" y="71"/>
                    </a:cubicBezTo>
                    <a:cubicBezTo>
                      <a:pt x="31" y="69"/>
                      <a:pt x="33" y="67"/>
                      <a:pt x="34" y="64"/>
                    </a:cubicBezTo>
                    <a:cubicBezTo>
                      <a:pt x="35" y="59"/>
                      <a:pt x="36" y="53"/>
                      <a:pt x="37" y="48"/>
                    </a:cubicBezTo>
                    <a:cubicBezTo>
                      <a:pt x="38" y="46"/>
                      <a:pt x="40" y="45"/>
                      <a:pt x="42" y="44"/>
                    </a:cubicBezTo>
                    <a:cubicBezTo>
                      <a:pt x="49" y="41"/>
                      <a:pt x="55" y="39"/>
                      <a:pt x="61" y="36"/>
                    </a:cubicBezTo>
                    <a:cubicBezTo>
                      <a:pt x="62" y="35"/>
                      <a:pt x="61" y="34"/>
                      <a:pt x="62" y="33"/>
                    </a:cubicBezTo>
                    <a:cubicBezTo>
                      <a:pt x="63" y="31"/>
                      <a:pt x="66" y="29"/>
                      <a:pt x="68" y="27"/>
                    </a:cubicBezTo>
                    <a:cubicBezTo>
                      <a:pt x="69" y="26"/>
                      <a:pt x="71" y="24"/>
                      <a:pt x="72" y="23"/>
                    </a:cubicBezTo>
                    <a:cubicBezTo>
                      <a:pt x="73" y="20"/>
                      <a:pt x="72" y="17"/>
                      <a:pt x="74" y="15"/>
                    </a:cubicBezTo>
                    <a:cubicBezTo>
                      <a:pt x="74" y="13"/>
                      <a:pt x="77" y="14"/>
                      <a:pt x="77" y="13"/>
                    </a:cubicBezTo>
                    <a:cubicBezTo>
                      <a:pt x="78" y="11"/>
                      <a:pt x="78" y="9"/>
                      <a:pt x="77" y="7"/>
                    </a:cubicBezTo>
                    <a:cubicBezTo>
                      <a:pt x="77" y="5"/>
                      <a:pt x="75" y="4"/>
                      <a:pt x="74" y="2"/>
                    </a:cubicBezTo>
                    <a:cubicBezTo>
                      <a:pt x="74" y="1"/>
                      <a:pt x="74" y="1"/>
                      <a:pt x="7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3" name="Freeform 2534"/>
              <p:cNvSpPr>
                <a:spLocks noChangeAspect="1"/>
              </p:cNvSpPr>
              <p:nvPr/>
            </p:nvSpPr>
            <p:spPr bwMode="auto">
              <a:xfrm>
                <a:off x="2446665" y="3993588"/>
                <a:ext cx="145568" cy="177031"/>
              </a:xfrm>
              <a:custGeom>
                <a:avLst/>
                <a:gdLst>
                  <a:gd name="T0" fmla="*/ 12 w 74"/>
                  <a:gd name="T1" fmla="*/ 81 h 91"/>
                  <a:gd name="T2" fmla="*/ 19 w 74"/>
                  <a:gd name="T3" fmla="*/ 78 h 91"/>
                  <a:gd name="T4" fmla="*/ 22 w 74"/>
                  <a:gd name="T5" fmla="*/ 67 h 91"/>
                  <a:gd name="T6" fmla="*/ 19 w 74"/>
                  <a:gd name="T7" fmla="*/ 65 h 91"/>
                  <a:gd name="T8" fmla="*/ 17 w 74"/>
                  <a:gd name="T9" fmla="*/ 67 h 91"/>
                  <a:gd name="T10" fmla="*/ 13 w 74"/>
                  <a:gd name="T11" fmla="*/ 66 h 91"/>
                  <a:gd name="T12" fmla="*/ 10 w 74"/>
                  <a:gd name="T13" fmla="*/ 69 h 91"/>
                  <a:gd name="T14" fmla="*/ 1 w 74"/>
                  <a:gd name="T15" fmla="*/ 65 h 91"/>
                  <a:gd name="T16" fmla="*/ 2 w 74"/>
                  <a:gd name="T17" fmla="*/ 60 h 91"/>
                  <a:gd name="T18" fmla="*/ 5 w 74"/>
                  <a:gd name="T19" fmla="*/ 54 h 91"/>
                  <a:gd name="T20" fmla="*/ 2 w 74"/>
                  <a:gd name="T21" fmla="*/ 50 h 91"/>
                  <a:gd name="T22" fmla="*/ 2 w 74"/>
                  <a:gd name="T23" fmla="*/ 43 h 91"/>
                  <a:gd name="T24" fmla="*/ 7 w 74"/>
                  <a:gd name="T25" fmla="*/ 35 h 91"/>
                  <a:gd name="T26" fmla="*/ 5 w 74"/>
                  <a:gd name="T27" fmla="*/ 31 h 91"/>
                  <a:gd name="T28" fmla="*/ 12 w 74"/>
                  <a:gd name="T29" fmla="*/ 24 h 91"/>
                  <a:gd name="T30" fmla="*/ 13 w 74"/>
                  <a:gd name="T31" fmla="*/ 17 h 91"/>
                  <a:gd name="T32" fmla="*/ 13 w 74"/>
                  <a:gd name="T33" fmla="*/ 11 h 91"/>
                  <a:gd name="T34" fmla="*/ 20 w 74"/>
                  <a:gd name="T35" fmla="*/ 7 h 91"/>
                  <a:gd name="T36" fmla="*/ 28 w 74"/>
                  <a:gd name="T37" fmla="*/ 2 h 91"/>
                  <a:gd name="T38" fmla="*/ 32 w 74"/>
                  <a:gd name="T39" fmla="*/ 0 h 91"/>
                  <a:gd name="T40" fmla="*/ 41 w 74"/>
                  <a:gd name="T41" fmla="*/ 4 h 91"/>
                  <a:gd name="T42" fmla="*/ 45 w 74"/>
                  <a:gd name="T43" fmla="*/ 7 h 91"/>
                  <a:gd name="T44" fmla="*/ 51 w 74"/>
                  <a:gd name="T45" fmla="*/ 11 h 91"/>
                  <a:gd name="T46" fmla="*/ 54 w 74"/>
                  <a:gd name="T47" fmla="*/ 16 h 91"/>
                  <a:gd name="T48" fmla="*/ 59 w 74"/>
                  <a:gd name="T49" fmla="*/ 16 h 91"/>
                  <a:gd name="T50" fmla="*/ 64 w 74"/>
                  <a:gd name="T51" fmla="*/ 18 h 91"/>
                  <a:gd name="T52" fmla="*/ 69 w 74"/>
                  <a:gd name="T53" fmla="*/ 18 h 91"/>
                  <a:gd name="T54" fmla="*/ 70 w 74"/>
                  <a:gd name="T55" fmla="*/ 16 h 91"/>
                  <a:gd name="T56" fmla="*/ 75 w 74"/>
                  <a:gd name="T57" fmla="*/ 17 h 91"/>
                  <a:gd name="T58" fmla="*/ 84 w 74"/>
                  <a:gd name="T59" fmla="*/ 24 h 91"/>
                  <a:gd name="T60" fmla="*/ 84 w 74"/>
                  <a:gd name="T61" fmla="*/ 26 h 91"/>
                  <a:gd name="T62" fmla="*/ 88 w 74"/>
                  <a:gd name="T63" fmla="*/ 32 h 91"/>
                  <a:gd name="T64" fmla="*/ 88 w 74"/>
                  <a:gd name="T65" fmla="*/ 40 h 91"/>
                  <a:gd name="T66" fmla="*/ 84 w 74"/>
                  <a:gd name="T67" fmla="*/ 42 h 91"/>
                  <a:gd name="T68" fmla="*/ 82 w 74"/>
                  <a:gd name="T69" fmla="*/ 52 h 91"/>
                  <a:gd name="T70" fmla="*/ 77 w 74"/>
                  <a:gd name="T71" fmla="*/ 56 h 91"/>
                  <a:gd name="T72" fmla="*/ 70 w 74"/>
                  <a:gd name="T73" fmla="*/ 63 h 91"/>
                  <a:gd name="T74" fmla="*/ 69 w 74"/>
                  <a:gd name="T75" fmla="*/ 67 h 91"/>
                  <a:gd name="T76" fmla="*/ 46 w 74"/>
                  <a:gd name="T77" fmla="*/ 77 h 91"/>
                  <a:gd name="T78" fmla="*/ 40 w 74"/>
                  <a:gd name="T79" fmla="*/ 81 h 91"/>
                  <a:gd name="T80" fmla="*/ 36 w 74"/>
                  <a:gd name="T81" fmla="*/ 101 h 91"/>
                  <a:gd name="T82" fmla="*/ 30 w 74"/>
                  <a:gd name="T83" fmla="*/ 109 h 91"/>
                  <a:gd name="T84" fmla="*/ 28 w 74"/>
                  <a:gd name="T85" fmla="*/ 108 h 91"/>
                  <a:gd name="T86" fmla="*/ 25 w 74"/>
                  <a:gd name="T87" fmla="*/ 99 h 91"/>
                  <a:gd name="T88" fmla="*/ 17 w 74"/>
                  <a:gd name="T89" fmla="*/ 97 h 91"/>
                  <a:gd name="T90" fmla="*/ 11 w 74"/>
                  <a:gd name="T91" fmla="*/ 101 h 91"/>
                  <a:gd name="T92" fmla="*/ 11 w 74"/>
                  <a:gd name="T93" fmla="*/ 97 h 91"/>
                  <a:gd name="T94" fmla="*/ 8 w 74"/>
                  <a:gd name="T95" fmla="*/ 92 h 91"/>
                  <a:gd name="T96" fmla="*/ 14 w 74"/>
                  <a:gd name="T97" fmla="*/ 90 h 91"/>
                  <a:gd name="T98" fmla="*/ 16 w 74"/>
                  <a:gd name="T99" fmla="*/ 87 h 91"/>
                  <a:gd name="T100" fmla="*/ 12 w 74"/>
                  <a:gd name="T101" fmla="*/ 81 h 9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74"/>
                  <a:gd name="T154" fmla="*/ 0 h 91"/>
                  <a:gd name="T155" fmla="*/ 74 w 74"/>
                  <a:gd name="T156" fmla="*/ 91 h 9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74" h="91">
                    <a:moveTo>
                      <a:pt x="10" y="68"/>
                    </a:moveTo>
                    <a:cubicBezTo>
                      <a:pt x="12" y="67"/>
                      <a:pt x="15" y="67"/>
                      <a:pt x="16" y="65"/>
                    </a:cubicBezTo>
                    <a:cubicBezTo>
                      <a:pt x="18" y="63"/>
                      <a:pt x="18" y="60"/>
                      <a:pt x="18" y="56"/>
                    </a:cubicBezTo>
                    <a:cubicBezTo>
                      <a:pt x="18" y="55"/>
                      <a:pt x="17" y="54"/>
                      <a:pt x="16" y="54"/>
                    </a:cubicBezTo>
                    <a:cubicBezTo>
                      <a:pt x="15" y="54"/>
                      <a:pt x="15" y="56"/>
                      <a:pt x="14" y="56"/>
                    </a:cubicBezTo>
                    <a:cubicBezTo>
                      <a:pt x="13" y="56"/>
                      <a:pt x="12" y="54"/>
                      <a:pt x="11" y="55"/>
                    </a:cubicBezTo>
                    <a:cubicBezTo>
                      <a:pt x="10" y="55"/>
                      <a:pt x="9" y="58"/>
                      <a:pt x="8" y="58"/>
                    </a:cubicBezTo>
                    <a:cubicBezTo>
                      <a:pt x="5" y="57"/>
                      <a:pt x="3" y="56"/>
                      <a:pt x="1" y="54"/>
                    </a:cubicBezTo>
                    <a:cubicBezTo>
                      <a:pt x="0" y="53"/>
                      <a:pt x="2" y="51"/>
                      <a:pt x="2" y="50"/>
                    </a:cubicBezTo>
                    <a:cubicBezTo>
                      <a:pt x="3" y="48"/>
                      <a:pt x="4" y="47"/>
                      <a:pt x="4" y="45"/>
                    </a:cubicBezTo>
                    <a:cubicBezTo>
                      <a:pt x="4" y="44"/>
                      <a:pt x="2" y="43"/>
                      <a:pt x="2" y="42"/>
                    </a:cubicBezTo>
                    <a:cubicBezTo>
                      <a:pt x="1" y="40"/>
                      <a:pt x="1" y="37"/>
                      <a:pt x="2" y="36"/>
                    </a:cubicBezTo>
                    <a:cubicBezTo>
                      <a:pt x="2" y="33"/>
                      <a:pt x="5" y="31"/>
                      <a:pt x="6" y="29"/>
                    </a:cubicBezTo>
                    <a:cubicBezTo>
                      <a:pt x="6" y="28"/>
                      <a:pt x="3" y="27"/>
                      <a:pt x="4" y="26"/>
                    </a:cubicBezTo>
                    <a:cubicBezTo>
                      <a:pt x="5" y="24"/>
                      <a:pt x="8" y="22"/>
                      <a:pt x="10" y="20"/>
                    </a:cubicBezTo>
                    <a:cubicBezTo>
                      <a:pt x="11" y="18"/>
                      <a:pt x="11" y="16"/>
                      <a:pt x="11" y="14"/>
                    </a:cubicBezTo>
                    <a:cubicBezTo>
                      <a:pt x="12" y="12"/>
                      <a:pt x="10" y="10"/>
                      <a:pt x="11" y="9"/>
                    </a:cubicBezTo>
                    <a:cubicBezTo>
                      <a:pt x="12" y="7"/>
                      <a:pt x="15" y="7"/>
                      <a:pt x="17" y="6"/>
                    </a:cubicBezTo>
                    <a:cubicBezTo>
                      <a:pt x="19" y="5"/>
                      <a:pt x="21" y="3"/>
                      <a:pt x="23" y="2"/>
                    </a:cubicBezTo>
                    <a:cubicBezTo>
                      <a:pt x="24" y="1"/>
                      <a:pt x="26" y="1"/>
                      <a:pt x="27" y="0"/>
                    </a:cubicBezTo>
                    <a:lnTo>
                      <a:pt x="34" y="3"/>
                    </a:lnTo>
                    <a:lnTo>
                      <a:pt x="37" y="6"/>
                    </a:lnTo>
                    <a:lnTo>
                      <a:pt x="42" y="9"/>
                    </a:lnTo>
                    <a:lnTo>
                      <a:pt x="45" y="13"/>
                    </a:lnTo>
                    <a:lnTo>
                      <a:pt x="49" y="13"/>
                    </a:lnTo>
                    <a:lnTo>
                      <a:pt x="53" y="15"/>
                    </a:lnTo>
                    <a:lnTo>
                      <a:pt x="57" y="15"/>
                    </a:lnTo>
                    <a:lnTo>
                      <a:pt x="58" y="13"/>
                    </a:lnTo>
                    <a:lnTo>
                      <a:pt x="62" y="14"/>
                    </a:lnTo>
                    <a:lnTo>
                      <a:pt x="70" y="20"/>
                    </a:lnTo>
                    <a:cubicBezTo>
                      <a:pt x="70" y="21"/>
                      <a:pt x="70" y="21"/>
                      <a:pt x="70" y="22"/>
                    </a:cubicBezTo>
                    <a:cubicBezTo>
                      <a:pt x="71" y="24"/>
                      <a:pt x="73" y="25"/>
                      <a:pt x="73" y="27"/>
                    </a:cubicBezTo>
                    <a:cubicBezTo>
                      <a:pt x="74" y="29"/>
                      <a:pt x="74" y="31"/>
                      <a:pt x="73" y="33"/>
                    </a:cubicBezTo>
                    <a:cubicBezTo>
                      <a:pt x="73" y="34"/>
                      <a:pt x="70" y="33"/>
                      <a:pt x="70" y="35"/>
                    </a:cubicBezTo>
                    <a:cubicBezTo>
                      <a:pt x="68" y="37"/>
                      <a:pt x="69" y="40"/>
                      <a:pt x="68" y="43"/>
                    </a:cubicBezTo>
                    <a:cubicBezTo>
                      <a:pt x="67" y="44"/>
                      <a:pt x="65" y="46"/>
                      <a:pt x="64" y="47"/>
                    </a:cubicBezTo>
                    <a:cubicBezTo>
                      <a:pt x="62" y="49"/>
                      <a:pt x="59" y="51"/>
                      <a:pt x="58" y="53"/>
                    </a:cubicBezTo>
                    <a:cubicBezTo>
                      <a:pt x="57" y="54"/>
                      <a:pt x="58" y="55"/>
                      <a:pt x="57" y="56"/>
                    </a:cubicBezTo>
                    <a:cubicBezTo>
                      <a:pt x="51" y="59"/>
                      <a:pt x="45" y="61"/>
                      <a:pt x="38" y="64"/>
                    </a:cubicBezTo>
                    <a:cubicBezTo>
                      <a:pt x="36" y="65"/>
                      <a:pt x="34" y="66"/>
                      <a:pt x="33" y="68"/>
                    </a:cubicBezTo>
                    <a:cubicBezTo>
                      <a:pt x="32" y="73"/>
                      <a:pt x="31" y="79"/>
                      <a:pt x="30" y="84"/>
                    </a:cubicBezTo>
                    <a:cubicBezTo>
                      <a:pt x="29" y="87"/>
                      <a:pt x="27" y="89"/>
                      <a:pt x="25" y="91"/>
                    </a:cubicBezTo>
                    <a:cubicBezTo>
                      <a:pt x="25" y="91"/>
                      <a:pt x="24" y="90"/>
                      <a:pt x="23" y="90"/>
                    </a:cubicBezTo>
                    <a:cubicBezTo>
                      <a:pt x="22" y="88"/>
                      <a:pt x="22" y="85"/>
                      <a:pt x="21" y="83"/>
                    </a:cubicBezTo>
                    <a:cubicBezTo>
                      <a:pt x="19" y="81"/>
                      <a:pt x="16" y="81"/>
                      <a:pt x="14" y="81"/>
                    </a:cubicBezTo>
                    <a:cubicBezTo>
                      <a:pt x="12" y="82"/>
                      <a:pt x="11" y="84"/>
                      <a:pt x="9" y="84"/>
                    </a:cubicBezTo>
                    <a:cubicBezTo>
                      <a:pt x="8" y="84"/>
                      <a:pt x="9" y="82"/>
                      <a:pt x="9" y="81"/>
                    </a:cubicBezTo>
                    <a:cubicBezTo>
                      <a:pt x="8" y="80"/>
                      <a:pt x="8" y="79"/>
                      <a:pt x="7" y="77"/>
                    </a:cubicBezTo>
                    <a:cubicBezTo>
                      <a:pt x="8" y="76"/>
                      <a:pt x="10" y="76"/>
                      <a:pt x="12" y="75"/>
                    </a:cubicBezTo>
                    <a:cubicBezTo>
                      <a:pt x="12" y="75"/>
                      <a:pt x="13" y="74"/>
                      <a:pt x="13" y="73"/>
                    </a:cubicBezTo>
                    <a:cubicBezTo>
                      <a:pt x="12" y="71"/>
                      <a:pt x="11" y="70"/>
                      <a:pt x="10" y="6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4" name="Freeform 2535"/>
              <p:cNvSpPr>
                <a:spLocks noChangeAspect="1"/>
              </p:cNvSpPr>
              <p:nvPr/>
            </p:nvSpPr>
            <p:spPr bwMode="auto">
              <a:xfrm>
                <a:off x="2682190" y="3470618"/>
                <a:ext cx="93229" cy="58469"/>
              </a:xfrm>
              <a:custGeom>
                <a:avLst/>
                <a:gdLst>
                  <a:gd name="T0" fmla="*/ 5 w 47"/>
                  <a:gd name="T1" fmla="*/ 30 h 30"/>
                  <a:gd name="T2" fmla="*/ 8 w 47"/>
                  <a:gd name="T3" fmla="*/ 36 h 30"/>
                  <a:gd name="T4" fmla="*/ 15 w 47"/>
                  <a:gd name="T5" fmla="*/ 26 h 30"/>
                  <a:gd name="T6" fmla="*/ 24 w 47"/>
                  <a:gd name="T7" fmla="*/ 28 h 30"/>
                  <a:gd name="T8" fmla="*/ 34 w 47"/>
                  <a:gd name="T9" fmla="*/ 24 h 30"/>
                  <a:gd name="T10" fmla="*/ 50 w 47"/>
                  <a:gd name="T11" fmla="*/ 25 h 30"/>
                  <a:gd name="T12" fmla="*/ 56 w 47"/>
                  <a:gd name="T13" fmla="*/ 19 h 30"/>
                  <a:gd name="T14" fmla="*/ 47 w 47"/>
                  <a:gd name="T15" fmla="*/ 12 h 30"/>
                  <a:gd name="T16" fmla="*/ 36 w 47"/>
                  <a:gd name="T17" fmla="*/ 7 h 30"/>
                  <a:gd name="T18" fmla="*/ 29 w 47"/>
                  <a:gd name="T19" fmla="*/ 5 h 30"/>
                  <a:gd name="T20" fmla="*/ 16 w 47"/>
                  <a:gd name="T21" fmla="*/ 0 h 30"/>
                  <a:gd name="T22" fmla="*/ 5 w 47"/>
                  <a:gd name="T23" fmla="*/ 1 h 30"/>
                  <a:gd name="T24" fmla="*/ 6 w 47"/>
                  <a:gd name="T25" fmla="*/ 10 h 30"/>
                  <a:gd name="T26" fmla="*/ 4 w 47"/>
                  <a:gd name="T27" fmla="*/ 13 h 30"/>
                  <a:gd name="T28" fmla="*/ 5 w 47"/>
                  <a:gd name="T29" fmla="*/ 17 h 30"/>
                  <a:gd name="T30" fmla="*/ 0 w 47"/>
                  <a:gd name="T31" fmla="*/ 22 h 30"/>
                  <a:gd name="T32" fmla="*/ 6 w 47"/>
                  <a:gd name="T33" fmla="*/ 28 h 30"/>
                  <a:gd name="T34" fmla="*/ 5 w 47"/>
                  <a:gd name="T35" fmla="*/ 30 h 3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7"/>
                  <a:gd name="T55" fmla="*/ 0 h 30"/>
                  <a:gd name="T56" fmla="*/ 47 w 47"/>
                  <a:gd name="T57" fmla="*/ 30 h 3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7" h="30">
                    <a:moveTo>
                      <a:pt x="4" y="25"/>
                    </a:moveTo>
                    <a:cubicBezTo>
                      <a:pt x="5" y="27"/>
                      <a:pt x="6" y="30"/>
                      <a:pt x="7" y="30"/>
                    </a:cubicBezTo>
                    <a:cubicBezTo>
                      <a:pt x="10" y="28"/>
                      <a:pt x="9" y="23"/>
                      <a:pt x="12" y="22"/>
                    </a:cubicBezTo>
                    <a:cubicBezTo>
                      <a:pt x="14" y="21"/>
                      <a:pt x="17" y="23"/>
                      <a:pt x="20" y="23"/>
                    </a:cubicBezTo>
                    <a:cubicBezTo>
                      <a:pt x="23" y="23"/>
                      <a:pt x="25" y="20"/>
                      <a:pt x="28" y="20"/>
                    </a:cubicBezTo>
                    <a:cubicBezTo>
                      <a:pt x="32" y="20"/>
                      <a:pt x="37" y="22"/>
                      <a:pt x="41" y="21"/>
                    </a:cubicBezTo>
                    <a:cubicBezTo>
                      <a:pt x="44" y="20"/>
                      <a:pt x="47" y="18"/>
                      <a:pt x="46" y="16"/>
                    </a:cubicBezTo>
                    <a:cubicBezTo>
                      <a:pt x="46" y="13"/>
                      <a:pt x="42" y="11"/>
                      <a:pt x="39" y="10"/>
                    </a:cubicBezTo>
                    <a:cubicBezTo>
                      <a:pt x="36" y="8"/>
                      <a:pt x="33" y="8"/>
                      <a:pt x="30" y="6"/>
                    </a:cubicBezTo>
                    <a:cubicBezTo>
                      <a:pt x="28" y="6"/>
                      <a:pt x="26" y="4"/>
                      <a:pt x="24" y="4"/>
                    </a:cubicBezTo>
                    <a:cubicBezTo>
                      <a:pt x="20" y="2"/>
                      <a:pt x="16" y="1"/>
                      <a:pt x="13" y="0"/>
                    </a:cubicBezTo>
                    <a:cubicBezTo>
                      <a:pt x="10" y="0"/>
                      <a:pt x="7" y="1"/>
                      <a:pt x="4" y="1"/>
                    </a:cubicBezTo>
                    <a:cubicBezTo>
                      <a:pt x="5" y="4"/>
                      <a:pt x="6" y="6"/>
                      <a:pt x="5" y="8"/>
                    </a:cubicBezTo>
                    <a:cubicBezTo>
                      <a:pt x="5" y="10"/>
                      <a:pt x="4" y="10"/>
                      <a:pt x="3" y="11"/>
                    </a:cubicBezTo>
                    <a:cubicBezTo>
                      <a:pt x="3" y="12"/>
                      <a:pt x="4" y="13"/>
                      <a:pt x="4" y="14"/>
                    </a:cubicBezTo>
                    <a:cubicBezTo>
                      <a:pt x="3" y="16"/>
                      <a:pt x="0" y="17"/>
                      <a:pt x="0" y="18"/>
                    </a:cubicBezTo>
                    <a:cubicBezTo>
                      <a:pt x="1" y="20"/>
                      <a:pt x="4" y="21"/>
                      <a:pt x="5" y="23"/>
                    </a:cubicBezTo>
                    <a:cubicBezTo>
                      <a:pt x="5" y="24"/>
                      <a:pt x="4" y="25"/>
                      <a:pt x="4" y="2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5" name="Freeform 2536"/>
              <p:cNvSpPr>
                <a:spLocks noChangeAspect="1"/>
              </p:cNvSpPr>
              <p:nvPr/>
            </p:nvSpPr>
            <p:spPr bwMode="auto">
              <a:xfrm>
                <a:off x="1614151" y="3088946"/>
                <a:ext cx="709845" cy="534340"/>
              </a:xfrm>
              <a:custGeom>
                <a:avLst/>
                <a:gdLst>
                  <a:gd name="T0" fmla="*/ 414 w 361"/>
                  <a:gd name="T1" fmla="*/ 257 h 274"/>
                  <a:gd name="T2" fmla="*/ 421 w 361"/>
                  <a:gd name="T3" fmla="*/ 243 h 274"/>
                  <a:gd name="T4" fmla="*/ 434 w 361"/>
                  <a:gd name="T5" fmla="*/ 214 h 274"/>
                  <a:gd name="T6" fmla="*/ 396 w 361"/>
                  <a:gd name="T7" fmla="*/ 209 h 274"/>
                  <a:gd name="T8" fmla="*/ 371 w 361"/>
                  <a:gd name="T9" fmla="*/ 245 h 274"/>
                  <a:gd name="T10" fmla="*/ 364 w 361"/>
                  <a:gd name="T11" fmla="*/ 256 h 274"/>
                  <a:gd name="T12" fmla="*/ 349 w 361"/>
                  <a:gd name="T13" fmla="*/ 259 h 274"/>
                  <a:gd name="T14" fmla="*/ 339 w 361"/>
                  <a:gd name="T15" fmla="*/ 258 h 274"/>
                  <a:gd name="T16" fmla="*/ 296 w 361"/>
                  <a:gd name="T17" fmla="*/ 255 h 274"/>
                  <a:gd name="T18" fmla="*/ 269 w 361"/>
                  <a:gd name="T19" fmla="*/ 204 h 274"/>
                  <a:gd name="T20" fmla="*/ 274 w 361"/>
                  <a:gd name="T21" fmla="*/ 202 h 274"/>
                  <a:gd name="T22" fmla="*/ 270 w 361"/>
                  <a:gd name="T23" fmla="*/ 152 h 274"/>
                  <a:gd name="T24" fmla="*/ 281 w 361"/>
                  <a:gd name="T25" fmla="*/ 128 h 274"/>
                  <a:gd name="T26" fmla="*/ 251 w 361"/>
                  <a:gd name="T27" fmla="*/ 107 h 274"/>
                  <a:gd name="T28" fmla="*/ 234 w 361"/>
                  <a:gd name="T29" fmla="*/ 62 h 274"/>
                  <a:gd name="T30" fmla="*/ 208 w 361"/>
                  <a:gd name="T31" fmla="*/ 55 h 274"/>
                  <a:gd name="T32" fmla="*/ 190 w 361"/>
                  <a:gd name="T33" fmla="*/ 62 h 274"/>
                  <a:gd name="T34" fmla="*/ 162 w 361"/>
                  <a:gd name="T35" fmla="*/ 25 h 274"/>
                  <a:gd name="T36" fmla="*/ 89 w 361"/>
                  <a:gd name="T37" fmla="*/ 24 h 274"/>
                  <a:gd name="T38" fmla="*/ 6 w 361"/>
                  <a:gd name="T39" fmla="*/ 0 h 274"/>
                  <a:gd name="T40" fmla="*/ 7 w 361"/>
                  <a:gd name="T41" fmla="*/ 22 h 274"/>
                  <a:gd name="T42" fmla="*/ 12 w 361"/>
                  <a:gd name="T43" fmla="*/ 46 h 274"/>
                  <a:gd name="T44" fmla="*/ 32 w 361"/>
                  <a:gd name="T45" fmla="*/ 77 h 274"/>
                  <a:gd name="T46" fmla="*/ 36 w 361"/>
                  <a:gd name="T47" fmla="*/ 91 h 274"/>
                  <a:gd name="T48" fmla="*/ 19 w 361"/>
                  <a:gd name="T49" fmla="*/ 90 h 274"/>
                  <a:gd name="T50" fmla="*/ 46 w 361"/>
                  <a:gd name="T51" fmla="*/ 107 h 274"/>
                  <a:gd name="T52" fmla="*/ 55 w 361"/>
                  <a:gd name="T53" fmla="*/ 139 h 274"/>
                  <a:gd name="T54" fmla="*/ 72 w 361"/>
                  <a:gd name="T55" fmla="*/ 157 h 274"/>
                  <a:gd name="T56" fmla="*/ 95 w 361"/>
                  <a:gd name="T57" fmla="*/ 172 h 274"/>
                  <a:gd name="T58" fmla="*/ 83 w 361"/>
                  <a:gd name="T59" fmla="*/ 157 h 274"/>
                  <a:gd name="T60" fmla="*/ 73 w 361"/>
                  <a:gd name="T61" fmla="*/ 119 h 274"/>
                  <a:gd name="T62" fmla="*/ 54 w 361"/>
                  <a:gd name="T63" fmla="*/ 91 h 274"/>
                  <a:gd name="T64" fmla="*/ 41 w 361"/>
                  <a:gd name="T65" fmla="*/ 60 h 274"/>
                  <a:gd name="T66" fmla="*/ 31 w 361"/>
                  <a:gd name="T67" fmla="*/ 18 h 274"/>
                  <a:gd name="T68" fmla="*/ 53 w 361"/>
                  <a:gd name="T69" fmla="*/ 26 h 274"/>
                  <a:gd name="T70" fmla="*/ 61 w 361"/>
                  <a:gd name="T71" fmla="*/ 67 h 274"/>
                  <a:gd name="T72" fmla="*/ 85 w 361"/>
                  <a:gd name="T73" fmla="*/ 94 h 274"/>
                  <a:gd name="T74" fmla="*/ 95 w 361"/>
                  <a:gd name="T75" fmla="*/ 109 h 274"/>
                  <a:gd name="T76" fmla="*/ 100 w 361"/>
                  <a:gd name="T77" fmla="*/ 121 h 274"/>
                  <a:gd name="T78" fmla="*/ 118 w 361"/>
                  <a:gd name="T79" fmla="*/ 138 h 274"/>
                  <a:gd name="T80" fmla="*/ 138 w 361"/>
                  <a:gd name="T81" fmla="*/ 172 h 274"/>
                  <a:gd name="T82" fmla="*/ 148 w 361"/>
                  <a:gd name="T83" fmla="*/ 217 h 274"/>
                  <a:gd name="T84" fmla="*/ 153 w 361"/>
                  <a:gd name="T85" fmla="*/ 239 h 274"/>
                  <a:gd name="T86" fmla="*/ 198 w 361"/>
                  <a:gd name="T87" fmla="*/ 267 h 274"/>
                  <a:gd name="T88" fmla="*/ 252 w 361"/>
                  <a:gd name="T89" fmla="*/ 295 h 274"/>
                  <a:gd name="T90" fmla="*/ 302 w 361"/>
                  <a:gd name="T91" fmla="*/ 300 h 274"/>
                  <a:gd name="T92" fmla="*/ 321 w 361"/>
                  <a:gd name="T93" fmla="*/ 304 h 274"/>
                  <a:gd name="T94" fmla="*/ 345 w 361"/>
                  <a:gd name="T95" fmla="*/ 318 h 274"/>
                  <a:gd name="T96" fmla="*/ 369 w 361"/>
                  <a:gd name="T97" fmla="*/ 292 h 274"/>
                  <a:gd name="T98" fmla="*/ 365 w 361"/>
                  <a:gd name="T99" fmla="*/ 274 h 274"/>
                  <a:gd name="T100" fmla="*/ 403 w 361"/>
                  <a:gd name="T101" fmla="*/ 265 h 27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61"/>
                  <a:gd name="T154" fmla="*/ 0 h 274"/>
                  <a:gd name="T155" fmla="*/ 361 w 361"/>
                  <a:gd name="T156" fmla="*/ 274 h 27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61" h="274">
                    <a:moveTo>
                      <a:pt x="340" y="217"/>
                    </a:moveTo>
                    <a:cubicBezTo>
                      <a:pt x="340" y="216"/>
                      <a:pt x="339" y="215"/>
                      <a:pt x="340" y="214"/>
                    </a:cubicBezTo>
                    <a:cubicBezTo>
                      <a:pt x="340" y="213"/>
                      <a:pt x="341" y="212"/>
                      <a:pt x="342" y="212"/>
                    </a:cubicBezTo>
                    <a:cubicBezTo>
                      <a:pt x="343" y="212"/>
                      <a:pt x="343" y="213"/>
                      <a:pt x="344" y="214"/>
                    </a:cubicBezTo>
                    <a:cubicBezTo>
                      <a:pt x="345" y="215"/>
                      <a:pt x="345" y="218"/>
                      <a:pt x="347" y="218"/>
                    </a:cubicBezTo>
                    <a:cubicBezTo>
                      <a:pt x="348" y="219"/>
                      <a:pt x="348" y="216"/>
                      <a:pt x="348" y="215"/>
                    </a:cubicBezTo>
                    <a:cubicBezTo>
                      <a:pt x="349" y="212"/>
                      <a:pt x="351" y="209"/>
                      <a:pt x="352" y="206"/>
                    </a:cubicBezTo>
                    <a:cubicBezTo>
                      <a:pt x="352" y="204"/>
                      <a:pt x="350" y="203"/>
                      <a:pt x="350" y="202"/>
                    </a:cubicBezTo>
                    <a:cubicBezTo>
                      <a:pt x="350" y="199"/>
                      <a:pt x="352" y="198"/>
                      <a:pt x="353" y="195"/>
                    </a:cubicBezTo>
                    <a:cubicBezTo>
                      <a:pt x="353" y="193"/>
                      <a:pt x="353" y="191"/>
                      <a:pt x="354" y="189"/>
                    </a:cubicBezTo>
                    <a:cubicBezTo>
                      <a:pt x="355" y="186"/>
                      <a:pt x="358" y="185"/>
                      <a:pt x="359" y="183"/>
                    </a:cubicBezTo>
                    <a:cubicBezTo>
                      <a:pt x="360" y="181"/>
                      <a:pt x="361" y="180"/>
                      <a:pt x="361" y="178"/>
                    </a:cubicBezTo>
                    <a:cubicBezTo>
                      <a:pt x="361" y="176"/>
                      <a:pt x="360" y="174"/>
                      <a:pt x="359" y="173"/>
                    </a:cubicBezTo>
                    <a:cubicBezTo>
                      <a:pt x="356" y="172"/>
                      <a:pt x="352" y="172"/>
                      <a:pt x="349" y="172"/>
                    </a:cubicBezTo>
                    <a:cubicBezTo>
                      <a:pt x="346" y="172"/>
                      <a:pt x="343" y="172"/>
                      <a:pt x="339" y="172"/>
                    </a:cubicBezTo>
                    <a:cubicBezTo>
                      <a:pt x="336" y="173"/>
                      <a:pt x="332" y="174"/>
                      <a:pt x="329" y="174"/>
                    </a:cubicBezTo>
                    <a:cubicBezTo>
                      <a:pt x="325" y="175"/>
                      <a:pt x="321" y="174"/>
                      <a:pt x="318" y="176"/>
                    </a:cubicBezTo>
                    <a:cubicBezTo>
                      <a:pt x="315" y="179"/>
                      <a:pt x="314" y="183"/>
                      <a:pt x="313" y="186"/>
                    </a:cubicBezTo>
                    <a:cubicBezTo>
                      <a:pt x="312" y="190"/>
                      <a:pt x="313" y="193"/>
                      <a:pt x="312" y="196"/>
                    </a:cubicBezTo>
                    <a:cubicBezTo>
                      <a:pt x="311" y="199"/>
                      <a:pt x="310" y="202"/>
                      <a:pt x="309" y="204"/>
                    </a:cubicBezTo>
                    <a:cubicBezTo>
                      <a:pt x="308" y="206"/>
                      <a:pt x="306" y="208"/>
                      <a:pt x="304" y="209"/>
                    </a:cubicBezTo>
                    <a:cubicBezTo>
                      <a:pt x="303" y="209"/>
                      <a:pt x="300" y="209"/>
                      <a:pt x="299" y="210"/>
                    </a:cubicBezTo>
                    <a:cubicBezTo>
                      <a:pt x="298" y="210"/>
                      <a:pt x="300" y="210"/>
                      <a:pt x="301" y="210"/>
                    </a:cubicBezTo>
                    <a:cubicBezTo>
                      <a:pt x="302" y="211"/>
                      <a:pt x="303" y="212"/>
                      <a:pt x="303" y="213"/>
                    </a:cubicBezTo>
                    <a:cubicBezTo>
                      <a:pt x="303" y="214"/>
                      <a:pt x="300" y="215"/>
                      <a:pt x="299" y="215"/>
                    </a:cubicBezTo>
                    <a:cubicBezTo>
                      <a:pt x="298" y="216"/>
                      <a:pt x="298" y="218"/>
                      <a:pt x="296" y="218"/>
                    </a:cubicBezTo>
                    <a:cubicBezTo>
                      <a:pt x="296" y="219"/>
                      <a:pt x="297" y="217"/>
                      <a:pt x="296" y="217"/>
                    </a:cubicBezTo>
                    <a:cubicBezTo>
                      <a:pt x="294" y="216"/>
                      <a:pt x="291" y="218"/>
                      <a:pt x="290" y="216"/>
                    </a:cubicBezTo>
                    <a:cubicBezTo>
                      <a:pt x="289" y="215"/>
                      <a:pt x="294" y="215"/>
                      <a:pt x="295" y="214"/>
                    </a:cubicBezTo>
                    <a:cubicBezTo>
                      <a:pt x="295" y="213"/>
                      <a:pt x="294" y="213"/>
                      <a:pt x="294" y="212"/>
                    </a:cubicBezTo>
                    <a:cubicBezTo>
                      <a:pt x="292" y="212"/>
                      <a:pt x="290" y="211"/>
                      <a:pt x="288" y="211"/>
                    </a:cubicBezTo>
                    <a:cubicBezTo>
                      <a:pt x="286" y="212"/>
                      <a:pt x="284" y="214"/>
                      <a:pt x="282" y="215"/>
                    </a:cubicBezTo>
                    <a:cubicBezTo>
                      <a:pt x="278" y="216"/>
                      <a:pt x="273" y="218"/>
                      <a:pt x="268" y="219"/>
                    </a:cubicBezTo>
                    <a:cubicBezTo>
                      <a:pt x="266" y="220"/>
                      <a:pt x="263" y="220"/>
                      <a:pt x="261" y="218"/>
                    </a:cubicBezTo>
                    <a:cubicBezTo>
                      <a:pt x="258" y="217"/>
                      <a:pt x="257" y="214"/>
                      <a:pt x="254" y="212"/>
                    </a:cubicBezTo>
                    <a:cubicBezTo>
                      <a:pt x="252" y="211"/>
                      <a:pt x="249" y="214"/>
                      <a:pt x="246" y="212"/>
                    </a:cubicBezTo>
                    <a:cubicBezTo>
                      <a:pt x="244" y="211"/>
                      <a:pt x="243" y="209"/>
                      <a:pt x="242" y="207"/>
                    </a:cubicBezTo>
                    <a:cubicBezTo>
                      <a:pt x="241" y="203"/>
                      <a:pt x="240" y="200"/>
                      <a:pt x="238" y="196"/>
                    </a:cubicBezTo>
                    <a:cubicBezTo>
                      <a:pt x="236" y="193"/>
                      <a:pt x="232" y="190"/>
                      <a:pt x="230" y="187"/>
                    </a:cubicBezTo>
                    <a:cubicBezTo>
                      <a:pt x="228" y="182"/>
                      <a:pt x="226" y="176"/>
                      <a:pt x="224" y="170"/>
                    </a:cubicBezTo>
                    <a:cubicBezTo>
                      <a:pt x="224" y="169"/>
                      <a:pt x="223" y="166"/>
                      <a:pt x="224" y="167"/>
                    </a:cubicBezTo>
                    <a:cubicBezTo>
                      <a:pt x="226" y="168"/>
                      <a:pt x="226" y="170"/>
                      <a:pt x="227" y="172"/>
                    </a:cubicBezTo>
                    <a:cubicBezTo>
                      <a:pt x="227" y="173"/>
                      <a:pt x="228" y="174"/>
                      <a:pt x="228" y="173"/>
                    </a:cubicBezTo>
                    <a:cubicBezTo>
                      <a:pt x="229" y="171"/>
                      <a:pt x="228" y="170"/>
                      <a:pt x="228" y="168"/>
                    </a:cubicBezTo>
                    <a:cubicBezTo>
                      <a:pt x="227" y="165"/>
                      <a:pt x="225" y="163"/>
                      <a:pt x="224" y="160"/>
                    </a:cubicBezTo>
                    <a:cubicBezTo>
                      <a:pt x="224" y="158"/>
                      <a:pt x="224" y="155"/>
                      <a:pt x="224" y="153"/>
                    </a:cubicBezTo>
                    <a:cubicBezTo>
                      <a:pt x="224" y="148"/>
                      <a:pt x="224" y="144"/>
                      <a:pt x="224" y="140"/>
                    </a:cubicBezTo>
                    <a:cubicBezTo>
                      <a:pt x="224" y="135"/>
                      <a:pt x="224" y="131"/>
                      <a:pt x="225" y="127"/>
                    </a:cubicBezTo>
                    <a:cubicBezTo>
                      <a:pt x="225" y="125"/>
                      <a:pt x="227" y="123"/>
                      <a:pt x="228" y="120"/>
                    </a:cubicBezTo>
                    <a:cubicBezTo>
                      <a:pt x="229" y="118"/>
                      <a:pt x="227" y="116"/>
                      <a:pt x="228" y="113"/>
                    </a:cubicBezTo>
                    <a:cubicBezTo>
                      <a:pt x="229" y="112"/>
                      <a:pt x="231" y="115"/>
                      <a:pt x="231" y="114"/>
                    </a:cubicBezTo>
                    <a:cubicBezTo>
                      <a:pt x="233" y="113"/>
                      <a:pt x="233" y="109"/>
                      <a:pt x="234" y="107"/>
                    </a:cubicBezTo>
                    <a:cubicBezTo>
                      <a:pt x="232" y="106"/>
                      <a:pt x="231" y="103"/>
                      <a:pt x="229" y="103"/>
                    </a:cubicBezTo>
                    <a:cubicBezTo>
                      <a:pt x="227" y="102"/>
                      <a:pt x="225" y="103"/>
                      <a:pt x="223" y="103"/>
                    </a:cubicBezTo>
                    <a:cubicBezTo>
                      <a:pt x="220" y="101"/>
                      <a:pt x="217" y="100"/>
                      <a:pt x="215" y="98"/>
                    </a:cubicBezTo>
                    <a:cubicBezTo>
                      <a:pt x="212" y="95"/>
                      <a:pt x="211" y="92"/>
                      <a:pt x="209" y="89"/>
                    </a:cubicBezTo>
                    <a:cubicBezTo>
                      <a:pt x="208" y="87"/>
                      <a:pt x="209" y="84"/>
                      <a:pt x="208" y="82"/>
                    </a:cubicBezTo>
                    <a:cubicBezTo>
                      <a:pt x="207" y="80"/>
                      <a:pt x="205" y="78"/>
                      <a:pt x="204" y="75"/>
                    </a:cubicBezTo>
                    <a:cubicBezTo>
                      <a:pt x="202" y="71"/>
                      <a:pt x="200" y="67"/>
                      <a:pt x="198" y="62"/>
                    </a:cubicBezTo>
                    <a:cubicBezTo>
                      <a:pt x="197" y="59"/>
                      <a:pt x="196" y="55"/>
                      <a:pt x="195" y="52"/>
                    </a:cubicBezTo>
                    <a:cubicBezTo>
                      <a:pt x="194" y="49"/>
                      <a:pt x="192" y="46"/>
                      <a:pt x="190" y="45"/>
                    </a:cubicBezTo>
                    <a:cubicBezTo>
                      <a:pt x="187" y="44"/>
                      <a:pt x="185" y="44"/>
                      <a:pt x="182" y="44"/>
                    </a:cubicBezTo>
                    <a:cubicBezTo>
                      <a:pt x="180" y="44"/>
                      <a:pt x="178" y="44"/>
                      <a:pt x="177" y="44"/>
                    </a:cubicBezTo>
                    <a:cubicBezTo>
                      <a:pt x="175" y="45"/>
                      <a:pt x="174" y="45"/>
                      <a:pt x="173" y="46"/>
                    </a:cubicBezTo>
                    <a:cubicBezTo>
                      <a:pt x="172" y="47"/>
                      <a:pt x="172" y="48"/>
                      <a:pt x="171" y="49"/>
                    </a:cubicBezTo>
                    <a:cubicBezTo>
                      <a:pt x="171" y="51"/>
                      <a:pt x="171" y="53"/>
                      <a:pt x="170" y="55"/>
                    </a:cubicBezTo>
                    <a:cubicBezTo>
                      <a:pt x="170" y="56"/>
                      <a:pt x="168" y="57"/>
                      <a:pt x="167" y="57"/>
                    </a:cubicBezTo>
                    <a:cubicBezTo>
                      <a:pt x="164" y="56"/>
                      <a:pt x="161" y="53"/>
                      <a:pt x="158" y="52"/>
                    </a:cubicBezTo>
                    <a:cubicBezTo>
                      <a:pt x="156" y="50"/>
                      <a:pt x="152" y="50"/>
                      <a:pt x="151" y="48"/>
                    </a:cubicBezTo>
                    <a:cubicBezTo>
                      <a:pt x="148" y="45"/>
                      <a:pt x="148" y="41"/>
                      <a:pt x="146" y="38"/>
                    </a:cubicBezTo>
                    <a:cubicBezTo>
                      <a:pt x="145" y="35"/>
                      <a:pt x="145" y="32"/>
                      <a:pt x="143" y="30"/>
                    </a:cubicBezTo>
                    <a:cubicBezTo>
                      <a:pt x="141" y="27"/>
                      <a:pt x="138" y="24"/>
                      <a:pt x="135" y="21"/>
                    </a:cubicBezTo>
                    <a:cubicBezTo>
                      <a:pt x="133" y="18"/>
                      <a:pt x="132" y="16"/>
                      <a:pt x="131" y="13"/>
                    </a:cubicBezTo>
                    <a:cubicBezTo>
                      <a:pt x="124" y="13"/>
                      <a:pt x="117" y="13"/>
                      <a:pt x="109" y="13"/>
                    </a:cubicBezTo>
                    <a:cubicBezTo>
                      <a:pt x="109" y="16"/>
                      <a:pt x="108" y="18"/>
                      <a:pt x="108" y="21"/>
                    </a:cubicBezTo>
                    <a:cubicBezTo>
                      <a:pt x="97" y="20"/>
                      <a:pt x="86" y="20"/>
                      <a:pt x="74" y="20"/>
                    </a:cubicBezTo>
                    <a:cubicBezTo>
                      <a:pt x="74" y="20"/>
                      <a:pt x="73" y="20"/>
                      <a:pt x="72" y="20"/>
                    </a:cubicBezTo>
                    <a:cubicBezTo>
                      <a:pt x="57" y="14"/>
                      <a:pt x="43" y="8"/>
                      <a:pt x="28" y="2"/>
                    </a:cubicBezTo>
                    <a:cubicBezTo>
                      <a:pt x="28" y="2"/>
                      <a:pt x="28" y="1"/>
                      <a:pt x="28" y="0"/>
                    </a:cubicBezTo>
                    <a:cubicBezTo>
                      <a:pt x="20" y="0"/>
                      <a:pt x="13" y="0"/>
                      <a:pt x="5" y="0"/>
                    </a:cubicBezTo>
                    <a:cubicBezTo>
                      <a:pt x="3" y="1"/>
                      <a:pt x="2" y="2"/>
                      <a:pt x="0" y="3"/>
                    </a:cubicBezTo>
                    <a:cubicBezTo>
                      <a:pt x="1" y="5"/>
                      <a:pt x="3" y="7"/>
                      <a:pt x="3" y="9"/>
                    </a:cubicBezTo>
                    <a:cubicBezTo>
                      <a:pt x="4" y="11"/>
                      <a:pt x="3" y="13"/>
                      <a:pt x="3" y="15"/>
                    </a:cubicBezTo>
                    <a:cubicBezTo>
                      <a:pt x="4" y="16"/>
                      <a:pt x="5" y="17"/>
                      <a:pt x="6" y="18"/>
                    </a:cubicBezTo>
                    <a:cubicBezTo>
                      <a:pt x="6" y="22"/>
                      <a:pt x="5" y="26"/>
                      <a:pt x="6" y="29"/>
                    </a:cubicBezTo>
                    <a:cubicBezTo>
                      <a:pt x="6" y="30"/>
                      <a:pt x="7" y="31"/>
                      <a:pt x="8" y="32"/>
                    </a:cubicBezTo>
                    <a:cubicBezTo>
                      <a:pt x="8" y="33"/>
                      <a:pt x="8" y="34"/>
                      <a:pt x="8" y="35"/>
                    </a:cubicBezTo>
                    <a:cubicBezTo>
                      <a:pt x="8" y="37"/>
                      <a:pt x="10" y="37"/>
                      <a:pt x="10" y="38"/>
                    </a:cubicBezTo>
                    <a:cubicBezTo>
                      <a:pt x="11" y="40"/>
                      <a:pt x="10" y="42"/>
                      <a:pt x="10" y="45"/>
                    </a:cubicBezTo>
                    <a:cubicBezTo>
                      <a:pt x="11" y="46"/>
                      <a:pt x="12" y="47"/>
                      <a:pt x="13" y="48"/>
                    </a:cubicBezTo>
                    <a:cubicBezTo>
                      <a:pt x="15" y="50"/>
                      <a:pt x="18" y="51"/>
                      <a:pt x="20" y="54"/>
                    </a:cubicBezTo>
                    <a:cubicBezTo>
                      <a:pt x="22" y="57"/>
                      <a:pt x="25" y="60"/>
                      <a:pt x="27" y="64"/>
                    </a:cubicBezTo>
                    <a:cubicBezTo>
                      <a:pt x="27" y="65"/>
                      <a:pt x="27" y="67"/>
                      <a:pt x="27" y="68"/>
                    </a:cubicBezTo>
                    <a:cubicBezTo>
                      <a:pt x="26" y="70"/>
                      <a:pt x="24" y="70"/>
                      <a:pt x="24" y="71"/>
                    </a:cubicBezTo>
                    <a:cubicBezTo>
                      <a:pt x="24" y="73"/>
                      <a:pt x="26" y="73"/>
                      <a:pt x="27" y="74"/>
                    </a:cubicBezTo>
                    <a:cubicBezTo>
                      <a:pt x="28" y="75"/>
                      <a:pt x="30" y="75"/>
                      <a:pt x="30" y="76"/>
                    </a:cubicBezTo>
                    <a:cubicBezTo>
                      <a:pt x="29" y="78"/>
                      <a:pt x="27" y="77"/>
                      <a:pt x="25" y="77"/>
                    </a:cubicBezTo>
                    <a:cubicBezTo>
                      <a:pt x="24" y="76"/>
                      <a:pt x="23" y="75"/>
                      <a:pt x="22" y="74"/>
                    </a:cubicBezTo>
                    <a:cubicBezTo>
                      <a:pt x="19" y="74"/>
                      <a:pt x="17" y="72"/>
                      <a:pt x="14" y="73"/>
                    </a:cubicBezTo>
                    <a:cubicBezTo>
                      <a:pt x="13" y="73"/>
                      <a:pt x="15" y="74"/>
                      <a:pt x="16" y="75"/>
                    </a:cubicBezTo>
                    <a:cubicBezTo>
                      <a:pt x="18" y="77"/>
                      <a:pt x="20" y="79"/>
                      <a:pt x="21" y="81"/>
                    </a:cubicBezTo>
                    <a:cubicBezTo>
                      <a:pt x="24" y="83"/>
                      <a:pt x="26" y="86"/>
                      <a:pt x="29" y="88"/>
                    </a:cubicBezTo>
                    <a:cubicBezTo>
                      <a:pt x="30" y="89"/>
                      <a:pt x="31" y="89"/>
                      <a:pt x="33" y="90"/>
                    </a:cubicBezTo>
                    <a:cubicBezTo>
                      <a:pt x="35" y="90"/>
                      <a:pt x="37" y="88"/>
                      <a:pt x="38" y="89"/>
                    </a:cubicBezTo>
                    <a:cubicBezTo>
                      <a:pt x="40" y="90"/>
                      <a:pt x="40" y="93"/>
                      <a:pt x="41" y="94"/>
                    </a:cubicBezTo>
                    <a:cubicBezTo>
                      <a:pt x="42" y="96"/>
                      <a:pt x="43" y="97"/>
                      <a:pt x="45" y="99"/>
                    </a:cubicBezTo>
                    <a:cubicBezTo>
                      <a:pt x="46" y="101"/>
                      <a:pt x="49" y="104"/>
                      <a:pt x="49" y="107"/>
                    </a:cubicBezTo>
                    <a:cubicBezTo>
                      <a:pt x="49" y="110"/>
                      <a:pt x="46" y="113"/>
                      <a:pt x="46" y="116"/>
                    </a:cubicBezTo>
                    <a:cubicBezTo>
                      <a:pt x="45" y="118"/>
                      <a:pt x="45" y="120"/>
                      <a:pt x="46" y="121"/>
                    </a:cubicBezTo>
                    <a:cubicBezTo>
                      <a:pt x="46" y="122"/>
                      <a:pt x="48" y="121"/>
                      <a:pt x="49" y="121"/>
                    </a:cubicBezTo>
                    <a:cubicBezTo>
                      <a:pt x="50" y="122"/>
                      <a:pt x="50" y="124"/>
                      <a:pt x="52" y="125"/>
                    </a:cubicBezTo>
                    <a:cubicBezTo>
                      <a:pt x="54" y="127"/>
                      <a:pt x="57" y="129"/>
                      <a:pt x="60" y="131"/>
                    </a:cubicBezTo>
                    <a:cubicBezTo>
                      <a:pt x="63" y="133"/>
                      <a:pt x="65" y="136"/>
                      <a:pt x="68" y="139"/>
                    </a:cubicBezTo>
                    <a:cubicBezTo>
                      <a:pt x="69" y="141"/>
                      <a:pt x="70" y="144"/>
                      <a:pt x="70" y="146"/>
                    </a:cubicBezTo>
                    <a:cubicBezTo>
                      <a:pt x="71" y="148"/>
                      <a:pt x="69" y="152"/>
                      <a:pt x="70" y="151"/>
                    </a:cubicBezTo>
                    <a:cubicBezTo>
                      <a:pt x="74" y="150"/>
                      <a:pt x="77" y="147"/>
                      <a:pt x="79" y="143"/>
                    </a:cubicBezTo>
                    <a:cubicBezTo>
                      <a:pt x="79" y="142"/>
                      <a:pt x="76" y="142"/>
                      <a:pt x="75" y="140"/>
                    </a:cubicBezTo>
                    <a:cubicBezTo>
                      <a:pt x="75" y="139"/>
                      <a:pt x="76" y="138"/>
                      <a:pt x="75" y="137"/>
                    </a:cubicBezTo>
                    <a:cubicBezTo>
                      <a:pt x="74" y="134"/>
                      <a:pt x="72" y="131"/>
                      <a:pt x="70" y="129"/>
                    </a:cubicBezTo>
                    <a:cubicBezTo>
                      <a:pt x="70" y="128"/>
                      <a:pt x="70" y="132"/>
                      <a:pt x="69" y="131"/>
                    </a:cubicBezTo>
                    <a:cubicBezTo>
                      <a:pt x="68" y="131"/>
                      <a:pt x="68" y="129"/>
                      <a:pt x="67" y="128"/>
                    </a:cubicBezTo>
                    <a:cubicBezTo>
                      <a:pt x="66" y="126"/>
                      <a:pt x="66" y="123"/>
                      <a:pt x="65" y="121"/>
                    </a:cubicBezTo>
                    <a:cubicBezTo>
                      <a:pt x="63" y="116"/>
                      <a:pt x="60" y="111"/>
                      <a:pt x="59" y="106"/>
                    </a:cubicBezTo>
                    <a:cubicBezTo>
                      <a:pt x="59" y="104"/>
                      <a:pt x="61" y="101"/>
                      <a:pt x="61" y="99"/>
                    </a:cubicBezTo>
                    <a:cubicBezTo>
                      <a:pt x="60" y="96"/>
                      <a:pt x="58" y="92"/>
                      <a:pt x="56" y="90"/>
                    </a:cubicBezTo>
                    <a:cubicBezTo>
                      <a:pt x="55" y="89"/>
                      <a:pt x="55" y="94"/>
                      <a:pt x="54" y="93"/>
                    </a:cubicBezTo>
                    <a:cubicBezTo>
                      <a:pt x="52" y="90"/>
                      <a:pt x="52" y="86"/>
                      <a:pt x="51" y="84"/>
                    </a:cubicBezTo>
                    <a:cubicBezTo>
                      <a:pt x="49" y="81"/>
                      <a:pt x="46" y="79"/>
                      <a:pt x="45" y="76"/>
                    </a:cubicBezTo>
                    <a:cubicBezTo>
                      <a:pt x="44" y="73"/>
                      <a:pt x="44" y="70"/>
                      <a:pt x="43" y="67"/>
                    </a:cubicBezTo>
                    <a:cubicBezTo>
                      <a:pt x="42" y="65"/>
                      <a:pt x="40" y="63"/>
                      <a:pt x="39" y="62"/>
                    </a:cubicBezTo>
                    <a:cubicBezTo>
                      <a:pt x="38" y="61"/>
                      <a:pt x="37" y="61"/>
                      <a:pt x="36" y="60"/>
                    </a:cubicBezTo>
                    <a:cubicBezTo>
                      <a:pt x="35" y="57"/>
                      <a:pt x="36" y="53"/>
                      <a:pt x="34" y="50"/>
                    </a:cubicBezTo>
                    <a:cubicBezTo>
                      <a:pt x="32" y="47"/>
                      <a:pt x="27" y="46"/>
                      <a:pt x="25" y="42"/>
                    </a:cubicBezTo>
                    <a:cubicBezTo>
                      <a:pt x="23" y="39"/>
                      <a:pt x="25" y="36"/>
                      <a:pt x="25" y="32"/>
                    </a:cubicBezTo>
                    <a:cubicBezTo>
                      <a:pt x="25" y="30"/>
                      <a:pt x="23" y="28"/>
                      <a:pt x="23" y="26"/>
                    </a:cubicBezTo>
                    <a:cubicBezTo>
                      <a:pt x="23" y="22"/>
                      <a:pt x="22" y="17"/>
                      <a:pt x="26" y="15"/>
                    </a:cubicBezTo>
                    <a:cubicBezTo>
                      <a:pt x="29" y="13"/>
                      <a:pt x="32" y="18"/>
                      <a:pt x="35" y="19"/>
                    </a:cubicBezTo>
                    <a:cubicBezTo>
                      <a:pt x="37" y="19"/>
                      <a:pt x="38" y="17"/>
                      <a:pt x="39" y="18"/>
                    </a:cubicBezTo>
                    <a:cubicBezTo>
                      <a:pt x="40" y="19"/>
                      <a:pt x="38" y="21"/>
                      <a:pt x="39" y="22"/>
                    </a:cubicBezTo>
                    <a:cubicBezTo>
                      <a:pt x="40" y="23"/>
                      <a:pt x="43" y="21"/>
                      <a:pt x="44" y="22"/>
                    </a:cubicBezTo>
                    <a:cubicBezTo>
                      <a:pt x="45" y="24"/>
                      <a:pt x="43" y="27"/>
                      <a:pt x="44" y="30"/>
                    </a:cubicBezTo>
                    <a:cubicBezTo>
                      <a:pt x="44" y="33"/>
                      <a:pt x="45" y="36"/>
                      <a:pt x="46" y="39"/>
                    </a:cubicBezTo>
                    <a:cubicBezTo>
                      <a:pt x="47" y="43"/>
                      <a:pt x="50" y="46"/>
                      <a:pt x="51" y="49"/>
                    </a:cubicBezTo>
                    <a:cubicBezTo>
                      <a:pt x="52" y="51"/>
                      <a:pt x="50" y="54"/>
                      <a:pt x="51" y="56"/>
                    </a:cubicBezTo>
                    <a:cubicBezTo>
                      <a:pt x="52" y="59"/>
                      <a:pt x="55" y="61"/>
                      <a:pt x="58" y="64"/>
                    </a:cubicBezTo>
                    <a:cubicBezTo>
                      <a:pt x="60" y="67"/>
                      <a:pt x="62" y="70"/>
                      <a:pt x="65" y="73"/>
                    </a:cubicBezTo>
                    <a:cubicBezTo>
                      <a:pt x="67" y="74"/>
                      <a:pt x="70" y="72"/>
                      <a:pt x="72" y="74"/>
                    </a:cubicBezTo>
                    <a:cubicBezTo>
                      <a:pt x="73" y="75"/>
                      <a:pt x="71" y="77"/>
                      <a:pt x="71" y="78"/>
                    </a:cubicBezTo>
                    <a:cubicBezTo>
                      <a:pt x="71" y="80"/>
                      <a:pt x="71" y="82"/>
                      <a:pt x="72" y="84"/>
                    </a:cubicBezTo>
                    <a:cubicBezTo>
                      <a:pt x="72" y="85"/>
                      <a:pt x="73" y="85"/>
                      <a:pt x="74" y="85"/>
                    </a:cubicBezTo>
                    <a:cubicBezTo>
                      <a:pt x="75" y="85"/>
                      <a:pt x="77" y="83"/>
                      <a:pt x="77" y="84"/>
                    </a:cubicBezTo>
                    <a:cubicBezTo>
                      <a:pt x="79" y="86"/>
                      <a:pt x="77" y="89"/>
                      <a:pt x="79" y="91"/>
                    </a:cubicBezTo>
                    <a:cubicBezTo>
                      <a:pt x="79" y="92"/>
                      <a:pt x="82" y="90"/>
                      <a:pt x="83" y="91"/>
                    </a:cubicBezTo>
                    <a:cubicBezTo>
                      <a:pt x="84" y="92"/>
                      <a:pt x="84" y="93"/>
                      <a:pt x="84" y="94"/>
                    </a:cubicBezTo>
                    <a:cubicBezTo>
                      <a:pt x="85" y="96"/>
                      <a:pt x="86" y="97"/>
                      <a:pt x="86" y="99"/>
                    </a:cubicBezTo>
                    <a:cubicBezTo>
                      <a:pt x="86" y="100"/>
                      <a:pt x="84" y="100"/>
                      <a:pt x="83" y="101"/>
                    </a:cubicBezTo>
                    <a:cubicBezTo>
                      <a:pt x="83" y="102"/>
                      <a:pt x="82" y="105"/>
                      <a:pt x="83" y="107"/>
                    </a:cubicBezTo>
                    <a:cubicBezTo>
                      <a:pt x="83" y="108"/>
                      <a:pt x="86" y="105"/>
                      <a:pt x="87" y="106"/>
                    </a:cubicBezTo>
                    <a:cubicBezTo>
                      <a:pt x="89" y="107"/>
                      <a:pt x="89" y="111"/>
                      <a:pt x="91" y="112"/>
                    </a:cubicBezTo>
                    <a:cubicBezTo>
                      <a:pt x="93" y="114"/>
                      <a:pt x="96" y="113"/>
                      <a:pt x="98" y="115"/>
                    </a:cubicBezTo>
                    <a:cubicBezTo>
                      <a:pt x="99" y="116"/>
                      <a:pt x="98" y="119"/>
                      <a:pt x="99" y="121"/>
                    </a:cubicBezTo>
                    <a:cubicBezTo>
                      <a:pt x="100" y="123"/>
                      <a:pt x="102" y="125"/>
                      <a:pt x="104" y="127"/>
                    </a:cubicBezTo>
                    <a:cubicBezTo>
                      <a:pt x="106" y="129"/>
                      <a:pt x="107" y="131"/>
                      <a:pt x="108" y="133"/>
                    </a:cubicBezTo>
                    <a:cubicBezTo>
                      <a:pt x="110" y="136"/>
                      <a:pt x="113" y="140"/>
                      <a:pt x="115" y="143"/>
                    </a:cubicBezTo>
                    <a:cubicBezTo>
                      <a:pt x="118" y="148"/>
                      <a:pt x="122" y="152"/>
                      <a:pt x="125" y="157"/>
                    </a:cubicBezTo>
                    <a:cubicBezTo>
                      <a:pt x="127" y="161"/>
                      <a:pt x="128" y="166"/>
                      <a:pt x="129" y="170"/>
                    </a:cubicBezTo>
                    <a:cubicBezTo>
                      <a:pt x="129" y="172"/>
                      <a:pt x="129" y="174"/>
                      <a:pt x="129" y="175"/>
                    </a:cubicBezTo>
                    <a:cubicBezTo>
                      <a:pt x="127" y="177"/>
                      <a:pt x="124" y="178"/>
                      <a:pt x="123" y="181"/>
                    </a:cubicBezTo>
                    <a:cubicBezTo>
                      <a:pt x="123" y="182"/>
                      <a:pt x="126" y="181"/>
                      <a:pt x="127" y="183"/>
                    </a:cubicBezTo>
                    <a:cubicBezTo>
                      <a:pt x="127" y="184"/>
                      <a:pt x="125" y="185"/>
                      <a:pt x="125" y="185"/>
                    </a:cubicBezTo>
                    <a:cubicBezTo>
                      <a:pt x="124" y="187"/>
                      <a:pt x="121" y="187"/>
                      <a:pt x="122" y="189"/>
                    </a:cubicBezTo>
                    <a:cubicBezTo>
                      <a:pt x="122" y="193"/>
                      <a:pt x="125" y="196"/>
                      <a:pt x="127" y="199"/>
                    </a:cubicBezTo>
                    <a:cubicBezTo>
                      <a:pt x="129" y="201"/>
                      <a:pt x="132" y="204"/>
                      <a:pt x="135" y="206"/>
                    </a:cubicBezTo>
                    <a:cubicBezTo>
                      <a:pt x="137" y="207"/>
                      <a:pt x="140" y="207"/>
                      <a:pt x="142" y="209"/>
                    </a:cubicBezTo>
                    <a:cubicBezTo>
                      <a:pt x="145" y="211"/>
                      <a:pt x="146" y="215"/>
                      <a:pt x="150" y="217"/>
                    </a:cubicBezTo>
                    <a:cubicBezTo>
                      <a:pt x="154" y="220"/>
                      <a:pt x="161" y="219"/>
                      <a:pt x="165" y="222"/>
                    </a:cubicBezTo>
                    <a:cubicBezTo>
                      <a:pt x="169" y="224"/>
                      <a:pt x="171" y="228"/>
                      <a:pt x="174" y="230"/>
                    </a:cubicBezTo>
                    <a:cubicBezTo>
                      <a:pt x="180" y="234"/>
                      <a:pt x="187" y="238"/>
                      <a:pt x="194" y="240"/>
                    </a:cubicBezTo>
                    <a:cubicBezTo>
                      <a:pt x="197" y="242"/>
                      <a:pt x="200" y="241"/>
                      <a:pt x="203" y="242"/>
                    </a:cubicBezTo>
                    <a:cubicBezTo>
                      <a:pt x="206" y="242"/>
                      <a:pt x="208" y="245"/>
                      <a:pt x="210" y="246"/>
                    </a:cubicBezTo>
                    <a:cubicBezTo>
                      <a:pt x="213" y="248"/>
                      <a:pt x="215" y="251"/>
                      <a:pt x="219" y="252"/>
                    </a:cubicBezTo>
                    <a:cubicBezTo>
                      <a:pt x="223" y="254"/>
                      <a:pt x="228" y="256"/>
                      <a:pt x="233" y="257"/>
                    </a:cubicBezTo>
                    <a:cubicBezTo>
                      <a:pt x="235" y="258"/>
                      <a:pt x="238" y="258"/>
                      <a:pt x="241" y="257"/>
                    </a:cubicBezTo>
                    <a:cubicBezTo>
                      <a:pt x="244" y="255"/>
                      <a:pt x="247" y="252"/>
                      <a:pt x="251" y="250"/>
                    </a:cubicBezTo>
                    <a:cubicBezTo>
                      <a:pt x="252" y="249"/>
                      <a:pt x="252" y="248"/>
                      <a:pt x="253" y="248"/>
                    </a:cubicBezTo>
                    <a:cubicBezTo>
                      <a:pt x="255" y="248"/>
                      <a:pt x="256" y="249"/>
                      <a:pt x="258" y="250"/>
                    </a:cubicBezTo>
                    <a:cubicBezTo>
                      <a:pt x="258" y="250"/>
                      <a:pt x="259" y="249"/>
                      <a:pt x="259" y="250"/>
                    </a:cubicBezTo>
                    <a:cubicBezTo>
                      <a:pt x="262" y="250"/>
                      <a:pt x="265" y="251"/>
                      <a:pt x="267" y="253"/>
                    </a:cubicBezTo>
                    <a:cubicBezTo>
                      <a:pt x="270" y="256"/>
                      <a:pt x="272" y="260"/>
                      <a:pt x="275" y="264"/>
                    </a:cubicBezTo>
                    <a:cubicBezTo>
                      <a:pt x="278" y="267"/>
                      <a:pt x="283" y="271"/>
                      <a:pt x="286" y="274"/>
                    </a:cubicBezTo>
                    <a:cubicBezTo>
                      <a:pt x="286" y="273"/>
                      <a:pt x="287" y="271"/>
                      <a:pt x="288" y="270"/>
                    </a:cubicBezTo>
                    <a:cubicBezTo>
                      <a:pt x="288" y="268"/>
                      <a:pt x="287" y="267"/>
                      <a:pt x="287" y="265"/>
                    </a:cubicBezTo>
                    <a:cubicBezTo>
                      <a:pt x="289" y="261"/>
                      <a:pt x="291" y="257"/>
                      <a:pt x="293" y="252"/>
                    </a:cubicBezTo>
                    <a:cubicBezTo>
                      <a:pt x="298" y="252"/>
                      <a:pt x="304" y="253"/>
                      <a:pt x="309" y="253"/>
                    </a:cubicBezTo>
                    <a:cubicBezTo>
                      <a:pt x="309" y="251"/>
                      <a:pt x="310" y="248"/>
                      <a:pt x="308" y="246"/>
                    </a:cubicBezTo>
                    <a:cubicBezTo>
                      <a:pt x="307" y="246"/>
                      <a:pt x="308" y="244"/>
                      <a:pt x="307" y="243"/>
                    </a:cubicBezTo>
                    <a:cubicBezTo>
                      <a:pt x="306" y="242"/>
                      <a:pt x="304" y="243"/>
                      <a:pt x="303" y="242"/>
                    </a:cubicBezTo>
                    <a:cubicBezTo>
                      <a:pt x="301" y="241"/>
                      <a:pt x="298" y="239"/>
                      <a:pt x="298" y="237"/>
                    </a:cubicBezTo>
                    <a:cubicBezTo>
                      <a:pt x="298" y="236"/>
                      <a:pt x="302" y="238"/>
                      <a:pt x="303" y="236"/>
                    </a:cubicBezTo>
                    <a:cubicBezTo>
                      <a:pt x="305" y="234"/>
                      <a:pt x="304" y="231"/>
                      <a:pt x="304" y="228"/>
                    </a:cubicBezTo>
                    <a:cubicBezTo>
                      <a:pt x="312" y="227"/>
                      <a:pt x="320" y="228"/>
                      <a:pt x="328" y="227"/>
                    </a:cubicBezTo>
                    <a:cubicBezTo>
                      <a:pt x="329" y="226"/>
                      <a:pt x="329" y="225"/>
                      <a:pt x="330" y="225"/>
                    </a:cubicBezTo>
                    <a:cubicBezTo>
                      <a:pt x="331" y="224"/>
                      <a:pt x="332" y="227"/>
                      <a:pt x="333" y="226"/>
                    </a:cubicBezTo>
                    <a:cubicBezTo>
                      <a:pt x="335" y="225"/>
                      <a:pt x="335" y="223"/>
                      <a:pt x="335" y="221"/>
                    </a:cubicBezTo>
                    <a:cubicBezTo>
                      <a:pt x="336" y="220"/>
                      <a:pt x="338" y="218"/>
                      <a:pt x="340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6" name="Freeform 2537"/>
              <p:cNvSpPr>
                <a:spLocks noChangeAspect="1"/>
              </p:cNvSpPr>
              <p:nvPr/>
            </p:nvSpPr>
            <p:spPr bwMode="auto">
              <a:xfrm>
                <a:off x="2255302" y="3512845"/>
                <a:ext cx="32712" cy="69838"/>
              </a:xfrm>
              <a:custGeom>
                <a:avLst/>
                <a:gdLst>
                  <a:gd name="T0" fmla="*/ 6 w 17"/>
                  <a:gd name="T1" fmla="*/ 43 h 36"/>
                  <a:gd name="T2" fmla="*/ 9 w 17"/>
                  <a:gd name="T3" fmla="*/ 37 h 36"/>
                  <a:gd name="T4" fmla="*/ 15 w 17"/>
                  <a:gd name="T5" fmla="*/ 32 h 36"/>
                  <a:gd name="T6" fmla="*/ 15 w 17"/>
                  <a:gd name="T7" fmla="*/ 20 h 36"/>
                  <a:gd name="T8" fmla="*/ 16 w 17"/>
                  <a:gd name="T9" fmla="*/ 13 h 36"/>
                  <a:gd name="T10" fmla="*/ 20 w 17"/>
                  <a:gd name="T11" fmla="*/ 2 h 36"/>
                  <a:gd name="T12" fmla="*/ 15 w 17"/>
                  <a:gd name="T13" fmla="*/ 4 h 36"/>
                  <a:gd name="T14" fmla="*/ 16 w 17"/>
                  <a:gd name="T15" fmla="*/ 0 h 36"/>
                  <a:gd name="T16" fmla="*/ 11 w 17"/>
                  <a:gd name="T17" fmla="*/ 5 h 36"/>
                  <a:gd name="T18" fmla="*/ 8 w 17"/>
                  <a:gd name="T19" fmla="*/ 11 h 36"/>
                  <a:gd name="T20" fmla="*/ 5 w 17"/>
                  <a:gd name="T21" fmla="*/ 10 h 36"/>
                  <a:gd name="T22" fmla="*/ 2 w 17"/>
                  <a:gd name="T23" fmla="*/ 12 h 36"/>
                  <a:gd name="T24" fmla="*/ 4 w 17"/>
                  <a:gd name="T25" fmla="*/ 24 h 36"/>
                  <a:gd name="T26" fmla="*/ 0 w 17"/>
                  <a:gd name="T27" fmla="*/ 43 h 36"/>
                  <a:gd name="T28" fmla="*/ 6 w 17"/>
                  <a:gd name="T29" fmla="*/ 43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36"/>
                  <a:gd name="T47" fmla="*/ 17 w 17"/>
                  <a:gd name="T48" fmla="*/ 36 h 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36">
                    <a:moveTo>
                      <a:pt x="5" y="36"/>
                    </a:moveTo>
                    <a:cubicBezTo>
                      <a:pt x="6" y="35"/>
                      <a:pt x="7" y="32"/>
                      <a:pt x="8" y="31"/>
                    </a:cubicBezTo>
                    <a:cubicBezTo>
                      <a:pt x="9" y="29"/>
                      <a:pt x="12" y="29"/>
                      <a:pt x="13" y="27"/>
                    </a:cubicBezTo>
                    <a:cubicBezTo>
                      <a:pt x="14" y="24"/>
                      <a:pt x="12" y="21"/>
                      <a:pt x="13" y="17"/>
                    </a:cubicBezTo>
                    <a:cubicBezTo>
                      <a:pt x="13" y="15"/>
                      <a:pt x="13" y="13"/>
                      <a:pt x="14" y="11"/>
                    </a:cubicBezTo>
                    <a:cubicBezTo>
                      <a:pt x="15" y="8"/>
                      <a:pt x="17" y="5"/>
                      <a:pt x="17" y="2"/>
                    </a:cubicBezTo>
                    <a:cubicBezTo>
                      <a:pt x="17" y="1"/>
                      <a:pt x="15" y="4"/>
                      <a:pt x="13" y="3"/>
                    </a:cubicBezTo>
                    <a:cubicBezTo>
                      <a:pt x="13" y="3"/>
                      <a:pt x="14" y="1"/>
                      <a:pt x="14" y="0"/>
                    </a:cubicBezTo>
                    <a:cubicBezTo>
                      <a:pt x="12" y="1"/>
                      <a:pt x="10" y="3"/>
                      <a:pt x="9" y="4"/>
                    </a:cubicBezTo>
                    <a:cubicBezTo>
                      <a:pt x="9" y="6"/>
                      <a:pt x="9" y="8"/>
                      <a:pt x="7" y="9"/>
                    </a:cubicBezTo>
                    <a:cubicBezTo>
                      <a:pt x="6" y="10"/>
                      <a:pt x="5" y="7"/>
                      <a:pt x="4" y="8"/>
                    </a:cubicBezTo>
                    <a:cubicBezTo>
                      <a:pt x="3" y="8"/>
                      <a:pt x="3" y="9"/>
                      <a:pt x="2" y="10"/>
                    </a:cubicBezTo>
                    <a:cubicBezTo>
                      <a:pt x="2" y="14"/>
                      <a:pt x="2" y="16"/>
                      <a:pt x="3" y="20"/>
                    </a:cubicBezTo>
                    <a:cubicBezTo>
                      <a:pt x="2" y="25"/>
                      <a:pt x="1" y="31"/>
                      <a:pt x="0" y="36"/>
                    </a:cubicBezTo>
                    <a:cubicBezTo>
                      <a:pt x="2" y="36"/>
                      <a:pt x="3" y="36"/>
                      <a:pt x="5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7" name="Freeform 2538"/>
              <p:cNvSpPr>
                <a:spLocks noChangeAspect="1"/>
              </p:cNvSpPr>
              <p:nvPr/>
            </p:nvSpPr>
            <p:spPr bwMode="auto">
              <a:xfrm>
                <a:off x="2176794" y="3532335"/>
                <a:ext cx="103043" cy="112066"/>
              </a:xfrm>
              <a:custGeom>
                <a:avLst/>
                <a:gdLst>
                  <a:gd name="T0" fmla="*/ 48 w 53"/>
                  <a:gd name="T1" fmla="*/ 56 h 58"/>
                  <a:gd name="T2" fmla="*/ 48 w 53"/>
                  <a:gd name="T3" fmla="*/ 49 h 58"/>
                  <a:gd name="T4" fmla="*/ 53 w 53"/>
                  <a:gd name="T5" fmla="*/ 45 h 58"/>
                  <a:gd name="T6" fmla="*/ 62 w 53"/>
                  <a:gd name="T7" fmla="*/ 39 h 58"/>
                  <a:gd name="T8" fmla="*/ 63 w 53"/>
                  <a:gd name="T9" fmla="*/ 36 h 58"/>
                  <a:gd name="T10" fmla="*/ 58 w 53"/>
                  <a:gd name="T11" fmla="*/ 33 h 58"/>
                  <a:gd name="T12" fmla="*/ 53 w 53"/>
                  <a:gd name="T13" fmla="*/ 31 h 58"/>
                  <a:gd name="T14" fmla="*/ 48 w 53"/>
                  <a:gd name="T15" fmla="*/ 31 h 58"/>
                  <a:gd name="T16" fmla="*/ 51 w 53"/>
                  <a:gd name="T17" fmla="*/ 12 h 58"/>
                  <a:gd name="T18" fmla="*/ 50 w 53"/>
                  <a:gd name="T19" fmla="*/ 0 h 58"/>
                  <a:gd name="T20" fmla="*/ 21 w 53"/>
                  <a:gd name="T21" fmla="*/ 1 h 58"/>
                  <a:gd name="T22" fmla="*/ 20 w 53"/>
                  <a:gd name="T23" fmla="*/ 11 h 58"/>
                  <a:gd name="T24" fmla="*/ 14 w 53"/>
                  <a:gd name="T25" fmla="*/ 12 h 58"/>
                  <a:gd name="T26" fmla="*/ 20 w 53"/>
                  <a:gd name="T27" fmla="*/ 18 h 58"/>
                  <a:gd name="T28" fmla="*/ 25 w 53"/>
                  <a:gd name="T29" fmla="*/ 19 h 58"/>
                  <a:gd name="T30" fmla="*/ 26 w 53"/>
                  <a:gd name="T31" fmla="*/ 23 h 58"/>
                  <a:gd name="T32" fmla="*/ 27 w 53"/>
                  <a:gd name="T33" fmla="*/ 31 h 58"/>
                  <a:gd name="T34" fmla="*/ 8 w 53"/>
                  <a:gd name="T35" fmla="*/ 30 h 58"/>
                  <a:gd name="T36" fmla="*/ 1 w 53"/>
                  <a:gd name="T37" fmla="*/ 45 h 58"/>
                  <a:gd name="T38" fmla="*/ 2 w 53"/>
                  <a:gd name="T39" fmla="*/ 51 h 58"/>
                  <a:gd name="T40" fmla="*/ 0 w 53"/>
                  <a:gd name="T41" fmla="*/ 56 h 58"/>
                  <a:gd name="T42" fmla="*/ 5 w 53"/>
                  <a:gd name="T43" fmla="*/ 61 h 58"/>
                  <a:gd name="T44" fmla="*/ 12 w 53"/>
                  <a:gd name="T45" fmla="*/ 65 h 58"/>
                  <a:gd name="T46" fmla="*/ 23 w 53"/>
                  <a:gd name="T47" fmla="*/ 68 h 58"/>
                  <a:gd name="T48" fmla="*/ 30 w 53"/>
                  <a:gd name="T49" fmla="*/ 69 h 58"/>
                  <a:gd name="T50" fmla="*/ 34 w 53"/>
                  <a:gd name="T51" fmla="*/ 65 h 58"/>
                  <a:gd name="T52" fmla="*/ 38 w 53"/>
                  <a:gd name="T53" fmla="*/ 65 h 58"/>
                  <a:gd name="T54" fmla="*/ 40 w 53"/>
                  <a:gd name="T55" fmla="*/ 57 h 58"/>
                  <a:gd name="T56" fmla="*/ 45 w 53"/>
                  <a:gd name="T57" fmla="*/ 56 h 58"/>
                  <a:gd name="T58" fmla="*/ 48 w 53"/>
                  <a:gd name="T59" fmla="*/ 56 h 5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3"/>
                  <a:gd name="T91" fmla="*/ 0 h 58"/>
                  <a:gd name="T92" fmla="*/ 53 w 53"/>
                  <a:gd name="T93" fmla="*/ 58 h 5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3" h="58">
                    <a:moveTo>
                      <a:pt x="40" y="47"/>
                    </a:moveTo>
                    <a:cubicBezTo>
                      <a:pt x="40" y="45"/>
                      <a:pt x="40" y="43"/>
                      <a:pt x="40" y="41"/>
                    </a:cubicBezTo>
                    <a:cubicBezTo>
                      <a:pt x="41" y="40"/>
                      <a:pt x="43" y="39"/>
                      <a:pt x="45" y="38"/>
                    </a:cubicBezTo>
                    <a:cubicBezTo>
                      <a:pt x="47" y="36"/>
                      <a:pt x="50" y="35"/>
                      <a:pt x="52" y="33"/>
                    </a:cubicBezTo>
                    <a:cubicBezTo>
                      <a:pt x="53" y="33"/>
                      <a:pt x="52" y="31"/>
                      <a:pt x="53" y="30"/>
                    </a:cubicBezTo>
                    <a:cubicBezTo>
                      <a:pt x="51" y="30"/>
                      <a:pt x="50" y="29"/>
                      <a:pt x="49" y="28"/>
                    </a:cubicBezTo>
                    <a:cubicBezTo>
                      <a:pt x="47" y="28"/>
                      <a:pt x="46" y="27"/>
                      <a:pt x="45" y="26"/>
                    </a:cubicBezTo>
                    <a:cubicBezTo>
                      <a:pt x="43" y="26"/>
                      <a:pt x="42" y="26"/>
                      <a:pt x="40" y="26"/>
                    </a:cubicBezTo>
                    <a:cubicBezTo>
                      <a:pt x="41" y="21"/>
                      <a:pt x="42" y="15"/>
                      <a:pt x="43" y="10"/>
                    </a:cubicBezTo>
                    <a:cubicBezTo>
                      <a:pt x="42" y="6"/>
                      <a:pt x="42" y="4"/>
                      <a:pt x="42" y="0"/>
                    </a:cubicBezTo>
                    <a:cubicBezTo>
                      <a:pt x="34" y="1"/>
                      <a:pt x="26" y="0"/>
                      <a:pt x="18" y="1"/>
                    </a:cubicBezTo>
                    <a:cubicBezTo>
                      <a:pt x="18" y="4"/>
                      <a:pt x="19" y="7"/>
                      <a:pt x="17" y="9"/>
                    </a:cubicBezTo>
                    <a:cubicBezTo>
                      <a:pt x="16" y="11"/>
                      <a:pt x="12" y="9"/>
                      <a:pt x="12" y="10"/>
                    </a:cubicBezTo>
                    <a:cubicBezTo>
                      <a:pt x="12" y="12"/>
                      <a:pt x="15" y="14"/>
                      <a:pt x="17" y="15"/>
                    </a:cubicBezTo>
                    <a:cubicBezTo>
                      <a:pt x="18" y="16"/>
                      <a:pt x="20" y="15"/>
                      <a:pt x="21" y="16"/>
                    </a:cubicBezTo>
                    <a:cubicBezTo>
                      <a:pt x="22" y="17"/>
                      <a:pt x="21" y="19"/>
                      <a:pt x="22" y="19"/>
                    </a:cubicBezTo>
                    <a:cubicBezTo>
                      <a:pt x="24" y="21"/>
                      <a:pt x="23" y="24"/>
                      <a:pt x="23" y="26"/>
                    </a:cubicBezTo>
                    <a:cubicBezTo>
                      <a:pt x="18" y="26"/>
                      <a:pt x="12" y="25"/>
                      <a:pt x="7" y="25"/>
                    </a:cubicBezTo>
                    <a:cubicBezTo>
                      <a:pt x="5" y="30"/>
                      <a:pt x="3" y="34"/>
                      <a:pt x="1" y="38"/>
                    </a:cubicBezTo>
                    <a:cubicBezTo>
                      <a:pt x="1" y="40"/>
                      <a:pt x="2" y="41"/>
                      <a:pt x="2" y="43"/>
                    </a:cubicBezTo>
                    <a:cubicBezTo>
                      <a:pt x="1" y="44"/>
                      <a:pt x="0" y="46"/>
                      <a:pt x="0" y="47"/>
                    </a:cubicBezTo>
                    <a:cubicBezTo>
                      <a:pt x="1" y="48"/>
                      <a:pt x="2" y="50"/>
                      <a:pt x="4" y="51"/>
                    </a:cubicBezTo>
                    <a:cubicBezTo>
                      <a:pt x="6" y="53"/>
                      <a:pt x="8" y="54"/>
                      <a:pt x="10" y="55"/>
                    </a:cubicBezTo>
                    <a:cubicBezTo>
                      <a:pt x="13" y="56"/>
                      <a:pt x="16" y="57"/>
                      <a:pt x="19" y="57"/>
                    </a:cubicBezTo>
                    <a:cubicBezTo>
                      <a:pt x="21" y="58"/>
                      <a:pt x="23" y="58"/>
                      <a:pt x="25" y="58"/>
                    </a:cubicBezTo>
                    <a:cubicBezTo>
                      <a:pt x="27" y="57"/>
                      <a:pt x="28" y="56"/>
                      <a:pt x="29" y="55"/>
                    </a:cubicBezTo>
                    <a:cubicBezTo>
                      <a:pt x="30" y="55"/>
                      <a:pt x="31" y="56"/>
                      <a:pt x="32" y="55"/>
                    </a:cubicBezTo>
                    <a:cubicBezTo>
                      <a:pt x="33" y="53"/>
                      <a:pt x="32" y="50"/>
                      <a:pt x="34" y="48"/>
                    </a:cubicBezTo>
                    <a:cubicBezTo>
                      <a:pt x="34" y="47"/>
                      <a:pt x="36" y="47"/>
                      <a:pt x="38" y="47"/>
                    </a:cubicBezTo>
                    <a:cubicBezTo>
                      <a:pt x="38" y="47"/>
                      <a:pt x="39" y="47"/>
                      <a:pt x="40" y="47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228" name="Freeform 2539"/>
              <p:cNvSpPr>
                <a:spLocks noChangeAspect="1"/>
              </p:cNvSpPr>
              <p:nvPr/>
            </p:nvSpPr>
            <p:spPr bwMode="auto">
              <a:xfrm>
                <a:off x="2225861" y="3623286"/>
                <a:ext cx="63788" cy="42227"/>
              </a:xfrm>
              <a:custGeom>
                <a:avLst/>
                <a:gdLst>
                  <a:gd name="T0" fmla="*/ 38 w 33"/>
                  <a:gd name="T1" fmla="*/ 20 h 22"/>
                  <a:gd name="T2" fmla="*/ 38 w 33"/>
                  <a:gd name="T3" fmla="*/ 14 h 22"/>
                  <a:gd name="T4" fmla="*/ 35 w 33"/>
                  <a:gd name="T5" fmla="*/ 11 h 22"/>
                  <a:gd name="T6" fmla="*/ 28 w 33"/>
                  <a:gd name="T7" fmla="*/ 12 h 22"/>
                  <a:gd name="T8" fmla="*/ 28 w 33"/>
                  <a:gd name="T9" fmla="*/ 7 h 22"/>
                  <a:gd name="T10" fmla="*/ 24 w 33"/>
                  <a:gd name="T11" fmla="*/ 6 h 22"/>
                  <a:gd name="T12" fmla="*/ 20 w 33"/>
                  <a:gd name="T13" fmla="*/ 4 h 22"/>
                  <a:gd name="T14" fmla="*/ 18 w 33"/>
                  <a:gd name="T15" fmla="*/ 0 h 22"/>
                  <a:gd name="T16" fmla="*/ 15 w 33"/>
                  <a:gd name="T17" fmla="*/ 0 h 22"/>
                  <a:gd name="T18" fmla="*/ 11 w 33"/>
                  <a:gd name="T19" fmla="*/ 1 h 22"/>
                  <a:gd name="T20" fmla="*/ 8 w 33"/>
                  <a:gd name="T21" fmla="*/ 9 h 22"/>
                  <a:gd name="T22" fmla="*/ 5 w 33"/>
                  <a:gd name="T23" fmla="*/ 9 h 22"/>
                  <a:gd name="T24" fmla="*/ 0 w 33"/>
                  <a:gd name="T25" fmla="*/ 13 h 22"/>
                  <a:gd name="T26" fmla="*/ 6 w 33"/>
                  <a:gd name="T27" fmla="*/ 15 h 22"/>
                  <a:gd name="T28" fmla="*/ 8 w 33"/>
                  <a:gd name="T29" fmla="*/ 19 h 22"/>
                  <a:gd name="T30" fmla="*/ 17 w 33"/>
                  <a:gd name="T31" fmla="*/ 20 h 22"/>
                  <a:gd name="T32" fmla="*/ 19 w 33"/>
                  <a:gd name="T33" fmla="*/ 22 h 22"/>
                  <a:gd name="T34" fmla="*/ 26 w 33"/>
                  <a:gd name="T35" fmla="*/ 21 h 22"/>
                  <a:gd name="T36" fmla="*/ 31 w 33"/>
                  <a:gd name="T37" fmla="*/ 25 h 22"/>
                  <a:gd name="T38" fmla="*/ 34 w 33"/>
                  <a:gd name="T39" fmla="*/ 25 h 22"/>
                  <a:gd name="T40" fmla="*/ 35 w 33"/>
                  <a:gd name="T41" fmla="*/ 21 h 22"/>
                  <a:gd name="T42" fmla="*/ 38 w 33"/>
                  <a:gd name="T43" fmla="*/ 20 h 2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3"/>
                  <a:gd name="T67" fmla="*/ 0 h 22"/>
                  <a:gd name="T68" fmla="*/ 33 w 33"/>
                  <a:gd name="T69" fmla="*/ 22 h 2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3" h="22">
                    <a:moveTo>
                      <a:pt x="32" y="17"/>
                    </a:moveTo>
                    <a:cubicBezTo>
                      <a:pt x="32" y="15"/>
                      <a:pt x="33" y="14"/>
                      <a:pt x="32" y="12"/>
                    </a:cubicBezTo>
                    <a:cubicBezTo>
                      <a:pt x="32" y="10"/>
                      <a:pt x="31" y="10"/>
                      <a:pt x="30" y="9"/>
                    </a:cubicBezTo>
                    <a:cubicBezTo>
                      <a:pt x="28" y="9"/>
                      <a:pt x="26" y="11"/>
                      <a:pt x="24" y="10"/>
                    </a:cubicBezTo>
                    <a:cubicBezTo>
                      <a:pt x="23" y="9"/>
                      <a:pt x="25" y="7"/>
                      <a:pt x="24" y="6"/>
                    </a:cubicBezTo>
                    <a:cubicBezTo>
                      <a:pt x="23" y="5"/>
                      <a:pt x="21" y="5"/>
                      <a:pt x="20" y="5"/>
                    </a:cubicBezTo>
                    <a:cubicBezTo>
                      <a:pt x="19" y="4"/>
                      <a:pt x="18" y="4"/>
                      <a:pt x="17" y="3"/>
                    </a:cubicBezTo>
                    <a:cubicBezTo>
                      <a:pt x="16" y="2"/>
                      <a:pt x="15" y="1"/>
                      <a:pt x="15" y="0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1" y="0"/>
                      <a:pt x="9" y="0"/>
                      <a:pt x="9" y="1"/>
                    </a:cubicBezTo>
                    <a:cubicBezTo>
                      <a:pt x="7" y="3"/>
                      <a:pt x="8" y="6"/>
                      <a:pt x="7" y="8"/>
                    </a:cubicBezTo>
                    <a:cubicBezTo>
                      <a:pt x="6" y="9"/>
                      <a:pt x="5" y="8"/>
                      <a:pt x="4" y="8"/>
                    </a:cubicBezTo>
                    <a:cubicBezTo>
                      <a:pt x="3" y="9"/>
                      <a:pt x="2" y="10"/>
                      <a:pt x="0" y="11"/>
                    </a:cubicBezTo>
                    <a:cubicBezTo>
                      <a:pt x="2" y="12"/>
                      <a:pt x="4" y="12"/>
                      <a:pt x="5" y="13"/>
                    </a:cubicBezTo>
                    <a:cubicBezTo>
                      <a:pt x="6" y="13"/>
                      <a:pt x="6" y="15"/>
                      <a:pt x="7" y="16"/>
                    </a:cubicBezTo>
                    <a:cubicBezTo>
                      <a:pt x="9" y="17"/>
                      <a:pt x="12" y="16"/>
                      <a:pt x="14" y="17"/>
                    </a:cubicBezTo>
                    <a:cubicBezTo>
                      <a:pt x="15" y="17"/>
                      <a:pt x="15" y="19"/>
                      <a:pt x="16" y="19"/>
                    </a:cubicBezTo>
                    <a:cubicBezTo>
                      <a:pt x="18" y="19"/>
                      <a:pt x="20" y="17"/>
                      <a:pt x="22" y="18"/>
                    </a:cubicBezTo>
                    <a:cubicBezTo>
                      <a:pt x="24" y="18"/>
                      <a:pt x="24" y="21"/>
                      <a:pt x="26" y="21"/>
                    </a:cubicBezTo>
                    <a:cubicBezTo>
                      <a:pt x="27" y="22"/>
                      <a:pt x="29" y="22"/>
                      <a:pt x="29" y="21"/>
                    </a:cubicBezTo>
                    <a:cubicBezTo>
                      <a:pt x="30" y="20"/>
                      <a:pt x="29" y="18"/>
                      <a:pt x="30" y="18"/>
                    </a:cubicBezTo>
                    <a:cubicBezTo>
                      <a:pt x="30" y="17"/>
                      <a:pt x="31" y="17"/>
                      <a:pt x="32" y="17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29" name="Freeform 2540"/>
              <p:cNvSpPr>
                <a:spLocks noChangeAspect="1"/>
              </p:cNvSpPr>
              <p:nvPr/>
            </p:nvSpPr>
            <p:spPr bwMode="auto">
              <a:xfrm>
                <a:off x="2255302" y="3584307"/>
                <a:ext cx="147203" cy="86079"/>
              </a:xfrm>
              <a:custGeom>
                <a:avLst/>
                <a:gdLst>
                  <a:gd name="T0" fmla="*/ 20 w 75"/>
                  <a:gd name="T1" fmla="*/ 45 h 44"/>
                  <a:gd name="T2" fmla="*/ 20 w 75"/>
                  <a:gd name="T3" fmla="*/ 39 h 44"/>
                  <a:gd name="T4" fmla="*/ 18 w 75"/>
                  <a:gd name="T5" fmla="*/ 35 h 44"/>
                  <a:gd name="T6" fmla="*/ 11 w 75"/>
                  <a:gd name="T7" fmla="*/ 36 h 44"/>
                  <a:gd name="T8" fmla="*/ 11 w 75"/>
                  <a:gd name="T9" fmla="*/ 31 h 44"/>
                  <a:gd name="T10" fmla="*/ 6 w 75"/>
                  <a:gd name="T11" fmla="*/ 30 h 44"/>
                  <a:gd name="T12" fmla="*/ 2 w 75"/>
                  <a:gd name="T13" fmla="*/ 28 h 44"/>
                  <a:gd name="T14" fmla="*/ 0 w 75"/>
                  <a:gd name="T15" fmla="*/ 24 h 44"/>
                  <a:gd name="T16" fmla="*/ 0 w 75"/>
                  <a:gd name="T17" fmla="*/ 17 h 44"/>
                  <a:gd name="T18" fmla="*/ 6 w 75"/>
                  <a:gd name="T19" fmla="*/ 13 h 44"/>
                  <a:gd name="T20" fmla="*/ 14 w 75"/>
                  <a:gd name="T21" fmla="*/ 7 h 44"/>
                  <a:gd name="T22" fmla="*/ 16 w 75"/>
                  <a:gd name="T23" fmla="*/ 4 h 44"/>
                  <a:gd name="T24" fmla="*/ 22 w 75"/>
                  <a:gd name="T25" fmla="*/ 0 h 44"/>
                  <a:gd name="T26" fmla="*/ 28 w 75"/>
                  <a:gd name="T27" fmla="*/ 1 h 44"/>
                  <a:gd name="T28" fmla="*/ 30 w 75"/>
                  <a:gd name="T29" fmla="*/ 4 h 44"/>
                  <a:gd name="T30" fmla="*/ 41 w 75"/>
                  <a:gd name="T31" fmla="*/ 4 h 44"/>
                  <a:gd name="T32" fmla="*/ 49 w 75"/>
                  <a:gd name="T33" fmla="*/ 0 h 44"/>
                  <a:gd name="T34" fmla="*/ 54 w 75"/>
                  <a:gd name="T35" fmla="*/ 0 h 44"/>
                  <a:gd name="T36" fmla="*/ 64 w 75"/>
                  <a:gd name="T37" fmla="*/ 1 h 44"/>
                  <a:gd name="T38" fmla="*/ 71 w 75"/>
                  <a:gd name="T39" fmla="*/ 2 h 44"/>
                  <a:gd name="T40" fmla="*/ 76 w 75"/>
                  <a:gd name="T41" fmla="*/ 2 h 44"/>
                  <a:gd name="T42" fmla="*/ 80 w 75"/>
                  <a:gd name="T43" fmla="*/ 6 h 44"/>
                  <a:gd name="T44" fmla="*/ 80 w 75"/>
                  <a:gd name="T45" fmla="*/ 7 h 44"/>
                  <a:gd name="T46" fmla="*/ 76 w 75"/>
                  <a:gd name="T47" fmla="*/ 6 h 44"/>
                  <a:gd name="T48" fmla="*/ 76 w 75"/>
                  <a:gd name="T49" fmla="*/ 11 h 44"/>
                  <a:gd name="T50" fmla="*/ 77 w 75"/>
                  <a:gd name="T51" fmla="*/ 12 h 44"/>
                  <a:gd name="T52" fmla="*/ 83 w 75"/>
                  <a:gd name="T53" fmla="*/ 12 h 44"/>
                  <a:gd name="T54" fmla="*/ 83 w 75"/>
                  <a:gd name="T55" fmla="*/ 11 h 44"/>
                  <a:gd name="T56" fmla="*/ 83 w 75"/>
                  <a:gd name="T57" fmla="*/ 8 h 44"/>
                  <a:gd name="T58" fmla="*/ 89 w 75"/>
                  <a:gd name="T59" fmla="*/ 13 h 44"/>
                  <a:gd name="T60" fmla="*/ 89 w 75"/>
                  <a:gd name="T61" fmla="*/ 18 h 44"/>
                  <a:gd name="T62" fmla="*/ 82 w 75"/>
                  <a:gd name="T63" fmla="*/ 18 h 44"/>
                  <a:gd name="T64" fmla="*/ 78 w 75"/>
                  <a:gd name="T65" fmla="*/ 20 h 44"/>
                  <a:gd name="T66" fmla="*/ 68 w 75"/>
                  <a:gd name="T67" fmla="*/ 24 h 44"/>
                  <a:gd name="T68" fmla="*/ 66 w 75"/>
                  <a:gd name="T69" fmla="*/ 20 h 44"/>
                  <a:gd name="T70" fmla="*/ 60 w 75"/>
                  <a:gd name="T71" fmla="*/ 25 h 44"/>
                  <a:gd name="T72" fmla="*/ 59 w 75"/>
                  <a:gd name="T73" fmla="*/ 30 h 44"/>
                  <a:gd name="T74" fmla="*/ 50 w 75"/>
                  <a:gd name="T75" fmla="*/ 35 h 44"/>
                  <a:gd name="T76" fmla="*/ 44 w 75"/>
                  <a:gd name="T77" fmla="*/ 35 h 44"/>
                  <a:gd name="T78" fmla="*/ 41 w 75"/>
                  <a:gd name="T79" fmla="*/ 39 h 44"/>
                  <a:gd name="T80" fmla="*/ 35 w 75"/>
                  <a:gd name="T81" fmla="*/ 39 h 44"/>
                  <a:gd name="T82" fmla="*/ 35 w 75"/>
                  <a:gd name="T83" fmla="*/ 47 h 44"/>
                  <a:gd name="T84" fmla="*/ 30 w 75"/>
                  <a:gd name="T85" fmla="*/ 53 h 44"/>
                  <a:gd name="T86" fmla="*/ 26 w 75"/>
                  <a:gd name="T87" fmla="*/ 53 h 44"/>
                  <a:gd name="T88" fmla="*/ 24 w 75"/>
                  <a:gd name="T89" fmla="*/ 49 h 44"/>
                  <a:gd name="T90" fmla="*/ 20 w 75"/>
                  <a:gd name="T91" fmla="*/ 45 h 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5"/>
                  <a:gd name="T139" fmla="*/ 0 h 44"/>
                  <a:gd name="T140" fmla="*/ 75 w 75"/>
                  <a:gd name="T141" fmla="*/ 44 h 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5" h="44">
                    <a:moveTo>
                      <a:pt x="17" y="37"/>
                    </a:moveTo>
                    <a:cubicBezTo>
                      <a:pt x="17" y="35"/>
                      <a:pt x="18" y="34"/>
                      <a:pt x="17" y="32"/>
                    </a:cubicBezTo>
                    <a:cubicBezTo>
                      <a:pt x="17" y="30"/>
                      <a:pt x="16" y="30"/>
                      <a:pt x="15" y="29"/>
                    </a:cubicBezTo>
                    <a:cubicBezTo>
                      <a:pt x="13" y="29"/>
                      <a:pt x="11" y="31"/>
                      <a:pt x="9" y="30"/>
                    </a:cubicBezTo>
                    <a:cubicBezTo>
                      <a:pt x="8" y="29"/>
                      <a:pt x="10" y="27"/>
                      <a:pt x="9" y="26"/>
                    </a:cubicBezTo>
                    <a:cubicBezTo>
                      <a:pt x="8" y="25"/>
                      <a:pt x="6" y="25"/>
                      <a:pt x="5" y="25"/>
                    </a:cubicBezTo>
                    <a:cubicBezTo>
                      <a:pt x="4" y="24"/>
                      <a:pt x="3" y="24"/>
                      <a:pt x="2" y="23"/>
                    </a:cubicBezTo>
                    <a:cubicBezTo>
                      <a:pt x="1" y="22"/>
                      <a:pt x="0" y="21"/>
                      <a:pt x="0" y="20"/>
                    </a:cubicBezTo>
                    <a:cubicBezTo>
                      <a:pt x="0" y="18"/>
                      <a:pt x="0" y="16"/>
                      <a:pt x="0" y="14"/>
                    </a:cubicBezTo>
                    <a:cubicBezTo>
                      <a:pt x="1" y="13"/>
                      <a:pt x="3" y="12"/>
                      <a:pt x="5" y="11"/>
                    </a:cubicBezTo>
                    <a:cubicBezTo>
                      <a:pt x="7" y="9"/>
                      <a:pt x="10" y="8"/>
                      <a:pt x="12" y="6"/>
                    </a:cubicBezTo>
                    <a:cubicBezTo>
                      <a:pt x="13" y="6"/>
                      <a:pt x="12" y="4"/>
                      <a:pt x="13" y="3"/>
                    </a:cubicBezTo>
                    <a:cubicBezTo>
                      <a:pt x="14" y="2"/>
                      <a:pt x="16" y="1"/>
                      <a:pt x="18" y="0"/>
                    </a:cubicBezTo>
                    <a:cubicBezTo>
                      <a:pt x="20" y="0"/>
                      <a:pt x="21" y="0"/>
                      <a:pt x="23" y="1"/>
                    </a:cubicBezTo>
                    <a:cubicBezTo>
                      <a:pt x="24" y="1"/>
                      <a:pt x="24" y="3"/>
                      <a:pt x="25" y="3"/>
                    </a:cubicBezTo>
                    <a:cubicBezTo>
                      <a:pt x="28" y="4"/>
                      <a:pt x="31" y="4"/>
                      <a:pt x="34" y="3"/>
                    </a:cubicBezTo>
                    <a:cubicBezTo>
                      <a:pt x="37" y="3"/>
                      <a:pt x="39" y="1"/>
                      <a:pt x="41" y="0"/>
                    </a:cubicBezTo>
                    <a:cubicBezTo>
                      <a:pt x="43" y="0"/>
                      <a:pt x="44" y="0"/>
                      <a:pt x="45" y="0"/>
                    </a:cubicBezTo>
                    <a:cubicBezTo>
                      <a:pt x="48" y="0"/>
                      <a:pt x="51" y="0"/>
                      <a:pt x="53" y="1"/>
                    </a:cubicBezTo>
                    <a:cubicBezTo>
                      <a:pt x="55" y="1"/>
                      <a:pt x="57" y="2"/>
                      <a:pt x="59" y="2"/>
                    </a:cubicBezTo>
                    <a:cubicBezTo>
                      <a:pt x="60" y="2"/>
                      <a:pt x="62" y="1"/>
                      <a:pt x="63" y="2"/>
                    </a:cubicBezTo>
                    <a:cubicBezTo>
                      <a:pt x="65" y="2"/>
                      <a:pt x="66" y="4"/>
                      <a:pt x="67" y="5"/>
                    </a:cubicBezTo>
                    <a:cubicBezTo>
                      <a:pt x="67" y="6"/>
                      <a:pt x="67" y="6"/>
                      <a:pt x="67" y="6"/>
                    </a:cubicBezTo>
                    <a:cubicBezTo>
                      <a:pt x="66" y="6"/>
                      <a:pt x="64" y="5"/>
                      <a:pt x="63" y="5"/>
                    </a:cubicBezTo>
                    <a:cubicBezTo>
                      <a:pt x="62" y="6"/>
                      <a:pt x="63" y="8"/>
                      <a:pt x="63" y="9"/>
                    </a:cubicBezTo>
                    <a:cubicBezTo>
                      <a:pt x="63" y="9"/>
                      <a:pt x="64" y="10"/>
                      <a:pt x="64" y="10"/>
                    </a:cubicBezTo>
                    <a:cubicBezTo>
                      <a:pt x="66" y="11"/>
                      <a:pt x="67" y="11"/>
                      <a:pt x="69" y="10"/>
                    </a:cubicBezTo>
                    <a:cubicBezTo>
                      <a:pt x="69" y="10"/>
                      <a:pt x="69" y="9"/>
                      <a:pt x="69" y="9"/>
                    </a:cubicBezTo>
                    <a:cubicBezTo>
                      <a:pt x="69" y="8"/>
                      <a:pt x="68" y="6"/>
                      <a:pt x="69" y="7"/>
                    </a:cubicBezTo>
                    <a:cubicBezTo>
                      <a:pt x="71" y="8"/>
                      <a:pt x="73" y="9"/>
                      <a:pt x="74" y="11"/>
                    </a:cubicBezTo>
                    <a:cubicBezTo>
                      <a:pt x="75" y="12"/>
                      <a:pt x="74" y="14"/>
                      <a:pt x="74" y="15"/>
                    </a:cubicBezTo>
                    <a:cubicBezTo>
                      <a:pt x="72" y="15"/>
                      <a:pt x="70" y="14"/>
                      <a:pt x="68" y="15"/>
                    </a:cubicBezTo>
                    <a:cubicBezTo>
                      <a:pt x="67" y="15"/>
                      <a:pt x="66" y="17"/>
                      <a:pt x="65" y="17"/>
                    </a:cubicBezTo>
                    <a:cubicBezTo>
                      <a:pt x="62" y="18"/>
                      <a:pt x="59" y="20"/>
                      <a:pt x="57" y="20"/>
                    </a:cubicBezTo>
                    <a:cubicBezTo>
                      <a:pt x="55" y="20"/>
                      <a:pt x="56" y="17"/>
                      <a:pt x="55" y="17"/>
                    </a:cubicBezTo>
                    <a:cubicBezTo>
                      <a:pt x="53" y="17"/>
                      <a:pt x="51" y="19"/>
                      <a:pt x="50" y="21"/>
                    </a:cubicBezTo>
                    <a:cubicBezTo>
                      <a:pt x="49" y="22"/>
                      <a:pt x="50" y="24"/>
                      <a:pt x="49" y="25"/>
                    </a:cubicBezTo>
                    <a:cubicBezTo>
                      <a:pt x="47" y="27"/>
                      <a:pt x="45" y="28"/>
                      <a:pt x="42" y="29"/>
                    </a:cubicBezTo>
                    <a:cubicBezTo>
                      <a:pt x="40" y="29"/>
                      <a:pt x="38" y="29"/>
                      <a:pt x="37" y="29"/>
                    </a:cubicBezTo>
                    <a:cubicBezTo>
                      <a:pt x="35" y="30"/>
                      <a:pt x="35" y="31"/>
                      <a:pt x="34" y="32"/>
                    </a:cubicBezTo>
                    <a:cubicBezTo>
                      <a:pt x="32" y="32"/>
                      <a:pt x="30" y="31"/>
                      <a:pt x="29" y="32"/>
                    </a:cubicBezTo>
                    <a:cubicBezTo>
                      <a:pt x="28" y="34"/>
                      <a:pt x="30" y="37"/>
                      <a:pt x="29" y="39"/>
                    </a:cubicBezTo>
                    <a:cubicBezTo>
                      <a:pt x="28" y="41"/>
                      <a:pt x="27" y="42"/>
                      <a:pt x="25" y="44"/>
                    </a:cubicBezTo>
                    <a:cubicBezTo>
                      <a:pt x="24" y="44"/>
                      <a:pt x="23" y="44"/>
                      <a:pt x="22" y="44"/>
                    </a:cubicBezTo>
                    <a:cubicBezTo>
                      <a:pt x="21" y="43"/>
                      <a:pt x="20" y="42"/>
                      <a:pt x="20" y="41"/>
                    </a:cubicBezTo>
                    <a:cubicBezTo>
                      <a:pt x="19" y="40"/>
                      <a:pt x="18" y="38"/>
                      <a:pt x="17" y="37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0" name="Freeform 2541"/>
              <p:cNvSpPr>
                <a:spLocks noChangeAspect="1"/>
              </p:cNvSpPr>
              <p:nvPr/>
            </p:nvSpPr>
            <p:spPr bwMode="auto">
              <a:xfrm>
                <a:off x="2286378" y="3611917"/>
                <a:ext cx="112856" cy="121810"/>
              </a:xfrm>
              <a:custGeom>
                <a:avLst/>
                <a:gdLst>
                  <a:gd name="T0" fmla="*/ 31 w 58"/>
                  <a:gd name="T1" fmla="*/ 65 h 63"/>
                  <a:gd name="T2" fmla="*/ 42 w 58"/>
                  <a:gd name="T3" fmla="*/ 70 h 63"/>
                  <a:gd name="T4" fmla="*/ 46 w 58"/>
                  <a:gd name="T5" fmla="*/ 70 h 63"/>
                  <a:gd name="T6" fmla="*/ 51 w 58"/>
                  <a:gd name="T7" fmla="*/ 74 h 63"/>
                  <a:gd name="T8" fmla="*/ 59 w 58"/>
                  <a:gd name="T9" fmla="*/ 74 h 63"/>
                  <a:gd name="T10" fmla="*/ 61 w 58"/>
                  <a:gd name="T11" fmla="*/ 70 h 63"/>
                  <a:gd name="T12" fmla="*/ 57 w 58"/>
                  <a:gd name="T13" fmla="*/ 63 h 63"/>
                  <a:gd name="T14" fmla="*/ 59 w 58"/>
                  <a:gd name="T15" fmla="*/ 55 h 63"/>
                  <a:gd name="T16" fmla="*/ 58 w 58"/>
                  <a:gd name="T17" fmla="*/ 48 h 63"/>
                  <a:gd name="T18" fmla="*/ 62 w 58"/>
                  <a:gd name="T19" fmla="*/ 42 h 63"/>
                  <a:gd name="T20" fmla="*/ 62 w 58"/>
                  <a:gd name="T21" fmla="*/ 26 h 63"/>
                  <a:gd name="T22" fmla="*/ 68 w 58"/>
                  <a:gd name="T23" fmla="*/ 15 h 63"/>
                  <a:gd name="T24" fmla="*/ 68 w 58"/>
                  <a:gd name="T25" fmla="*/ 7 h 63"/>
                  <a:gd name="T26" fmla="*/ 69 w 58"/>
                  <a:gd name="T27" fmla="*/ 1 h 63"/>
                  <a:gd name="T28" fmla="*/ 62 w 58"/>
                  <a:gd name="T29" fmla="*/ 1 h 63"/>
                  <a:gd name="T30" fmla="*/ 58 w 58"/>
                  <a:gd name="T31" fmla="*/ 4 h 63"/>
                  <a:gd name="T32" fmla="*/ 49 w 58"/>
                  <a:gd name="T33" fmla="*/ 7 h 63"/>
                  <a:gd name="T34" fmla="*/ 46 w 58"/>
                  <a:gd name="T35" fmla="*/ 4 h 63"/>
                  <a:gd name="T36" fmla="*/ 40 w 58"/>
                  <a:gd name="T37" fmla="*/ 8 h 63"/>
                  <a:gd name="T38" fmla="*/ 39 w 58"/>
                  <a:gd name="T39" fmla="*/ 13 h 63"/>
                  <a:gd name="T40" fmla="*/ 31 w 58"/>
                  <a:gd name="T41" fmla="*/ 18 h 63"/>
                  <a:gd name="T42" fmla="*/ 25 w 58"/>
                  <a:gd name="T43" fmla="*/ 18 h 63"/>
                  <a:gd name="T44" fmla="*/ 21 w 58"/>
                  <a:gd name="T45" fmla="*/ 21 h 63"/>
                  <a:gd name="T46" fmla="*/ 15 w 58"/>
                  <a:gd name="T47" fmla="*/ 21 h 63"/>
                  <a:gd name="T48" fmla="*/ 15 w 58"/>
                  <a:gd name="T49" fmla="*/ 30 h 63"/>
                  <a:gd name="T50" fmla="*/ 11 w 58"/>
                  <a:gd name="T51" fmla="*/ 36 h 63"/>
                  <a:gd name="T52" fmla="*/ 7 w 58"/>
                  <a:gd name="T53" fmla="*/ 36 h 63"/>
                  <a:gd name="T54" fmla="*/ 5 w 58"/>
                  <a:gd name="T55" fmla="*/ 37 h 63"/>
                  <a:gd name="T56" fmla="*/ 1 w 58"/>
                  <a:gd name="T57" fmla="*/ 33 h 63"/>
                  <a:gd name="T58" fmla="*/ 1 w 58"/>
                  <a:gd name="T59" fmla="*/ 38 h 63"/>
                  <a:gd name="T60" fmla="*/ 15 w 58"/>
                  <a:gd name="T61" fmla="*/ 54 h 63"/>
                  <a:gd name="T62" fmla="*/ 27 w 58"/>
                  <a:gd name="T63" fmla="*/ 67 h 63"/>
                  <a:gd name="T64" fmla="*/ 30 w 58"/>
                  <a:gd name="T65" fmla="*/ 65 h 63"/>
                  <a:gd name="T66" fmla="*/ 27 w 58"/>
                  <a:gd name="T67" fmla="*/ 60 h 63"/>
                  <a:gd name="T68" fmla="*/ 26 w 58"/>
                  <a:gd name="T69" fmla="*/ 51 h 63"/>
                  <a:gd name="T70" fmla="*/ 27 w 58"/>
                  <a:gd name="T71" fmla="*/ 50 h 63"/>
                  <a:gd name="T72" fmla="*/ 36 w 58"/>
                  <a:gd name="T73" fmla="*/ 56 h 63"/>
                  <a:gd name="T74" fmla="*/ 43 w 58"/>
                  <a:gd name="T75" fmla="*/ 64 h 63"/>
                  <a:gd name="T76" fmla="*/ 43 w 58"/>
                  <a:gd name="T77" fmla="*/ 68 h 63"/>
                  <a:gd name="T78" fmla="*/ 32 w 58"/>
                  <a:gd name="T79" fmla="*/ 63 h 63"/>
                  <a:gd name="T80" fmla="*/ 31 w 58"/>
                  <a:gd name="T81" fmla="*/ 65 h 6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58"/>
                  <a:gd name="T124" fmla="*/ 0 h 63"/>
                  <a:gd name="T125" fmla="*/ 58 w 58"/>
                  <a:gd name="T126" fmla="*/ 63 h 6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58" h="63">
                    <a:moveTo>
                      <a:pt x="26" y="55"/>
                    </a:moveTo>
                    <a:cubicBezTo>
                      <a:pt x="30" y="55"/>
                      <a:pt x="31" y="58"/>
                      <a:pt x="35" y="59"/>
                    </a:cubicBezTo>
                    <a:cubicBezTo>
                      <a:pt x="36" y="59"/>
                      <a:pt x="38" y="58"/>
                      <a:pt x="39" y="59"/>
                    </a:cubicBezTo>
                    <a:cubicBezTo>
                      <a:pt x="41" y="59"/>
                      <a:pt x="41" y="62"/>
                      <a:pt x="43" y="62"/>
                    </a:cubicBezTo>
                    <a:cubicBezTo>
                      <a:pt x="45" y="63"/>
                      <a:pt x="48" y="63"/>
                      <a:pt x="50" y="62"/>
                    </a:cubicBezTo>
                    <a:cubicBezTo>
                      <a:pt x="51" y="62"/>
                      <a:pt x="51" y="60"/>
                      <a:pt x="51" y="59"/>
                    </a:cubicBezTo>
                    <a:cubicBezTo>
                      <a:pt x="50" y="57"/>
                      <a:pt x="48" y="55"/>
                      <a:pt x="48" y="53"/>
                    </a:cubicBezTo>
                    <a:cubicBezTo>
                      <a:pt x="48" y="50"/>
                      <a:pt x="50" y="48"/>
                      <a:pt x="50" y="46"/>
                    </a:cubicBezTo>
                    <a:cubicBezTo>
                      <a:pt x="50" y="44"/>
                      <a:pt x="48" y="42"/>
                      <a:pt x="49" y="40"/>
                    </a:cubicBezTo>
                    <a:cubicBezTo>
                      <a:pt x="49" y="38"/>
                      <a:pt x="52" y="37"/>
                      <a:pt x="52" y="35"/>
                    </a:cubicBezTo>
                    <a:cubicBezTo>
                      <a:pt x="53" y="31"/>
                      <a:pt x="51" y="26"/>
                      <a:pt x="52" y="22"/>
                    </a:cubicBezTo>
                    <a:cubicBezTo>
                      <a:pt x="53" y="18"/>
                      <a:pt x="56" y="16"/>
                      <a:pt x="57" y="13"/>
                    </a:cubicBezTo>
                    <a:cubicBezTo>
                      <a:pt x="58" y="11"/>
                      <a:pt x="57" y="8"/>
                      <a:pt x="57" y="6"/>
                    </a:cubicBezTo>
                    <a:cubicBezTo>
                      <a:pt x="57" y="4"/>
                      <a:pt x="57" y="3"/>
                      <a:pt x="58" y="1"/>
                    </a:cubicBezTo>
                    <a:cubicBezTo>
                      <a:pt x="56" y="1"/>
                      <a:pt x="54" y="0"/>
                      <a:pt x="52" y="1"/>
                    </a:cubicBezTo>
                    <a:cubicBezTo>
                      <a:pt x="51" y="1"/>
                      <a:pt x="50" y="3"/>
                      <a:pt x="49" y="3"/>
                    </a:cubicBezTo>
                    <a:cubicBezTo>
                      <a:pt x="46" y="4"/>
                      <a:pt x="43" y="6"/>
                      <a:pt x="41" y="6"/>
                    </a:cubicBezTo>
                    <a:cubicBezTo>
                      <a:pt x="39" y="6"/>
                      <a:pt x="40" y="3"/>
                      <a:pt x="39" y="3"/>
                    </a:cubicBezTo>
                    <a:cubicBezTo>
                      <a:pt x="37" y="3"/>
                      <a:pt x="35" y="5"/>
                      <a:pt x="34" y="7"/>
                    </a:cubicBezTo>
                    <a:cubicBezTo>
                      <a:pt x="33" y="8"/>
                      <a:pt x="34" y="10"/>
                      <a:pt x="33" y="11"/>
                    </a:cubicBezTo>
                    <a:cubicBezTo>
                      <a:pt x="31" y="13"/>
                      <a:pt x="29" y="14"/>
                      <a:pt x="26" y="15"/>
                    </a:cubicBezTo>
                    <a:cubicBezTo>
                      <a:pt x="24" y="15"/>
                      <a:pt x="22" y="15"/>
                      <a:pt x="21" y="15"/>
                    </a:cubicBezTo>
                    <a:cubicBezTo>
                      <a:pt x="19" y="16"/>
                      <a:pt x="19" y="17"/>
                      <a:pt x="18" y="18"/>
                    </a:cubicBezTo>
                    <a:cubicBezTo>
                      <a:pt x="16" y="18"/>
                      <a:pt x="14" y="17"/>
                      <a:pt x="13" y="18"/>
                    </a:cubicBezTo>
                    <a:cubicBezTo>
                      <a:pt x="12" y="20"/>
                      <a:pt x="14" y="23"/>
                      <a:pt x="13" y="25"/>
                    </a:cubicBezTo>
                    <a:cubicBezTo>
                      <a:pt x="12" y="27"/>
                      <a:pt x="11" y="28"/>
                      <a:pt x="9" y="30"/>
                    </a:cubicBezTo>
                    <a:cubicBezTo>
                      <a:pt x="8" y="30"/>
                      <a:pt x="7" y="30"/>
                      <a:pt x="6" y="30"/>
                    </a:cubicBezTo>
                    <a:cubicBezTo>
                      <a:pt x="5" y="30"/>
                      <a:pt x="4" y="32"/>
                      <a:pt x="4" y="31"/>
                    </a:cubicBezTo>
                    <a:cubicBezTo>
                      <a:pt x="3" y="31"/>
                      <a:pt x="2" y="28"/>
                      <a:pt x="1" y="28"/>
                    </a:cubicBezTo>
                    <a:cubicBezTo>
                      <a:pt x="0" y="29"/>
                      <a:pt x="0" y="31"/>
                      <a:pt x="1" y="32"/>
                    </a:cubicBezTo>
                    <a:cubicBezTo>
                      <a:pt x="4" y="37"/>
                      <a:pt x="9" y="41"/>
                      <a:pt x="13" y="45"/>
                    </a:cubicBezTo>
                    <a:cubicBezTo>
                      <a:pt x="17" y="49"/>
                      <a:pt x="19" y="53"/>
                      <a:pt x="23" y="56"/>
                    </a:cubicBezTo>
                    <a:cubicBezTo>
                      <a:pt x="24" y="56"/>
                      <a:pt x="24" y="55"/>
                      <a:pt x="25" y="55"/>
                    </a:cubicBezTo>
                    <a:cubicBezTo>
                      <a:pt x="25" y="53"/>
                      <a:pt x="23" y="52"/>
                      <a:pt x="23" y="50"/>
                    </a:cubicBezTo>
                    <a:cubicBezTo>
                      <a:pt x="22" y="48"/>
                      <a:pt x="22" y="45"/>
                      <a:pt x="22" y="43"/>
                    </a:cubicBezTo>
                    <a:cubicBezTo>
                      <a:pt x="22" y="42"/>
                      <a:pt x="23" y="42"/>
                      <a:pt x="23" y="42"/>
                    </a:cubicBezTo>
                    <a:cubicBezTo>
                      <a:pt x="26" y="43"/>
                      <a:pt x="28" y="45"/>
                      <a:pt x="30" y="47"/>
                    </a:cubicBezTo>
                    <a:cubicBezTo>
                      <a:pt x="32" y="49"/>
                      <a:pt x="34" y="51"/>
                      <a:pt x="36" y="54"/>
                    </a:cubicBezTo>
                    <a:cubicBezTo>
                      <a:pt x="36" y="55"/>
                      <a:pt x="37" y="57"/>
                      <a:pt x="36" y="57"/>
                    </a:cubicBezTo>
                    <a:cubicBezTo>
                      <a:pt x="32" y="57"/>
                      <a:pt x="30" y="54"/>
                      <a:pt x="27" y="53"/>
                    </a:cubicBezTo>
                    <a:cubicBezTo>
                      <a:pt x="26" y="53"/>
                      <a:pt x="26" y="54"/>
                      <a:pt x="26" y="55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1" name="Freeform 2542"/>
              <p:cNvSpPr>
                <a:spLocks noChangeAspect="1"/>
              </p:cNvSpPr>
              <p:nvPr/>
            </p:nvSpPr>
            <p:spPr bwMode="auto">
              <a:xfrm>
                <a:off x="2402505" y="3762961"/>
                <a:ext cx="137389" cy="71462"/>
              </a:xfrm>
              <a:custGeom>
                <a:avLst/>
                <a:gdLst>
                  <a:gd name="T0" fmla="*/ 76 w 70"/>
                  <a:gd name="T1" fmla="*/ 40 h 36"/>
                  <a:gd name="T2" fmla="*/ 79 w 70"/>
                  <a:gd name="T3" fmla="*/ 35 h 36"/>
                  <a:gd name="T4" fmla="*/ 83 w 70"/>
                  <a:gd name="T5" fmla="*/ 35 h 36"/>
                  <a:gd name="T6" fmla="*/ 84 w 70"/>
                  <a:gd name="T7" fmla="*/ 27 h 36"/>
                  <a:gd name="T8" fmla="*/ 82 w 70"/>
                  <a:gd name="T9" fmla="*/ 22 h 36"/>
                  <a:gd name="T10" fmla="*/ 84 w 70"/>
                  <a:gd name="T11" fmla="*/ 18 h 36"/>
                  <a:gd name="T12" fmla="*/ 77 w 70"/>
                  <a:gd name="T13" fmla="*/ 10 h 36"/>
                  <a:gd name="T14" fmla="*/ 65 w 70"/>
                  <a:gd name="T15" fmla="*/ 6 h 36"/>
                  <a:gd name="T16" fmla="*/ 56 w 70"/>
                  <a:gd name="T17" fmla="*/ 1 h 36"/>
                  <a:gd name="T18" fmla="*/ 50 w 70"/>
                  <a:gd name="T19" fmla="*/ 5 h 36"/>
                  <a:gd name="T20" fmla="*/ 40 w 70"/>
                  <a:gd name="T21" fmla="*/ 7 h 36"/>
                  <a:gd name="T22" fmla="*/ 26 w 70"/>
                  <a:gd name="T23" fmla="*/ 15 h 36"/>
                  <a:gd name="T24" fmla="*/ 19 w 70"/>
                  <a:gd name="T25" fmla="*/ 12 h 36"/>
                  <a:gd name="T26" fmla="*/ 13 w 70"/>
                  <a:gd name="T27" fmla="*/ 12 h 36"/>
                  <a:gd name="T28" fmla="*/ 10 w 70"/>
                  <a:gd name="T29" fmla="*/ 5 h 36"/>
                  <a:gd name="T30" fmla="*/ 4 w 70"/>
                  <a:gd name="T31" fmla="*/ 1 h 36"/>
                  <a:gd name="T32" fmla="*/ 2 w 70"/>
                  <a:gd name="T33" fmla="*/ 9 h 36"/>
                  <a:gd name="T34" fmla="*/ 6 w 70"/>
                  <a:gd name="T35" fmla="*/ 13 h 36"/>
                  <a:gd name="T36" fmla="*/ 2 w 70"/>
                  <a:gd name="T37" fmla="*/ 17 h 36"/>
                  <a:gd name="T38" fmla="*/ 2 w 70"/>
                  <a:gd name="T39" fmla="*/ 22 h 36"/>
                  <a:gd name="T40" fmla="*/ 0 w 70"/>
                  <a:gd name="T41" fmla="*/ 26 h 36"/>
                  <a:gd name="T42" fmla="*/ 11 w 70"/>
                  <a:gd name="T43" fmla="*/ 26 h 36"/>
                  <a:gd name="T44" fmla="*/ 19 w 70"/>
                  <a:gd name="T45" fmla="*/ 26 h 36"/>
                  <a:gd name="T46" fmla="*/ 22 w 70"/>
                  <a:gd name="T47" fmla="*/ 33 h 36"/>
                  <a:gd name="T48" fmla="*/ 24 w 70"/>
                  <a:gd name="T49" fmla="*/ 37 h 36"/>
                  <a:gd name="T50" fmla="*/ 28 w 70"/>
                  <a:gd name="T51" fmla="*/ 31 h 36"/>
                  <a:gd name="T52" fmla="*/ 30 w 70"/>
                  <a:gd name="T53" fmla="*/ 38 h 36"/>
                  <a:gd name="T54" fmla="*/ 35 w 70"/>
                  <a:gd name="T55" fmla="*/ 43 h 36"/>
                  <a:gd name="T56" fmla="*/ 44 w 70"/>
                  <a:gd name="T57" fmla="*/ 39 h 36"/>
                  <a:gd name="T58" fmla="*/ 41 w 70"/>
                  <a:gd name="T59" fmla="*/ 32 h 36"/>
                  <a:gd name="T60" fmla="*/ 37 w 70"/>
                  <a:gd name="T61" fmla="*/ 26 h 36"/>
                  <a:gd name="T62" fmla="*/ 42 w 70"/>
                  <a:gd name="T63" fmla="*/ 23 h 36"/>
                  <a:gd name="T64" fmla="*/ 47 w 70"/>
                  <a:gd name="T65" fmla="*/ 20 h 36"/>
                  <a:gd name="T66" fmla="*/ 47 w 70"/>
                  <a:gd name="T67" fmla="*/ 13 h 36"/>
                  <a:gd name="T68" fmla="*/ 56 w 70"/>
                  <a:gd name="T69" fmla="*/ 10 h 36"/>
                  <a:gd name="T70" fmla="*/ 65 w 70"/>
                  <a:gd name="T71" fmla="*/ 16 h 36"/>
                  <a:gd name="T72" fmla="*/ 70 w 70"/>
                  <a:gd name="T73" fmla="*/ 18 h 36"/>
                  <a:gd name="T74" fmla="*/ 72 w 70"/>
                  <a:gd name="T75" fmla="*/ 27 h 36"/>
                  <a:gd name="T76" fmla="*/ 68 w 70"/>
                  <a:gd name="T77" fmla="*/ 28 h 36"/>
                  <a:gd name="T78" fmla="*/ 71 w 70"/>
                  <a:gd name="T79" fmla="*/ 35 h 36"/>
                  <a:gd name="T80" fmla="*/ 76 w 70"/>
                  <a:gd name="T81" fmla="*/ 40 h 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0"/>
                  <a:gd name="T124" fmla="*/ 0 h 36"/>
                  <a:gd name="T125" fmla="*/ 70 w 70"/>
                  <a:gd name="T126" fmla="*/ 36 h 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0" h="36">
                    <a:moveTo>
                      <a:pt x="63" y="33"/>
                    </a:moveTo>
                    <a:cubicBezTo>
                      <a:pt x="64" y="32"/>
                      <a:pt x="65" y="30"/>
                      <a:pt x="66" y="29"/>
                    </a:cubicBezTo>
                    <a:cubicBezTo>
                      <a:pt x="67" y="28"/>
                      <a:pt x="69" y="30"/>
                      <a:pt x="69" y="29"/>
                    </a:cubicBezTo>
                    <a:cubicBezTo>
                      <a:pt x="70" y="27"/>
                      <a:pt x="70" y="25"/>
                      <a:pt x="70" y="22"/>
                    </a:cubicBezTo>
                    <a:cubicBezTo>
                      <a:pt x="70" y="21"/>
                      <a:pt x="68" y="19"/>
                      <a:pt x="68" y="18"/>
                    </a:cubicBezTo>
                    <a:cubicBezTo>
                      <a:pt x="68" y="16"/>
                      <a:pt x="69" y="16"/>
                      <a:pt x="70" y="15"/>
                    </a:cubicBezTo>
                    <a:cubicBezTo>
                      <a:pt x="68" y="12"/>
                      <a:pt x="67" y="10"/>
                      <a:pt x="64" y="8"/>
                    </a:cubicBezTo>
                    <a:cubicBezTo>
                      <a:pt x="61" y="6"/>
                      <a:pt x="58" y="7"/>
                      <a:pt x="54" y="5"/>
                    </a:cubicBezTo>
                    <a:cubicBezTo>
                      <a:pt x="52" y="4"/>
                      <a:pt x="50" y="1"/>
                      <a:pt x="47" y="1"/>
                    </a:cubicBezTo>
                    <a:cubicBezTo>
                      <a:pt x="45" y="0"/>
                      <a:pt x="44" y="4"/>
                      <a:pt x="42" y="4"/>
                    </a:cubicBezTo>
                    <a:cubicBezTo>
                      <a:pt x="39" y="5"/>
                      <a:pt x="35" y="5"/>
                      <a:pt x="33" y="6"/>
                    </a:cubicBezTo>
                    <a:cubicBezTo>
                      <a:pt x="29" y="7"/>
                      <a:pt x="26" y="11"/>
                      <a:pt x="22" y="12"/>
                    </a:cubicBezTo>
                    <a:cubicBezTo>
                      <a:pt x="20" y="13"/>
                      <a:pt x="18" y="10"/>
                      <a:pt x="16" y="10"/>
                    </a:cubicBezTo>
                    <a:cubicBezTo>
                      <a:pt x="14" y="10"/>
                      <a:pt x="12" y="11"/>
                      <a:pt x="11" y="10"/>
                    </a:cubicBezTo>
                    <a:cubicBezTo>
                      <a:pt x="9" y="9"/>
                      <a:pt x="9" y="6"/>
                      <a:pt x="8" y="4"/>
                    </a:cubicBezTo>
                    <a:cubicBezTo>
                      <a:pt x="7" y="3"/>
                      <a:pt x="4" y="2"/>
                      <a:pt x="3" y="1"/>
                    </a:cubicBezTo>
                    <a:cubicBezTo>
                      <a:pt x="3" y="3"/>
                      <a:pt x="1" y="5"/>
                      <a:pt x="2" y="7"/>
                    </a:cubicBezTo>
                    <a:cubicBezTo>
                      <a:pt x="2" y="9"/>
                      <a:pt x="5" y="9"/>
                      <a:pt x="5" y="11"/>
                    </a:cubicBezTo>
                    <a:cubicBezTo>
                      <a:pt x="5" y="12"/>
                      <a:pt x="2" y="12"/>
                      <a:pt x="2" y="14"/>
                    </a:cubicBezTo>
                    <a:cubicBezTo>
                      <a:pt x="1" y="15"/>
                      <a:pt x="2" y="16"/>
                      <a:pt x="2" y="18"/>
                    </a:cubicBezTo>
                    <a:cubicBezTo>
                      <a:pt x="2" y="19"/>
                      <a:pt x="1" y="20"/>
                      <a:pt x="0" y="21"/>
                    </a:cubicBezTo>
                    <a:cubicBezTo>
                      <a:pt x="3" y="21"/>
                      <a:pt x="6" y="21"/>
                      <a:pt x="9" y="21"/>
                    </a:cubicBezTo>
                    <a:cubicBezTo>
                      <a:pt x="11" y="21"/>
                      <a:pt x="14" y="20"/>
                      <a:pt x="16" y="21"/>
                    </a:cubicBezTo>
                    <a:cubicBezTo>
                      <a:pt x="17" y="22"/>
                      <a:pt x="17" y="25"/>
                      <a:pt x="18" y="27"/>
                    </a:cubicBezTo>
                    <a:cubicBezTo>
                      <a:pt x="18" y="28"/>
                      <a:pt x="18" y="31"/>
                      <a:pt x="20" y="30"/>
                    </a:cubicBezTo>
                    <a:cubicBezTo>
                      <a:pt x="22" y="30"/>
                      <a:pt x="21" y="25"/>
                      <a:pt x="23" y="25"/>
                    </a:cubicBezTo>
                    <a:cubicBezTo>
                      <a:pt x="25" y="25"/>
                      <a:pt x="24" y="29"/>
                      <a:pt x="25" y="31"/>
                    </a:cubicBezTo>
                    <a:cubicBezTo>
                      <a:pt x="26" y="33"/>
                      <a:pt x="27" y="35"/>
                      <a:pt x="29" y="35"/>
                    </a:cubicBezTo>
                    <a:cubicBezTo>
                      <a:pt x="32" y="36"/>
                      <a:pt x="36" y="35"/>
                      <a:pt x="37" y="32"/>
                    </a:cubicBezTo>
                    <a:cubicBezTo>
                      <a:pt x="38" y="30"/>
                      <a:pt x="35" y="28"/>
                      <a:pt x="34" y="26"/>
                    </a:cubicBezTo>
                    <a:cubicBezTo>
                      <a:pt x="33" y="24"/>
                      <a:pt x="30" y="23"/>
                      <a:pt x="31" y="21"/>
                    </a:cubicBezTo>
                    <a:cubicBezTo>
                      <a:pt x="31" y="19"/>
                      <a:pt x="33" y="19"/>
                      <a:pt x="35" y="19"/>
                    </a:cubicBezTo>
                    <a:cubicBezTo>
                      <a:pt x="36" y="18"/>
                      <a:pt x="38" y="17"/>
                      <a:pt x="39" y="16"/>
                    </a:cubicBezTo>
                    <a:cubicBezTo>
                      <a:pt x="40" y="14"/>
                      <a:pt x="38" y="12"/>
                      <a:pt x="39" y="11"/>
                    </a:cubicBezTo>
                    <a:cubicBezTo>
                      <a:pt x="41" y="9"/>
                      <a:pt x="45" y="8"/>
                      <a:pt x="47" y="8"/>
                    </a:cubicBezTo>
                    <a:cubicBezTo>
                      <a:pt x="50" y="9"/>
                      <a:pt x="52" y="12"/>
                      <a:pt x="54" y="13"/>
                    </a:cubicBezTo>
                    <a:cubicBezTo>
                      <a:pt x="55" y="14"/>
                      <a:pt x="57" y="14"/>
                      <a:pt x="58" y="15"/>
                    </a:cubicBezTo>
                    <a:cubicBezTo>
                      <a:pt x="59" y="17"/>
                      <a:pt x="60" y="20"/>
                      <a:pt x="60" y="22"/>
                    </a:cubicBezTo>
                    <a:cubicBezTo>
                      <a:pt x="60" y="23"/>
                      <a:pt x="58" y="22"/>
                      <a:pt x="57" y="23"/>
                    </a:cubicBezTo>
                    <a:cubicBezTo>
                      <a:pt x="57" y="25"/>
                      <a:pt x="58" y="27"/>
                      <a:pt x="59" y="29"/>
                    </a:cubicBezTo>
                    <a:cubicBezTo>
                      <a:pt x="60" y="30"/>
                      <a:pt x="62" y="32"/>
                      <a:pt x="63" y="33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2" name="Freeform 2543"/>
              <p:cNvSpPr>
                <a:spLocks noChangeAspect="1"/>
              </p:cNvSpPr>
              <p:nvPr/>
            </p:nvSpPr>
            <p:spPr bwMode="auto">
              <a:xfrm>
                <a:off x="2328903" y="3719109"/>
                <a:ext cx="83416" cy="90951"/>
              </a:xfrm>
              <a:custGeom>
                <a:avLst/>
                <a:gdLst>
                  <a:gd name="T0" fmla="*/ 49 w 42"/>
                  <a:gd name="T1" fmla="*/ 29 h 47"/>
                  <a:gd name="T2" fmla="*/ 47 w 42"/>
                  <a:gd name="T3" fmla="*/ 26 h 47"/>
                  <a:gd name="T4" fmla="*/ 44 w 42"/>
                  <a:gd name="T5" fmla="*/ 23 h 47"/>
                  <a:gd name="T6" fmla="*/ 36 w 42"/>
                  <a:gd name="T7" fmla="*/ 15 h 47"/>
                  <a:gd name="T8" fmla="*/ 36 w 42"/>
                  <a:gd name="T9" fmla="*/ 8 h 47"/>
                  <a:gd name="T10" fmla="*/ 35 w 42"/>
                  <a:gd name="T11" fmla="*/ 5 h 47"/>
                  <a:gd name="T12" fmla="*/ 34 w 42"/>
                  <a:gd name="T13" fmla="*/ 8 h 47"/>
                  <a:gd name="T14" fmla="*/ 25 w 42"/>
                  <a:gd name="T15" fmla="*/ 8 h 47"/>
                  <a:gd name="T16" fmla="*/ 21 w 42"/>
                  <a:gd name="T17" fmla="*/ 5 h 47"/>
                  <a:gd name="T18" fmla="*/ 16 w 42"/>
                  <a:gd name="T19" fmla="*/ 5 h 47"/>
                  <a:gd name="T20" fmla="*/ 5 w 42"/>
                  <a:gd name="T21" fmla="*/ 0 h 47"/>
                  <a:gd name="T22" fmla="*/ 4 w 42"/>
                  <a:gd name="T23" fmla="*/ 0 h 47"/>
                  <a:gd name="T24" fmla="*/ 1 w 42"/>
                  <a:gd name="T25" fmla="*/ 1 h 47"/>
                  <a:gd name="T26" fmla="*/ 0 w 42"/>
                  <a:gd name="T27" fmla="*/ 5 h 47"/>
                  <a:gd name="T28" fmla="*/ 1 w 42"/>
                  <a:gd name="T29" fmla="*/ 8 h 47"/>
                  <a:gd name="T30" fmla="*/ 1 w 42"/>
                  <a:gd name="T31" fmla="*/ 12 h 47"/>
                  <a:gd name="T32" fmla="*/ 0 w 42"/>
                  <a:gd name="T33" fmla="*/ 19 h 47"/>
                  <a:gd name="T34" fmla="*/ 1 w 42"/>
                  <a:gd name="T35" fmla="*/ 23 h 47"/>
                  <a:gd name="T36" fmla="*/ 7 w 42"/>
                  <a:gd name="T37" fmla="*/ 26 h 47"/>
                  <a:gd name="T38" fmla="*/ 12 w 42"/>
                  <a:gd name="T39" fmla="*/ 27 h 47"/>
                  <a:gd name="T40" fmla="*/ 12 w 42"/>
                  <a:gd name="T41" fmla="*/ 25 h 47"/>
                  <a:gd name="T42" fmla="*/ 10 w 42"/>
                  <a:gd name="T43" fmla="*/ 19 h 47"/>
                  <a:gd name="T44" fmla="*/ 11 w 42"/>
                  <a:gd name="T45" fmla="*/ 18 h 47"/>
                  <a:gd name="T46" fmla="*/ 16 w 42"/>
                  <a:gd name="T47" fmla="*/ 23 h 47"/>
                  <a:gd name="T48" fmla="*/ 18 w 42"/>
                  <a:gd name="T49" fmla="*/ 29 h 47"/>
                  <a:gd name="T50" fmla="*/ 28 w 42"/>
                  <a:gd name="T51" fmla="*/ 32 h 47"/>
                  <a:gd name="T52" fmla="*/ 34 w 42"/>
                  <a:gd name="T53" fmla="*/ 38 h 47"/>
                  <a:gd name="T54" fmla="*/ 34 w 42"/>
                  <a:gd name="T55" fmla="*/ 46 h 47"/>
                  <a:gd name="T56" fmla="*/ 39 w 42"/>
                  <a:gd name="T57" fmla="*/ 50 h 47"/>
                  <a:gd name="T58" fmla="*/ 36 w 42"/>
                  <a:gd name="T59" fmla="*/ 46 h 47"/>
                  <a:gd name="T60" fmla="*/ 36 w 42"/>
                  <a:gd name="T61" fmla="*/ 43 h 47"/>
                  <a:gd name="T62" fmla="*/ 40 w 42"/>
                  <a:gd name="T63" fmla="*/ 46 h 47"/>
                  <a:gd name="T64" fmla="*/ 45 w 42"/>
                  <a:gd name="T65" fmla="*/ 55 h 47"/>
                  <a:gd name="T66" fmla="*/ 45 w 42"/>
                  <a:gd name="T67" fmla="*/ 52 h 47"/>
                  <a:gd name="T68" fmla="*/ 47 w 42"/>
                  <a:gd name="T69" fmla="*/ 49 h 47"/>
                  <a:gd name="T70" fmla="*/ 47 w 42"/>
                  <a:gd name="T71" fmla="*/ 44 h 47"/>
                  <a:gd name="T72" fmla="*/ 51 w 42"/>
                  <a:gd name="T73" fmla="*/ 41 h 47"/>
                  <a:gd name="T74" fmla="*/ 47 w 42"/>
                  <a:gd name="T75" fmla="*/ 36 h 47"/>
                  <a:gd name="T76" fmla="*/ 49 w 42"/>
                  <a:gd name="T77" fmla="*/ 29 h 4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2"/>
                  <a:gd name="T118" fmla="*/ 0 h 47"/>
                  <a:gd name="T119" fmla="*/ 42 w 42"/>
                  <a:gd name="T120" fmla="*/ 47 h 4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2" h="47">
                    <a:moveTo>
                      <a:pt x="40" y="24"/>
                    </a:moveTo>
                    <a:cubicBezTo>
                      <a:pt x="40" y="23"/>
                      <a:pt x="40" y="23"/>
                      <a:pt x="39" y="22"/>
                    </a:cubicBezTo>
                    <a:cubicBezTo>
                      <a:pt x="38" y="21"/>
                      <a:pt x="37" y="20"/>
                      <a:pt x="36" y="19"/>
                    </a:cubicBezTo>
                    <a:cubicBezTo>
                      <a:pt x="34" y="17"/>
                      <a:pt x="31" y="15"/>
                      <a:pt x="30" y="13"/>
                    </a:cubicBezTo>
                    <a:cubicBezTo>
                      <a:pt x="29" y="11"/>
                      <a:pt x="30" y="9"/>
                      <a:pt x="30" y="7"/>
                    </a:cubicBezTo>
                    <a:cubicBezTo>
                      <a:pt x="30" y="6"/>
                      <a:pt x="29" y="5"/>
                      <a:pt x="29" y="4"/>
                    </a:cubicBezTo>
                    <a:cubicBezTo>
                      <a:pt x="29" y="5"/>
                      <a:pt x="29" y="7"/>
                      <a:pt x="28" y="7"/>
                    </a:cubicBezTo>
                    <a:cubicBezTo>
                      <a:pt x="26" y="8"/>
                      <a:pt x="23" y="8"/>
                      <a:pt x="21" y="7"/>
                    </a:cubicBezTo>
                    <a:cubicBezTo>
                      <a:pt x="19" y="7"/>
                      <a:pt x="19" y="4"/>
                      <a:pt x="17" y="4"/>
                    </a:cubicBezTo>
                    <a:cubicBezTo>
                      <a:pt x="16" y="3"/>
                      <a:pt x="14" y="4"/>
                      <a:pt x="13" y="4"/>
                    </a:cubicBezTo>
                    <a:cubicBezTo>
                      <a:pt x="9" y="3"/>
                      <a:pt x="8" y="0"/>
                      <a:pt x="4" y="0"/>
                    </a:cubicBezTo>
                    <a:lnTo>
                      <a:pt x="3" y="0"/>
                    </a:lnTo>
                    <a:cubicBezTo>
                      <a:pt x="2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1" y="6"/>
                      <a:pt x="1" y="7"/>
                    </a:cubicBezTo>
                    <a:cubicBezTo>
                      <a:pt x="1" y="8"/>
                      <a:pt x="1" y="9"/>
                      <a:pt x="1" y="10"/>
                    </a:cubicBezTo>
                    <a:cubicBezTo>
                      <a:pt x="1" y="12"/>
                      <a:pt x="0" y="14"/>
                      <a:pt x="0" y="16"/>
                    </a:cubicBezTo>
                    <a:cubicBezTo>
                      <a:pt x="0" y="17"/>
                      <a:pt x="0" y="18"/>
                      <a:pt x="1" y="19"/>
                    </a:cubicBezTo>
                    <a:cubicBezTo>
                      <a:pt x="3" y="20"/>
                      <a:pt x="4" y="21"/>
                      <a:pt x="6" y="22"/>
                    </a:cubicBezTo>
                    <a:cubicBezTo>
                      <a:pt x="7" y="23"/>
                      <a:pt x="9" y="24"/>
                      <a:pt x="10" y="23"/>
                    </a:cubicBezTo>
                    <a:cubicBezTo>
                      <a:pt x="11" y="23"/>
                      <a:pt x="10" y="22"/>
                      <a:pt x="10" y="21"/>
                    </a:cubicBezTo>
                    <a:cubicBezTo>
                      <a:pt x="10" y="19"/>
                      <a:pt x="8" y="18"/>
                      <a:pt x="8" y="16"/>
                    </a:cubicBezTo>
                    <a:cubicBezTo>
                      <a:pt x="8" y="15"/>
                      <a:pt x="9" y="15"/>
                      <a:pt x="9" y="15"/>
                    </a:cubicBezTo>
                    <a:cubicBezTo>
                      <a:pt x="11" y="16"/>
                      <a:pt x="12" y="18"/>
                      <a:pt x="13" y="19"/>
                    </a:cubicBezTo>
                    <a:cubicBezTo>
                      <a:pt x="14" y="21"/>
                      <a:pt x="13" y="23"/>
                      <a:pt x="15" y="24"/>
                    </a:cubicBezTo>
                    <a:cubicBezTo>
                      <a:pt x="17" y="26"/>
                      <a:pt x="21" y="25"/>
                      <a:pt x="23" y="27"/>
                    </a:cubicBezTo>
                    <a:cubicBezTo>
                      <a:pt x="25" y="28"/>
                      <a:pt x="27" y="30"/>
                      <a:pt x="28" y="32"/>
                    </a:cubicBezTo>
                    <a:cubicBezTo>
                      <a:pt x="28" y="34"/>
                      <a:pt x="27" y="37"/>
                      <a:pt x="28" y="39"/>
                    </a:cubicBezTo>
                    <a:cubicBezTo>
                      <a:pt x="28" y="41"/>
                      <a:pt x="31" y="42"/>
                      <a:pt x="32" y="42"/>
                    </a:cubicBezTo>
                    <a:cubicBezTo>
                      <a:pt x="34" y="42"/>
                      <a:pt x="31" y="40"/>
                      <a:pt x="30" y="39"/>
                    </a:cubicBezTo>
                    <a:cubicBezTo>
                      <a:pt x="30" y="38"/>
                      <a:pt x="29" y="36"/>
                      <a:pt x="30" y="36"/>
                    </a:cubicBezTo>
                    <a:cubicBezTo>
                      <a:pt x="32" y="36"/>
                      <a:pt x="32" y="38"/>
                      <a:pt x="33" y="39"/>
                    </a:cubicBezTo>
                    <a:cubicBezTo>
                      <a:pt x="35" y="41"/>
                      <a:pt x="35" y="44"/>
                      <a:pt x="37" y="46"/>
                    </a:cubicBezTo>
                    <a:cubicBezTo>
                      <a:pt x="37" y="47"/>
                      <a:pt x="37" y="44"/>
                      <a:pt x="37" y="44"/>
                    </a:cubicBezTo>
                    <a:cubicBezTo>
                      <a:pt x="38" y="43"/>
                      <a:pt x="39" y="42"/>
                      <a:pt x="39" y="41"/>
                    </a:cubicBezTo>
                    <a:cubicBezTo>
                      <a:pt x="39" y="39"/>
                      <a:pt x="38" y="38"/>
                      <a:pt x="39" y="37"/>
                    </a:cubicBezTo>
                    <a:cubicBezTo>
                      <a:pt x="39" y="35"/>
                      <a:pt x="42" y="35"/>
                      <a:pt x="42" y="34"/>
                    </a:cubicBezTo>
                    <a:cubicBezTo>
                      <a:pt x="42" y="32"/>
                      <a:pt x="39" y="32"/>
                      <a:pt x="39" y="30"/>
                    </a:cubicBezTo>
                    <a:cubicBezTo>
                      <a:pt x="38" y="28"/>
                      <a:pt x="40" y="26"/>
                      <a:pt x="40" y="24"/>
                    </a:cubicBezTo>
                    <a:close/>
                  </a:path>
                </a:pathLst>
              </a:custGeom>
              <a:solidFill>
                <a:srgbClr val="FFB06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3" name="Freeform 2544"/>
              <p:cNvSpPr>
                <a:spLocks noChangeAspect="1"/>
              </p:cNvSpPr>
              <p:nvPr/>
            </p:nvSpPr>
            <p:spPr bwMode="auto">
              <a:xfrm>
                <a:off x="2497369" y="3683378"/>
                <a:ext cx="299313" cy="469374"/>
              </a:xfrm>
              <a:custGeom>
                <a:avLst/>
                <a:gdLst>
                  <a:gd name="T0" fmla="*/ 33 w 152"/>
                  <a:gd name="T1" fmla="*/ 80 h 241"/>
                  <a:gd name="T2" fmla="*/ 41 w 152"/>
                  <a:gd name="T3" fmla="*/ 65 h 241"/>
                  <a:gd name="T4" fmla="*/ 51 w 152"/>
                  <a:gd name="T5" fmla="*/ 50 h 241"/>
                  <a:gd name="T6" fmla="*/ 61 w 152"/>
                  <a:gd name="T7" fmla="*/ 29 h 241"/>
                  <a:gd name="T8" fmla="*/ 73 w 152"/>
                  <a:gd name="T9" fmla="*/ 26 h 241"/>
                  <a:gd name="T10" fmla="*/ 95 w 152"/>
                  <a:gd name="T11" fmla="*/ 18 h 241"/>
                  <a:gd name="T12" fmla="*/ 110 w 152"/>
                  <a:gd name="T13" fmla="*/ 6 h 241"/>
                  <a:gd name="T14" fmla="*/ 122 w 152"/>
                  <a:gd name="T15" fmla="*/ 8 h 241"/>
                  <a:gd name="T16" fmla="*/ 104 w 152"/>
                  <a:gd name="T17" fmla="*/ 24 h 241"/>
                  <a:gd name="T18" fmla="*/ 85 w 152"/>
                  <a:gd name="T19" fmla="*/ 59 h 241"/>
                  <a:gd name="T20" fmla="*/ 98 w 152"/>
                  <a:gd name="T21" fmla="*/ 60 h 241"/>
                  <a:gd name="T22" fmla="*/ 104 w 152"/>
                  <a:gd name="T23" fmla="*/ 90 h 241"/>
                  <a:gd name="T24" fmla="*/ 122 w 152"/>
                  <a:gd name="T25" fmla="*/ 94 h 241"/>
                  <a:gd name="T26" fmla="*/ 136 w 152"/>
                  <a:gd name="T27" fmla="*/ 96 h 241"/>
                  <a:gd name="T28" fmla="*/ 153 w 152"/>
                  <a:gd name="T29" fmla="*/ 109 h 241"/>
                  <a:gd name="T30" fmla="*/ 175 w 152"/>
                  <a:gd name="T31" fmla="*/ 109 h 241"/>
                  <a:gd name="T32" fmla="*/ 171 w 152"/>
                  <a:gd name="T33" fmla="*/ 128 h 241"/>
                  <a:gd name="T34" fmla="*/ 172 w 152"/>
                  <a:gd name="T35" fmla="*/ 149 h 241"/>
                  <a:gd name="T36" fmla="*/ 167 w 152"/>
                  <a:gd name="T37" fmla="*/ 165 h 241"/>
                  <a:gd name="T38" fmla="*/ 183 w 152"/>
                  <a:gd name="T39" fmla="*/ 192 h 241"/>
                  <a:gd name="T40" fmla="*/ 172 w 152"/>
                  <a:gd name="T41" fmla="*/ 177 h 241"/>
                  <a:gd name="T42" fmla="*/ 163 w 152"/>
                  <a:gd name="T43" fmla="*/ 183 h 241"/>
                  <a:gd name="T44" fmla="*/ 146 w 152"/>
                  <a:gd name="T45" fmla="*/ 194 h 241"/>
                  <a:gd name="T46" fmla="*/ 140 w 152"/>
                  <a:gd name="T47" fmla="*/ 201 h 241"/>
                  <a:gd name="T48" fmla="*/ 142 w 152"/>
                  <a:gd name="T49" fmla="*/ 225 h 241"/>
                  <a:gd name="T50" fmla="*/ 138 w 152"/>
                  <a:gd name="T51" fmla="*/ 289 h 241"/>
                  <a:gd name="T52" fmla="*/ 134 w 152"/>
                  <a:gd name="T53" fmla="*/ 277 h 241"/>
                  <a:gd name="T54" fmla="*/ 131 w 152"/>
                  <a:gd name="T55" fmla="*/ 258 h 241"/>
                  <a:gd name="T56" fmla="*/ 116 w 152"/>
                  <a:gd name="T57" fmla="*/ 255 h 241"/>
                  <a:gd name="T58" fmla="*/ 93 w 152"/>
                  <a:gd name="T59" fmla="*/ 254 h 241"/>
                  <a:gd name="T60" fmla="*/ 88 w 152"/>
                  <a:gd name="T61" fmla="*/ 243 h 241"/>
                  <a:gd name="T62" fmla="*/ 71 w 152"/>
                  <a:gd name="T63" fmla="*/ 233 h 241"/>
                  <a:gd name="T64" fmla="*/ 58 w 152"/>
                  <a:gd name="T65" fmla="*/ 216 h 241"/>
                  <a:gd name="T66" fmla="*/ 39 w 152"/>
                  <a:gd name="T67" fmla="*/ 206 h 241"/>
                  <a:gd name="T68" fmla="*/ 28 w 152"/>
                  <a:gd name="T69" fmla="*/ 206 h 241"/>
                  <a:gd name="T70" fmla="*/ 13 w 152"/>
                  <a:gd name="T71" fmla="*/ 198 h 241"/>
                  <a:gd name="T72" fmla="*/ 1 w 152"/>
                  <a:gd name="T73" fmla="*/ 186 h 241"/>
                  <a:gd name="T74" fmla="*/ 4 w 152"/>
                  <a:gd name="T75" fmla="*/ 176 h 241"/>
                  <a:gd name="T76" fmla="*/ 19 w 152"/>
                  <a:gd name="T77" fmla="*/ 168 h 241"/>
                  <a:gd name="T78" fmla="*/ 29 w 152"/>
                  <a:gd name="T79" fmla="*/ 149 h 241"/>
                  <a:gd name="T80" fmla="*/ 20 w 152"/>
                  <a:gd name="T81" fmla="*/ 140 h 241"/>
                  <a:gd name="T82" fmla="*/ 20 w 152"/>
                  <a:gd name="T83" fmla="*/ 121 h 241"/>
                  <a:gd name="T84" fmla="*/ 25 w 152"/>
                  <a:gd name="T85" fmla="*/ 104 h 241"/>
                  <a:gd name="T86" fmla="*/ 17 w 152"/>
                  <a:gd name="T87" fmla="*/ 89 h 241"/>
                  <a:gd name="T88" fmla="*/ 25 w 152"/>
                  <a:gd name="T89" fmla="*/ 76 h 24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2"/>
                  <a:gd name="T136" fmla="*/ 0 h 241"/>
                  <a:gd name="T137" fmla="*/ 152 w 152"/>
                  <a:gd name="T138" fmla="*/ 241 h 24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2" h="241">
                    <a:moveTo>
                      <a:pt x="21" y="56"/>
                    </a:moveTo>
                    <a:cubicBezTo>
                      <a:pt x="22" y="58"/>
                      <a:pt x="26" y="61"/>
                      <a:pt x="27" y="63"/>
                    </a:cubicBezTo>
                    <a:cubicBezTo>
                      <a:pt x="27" y="64"/>
                      <a:pt x="26" y="66"/>
                      <a:pt x="27" y="67"/>
                    </a:cubicBezTo>
                    <a:cubicBezTo>
                      <a:pt x="27" y="68"/>
                      <a:pt x="29" y="68"/>
                      <a:pt x="29" y="67"/>
                    </a:cubicBezTo>
                    <a:cubicBezTo>
                      <a:pt x="30" y="64"/>
                      <a:pt x="27" y="61"/>
                      <a:pt x="28" y="58"/>
                    </a:cubicBezTo>
                    <a:cubicBezTo>
                      <a:pt x="29" y="56"/>
                      <a:pt x="32" y="56"/>
                      <a:pt x="34" y="54"/>
                    </a:cubicBezTo>
                    <a:cubicBezTo>
                      <a:pt x="36" y="52"/>
                      <a:pt x="36" y="49"/>
                      <a:pt x="38" y="48"/>
                    </a:cubicBezTo>
                    <a:cubicBezTo>
                      <a:pt x="40" y="46"/>
                      <a:pt x="42" y="48"/>
                      <a:pt x="44" y="46"/>
                    </a:cubicBezTo>
                    <a:cubicBezTo>
                      <a:pt x="44" y="45"/>
                      <a:pt x="42" y="43"/>
                      <a:pt x="42" y="42"/>
                    </a:cubicBezTo>
                    <a:cubicBezTo>
                      <a:pt x="43" y="38"/>
                      <a:pt x="44" y="35"/>
                      <a:pt x="44" y="31"/>
                    </a:cubicBezTo>
                    <a:cubicBezTo>
                      <a:pt x="44" y="31"/>
                      <a:pt x="43" y="30"/>
                      <a:pt x="44" y="29"/>
                    </a:cubicBezTo>
                    <a:cubicBezTo>
                      <a:pt x="46" y="27"/>
                      <a:pt x="49" y="26"/>
                      <a:pt x="51" y="24"/>
                    </a:cubicBezTo>
                    <a:cubicBezTo>
                      <a:pt x="53" y="23"/>
                      <a:pt x="54" y="20"/>
                      <a:pt x="57" y="20"/>
                    </a:cubicBezTo>
                    <a:cubicBezTo>
                      <a:pt x="58" y="20"/>
                      <a:pt x="58" y="23"/>
                      <a:pt x="60" y="24"/>
                    </a:cubicBezTo>
                    <a:cubicBezTo>
                      <a:pt x="61" y="24"/>
                      <a:pt x="61" y="23"/>
                      <a:pt x="61" y="22"/>
                    </a:cubicBezTo>
                    <a:cubicBezTo>
                      <a:pt x="62" y="20"/>
                      <a:pt x="62" y="17"/>
                      <a:pt x="64" y="16"/>
                    </a:cubicBezTo>
                    <a:cubicBezTo>
                      <a:pt x="66" y="15"/>
                      <a:pt x="69" y="17"/>
                      <a:pt x="71" y="17"/>
                    </a:cubicBezTo>
                    <a:cubicBezTo>
                      <a:pt x="74" y="17"/>
                      <a:pt x="77" y="16"/>
                      <a:pt x="79" y="15"/>
                    </a:cubicBezTo>
                    <a:cubicBezTo>
                      <a:pt x="83" y="13"/>
                      <a:pt x="86" y="11"/>
                      <a:pt x="88" y="8"/>
                    </a:cubicBezTo>
                    <a:cubicBezTo>
                      <a:pt x="89" y="7"/>
                      <a:pt x="87" y="4"/>
                      <a:pt x="88" y="3"/>
                    </a:cubicBezTo>
                    <a:cubicBezTo>
                      <a:pt x="89" y="2"/>
                      <a:pt x="90" y="5"/>
                      <a:pt x="91" y="5"/>
                    </a:cubicBezTo>
                    <a:cubicBezTo>
                      <a:pt x="93" y="4"/>
                      <a:pt x="94" y="1"/>
                      <a:pt x="96" y="0"/>
                    </a:cubicBezTo>
                    <a:cubicBezTo>
                      <a:pt x="97" y="0"/>
                      <a:pt x="99" y="0"/>
                      <a:pt x="99" y="1"/>
                    </a:cubicBezTo>
                    <a:cubicBezTo>
                      <a:pt x="101" y="2"/>
                      <a:pt x="101" y="5"/>
                      <a:pt x="101" y="7"/>
                    </a:cubicBezTo>
                    <a:cubicBezTo>
                      <a:pt x="101" y="8"/>
                      <a:pt x="100" y="7"/>
                      <a:pt x="99" y="8"/>
                    </a:cubicBezTo>
                    <a:cubicBezTo>
                      <a:pt x="96" y="9"/>
                      <a:pt x="92" y="9"/>
                      <a:pt x="89" y="12"/>
                    </a:cubicBezTo>
                    <a:cubicBezTo>
                      <a:pt x="87" y="14"/>
                      <a:pt x="87" y="17"/>
                      <a:pt x="86" y="20"/>
                    </a:cubicBezTo>
                    <a:cubicBezTo>
                      <a:pt x="84" y="24"/>
                      <a:pt x="80" y="26"/>
                      <a:pt x="78" y="31"/>
                    </a:cubicBezTo>
                    <a:cubicBezTo>
                      <a:pt x="77" y="33"/>
                      <a:pt x="79" y="37"/>
                      <a:pt x="78" y="39"/>
                    </a:cubicBezTo>
                    <a:cubicBezTo>
                      <a:pt x="76" y="43"/>
                      <a:pt x="72" y="45"/>
                      <a:pt x="71" y="49"/>
                    </a:cubicBezTo>
                    <a:cubicBezTo>
                      <a:pt x="71" y="50"/>
                      <a:pt x="72" y="51"/>
                      <a:pt x="73" y="51"/>
                    </a:cubicBezTo>
                    <a:cubicBezTo>
                      <a:pt x="74" y="51"/>
                      <a:pt x="75" y="49"/>
                      <a:pt x="76" y="49"/>
                    </a:cubicBezTo>
                    <a:cubicBezTo>
                      <a:pt x="77" y="48"/>
                      <a:pt x="79" y="49"/>
                      <a:pt x="81" y="50"/>
                    </a:cubicBezTo>
                    <a:cubicBezTo>
                      <a:pt x="83" y="52"/>
                      <a:pt x="83" y="55"/>
                      <a:pt x="84" y="58"/>
                    </a:cubicBezTo>
                    <a:cubicBezTo>
                      <a:pt x="85" y="62"/>
                      <a:pt x="83" y="65"/>
                      <a:pt x="84" y="69"/>
                    </a:cubicBezTo>
                    <a:cubicBezTo>
                      <a:pt x="84" y="71"/>
                      <a:pt x="85" y="73"/>
                      <a:pt x="86" y="75"/>
                    </a:cubicBezTo>
                    <a:cubicBezTo>
                      <a:pt x="87" y="76"/>
                      <a:pt x="87" y="78"/>
                      <a:pt x="88" y="78"/>
                    </a:cubicBezTo>
                    <a:cubicBezTo>
                      <a:pt x="91" y="78"/>
                      <a:pt x="94" y="77"/>
                      <a:pt x="96" y="77"/>
                    </a:cubicBezTo>
                    <a:cubicBezTo>
                      <a:pt x="98" y="77"/>
                      <a:pt x="100" y="78"/>
                      <a:pt x="101" y="78"/>
                    </a:cubicBezTo>
                    <a:cubicBezTo>
                      <a:pt x="103" y="78"/>
                      <a:pt x="104" y="76"/>
                      <a:pt x="106" y="76"/>
                    </a:cubicBezTo>
                    <a:cubicBezTo>
                      <a:pt x="108" y="76"/>
                      <a:pt x="107" y="79"/>
                      <a:pt x="108" y="80"/>
                    </a:cubicBezTo>
                    <a:cubicBezTo>
                      <a:pt x="110" y="81"/>
                      <a:pt x="112" y="79"/>
                      <a:pt x="113" y="80"/>
                    </a:cubicBezTo>
                    <a:cubicBezTo>
                      <a:pt x="116" y="83"/>
                      <a:pt x="118" y="88"/>
                      <a:pt x="121" y="91"/>
                    </a:cubicBezTo>
                    <a:cubicBezTo>
                      <a:pt x="122" y="92"/>
                      <a:pt x="123" y="90"/>
                      <a:pt x="125" y="90"/>
                    </a:cubicBezTo>
                    <a:cubicBezTo>
                      <a:pt x="125" y="90"/>
                      <a:pt x="126" y="91"/>
                      <a:pt x="127" y="91"/>
                    </a:cubicBezTo>
                    <a:cubicBezTo>
                      <a:pt x="129" y="91"/>
                      <a:pt x="130" y="91"/>
                      <a:pt x="132" y="91"/>
                    </a:cubicBezTo>
                    <a:cubicBezTo>
                      <a:pt x="136" y="91"/>
                      <a:pt x="139" y="90"/>
                      <a:pt x="142" y="90"/>
                    </a:cubicBezTo>
                    <a:cubicBezTo>
                      <a:pt x="143" y="90"/>
                      <a:pt x="145" y="90"/>
                      <a:pt x="145" y="91"/>
                    </a:cubicBezTo>
                    <a:cubicBezTo>
                      <a:pt x="146" y="94"/>
                      <a:pt x="146" y="98"/>
                      <a:pt x="145" y="101"/>
                    </a:cubicBezTo>
                    <a:cubicBezTo>
                      <a:pt x="144" y="102"/>
                      <a:pt x="141" y="102"/>
                      <a:pt x="141" y="104"/>
                    </a:cubicBezTo>
                    <a:cubicBezTo>
                      <a:pt x="140" y="105"/>
                      <a:pt x="142" y="106"/>
                      <a:pt x="142" y="107"/>
                    </a:cubicBezTo>
                    <a:cubicBezTo>
                      <a:pt x="141" y="109"/>
                      <a:pt x="139" y="111"/>
                      <a:pt x="139" y="113"/>
                    </a:cubicBezTo>
                    <a:cubicBezTo>
                      <a:pt x="140" y="115"/>
                      <a:pt x="143" y="116"/>
                      <a:pt x="143" y="118"/>
                    </a:cubicBezTo>
                    <a:cubicBezTo>
                      <a:pt x="144" y="120"/>
                      <a:pt x="143" y="122"/>
                      <a:pt x="143" y="124"/>
                    </a:cubicBezTo>
                    <a:cubicBezTo>
                      <a:pt x="143" y="124"/>
                      <a:pt x="145" y="124"/>
                      <a:pt x="145" y="124"/>
                    </a:cubicBezTo>
                    <a:cubicBezTo>
                      <a:pt x="146" y="126"/>
                      <a:pt x="146" y="129"/>
                      <a:pt x="145" y="131"/>
                    </a:cubicBezTo>
                    <a:cubicBezTo>
                      <a:pt x="144" y="134"/>
                      <a:pt x="140" y="135"/>
                      <a:pt x="139" y="138"/>
                    </a:cubicBezTo>
                    <a:cubicBezTo>
                      <a:pt x="139" y="140"/>
                      <a:pt x="143" y="140"/>
                      <a:pt x="144" y="142"/>
                    </a:cubicBezTo>
                    <a:cubicBezTo>
                      <a:pt x="146" y="143"/>
                      <a:pt x="146" y="145"/>
                      <a:pt x="147" y="146"/>
                    </a:cubicBezTo>
                    <a:cubicBezTo>
                      <a:pt x="149" y="151"/>
                      <a:pt x="150" y="155"/>
                      <a:pt x="152" y="160"/>
                    </a:cubicBezTo>
                    <a:cubicBezTo>
                      <a:pt x="151" y="161"/>
                      <a:pt x="151" y="162"/>
                      <a:pt x="150" y="163"/>
                    </a:cubicBezTo>
                    <a:cubicBezTo>
                      <a:pt x="148" y="159"/>
                      <a:pt x="147" y="155"/>
                      <a:pt x="145" y="151"/>
                    </a:cubicBezTo>
                    <a:cubicBezTo>
                      <a:pt x="144" y="150"/>
                      <a:pt x="144" y="147"/>
                      <a:pt x="143" y="148"/>
                    </a:cubicBezTo>
                    <a:cubicBezTo>
                      <a:pt x="141" y="148"/>
                      <a:pt x="141" y="151"/>
                      <a:pt x="140" y="153"/>
                    </a:cubicBezTo>
                    <a:cubicBezTo>
                      <a:pt x="138" y="152"/>
                      <a:pt x="137" y="151"/>
                      <a:pt x="136" y="151"/>
                    </a:cubicBezTo>
                    <a:cubicBezTo>
                      <a:pt x="135" y="151"/>
                      <a:pt x="135" y="152"/>
                      <a:pt x="135" y="153"/>
                    </a:cubicBezTo>
                    <a:cubicBezTo>
                      <a:pt x="129" y="153"/>
                      <a:pt x="123" y="154"/>
                      <a:pt x="117" y="154"/>
                    </a:cubicBezTo>
                    <a:cubicBezTo>
                      <a:pt x="117" y="157"/>
                      <a:pt x="117" y="159"/>
                      <a:pt x="118" y="162"/>
                    </a:cubicBezTo>
                    <a:cubicBezTo>
                      <a:pt x="119" y="162"/>
                      <a:pt x="120" y="161"/>
                      <a:pt x="121" y="162"/>
                    </a:cubicBezTo>
                    <a:cubicBezTo>
                      <a:pt x="122" y="163"/>
                      <a:pt x="122" y="164"/>
                      <a:pt x="123" y="166"/>
                    </a:cubicBezTo>
                    <a:cubicBezTo>
                      <a:pt x="123" y="167"/>
                      <a:pt x="124" y="168"/>
                      <a:pt x="123" y="168"/>
                    </a:cubicBezTo>
                    <a:cubicBezTo>
                      <a:pt x="121" y="169"/>
                      <a:pt x="119" y="168"/>
                      <a:pt x="116" y="168"/>
                    </a:cubicBezTo>
                    <a:cubicBezTo>
                      <a:pt x="115" y="169"/>
                      <a:pt x="114" y="169"/>
                      <a:pt x="113" y="170"/>
                    </a:cubicBezTo>
                    <a:cubicBezTo>
                      <a:pt x="113" y="175"/>
                      <a:pt x="113" y="180"/>
                      <a:pt x="113" y="185"/>
                    </a:cubicBezTo>
                    <a:cubicBezTo>
                      <a:pt x="114" y="186"/>
                      <a:pt x="116" y="187"/>
                      <a:pt x="118" y="188"/>
                    </a:cubicBezTo>
                    <a:cubicBezTo>
                      <a:pt x="119" y="190"/>
                      <a:pt x="121" y="191"/>
                      <a:pt x="123" y="193"/>
                    </a:cubicBezTo>
                    <a:cubicBezTo>
                      <a:pt x="122" y="195"/>
                      <a:pt x="122" y="197"/>
                      <a:pt x="121" y="200"/>
                    </a:cubicBezTo>
                    <a:cubicBezTo>
                      <a:pt x="119" y="213"/>
                      <a:pt x="117" y="228"/>
                      <a:pt x="115" y="241"/>
                    </a:cubicBezTo>
                    <a:cubicBezTo>
                      <a:pt x="115" y="239"/>
                      <a:pt x="115" y="238"/>
                      <a:pt x="114" y="236"/>
                    </a:cubicBezTo>
                    <a:cubicBezTo>
                      <a:pt x="113" y="235"/>
                      <a:pt x="111" y="234"/>
                      <a:pt x="111" y="233"/>
                    </a:cubicBezTo>
                    <a:cubicBezTo>
                      <a:pt x="110" y="232"/>
                      <a:pt x="112" y="231"/>
                      <a:pt x="111" y="231"/>
                    </a:cubicBezTo>
                    <a:cubicBezTo>
                      <a:pt x="110" y="230"/>
                      <a:pt x="107" y="232"/>
                      <a:pt x="107" y="230"/>
                    </a:cubicBezTo>
                    <a:cubicBezTo>
                      <a:pt x="108" y="225"/>
                      <a:pt x="112" y="221"/>
                      <a:pt x="113" y="215"/>
                    </a:cubicBezTo>
                    <a:cubicBezTo>
                      <a:pt x="113" y="214"/>
                      <a:pt x="110" y="216"/>
                      <a:pt x="109" y="215"/>
                    </a:cubicBezTo>
                    <a:cubicBezTo>
                      <a:pt x="108" y="214"/>
                      <a:pt x="110" y="212"/>
                      <a:pt x="109" y="211"/>
                    </a:cubicBezTo>
                    <a:cubicBezTo>
                      <a:pt x="107" y="210"/>
                      <a:pt x="104" y="210"/>
                      <a:pt x="102" y="210"/>
                    </a:cubicBezTo>
                    <a:cubicBezTo>
                      <a:pt x="100" y="211"/>
                      <a:pt x="98" y="213"/>
                      <a:pt x="96" y="213"/>
                    </a:cubicBezTo>
                    <a:cubicBezTo>
                      <a:pt x="95" y="213"/>
                      <a:pt x="94" y="210"/>
                      <a:pt x="92" y="210"/>
                    </a:cubicBezTo>
                    <a:cubicBezTo>
                      <a:pt x="89" y="210"/>
                      <a:pt x="87" y="212"/>
                      <a:pt x="85" y="213"/>
                    </a:cubicBezTo>
                    <a:cubicBezTo>
                      <a:pt x="82" y="213"/>
                      <a:pt x="80" y="213"/>
                      <a:pt x="77" y="212"/>
                    </a:cubicBezTo>
                    <a:cubicBezTo>
                      <a:pt x="75" y="212"/>
                      <a:pt x="72" y="212"/>
                      <a:pt x="72" y="211"/>
                    </a:cubicBezTo>
                    <a:cubicBezTo>
                      <a:pt x="71" y="209"/>
                      <a:pt x="73" y="208"/>
                      <a:pt x="73" y="207"/>
                    </a:cubicBezTo>
                    <a:cubicBezTo>
                      <a:pt x="74" y="205"/>
                      <a:pt x="74" y="204"/>
                      <a:pt x="73" y="203"/>
                    </a:cubicBezTo>
                    <a:cubicBezTo>
                      <a:pt x="72" y="202"/>
                      <a:pt x="71" y="205"/>
                      <a:pt x="71" y="204"/>
                    </a:cubicBezTo>
                    <a:cubicBezTo>
                      <a:pt x="69" y="202"/>
                      <a:pt x="68" y="199"/>
                      <a:pt x="66" y="197"/>
                    </a:cubicBezTo>
                    <a:cubicBezTo>
                      <a:pt x="64" y="196"/>
                      <a:pt x="61" y="196"/>
                      <a:pt x="59" y="194"/>
                    </a:cubicBezTo>
                    <a:cubicBezTo>
                      <a:pt x="57" y="193"/>
                      <a:pt x="58" y="190"/>
                      <a:pt x="57" y="188"/>
                    </a:cubicBezTo>
                    <a:cubicBezTo>
                      <a:pt x="55" y="186"/>
                      <a:pt x="53" y="184"/>
                      <a:pt x="51" y="182"/>
                    </a:cubicBezTo>
                    <a:cubicBezTo>
                      <a:pt x="50" y="181"/>
                      <a:pt x="49" y="180"/>
                      <a:pt x="48" y="180"/>
                    </a:cubicBezTo>
                    <a:cubicBezTo>
                      <a:pt x="47" y="179"/>
                      <a:pt x="45" y="179"/>
                      <a:pt x="44" y="179"/>
                    </a:cubicBezTo>
                    <a:lnTo>
                      <a:pt x="36" y="173"/>
                    </a:lnTo>
                    <a:lnTo>
                      <a:pt x="32" y="172"/>
                    </a:lnTo>
                    <a:lnTo>
                      <a:pt x="31" y="174"/>
                    </a:lnTo>
                    <a:lnTo>
                      <a:pt x="27" y="174"/>
                    </a:lnTo>
                    <a:lnTo>
                      <a:pt x="23" y="172"/>
                    </a:lnTo>
                    <a:lnTo>
                      <a:pt x="19" y="172"/>
                    </a:lnTo>
                    <a:lnTo>
                      <a:pt x="16" y="168"/>
                    </a:lnTo>
                    <a:lnTo>
                      <a:pt x="11" y="165"/>
                    </a:lnTo>
                    <a:lnTo>
                      <a:pt x="8" y="162"/>
                    </a:lnTo>
                    <a:lnTo>
                      <a:pt x="1" y="159"/>
                    </a:lnTo>
                    <a:cubicBezTo>
                      <a:pt x="1" y="158"/>
                      <a:pt x="0" y="156"/>
                      <a:pt x="1" y="155"/>
                    </a:cubicBezTo>
                    <a:cubicBezTo>
                      <a:pt x="1" y="154"/>
                      <a:pt x="4" y="156"/>
                      <a:pt x="5" y="155"/>
                    </a:cubicBezTo>
                    <a:cubicBezTo>
                      <a:pt x="6" y="154"/>
                      <a:pt x="5" y="152"/>
                      <a:pt x="5" y="150"/>
                    </a:cubicBezTo>
                    <a:cubicBezTo>
                      <a:pt x="4" y="149"/>
                      <a:pt x="3" y="148"/>
                      <a:pt x="3" y="147"/>
                    </a:cubicBezTo>
                    <a:cubicBezTo>
                      <a:pt x="3" y="145"/>
                      <a:pt x="3" y="143"/>
                      <a:pt x="5" y="143"/>
                    </a:cubicBezTo>
                    <a:cubicBezTo>
                      <a:pt x="7" y="142"/>
                      <a:pt x="9" y="143"/>
                      <a:pt x="11" y="143"/>
                    </a:cubicBezTo>
                    <a:cubicBezTo>
                      <a:pt x="13" y="142"/>
                      <a:pt x="15" y="141"/>
                      <a:pt x="16" y="140"/>
                    </a:cubicBezTo>
                    <a:cubicBezTo>
                      <a:pt x="17" y="138"/>
                      <a:pt x="16" y="136"/>
                      <a:pt x="16" y="135"/>
                    </a:cubicBezTo>
                    <a:cubicBezTo>
                      <a:pt x="17" y="132"/>
                      <a:pt x="19" y="130"/>
                      <a:pt x="21" y="128"/>
                    </a:cubicBezTo>
                    <a:cubicBezTo>
                      <a:pt x="22" y="127"/>
                      <a:pt x="24" y="126"/>
                      <a:pt x="24" y="124"/>
                    </a:cubicBezTo>
                    <a:cubicBezTo>
                      <a:pt x="25" y="123"/>
                      <a:pt x="24" y="122"/>
                      <a:pt x="23" y="121"/>
                    </a:cubicBezTo>
                    <a:cubicBezTo>
                      <a:pt x="22" y="121"/>
                      <a:pt x="21" y="123"/>
                      <a:pt x="20" y="123"/>
                    </a:cubicBezTo>
                    <a:cubicBezTo>
                      <a:pt x="18" y="121"/>
                      <a:pt x="17" y="119"/>
                      <a:pt x="17" y="117"/>
                    </a:cubicBezTo>
                    <a:cubicBezTo>
                      <a:pt x="17" y="115"/>
                      <a:pt x="20" y="114"/>
                      <a:pt x="21" y="112"/>
                    </a:cubicBezTo>
                    <a:cubicBezTo>
                      <a:pt x="21" y="110"/>
                      <a:pt x="20" y="107"/>
                      <a:pt x="19" y="104"/>
                    </a:cubicBezTo>
                    <a:cubicBezTo>
                      <a:pt x="19" y="103"/>
                      <a:pt x="16" y="102"/>
                      <a:pt x="17" y="101"/>
                    </a:cubicBezTo>
                    <a:cubicBezTo>
                      <a:pt x="18" y="99"/>
                      <a:pt x="22" y="99"/>
                      <a:pt x="23" y="97"/>
                    </a:cubicBezTo>
                    <a:cubicBezTo>
                      <a:pt x="24" y="95"/>
                      <a:pt x="20" y="94"/>
                      <a:pt x="20" y="92"/>
                    </a:cubicBezTo>
                    <a:cubicBezTo>
                      <a:pt x="19" y="90"/>
                      <a:pt x="21" y="88"/>
                      <a:pt x="21" y="87"/>
                    </a:cubicBezTo>
                    <a:cubicBezTo>
                      <a:pt x="20" y="85"/>
                      <a:pt x="18" y="85"/>
                      <a:pt x="18" y="83"/>
                    </a:cubicBezTo>
                    <a:cubicBezTo>
                      <a:pt x="17" y="81"/>
                      <a:pt x="19" y="79"/>
                      <a:pt x="18" y="78"/>
                    </a:cubicBezTo>
                    <a:cubicBezTo>
                      <a:pt x="17" y="76"/>
                      <a:pt x="15" y="76"/>
                      <a:pt x="14" y="74"/>
                    </a:cubicBezTo>
                    <a:cubicBezTo>
                      <a:pt x="15" y="73"/>
                      <a:pt x="16" y="71"/>
                      <a:pt x="17" y="70"/>
                    </a:cubicBezTo>
                    <a:cubicBezTo>
                      <a:pt x="18" y="69"/>
                      <a:pt x="20" y="71"/>
                      <a:pt x="20" y="70"/>
                    </a:cubicBezTo>
                    <a:cubicBezTo>
                      <a:pt x="21" y="68"/>
                      <a:pt x="21" y="66"/>
                      <a:pt x="21" y="63"/>
                    </a:cubicBezTo>
                    <a:cubicBezTo>
                      <a:pt x="21" y="62"/>
                      <a:pt x="19" y="60"/>
                      <a:pt x="19" y="59"/>
                    </a:cubicBezTo>
                    <a:cubicBezTo>
                      <a:pt x="19" y="57"/>
                      <a:pt x="20" y="57"/>
                      <a:pt x="21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4" name="Freeform 2545"/>
              <p:cNvSpPr>
                <a:spLocks noChangeAspect="1"/>
              </p:cNvSpPr>
              <p:nvPr/>
            </p:nvSpPr>
            <p:spPr bwMode="auto">
              <a:xfrm>
                <a:off x="2638029" y="3693123"/>
                <a:ext cx="338567" cy="321578"/>
              </a:xfrm>
              <a:custGeom>
                <a:avLst/>
                <a:gdLst>
                  <a:gd name="T0" fmla="*/ 182 w 173"/>
                  <a:gd name="T1" fmla="*/ 104 h 165"/>
                  <a:gd name="T2" fmla="*/ 191 w 173"/>
                  <a:gd name="T3" fmla="*/ 92 h 165"/>
                  <a:gd name="T4" fmla="*/ 190 w 173"/>
                  <a:gd name="T5" fmla="*/ 82 h 165"/>
                  <a:gd name="T6" fmla="*/ 207 w 173"/>
                  <a:gd name="T7" fmla="*/ 67 h 165"/>
                  <a:gd name="T8" fmla="*/ 188 w 173"/>
                  <a:gd name="T9" fmla="*/ 62 h 165"/>
                  <a:gd name="T10" fmla="*/ 191 w 173"/>
                  <a:gd name="T11" fmla="*/ 49 h 165"/>
                  <a:gd name="T12" fmla="*/ 168 w 173"/>
                  <a:gd name="T13" fmla="*/ 38 h 165"/>
                  <a:gd name="T14" fmla="*/ 173 w 173"/>
                  <a:gd name="T15" fmla="*/ 25 h 165"/>
                  <a:gd name="T16" fmla="*/ 144 w 173"/>
                  <a:gd name="T17" fmla="*/ 28 h 165"/>
                  <a:gd name="T18" fmla="*/ 134 w 173"/>
                  <a:gd name="T19" fmla="*/ 34 h 165"/>
                  <a:gd name="T20" fmla="*/ 110 w 173"/>
                  <a:gd name="T21" fmla="*/ 29 h 165"/>
                  <a:gd name="T22" fmla="*/ 83 w 173"/>
                  <a:gd name="T23" fmla="*/ 31 h 165"/>
                  <a:gd name="T24" fmla="*/ 71 w 173"/>
                  <a:gd name="T25" fmla="*/ 12 h 165"/>
                  <a:gd name="T26" fmla="*/ 56 w 173"/>
                  <a:gd name="T27" fmla="*/ 4 h 165"/>
                  <a:gd name="T28" fmla="*/ 50 w 173"/>
                  <a:gd name="T29" fmla="*/ 10 h 165"/>
                  <a:gd name="T30" fmla="*/ 51 w 173"/>
                  <a:gd name="T31" fmla="*/ 13 h 165"/>
                  <a:gd name="T32" fmla="*/ 34 w 173"/>
                  <a:gd name="T33" fmla="*/ 23 h 165"/>
                  <a:gd name="T34" fmla="*/ 35 w 173"/>
                  <a:gd name="T35" fmla="*/ 42 h 165"/>
                  <a:gd name="T36" fmla="*/ 24 w 173"/>
                  <a:gd name="T37" fmla="*/ 48 h 165"/>
                  <a:gd name="T38" fmla="*/ 28 w 173"/>
                  <a:gd name="T39" fmla="*/ 29 h 165"/>
                  <a:gd name="T40" fmla="*/ 23 w 173"/>
                  <a:gd name="T41" fmla="*/ 10 h 165"/>
                  <a:gd name="T42" fmla="*/ 22 w 173"/>
                  <a:gd name="T43" fmla="*/ 8 h 165"/>
                  <a:gd name="T44" fmla="*/ 8 w 173"/>
                  <a:gd name="T45" fmla="*/ 41 h 165"/>
                  <a:gd name="T46" fmla="*/ 6 w 173"/>
                  <a:gd name="T47" fmla="*/ 53 h 165"/>
                  <a:gd name="T48" fmla="*/ 16 w 173"/>
                  <a:gd name="T49" fmla="*/ 77 h 165"/>
                  <a:gd name="T50" fmla="*/ 30 w 173"/>
                  <a:gd name="T51" fmla="*/ 86 h 165"/>
                  <a:gd name="T52" fmla="*/ 44 w 173"/>
                  <a:gd name="T53" fmla="*/ 90 h 165"/>
                  <a:gd name="T54" fmla="*/ 65 w 173"/>
                  <a:gd name="T55" fmla="*/ 102 h 165"/>
                  <a:gd name="T56" fmla="*/ 85 w 173"/>
                  <a:gd name="T57" fmla="*/ 102 h 165"/>
                  <a:gd name="T58" fmla="*/ 84 w 173"/>
                  <a:gd name="T59" fmla="*/ 119 h 165"/>
                  <a:gd name="T60" fmla="*/ 86 w 173"/>
                  <a:gd name="T61" fmla="*/ 136 h 165"/>
                  <a:gd name="T62" fmla="*/ 89 w 173"/>
                  <a:gd name="T63" fmla="*/ 151 h 165"/>
                  <a:gd name="T64" fmla="*/ 91 w 173"/>
                  <a:gd name="T65" fmla="*/ 169 h 165"/>
                  <a:gd name="T66" fmla="*/ 116 w 173"/>
                  <a:gd name="T67" fmla="*/ 196 h 165"/>
                  <a:gd name="T68" fmla="*/ 134 w 173"/>
                  <a:gd name="T69" fmla="*/ 182 h 165"/>
                  <a:gd name="T70" fmla="*/ 138 w 173"/>
                  <a:gd name="T71" fmla="*/ 175 h 165"/>
                  <a:gd name="T72" fmla="*/ 151 w 173"/>
                  <a:gd name="T73" fmla="*/ 168 h 165"/>
                  <a:gd name="T74" fmla="*/ 138 w 173"/>
                  <a:gd name="T75" fmla="*/ 163 h 165"/>
                  <a:gd name="T76" fmla="*/ 139 w 173"/>
                  <a:gd name="T77" fmla="*/ 150 h 165"/>
                  <a:gd name="T78" fmla="*/ 138 w 173"/>
                  <a:gd name="T79" fmla="*/ 138 h 165"/>
                  <a:gd name="T80" fmla="*/ 160 w 173"/>
                  <a:gd name="T81" fmla="*/ 144 h 165"/>
                  <a:gd name="T82" fmla="*/ 183 w 173"/>
                  <a:gd name="T83" fmla="*/ 133 h 165"/>
                  <a:gd name="T84" fmla="*/ 191 w 173"/>
                  <a:gd name="T85" fmla="*/ 119 h 16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73"/>
                  <a:gd name="T130" fmla="*/ 0 h 165"/>
                  <a:gd name="T131" fmla="*/ 173 w 173"/>
                  <a:gd name="T132" fmla="*/ 165 h 16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73" h="165">
                    <a:moveTo>
                      <a:pt x="160" y="99"/>
                    </a:moveTo>
                    <a:cubicBezTo>
                      <a:pt x="157" y="95"/>
                      <a:pt x="153" y="92"/>
                      <a:pt x="150" y="88"/>
                    </a:cubicBezTo>
                    <a:cubicBezTo>
                      <a:pt x="150" y="87"/>
                      <a:pt x="152" y="87"/>
                      <a:pt x="152" y="87"/>
                    </a:cubicBezTo>
                    <a:cubicBezTo>
                      <a:pt x="152" y="85"/>
                      <a:pt x="152" y="83"/>
                      <a:pt x="152" y="82"/>
                    </a:cubicBezTo>
                    <a:cubicBezTo>
                      <a:pt x="152" y="81"/>
                      <a:pt x="153" y="80"/>
                      <a:pt x="153" y="79"/>
                    </a:cubicBezTo>
                    <a:cubicBezTo>
                      <a:pt x="155" y="78"/>
                      <a:pt x="158" y="78"/>
                      <a:pt x="160" y="77"/>
                    </a:cubicBezTo>
                    <a:cubicBezTo>
                      <a:pt x="162" y="76"/>
                      <a:pt x="165" y="76"/>
                      <a:pt x="166" y="74"/>
                    </a:cubicBezTo>
                    <a:cubicBezTo>
                      <a:pt x="167" y="73"/>
                      <a:pt x="163" y="73"/>
                      <a:pt x="162" y="72"/>
                    </a:cubicBezTo>
                    <a:cubicBezTo>
                      <a:pt x="161" y="71"/>
                      <a:pt x="159" y="70"/>
                      <a:pt x="159" y="68"/>
                    </a:cubicBezTo>
                    <a:cubicBezTo>
                      <a:pt x="159" y="66"/>
                      <a:pt x="162" y="64"/>
                      <a:pt x="164" y="62"/>
                    </a:cubicBezTo>
                    <a:cubicBezTo>
                      <a:pt x="165" y="61"/>
                      <a:pt x="167" y="59"/>
                      <a:pt x="169" y="58"/>
                    </a:cubicBezTo>
                    <a:cubicBezTo>
                      <a:pt x="170" y="57"/>
                      <a:pt x="172" y="57"/>
                      <a:pt x="173" y="56"/>
                    </a:cubicBezTo>
                    <a:cubicBezTo>
                      <a:pt x="172" y="54"/>
                      <a:pt x="171" y="54"/>
                      <a:pt x="170" y="53"/>
                    </a:cubicBezTo>
                    <a:cubicBezTo>
                      <a:pt x="168" y="52"/>
                      <a:pt x="166" y="51"/>
                      <a:pt x="164" y="50"/>
                    </a:cubicBezTo>
                    <a:cubicBezTo>
                      <a:pt x="162" y="50"/>
                      <a:pt x="160" y="52"/>
                      <a:pt x="157" y="52"/>
                    </a:cubicBezTo>
                    <a:cubicBezTo>
                      <a:pt x="156" y="52"/>
                      <a:pt x="160" y="51"/>
                      <a:pt x="160" y="50"/>
                    </a:cubicBezTo>
                    <a:cubicBezTo>
                      <a:pt x="161" y="49"/>
                      <a:pt x="159" y="48"/>
                      <a:pt x="159" y="47"/>
                    </a:cubicBezTo>
                    <a:cubicBezTo>
                      <a:pt x="159" y="45"/>
                      <a:pt x="161" y="43"/>
                      <a:pt x="160" y="41"/>
                    </a:cubicBezTo>
                    <a:cubicBezTo>
                      <a:pt x="159" y="39"/>
                      <a:pt x="156" y="38"/>
                      <a:pt x="154" y="36"/>
                    </a:cubicBezTo>
                    <a:cubicBezTo>
                      <a:pt x="151" y="35"/>
                      <a:pt x="149" y="33"/>
                      <a:pt x="146" y="32"/>
                    </a:cubicBezTo>
                    <a:cubicBezTo>
                      <a:pt x="144" y="31"/>
                      <a:pt x="141" y="33"/>
                      <a:pt x="140" y="32"/>
                    </a:cubicBezTo>
                    <a:cubicBezTo>
                      <a:pt x="137" y="30"/>
                      <a:pt x="134" y="27"/>
                      <a:pt x="135" y="25"/>
                    </a:cubicBezTo>
                    <a:cubicBezTo>
                      <a:pt x="137" y="22"/>
                      <a:pt x="141" y="25"/>
                      <a:pt x="144" y="24"/>
                    </a:cubicBezTo>
                    <a:cubicBezTo>
                      <a:pt x="145" y="23"/>
                      <a:pt x="145" y="21"/>
                      <a:pt x="145" y="21"/>
                    </a:cubicBezTo>
                    <a:cubicBezTo>
                      <a:pt x="142" y="21"/>
                      <a:pt x="139" y="22"/>
                      <a:pt x="136" y="22"/>
                    </a:cubicBezTo>
                    <a:cubicBezTo>
                      <a:pt x="132" y="22"/>
                      <a:pt x="129" y="22"/>
                      <a:pt x="125" y="22"/>
                    </a:cubicBezTo>
                    <a:cubicBezTo>
                      <a:pt x="123" y="22"/>
                      <a:pt x="120" y="21"/>
                      <a:pt x="120" y="23"/>
                    </a:cubicBezTo>
                    <a:cubicBezTo>
                      <a:pt x="120" y="25"/>
                      <a:pt x="127" y="24"/>
                      <a:pt x="126" y="26"/>
                    </a:cubicBezTo>
                    <a:cubicBezTo>
                      <a:pt x="125" y="28"/>
                      <a:pt x="121" y="25"/>
                      <a:pt x="119" y="25"/>
                    </a:cubicBezTo>
                    <a:cubicBezTo>
                      <a:pt x="117" y="26"/>
                      <a:pt x="114" y="27"/>
                      <a:pt x="112" y="28"/>
                    </a:cubicBezTo>
                    <a:cubicBezTo>
                      <a:pt x="110" y="29"/>
                      <a:pt x="108" y="32"/>
                      <a:pt x="105" y="32"/>
                    </a:cubicBezTo>
                    <a:cubicBezTo>
                      <a:pt x="102" y="32"/>
                      <a:pt x="99" y="30"/>
                      <a:pt x="97" y="29"/>
                    </a:cubicBezTo>
                    <a:cubicBezTo>
                      <a:pt x="95" y="27"/>
                      <a:pt x="94" y="25"/>
                      <a:pt x="92" y="24"/>
                    </a:cubicBezTo>
                    <a:cubicBezTo>
                      <a:pt x="89" y="23"/>
                      <a:pt x="86" y="23"/>
                      <a:pt x="83" y="23"/>
                    </a:cubicBezTo>
                    <a:cubicBezTo>
                      <a:pt x="80" y="23"/>
                      <a:pt x="78" y="25"/>
                      <a:pt x="75" y="25"/>
                    </a:cubicBezTo>
                    <a:cubicBezTo>
                      <a:pt x="73" y="26"/>
                      <a:pt x="71" y="26"/>
                      <a:pt x="69" y="26"/>
                    </a:cubicBezTo>
                    <a:cubicBezTo>
                      <a:pt x="68" y="26"/>
                      <a:pt x="67" y="25"/>
                      <a:pt x="66" y="24"/>
                    </a:cubicBezTo>
                    <a:cubicBezTo>
                      <a:pt x="66" y="21"/>
                      <a:pt x="68" y="18"/>
                      <a:pt x="66" y="16"/>
                    </a:cubicBezTo>
                    <a:cubicBezTo>
                      <a:pt x="65" y="14"/>
                      <a:pt x="62" y="12"/>
                      <a:pt x="59" y="10"/>
                    </a:cubicBezTo>
                    <a:cubicBezTo>
                      <a:pt x="56" y="9"/>
                      <a:pt x="53" y="11"/>
                      <a:pt x="50" y="10"/>
                    </a:cubicBezTo>
                    <a:cubicBezTo>
                      <a:pt x="49" y="10"/>
                      <a:pt x="49" y="9"/>
                      <a:pt x="49" y="8"/>
                    </a:cubicBezTo>
                    <a:cubicBezTo>
                      <a:pt x="48" y="6"/>
                      <a:pt x="48" y="5"/>
                      <a:pt x="47" y="3"/>
                    </a:cubicBezTo>
                    <a:cubicBezTo>
                      <a:pt x="46" y="2"/>
                      <a:pt x="45" y="0"/>
                      <a:pt x="44" y="0"/>
                    </a:cubicBezTo>
                    <a:cubicBezTo>
                      <a:pt x="43" y="0"/>
                      <a:pt x="41" y="1"/>
                      <a:pt x="40" y="2"/>
                    </a:cubicBezTo>
                    <a:cubicBezTo>
                      <a:pt x="40" y="4"/>
                      <a:pt x="41" y="7"/>
                      <a:pt x="42" y="8"/>
                    </a:cubicBezTo>
                    <a:cubicBezTo>
                      <a:pt x="43" y="9"/>
                      <a:pt x="46" y="8"/>
                      <a:pt x="47" y="8"/>
                    </a:cubicBezTo>
                    <a:cubicBezTo>
                      <a:pt x="48" y="9"/>
                      <a:pt x="49" y="10"/>
                      <a:pt x="49" y="11"/>
                    </a:cubicBezTo>
                    <a:cubicBezTo>
                      <a:pt x="47" y="12"/>
                      <a:pt x="45" y="10"/>
                      <a:pt x="43" y="11"/>
                    </a:cubicBezTo>
                    <a:cubicBezTo>
                      <a:pt x="41" y="11"/>
                      <a:pt x="40" y="13"/>
                      <a:pt x="39" y="14"/>
                    </a:cubicBezTo>
                    <a:cubicBezTo>
                      <a:pt x="37" y="14"/>
                      <a:pt x="35" y="14"/>
                      <a:pt x="34" y="15"/>
                    </a:cubicBezTo>
                    <a:cubicBezTo>
                      <a:pt x="32" y="16"/>
                      <a:pt x="30" y="17"/>
                      <a:pt x="28" y="19"/>
                    </a:cubicBezTo>
                    <a:cubicBezTo>
                      <a:pt x="27" y="20"/>
                      <a:pt x="26" y="21"/>
                      <a:pt x="26" y="23"/>
                    </a:cubicBezTo>
                    <a:cubicBezTo>
                      <a:pt x="26" y="25"/>
                      <a:pt x="26" y="27"/>
                      <a:pt x="27" y="28"/>
                    </a:cubicBezTo>
                    <a:cubicBezTo>
                      <a:pt x="27" y="31"/>
                      <a:pt x="28" y="33"/>
                      <a:pt x="29" y="35"/>
                    </a:cubicBezTo>
                    <a:cubicBezTo>
                      <a:pt x="29" y="37"/>
                      <a:pt x="30" y="39"/>
                      <a:pt x="29" y="41"/>
                    </a:cubicBezTo>
                    <a:cubicBezTo>
                      <a:pt x="28" y="43"/>
                      <a:pt x="25" y="46"/>
                      <a:pt x="23" y="45"/>
                    </a:cubicBezTo>
                    <a:cubicBezTo>
                      <a:pt x="21" y="45"/>
                      <a:pt x="21" y="42"/>
                      <a:pt x="20" y="40"/>
                    </a:cubicBezTo>
                    <a:cubicBezTo>
                      <a:pt x="19" y="39"/>
                      <a:pt x="17" y="38"/>
                      <a:pt x="17" y="36"/>
                    </a:cubicBezTo>
                    <a:cubicBezTo>
                      <a:pt x="17" y="33"/>
                      <a:pt x="18" y="31"/>
                      <a:pt x="19" y="30"/>
                    </a:cubicBezTo>
                    <a:cubicBezTo>
                      <a:pt x="20" y="28"/>
                      <a:pt x="22" y="26"/>
                      <a:pt x="23" y="24"/>
                    </a:cubicBezTo>
                    <a:cubicBezTo>
                      <a:pt x="24" y="22"/>
                      <a:pt x="24" y="20"/>
                      <a:pt x="24" y="18"/>
                    </a:cubicBezTo>
                    <a:cubicBezTo>
                      <a:pt x="23" y="16"/>
                      <a:pt x="21" y="14"/>
                      <a:pt x="19" y="11"/>
                    </a:cubicBezTo>
                    <a:cubicBezTo>
                      <a:pt x="19" y="10"/>
                      <a:pt x="19" y="9"/>
                      <a:pt x="19" y="8"/>
                    </a:cubicBezTo>
                    <a:cubicBezTo>
                      <a:pt x="22" y="7"/>
                      <a:pt x="25" y="8"/>
                      <a:pt x="27" y="6"/>
                    </a:cubicBezTo>
                    <a:cubicBezTo>
                      <a:pt x="28" y="6"/>
                      <a:pt x="28" y="4"/>
                      <a:pt x="28" y="3"/>
                    </a:cubicBezTo>
                    <a:cubicBezTo>
                      <a:pt x="25" y="4"/>
                      <a:pt x="21" y="4"/>
                      <a:pt x="18" y="7"/>
                    </a:cubicBezTo>
                    <a:cubicBezTo>
                      <a:pt x="16" y="9"/>
                      <a:pt x="16" y="12"/>
                      <a:pt x="15" y="15"/>
                    </a:cubicBezTo>
                    <a:cubicBezTo>
                      <a:pt x="13" y="19"/>
                      <a:pt x="9" y="21"/>
                      <a:pt x="7" y="26"/>
                    </a:cubicBezTo>
                    <a:cubicBezTo>
                      <a:pt x="6" y="28"/>
                      <a:pt x="8" y="32"/>
                      <a:pt x="7" y="34"/>
                    </a:cubicBezTo>
                    <a:cubicBezTo>
                      <a:pt x="5" y="38"/>
                      <a:pt x="1" y="40"/>
                      <a:pt x="0" y="44"/>
                    </a:cubicBezTo>
                    <a:cubicBezTo>
                      <a:pt x="0" y="45"/>
                      <a:pt x="1" y="46"/>
                      <a:pt x="2" y="46"/>
                    </a:cubicBezTo>
                    <a:cubicBezTo>
                      <a:pt x="3" y="46"/>
                      <a:pt x="4" y="44"/>
                      <a:pt x="5" y="44"/>
                    </a:cubicBezTo>
                    <a:cubicBezTo>
                      <a:pt x="6" y="43"/>
                      <a:pt x="8" y="44"/>
                      <a:pt x="10" y="45"/>
                    </a:cubicBezTo>
                    <a:cubicBezTo>
                      <a:pt x="12" y="47"/>
                      <a:pt x="12" y="50"/>
                      <a:pt x="13" y="53"/>
                    </a:cubicBezTo>
                    <a:cubicBezTo>
                      <a:pt x="14" y="57"/>
                      <a:pt x="12" y="60"/>
                      <a:pt x="13" y="64"/>
                    </a:cubicBezTo>
                    <a:cubicBezTo>
                      <a:pt x="13" y="66"/>
                      <a:pt x="14" y="68"/>
                      <a:pt x="15" y="70"/>
                    </a:cubicBezTo>
                    <a:cubicBezTo>
                      <a:pt x="16" y="71"/>
                      <a:pt x="16" y="73"/>
                      <a:pt x="17" y="73"/>
                    </a:cubicBezTo>
                    <a:cubicBezTo>
                      <a:pt x="20" y="73"/>
                      <a:pt x="23" y="72"/>
                      <a:pt x="25" y="72"/>
                    </a:cubicBezTo>
                    <a:cubicBezTo>
                      <a:pt x="27" y="72"/>
                      <a:pt x="29" y="73"/>
                      <a:pt x="30" y="73"/>
                    </a:cubicBezTo>
                    <a:cubicBezTo>
                      <a:pt x="32" y="73"/>
                      <a:pt x="33" y="71"/>
                      <a:pt x="35" y="71"/>
                    </a:cubicBezTo>
                    <a:cubicBezTo>
                      <a:pt x="37" y="71"/>
                      <a:pt x="36" y="74"/>
                      <a:pt x="37" y="75"/>
                    </a:cubicBezTo>
                    <a:cubicBezTo>
                      <a:pt x="39" y="76"/>
                      <a:pt x="41" y="74"/>
                      <a:pt x="42" y="75"/>
                    </a:cubicBezTo>
                    <a:cubicBezTo>
                      <a:pt x="45" y="78"/>
                      <a:pt x="47" y="83"/>
                      <a:pt x="50" y="86"/>
                    </a:cubicBezTo>
                    <a:cubicBezTo>
                      <a:pt x="51" y="87"/>
                      <a:pt x="52" y="85"/>
                      <a:pt x="54" y="85"/>
                    </a:cubicBezTo>
                    <a:cubicBezTo>
                      <a:pt x="54" y="85"/>
                      <a:pt x="55" y="86"/>
                      <a:pt x="56" y="86"/>
                    </a:cubicBezTo>
                    <a:cubicBezTo>
                      <a:pt x="58" y="86"/>
                      <a:pt x="59" y="86"/>
                      <a:pt x="61" y="86"/>
                    </a:cubicBezTo>
                    <a:cubicBezTo>
                      <a:pt x="65" y="86"/>
                      <a:pt x="68" y="85"/>
                      <a:pt x="71" y="85"/>
                    </a:cubicBezTo>
                    <a:cubicBezTo>
                      <a:pt x="72" y="85"/>
                      <a:pt x="74" y="85"/>
                      <a:pt x="74" y="86"/>
                    </a:cubicBezTo>
                    <a:cubicBezTo>
                      <a:pt x="75" y="89"/>
                      <a:pt x="75" y="93"/>
                      <a:pt x="74" y="96"/>
                    </a:cubicBezTo>
                    <a:cubicBezTo>
                      <a:pt x="73" y="97"/>
                      <a:pt x="70" y="97"/>
                      <a:pt x="70" y="99"/>
                    </a:cubicBezTo>
                    <a:cubicBezTo>
                      <a:pt x="69" y="100"/>
                      <a:pt x="71" y="101"/>
                      <a:pt x="71" y="102"/>
                    </a:cubicBezTo>
                    <a:cubicBezTo>
                      <a:pt x="70" y="104"/>
                      <a:pt x="68" y="106"/>
                      <a:pt x="68" y="108"/>
                    </a:cubicBezTo>
                    <a:cubicBezTo>
                      <a:pt x="69" y="110"/>
                      <a:pt x="72" y="111"/>
                      <a:pt x="72" y="113"/>
                    </a:cubicBezTo>
                    <a:cubicBezTo>
                      <a:pt x="73" y="115"/>
                      <a:pt x="72" y="117"/>
                      <a:pt x="72" y="119"/>
                    </a:cubicBezTo>
                    <a:cubicBezTo>
                      <a:pt x="72" y="119"/>
                      <a:pt x="74" y="119"/>
                      <a:pt x="74" y="119"/>
                    </a:cubicBezTo>
                    <a:cubicBezTo>
                      <a:pt x="75" y="121"/>
                      <a:pt x="75" y="124"/>
                      <a:pt x="74" y="126"/>
                    </a:cubicBezTo>
                    <a:cubicBezTo>
                      <a:pt x="73" y="129"/>
                      <a:pt x="69" y="130"/>
                      <a:pt x="68" y="133"/>
                    </a:cubicBezTo>
                    <a:cubicBezTo>
                      <a:pt x="68" y="135"/>
                      <a:pt x="72" y="135"/>
                      <a:pt x="73" y="137"/>
                    </a:cubicBezTo>
                    <a:cubicBezTo>
                      <a:pt x="75" y="138"/>
                      <a:pt x="75" y="140"/>
                      <a:pt x="76" y="141"/>
                    </a:cubicBezTo>
                    <a:cubicBezTo>
                      <a:pt x="78" y="146"/>
                      <a:pt x="79" y="150"/>
                      <a:pt x="81" y="155"/>
                    </a:cubicBezTo>
                    <a:cubicBezTo>
                      <a:pt x="84" y="158"/>
                      <a:pt x="86" y="162"/>
                      <a:pt x="89" y="163"/>
                    </a:cubicBezTo>
                    <a:cubicBezTo>
                      <a:pt x="91" y="165"/>
                      <a:pt x="94" y="164"/>
                      <a:pt x="97" y="163"/>
                    </a:cubicBezTo>
                    <a:cubicBezTo>
                      <a:pt x="100" y="161"/>
                      <a:pt x="103" y="158"/>
                      <a:pt x="106" y="156"/>
                    </a:cubicBezTo>
                    <a:cubicBezTo>
                      <a:pt x="107" y="155"/>
                      <a:pt x="108" y="155"/>
                      <a:pt x="109" y="154"/>
                    </a:cubicBezTo>
                    <a:cubicBezTo>
                      <a:pt x="110" y="154"/>
                      <a:pt x="111" y="152"/>
                      <a:pt x="112" y="152"/>
                    </a:cubicBezTo>
                    <a:cubicBezTo>
                      <a:pt x="113" y="152"/>
                      <a:pt x="113" y="154"/>
                      <a:pt x="114" y="154"/>
                    </a:cubicBezTo>
                    <a:cubicBezTo>
                      <a:pt x="115" y="154"/>
                      <a:pt x="115" y="153"/>
                      <a:pt x="115" y="152"/>
                    </a:cubicBezTo>
                    <a:cubicBezTo>
                      <a:pt x="116" y="150"/>
                      <a:pt x="114" y="148"/>
                      <a:pt x="115" y="146"/>
                    </a:cubicBezTo>
                    <a:cubicBezTo>
                      <a:pt x="116" y="145"/>
                      <a:pt x="119" y="146"/>
                      <a:pt x="121" y="145"/>
                    </a:cubicBezTo>
                    <a:cubicBezTo>
                      <a:pt x="121" y="144"/>
                      <a:pt x="120" y="143"/>
                      <a:pt x="121" y="143"/>
                    </a:cubicBezTo>
                    <a:cubicBezTo>
                      <a:pt x="122" y="141"/>
                      <a:pt x="125" y="141"/>
                      <a:pt x="126" y="140"/>
                    </a:cubicBezTo>
                    <a:cubicBezTo>
                      <a:pt x="127" y="139"/>
                      <a:pt x="127" y="138"/>
                      <a:pt x="126" y="138"/>
                    </a:cubicBezTo>
                    <a:cubicBezTo>
                      <a:pt x="123" y="137"/>
                      <a:pt x="120" y="138"/>
                      <a:pt x="117" y="138"/>
                    </a:cubicBezTo>
                    <a:cubicBezTo>
                      <a:pt x="116" y="138"/>
                      <a:pt x="115" y="137"/>
                      <a:pt x="115" y="136"/>
                    </a:cubicBezTo>
                    <a:cubicBezTo>
                      <a:pt x="114" y="135"/>
                      <a:pt x="115" y="133"/>
                      <a:pt x="115" y="132"/>
                    </a:cubicBezTo>
                    <a:cubicBezTo>
                      <a:pt x="114" y="132"/>
                      <a:pt x="113" y="131"/>
                      <a:pt x="113" y="130"/>
                    </a:cubicBezTo>
                    <a:cubicBezTo>
                      <a:pt x="114" y="128"/>
                      <a:pt x="116" y="127"/>
                      <a:pt x="116" y="125"/>
                    </a:cubicBezTo>
                    <a:cubicBezTo>
                      <a:pt x="117" y="123"/>
                      <a:pt x="117" y="121"/>
                      <a:pt x="116" y="119"/>
                    </a:cubicBezTo>
                    <a:cubicBezTo>
                      <a:pt x="115" y="117"/>
                      <a:pt x="112" y="118"/>
                      <a:pt x="111" y="116"/>
                    </a:cubicBezTo>
                    <a:cubicBezTo>
                      <a:pt x="111" y="115"/>
                      <a:pt x="113" y="115"/>
                      <a:pt x="115" y="115"/>
                    </a:cubicBezTo>
                    <a:cubicBezTo>
                      <a:pt x="118" y="115"/>
                      <a:pt x="120" y="118"/>
                      <a:pt x="123" y="118"/>
                    </a:cubicBezTo>
                    <a:cubicBezTo>
                      <a:pt x="125" y="119"/>
                      <a:pt x="126" y="118"/>
                      <a:pt x="127" y="118"/>
                    </a:cubicBezTo>
                    <a:cubicBezTo>
                      <a:pt x="130" y="119"/>
                      <a:pt x="132" y="120"/>
                      <a:pt x="134" y="120"/>
                    </a:cubicBezTo>
                    <a:cubicBezTo>
                      <a:pt x="135" y="119"/>
                      <a:pt x="134" y="117"/>
                      <a:pt x="136" y="116"/>
                    </a:cubicBezTo>
                    <a:cubicBezTo>
                      <a:pt x="140" y="115"/>
                      <a:pt x="145" y="116"/>
                      <a:pt x="149" y="115"/>
                    </a:cubicBezTo>
                    <a:cubicBezTo>
                      <a:pt x="151" y="114"/>
                      <a:pt x="151" y="112"/>
                      <a:pt x="153" y="111"/>
                    </a:cubicBezTo>
                    <a:cubicBezTo>
                      <a:pt x="155" y="110"/>
                      <a:pt x="157" y="111"/>
                      <a:pt x="158" y="110"/>
                    </a:cubicBezTo>
                    <a:cubicBezTo>
                      <a:pt x="159" y="109"/>
                      <a:pt x="160" y="107"/>
                      <a:pt x="160" y="105"/>
                    </a:cubicBezTo>
                    <a:cubicBezTo>
                      <a:pt x="161" y="103"/>
                      <a:pt x="160" y="100"/>
                      <a:pt x="160" y="9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5" name="Freeform 2546"/>
              <p:cNvSpPr>
                <a:spLocks noChangeAspect="1"/>
              </p:cNvSpPr>
              <p:nvPr/>
            </p:nvSpPr>
            <p:spPr bwMode="auto">
              <a:xfrm>
                <a:off x="2932435" y="3801940"/>
                <a:ext cx="122670" cy="201392"/>
              </a:xfrm>
              <a:custGeom>
                <a:avLst/>
                <a:gdLst>
                  <a:gd name="T0" fmla="*/ 75 w 63"/>
                  <a:gd name="T1" fmla="*/ 108 h 103"/>
                  <a:gd name="T2" fmla="*/ 71 w 63"/>
                  <a:gd name="T3" fmla="*/ 104 h 103"/>
                  <a:gd name="T4" fmla="*/ 68 w 63"/>
                  <a:gd name="T5" fmla="*/ 98 h 103"/>
                  <a:gd name="T6" fmla="*/ 65 w 63"/>
                  <a:gd name="T7" fmla="*/ 88 h 103"/>
                  <a:gd name="T8" fmla="*/ 63 w 63"/>
                  <a:gd name="T9" fmla="*/ 87 h 103"/>
                  <a:gd name="T10" fmla="*/ 63 w 63"/>
                  <a:gd name="T11" fmla="*/ 82 h 103"/>
                  <a:gd name="T12" fmla="*/ 60 w 63"/>
                  <a:gd name="T13" fmla="*/ 82 h 103"/>
                  <a:gd name="T14" fmla="*/ 52 w 63"/>
                  <a:gd name="T15" fmla="*/ 71 h 103"/>
                  <a:gd name="T16" fmla="*/ 55 w 63"/>
                  <a:gd name="T17" fmla="*/ 64 h 103"/>
                  <a:gd name="T18" fmla="*/ 56 w 63"/>
                  <a:gd name="T19" fmla="*/ 57 h 103"/>
                  <a:gd name="T20" fmla="*/ 62 w 63"/>
                  <a:gd name="T21" fmla="*/ 57 h 103"/>
                  <a:gd name="T22" fmla="*/ 64 w 63"/>
                  <a:gd name="T23" fmla="*/ 52 h 103"/>
                  <a:gd name="T24" fmla="*/ 63 w 63"/>
                  <a:gd name="T25" fmla="*/ 45 h 103"/>
                  <a:gd name="T26" fmla="*/ 67 w 63"/>
                  <a:gd name="T27" fmla="*/ 40 h 103"/>
                  <a:gd name="T28" fmla="*/ 64 w 63"/>
                  <a:gd name="T29" fmla="*/ 35 h 103"/>
                  <a:gd name="T30" fmla="*/ 60 w 63"/>
                  <a:gd name="T31" fmla="*/ 31 h 103"/>
                  <a:gd name="T32" fmla="*/ 52 w 63"/>
                  <a:gd name="T33" fmla="*/ 26 h 103"/>
                  <a:gd name="T34" fmla="*/ 46 w 63"/>
                  <a:gd name="T35" fmla="*/ 25 h 103"/>
                  <a:gd name="T36" fmla="*/ 44 w 63"/>
                  <a:gd name="T37" fmla="*/ 31 h 103"/>
                  <a:gd name="T38" fmla="*/ 44 w 63"/>
                  <a:gd name="T39" fmla="*/ 25 h 103"/>
                  <a:gd name="T40" fmla="*/ 44 w 63"/>
                  <a:gd name="T41" fmla="*/ 18 h 103"/>
                  <a:gd name="T42" fmla="*/ 39 w 63"/>
                  <a:gd name="T43" fmla="*/ 8 h 103"/>
                  <a:gd name="T44" fmla="*/ 36 w 63"/>
                  <a:gd name="T45" fmla="*/ 5 h 103"/>
                  <a:gd name="T46" fmla="*/ 30 w 63"/>
                  <a:gd name="T47" fmla="*/ 1 h 103"/>
                  <a:gd name="T48" fmla="*/ 27 w 63"/>
                  <a:gd name="T49" fmla="*/ 0 h 103"/>
                  <a:gd name="T50" fmla="*/ 23 w 63"/>
                  <a:gd name="T51" fmla="*/ 2 h 103"/>
                  <a:gd name="T52" fmla="*/ 17 w 63"/>
                  <a:gd name="T53" fmla="*/ 7 h 103"/>
                  <a:gd name="T54" fmla="*/ 11 w 63"/>
                  <a:gd name="T55" fmla="*/ 14 h 103"/>
                  <a:gd name="T56" fmla="*/ 14 w 63"/>
                  <a:gd name="T57" fmla="*/ 19 h 103"/>
                  <a:gd name="T58" fmla="*/ 19 w 63"/>
                  <a:gd name="T59" fmla="*/ 22 h 103"/>
                  <a:gd name="T60" fmla="*/ 12 w 63"/>
                  <a:gd name="T61" fmla="*/ 25 h 103"/>
                  <a:gd name="T62" fmla="*/ 4 w 63"/>
                  <a:gd name="T63" fmla="*/ 28 h 103"/>
                  <a:gd name="T64" fmla="*/ 2 w 63"/>
                  <a:gd name="T65" fmla="*/ 31 h 103"/>
                  <a:gd name="T66" fmla="*/ 2 w 63"/>
                  <a:gd name="T67" fmla="*/ 37 h 103"/>
                  <a:gd name="T68" fmla="*/ 0 w 63"/>
                  <a:gd name="T69" fmla="*/ 39 h 103"/>
                  <a:gd name="T70" fmla="*/ 12 w 63"/>
                  <a:gd name="T71" fmla="*/ 52 h 103"/>
                  <a:gd name="T72" fmla="*/ 20 w 63"/>
                  <a:gd name="T73" fmla="*/ 52 h 103"/>
                  <a:gd name="T74" fmla="*/ 21 w 63"/>
                  <a:gd name="T75" fmla="*/ 57 h 103"/>
                  <a:gd name="T76" fmla="*/ 19 w 63"/>
                  <a:gd name="T77" fmla="*/ 60 h 103"/>
                  <a:gd name="T78" fmla="*/ 20 w 63"/>
                  <a:gd name="T79" fmla="*/ 64 h 103"/>
                  <a:gd name="T80" fmla="*/ 27 w 63"/>
                  <a:gd name="T81" fmla="*/ 64 h 103"/>
                  <a:gd name="T82" fmla="*/ 27 w 63"/>
                  <a:gd name="T83" fmla="*/ 71 h 103"/>
                  <a:gd name="T84" fmla="*/ 32 w 63"/>
                  <a:gd name="T85" fmla="*/ 73 h 103"/>
                  <a:gd name="T86" fmla="*/ 23 w 63"/>
                  <a:gd name="T87" fmla="*/ 79 h 103"/>
                  <a:gd name="T88" fmla="*/ 23 w 63"/>
                  <a:gd name="T89" fmla="*/ 96 h 103"/>
                  <a:gd name="T90" fmla="*/ 26 w 63"/>
                  <a:gd name="T91" fmla="*/ 100 h 103"/>
                  <a:gd name="T92" fmla="*/ 26 w 63"/>
                  <a:gd name="T93" fmla="*/ 106 h 103"/>
                  <a:gd name="T94" fmla="*/ 29 w 63"/>
                  <a:gd name="T95" fmla="*/ 110 h 103"/>
                  <a:gd name="T96" fmla="*/ 36 w 63"/>
                  <a:gd name="T97" fmla="*/ 113 h 103"/>
                  <a:gd name="T98" fmla="*/ 36 w 63"/>
                  <a:gd name="T99" fmla="*/ 118 h 103"/>
                  <a:gd name="T100" fmla="*/ 40 w 63"/>
                  <a:gd name="T101" fmla="*/ 122 h 103"/>
                  <a:gd name="T102" fmla="*/ 45 w 63"/>
                  <a:gd name="T103" fmla="*/ 123 h 103"/>
                  <a:gd name="T104" fmla="*/ 44 w 63"/>
                  <a:gd name="T105" fmla="*/ 118 h 103"/>
                  <a:gd name="T106" fmla="*/ 50 w 63"/>
                  <a:gd name="T107" fmla="*/ 113 h 103"/>
                  <a:gd name="T108" fmla="*/ 54 w 63"/>
                  <a:gd name="T109" fmla="*/ 116 h 103"/>
                  <a:gd name="T110" fmla="*/ 56 w 63"/>
                  <a:gd name="T111" fmla="*/ 110 h 103"/>
                  <a:gd name="T112" fmla="*/ 61 w 63"/>
                  <a:gd name="T113" fmla="*/ 110 h 103"/>
                  <a:gd name="T114" fmla="*/ 63 w 63"/>
                  <a:gd name="T115" fmla="*/ 107 h 103"/>
                  <a:gd name="T116" fmla="*/ 68 w 63"/>
                  <a:gd name="T117" fmla="*/ 108 h 103"/>
                  <a:gd name="T118" fmla="*/ 75 w 63"/>
                  <a:gd name="T119" fmla="*/ 108 h 10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3"/>
                  <a:gd name="T181" fmla="*/ 0 h 103"/>
                  <a:gd name="T182" fmla="*/ 63 w 63"/>
                  <a:gd name="T183" fmla="*/ 103 h 10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3" h="103">
                    <a:moveTo>
                      <a:pt x="63" y="90"/>
                    </a:moveTo>
                    <a:cubicBezTo>
                      <a:pt x="62" y="89"/>
                      <a:pt x="60" y="87"/>
                      <a:pt x="60" y="86"/>
                    </a:cubicBezTo>
                    <a:cubicBezTo>
                      <a:pt x="59" y="84"/>
                      <a:pt x="58" y="83"/>
                      <a:pt x="57" y="81"/>
                    </a:cubicBezTo>
                    <a:cubicBezTo>
                      <a:pt x="56" y="78"/>
                      <a:pt x="54" y="75"/>
                      <a:pt x="55" y="73"/>
                    </a:cubicBezTo>
                    <a:cubicBezTo>
                      <a:pt x="55" y="72"/>
                      <a:pt x="53" y="73"/>
                      <a:pt x="53" y="72"/>
                    </a:cubicBezTo>
                    <a:cubicBezTo>
                      <a:pt x="52" y="71"/>
                      <a:pt x="54" y="69"/>
                      <a:pt x="53" y="68"/>
                    </a:cubicBezTo>
                    <a:cubicBezTo>
                      <a:pt x="52" y="67"/>
                      <a:pt x="51" y="69"/>
                      <a:pt x="50" y="68"/>
                    </a:cubicBezTo>
                    <a:cubicBezTo>
                      <a:pt x="48" y="65"/>
                      <a:pt x="45" y="62"/>
                      <a:pt x="44" y="59"/>
                    </a:cubicBezTo>
                    <a:cubicBezTo>
                      <a:pt x="44" y="57"/>
                      <a:pt x="46" y="55"/>
                      <a:pt x="46" y="53"/>
                    </a:cubicBezTo>
                    <a:cubicBezTo>
                      <a:pt x="47" y="51"/>
                      <a:pt x="46" y="49"/>
                      <a:pt x="47" y="47"/>
                    </a:cubicBezTo>
                    <a:cubicBezTo>
                      <a:pt x="48" y="46"/>
                      <a:pt x="50" y="47"/>
                      <a:pt x="52" y="47"/>
                    </a:cubicBezTo>
                    <a:cubicBezTo>
                      <a:pt x="53" y="46"/>
                      <a:pt x="54" y="45"/>
                      <a:pt x="54" y="43"/>
                    </a:cubicBezTo>
                    <a:cubicBezTo>
                      <a:pt x="54" y="41"/>
                      <a:pt x="53" y="39"/>
                      <a:pt x="53" y="37"/>
                    </a:cubicBezTo>
                    <a:cubicBezTo>
                      <a:pt x="53" y="36"/>
                      <a:pt x="55" y="35"/>
                      <a:pt x="56" y="33"/>
                    </a:cubicBezTo>
                    <a:cubicBezTo>
                      <a:pt x="56" y="32"/>
                      <a:pt x="55" y="30"/>
                      <a:pt x="54" y="29"/>
                    </a:cubicBezTo>
                    <a:cubicBezTo>
                      <a:pt x="53" y="28"/>
                      <a:pt x="51" y="27"/>
                      <a:pt x="50" y="26"/>
                    </a:cubicBezTo>
                    <a:cubicBezTo>
                      <a:pt x="48" y="25"/>
                      <a:pt x="46" y="23"/>
                      <a:pt x="44" y="22"/>
                    </a:cubicBezTo>
                    <a:cubicBezTo>
                      <a:pt x="43" y="21"/>
                      <a:pt x="41" y="20"/>
                      <a:pt x="39" y="21"/>
                    </a:cubicBezTo>
                    <a:cubicBezTo>
                      <a:pt x="38" y="22"/>
                      <a:pt x="38" y="26"/>
                      <a:pt x="37" y="26"/>
                    </a:cubicBezTo>
                    <a:cubicBezTo>
                      <a:pt x="35" y="26"/>
                      <a:pt x="37" y="23"/>
                      <a:pt x="37" y="21"/>
                    </a:cubicBezTo>
                    <a:cubicBezTo>
                      <a:pt x="37" y="19"/>
                      <a:pt x="37" y="17"/>
                      <a:pt x="37" y="15"/>
                    </a:cubicBezTo>
                    <a:cubicBezTo>
                      <a:pt x="36" y="12"/>
                      <a:pt x="34" y="10"/>
                      <a:pt x="33" y="7"/>
                    </a:cubicBezTo>
                    <a:cubicBezTo>
                      <a:pt x="32" y="6"/>
                      <a:pt x="31" y="5"/>
                      <a:pt x="30" y="4"/>
                    </a:cubicBezTo>
                    <a:cubicBezTo>
                      <a:pt x="28" y="3"/>
                      <a:pt x="27" y="1"/>
                      <a:pt x="25" y="1"/>
                    </a:cubicBezTo>
                    <a:cubicBezTo>
                      <a:pt x="24" y="0"/>
                      <a:pt x="24" y="0"/>
                      <a:pt x="23" y="0"/>
                    </a:cubicBezTo>
                    <a:cubicBezTo>
                      <a:pt x="22" y="1"/>
                      <a:pt x="20" y="1"/>
                      <a:pt x="19" y="2"/>
                    </a:cubicBezTo>
                    <a:cubicBezTo>
                      <a:pt x="17" y="3"/>
                      <a:pt x="15" y="5"/>
                      <a:pt x="14" y="6"/>
                    </a:cubicBezTo>
                    <a:cubicBezTo>
                      <a:pt x="12" y="8"/>
                      <a:pt x="9" y="10"/>
                      <a:pt x="9" y="12"/>
                    </a:cubicBezTo>
                    <a:cubicBezTo>
                      <a:pt x="9" y="14"/>
                      <a:pt x="11" y="15"/>
                      <a:pt x="12" y="16"/>
                    </a:cubicBezTo>
                    <a:cubicBezTo>
                      <a:pt x="13" y="17"/>
                      <a:pt x="17" y="17"/>
                      <a:pt x="16" y="18"/>
                    </a:cubicBezTo>
                    <a:cubicBezTo>
                      <a:pt x="15" y="20"/>
                      <a:pt x="12" y="20"/>
                      <a:pt x="10" y="21"/>
                    </a:cubicBezTo>
                    <a:cubicBezTo>
                      <a:pt x="8" y="22"/>
                      <a:pt x="5" y="22"/>
                      <a:pt x="3" y="23"/>
                    </a:cubicBezTo>
                    <a:cubicBezTo>
                      <a:pt x="3" y="24"/>
                      <a:pt x="2" y="25"/>
                      <a:pt x="2" y="26"/>
                    </a:cubicBezTo>
                    <a:cubicBezTo>
                      <a:pt x="2" y="27"/>
                      <a:pt x="2" y="29"/>
                      <a:pt x="2" y="31"/>
                    </a:cubicBezTo>
                    <a:cubicBezTo>
                      <a:pt x="2" y="31"/>
                      <a:pt x="0" y="31"/>
                      <a:pt x="0" y="32"/>
                    </a:cubicBezTo>
                    <a:cubicBezTo>
                      <a:pt x="3" y="36"/>
                      <a:pt x="7" y="39"/>
                      <a:pt x="10" y="43"/>
                    </a:cubicBezTo>
                    <a:cubicBezTo>
                      <a:pt x="13" y="43"/>
                      <a:pt x="15" y="42"/>
                      <a:pt x="17" y="43"/>
                    </a:cubicBezTo>
                    <a:cubicBezTo>
                      <a:pt x="19" y="43"/>
                      <a:pt x="18" y="46"/>
                      <a:pt x="18" y="47"/>
                    </a:cubicBezTo>
                    <a:cubicBezTo>
                      <a:pt x="18" y="48"/>
                      <a:pt x="16" y="49"/>
                      <a:pt x="16" y="50"/>
                    </a:cubicBezTo>
                    <a:cubicBezTo>
                      <a:pt x="16" y="51"/>
                      <a:pt x="16" y="53"/>
                      <a:pt x="17" y="53"/>
                    </a:cubicBezTo>
                    <a:cubicBezTo>
                      <a:pt x="19" y="54"/>
                      <a:pt x="21" y="52"/>
                      <a:pt x="23" y="53"/>
                    </a:cubicBezTo>
                    <a:cubicBezTo>
                      <a:pt x="24" y="54"/>
                      <a:pt x="22" y="57"/>
                      <a:pt x="23" y="59"/>
                    </a:cubicBezTo>
                    <a:cubicBezTo>
                      <a:pt x="24" y="60"/>
                      <a:pt x="27" y="59"/>
                      <a:pt x="27" y="61"/>
                    </a:cubicBezTo>
                    <a:cubicBezTo>
                      <a:pt x="25" y="63"/>
                      <a:pt x="20" y="63"/>
                      <a:pt x="19" y="66"/>
                    </a:cubicBezTo>
                    <a:cubicBezTo>
                      <a:pt x="19" y="70"/>
                      <a:pt x="19" y="76"/>
                      <a:pt x="19" y="80"/>
                    </a:cubicBezTo>
                    <a:cubicBezTo>
                      <a:pt x="19" y="82"/>
                      <a:pt x="22" y="82"/>
                      <a:pt x="22" y="83"/>
                    </a:cubicBezTo>
                    <a:cubicBezTo>
                      <a:pt x="23" y="84"/>
                      <a:pt x="22" y="87"/>
                      <a:pt x="22" y="88"/>
                    </a:cubicBezTo>
                    <a:cubicBezTo>
                      <a:pt x="22" y="90"/>
                      <a:pt x="23" y="91"/>
                      <a:pt x="24" y="91"/>
                    </a:cubicBezTo>
                    <a:cubicBezTo>
                      <a:pt x="25" y="93"/>
                      <a:pt x="28" y="93"/>
                      <a:pt x="30" y="94"/>
                    </a:cubicBezTo>
                    <a:cubicBezTo>
                      <a:pt x="31" y="95"/>
                      <a:pt x="29" y="97"/>
                      <a:pt x="30" y="98"/>
                    </a:cubicBezTo>
                    <a:cubicBezTo>
                      <a:pt x="31" y="99"/>
                      <a:pt x="32" y="101"/>
                      <a:pt x="34" y="101"/>
                    </a:cubicBezTo>
                    <a:cubicBezTo>
                      <a:pt x="35" y="102"/>
                      <a:pt x="37" y="103"/>
                      <a:pt x="38" y="102"/>
                    </a:cubicBezTo>
                    <a:cubicBezTo>
                      <a:pt x="39" y="101"/>
                      <a:pt x="37" y="99"/>
                      <a:pt x="37" y="98"/>
                    </a:cubicBezTo>
                    <a:cubicBezTo>
                      <a:pt x="38" y="96"/>
                      <a:pt x="40" y="95"/>
                      <a:pt x="42" y="94"/>
                    </a:cubicBezTo>
                    <a:cubicBezTo>
                      <a:pt x="43" y="94"/>
                      <a:pt x="44" y="96"/>
                      <a:pt x="45" y="96"/>
                    </a:cubicBezTo>
                    <a:cubicBezTo>
                      <a:pt x="46" y="95"/>
                      <a:pt x="45" y="92"/>
                      <a:pt x="47" y="91"/>
                    </a:cubicBezTo>
                    <a:cubicBezTo>
                      <a:pt x="48" y="91"/>
                      <a:pt x="49" y="92"/>
                      <a:pt x="51" y="91"/>
                    </a:cubicBezTo>
                    <a:cubicBezTo>
                      <a:pt x="52" y="91"/>
                      <a:pt x="52" y="89"/>
                      <a:pt x="53" y="89"/>
                    </a:cubicBezTo>
                    <a:cubicBezTo>
                      <a:pt x="55" y="89"/>
                      <a:pt x="56" y="90"/>
                      <a:pt x="57" y="90"/>
                    </a:cubicBezTo>
                    <a:cubicBezTo>
                      <a:pt x="59" y="91"/>
                      <a:pt x="61" y="90"/>
                      <a:pt x="63" y="9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6" name="Freeform 2547"/>
              <p:cNvSpPr>
                <a:spLocks noChangeAspect="1"/>
              </p:cNvSpPr>
              <p:nvPr/>
            </p:nvSpPr>
            <p:spPr bwMode="auto">
              <a:xfrm>
                <a:off x="1523830" y="2562728"/>
                <a:ext cx="1382072" cy="761718"/>
              </a:xfrm>
              <a:custGeom>
                <a:avLst/>
                <a:gdLst>
                  <a:gd name="T0" fmla="*/ 455 w 704"/>
                  <a:gd name="T1" fmla="*/ 0 h 391"/>
                  <a:gd name="T2" fmla="*/ 515 w 704"/>
                  <a:gd name="T3" fmla="*/ 18 h 391"/>
                  <a:gd name="T4" fmla="*/ 508 w 704"/>
                  <a:gd name="T5" fmla="*/ 42 h 391"/>
                  <a:gd name="T6" fmla="*/ 556 w 704"/>
                  <a:gd name="T7" fmla="*/ 29 h 391"/>
                  <a:gd name="T8" fmla="*/ 592 w 704"/>
                  <a:gd name="T9" fmla="*/ 46 h 391"/>
                  <a:gd name="T10" fmla="*/ 583 w 704"/>
                  <a:gd name="T11" fmla="*/ 60 h 391"/>
                  <a:gd name="T12" fmla="*/ 553 w 704"/>
                  <a:gd name="T13" fmla="*/ 82 h 391"/>
                  <a:gd name="T14" fmla="*/ 543 w 704"/>
                  <a:gd name="T15" fmla="*/ 132 h 391"/>
                  <a:gd name="T16" fmla="*/ 565 w 704"/>
                  <a:gd name="T17" fmla="*/ 103 h 391"/>
                  <a:gd name="T18" fmla="*/ 587 w 704"/>
                  <a:gd name="T19" fmla="*/ 73 h 391"/>
                  <a:gd name="T20" fmla="*/ 612 w 704"/>
                  <a:gd name="T21" fmla="*/ 92 h 391"/>
                  <a:gd name="T22" fmla="*/ 618 w 704"/>
                  <a:gd name="T23" fmla="*/ 102 h 391"/>
                  <a:gd name="T24" fmla="*/ 601 w 704"/>
                  <a:gd name="T25" fmla="*/ 142 h 391"/>
                  <a:gd name="T26" fmla="*/ 672 w 704"/>
                  <a:gd name="T27" fmla="*/ 127 h 391"/>
                  <a:gd name="T28" fmla="*/ 700 w 704"/>
                  <a:gd name="T29" fmla="*/ 115 h 391"/>
                  <a:gd name="T30" fmla="*/ 731 w 704"/>
                  <a:gd name="T31" fmla="*/ 83 h 391"/>
                  <a:gd name="T32" fmla="*/ 798 w 704"/>
                  <a:gd name="T33" fmla="*/ 70 h 391"/>
                  <a:gd name="T34" fmla="*/ 825 w 704"/>
                  <a:gd name="T35" fmla="*/ 31 h 391"/>
                  <a:gd name="T36" fmla="*/ 844 w 704"/>
                  <a:gd name="T37" fmla="*/ 64 h 391"/>
                  <a:gd name="T38" fmla="*/ 802 w 704"/>
                  <a:gd name="T39" fmla="*/ 107 h 391"/>
                  <a:gd name="T40" fmla="*/ 781 w 704"/>
                  <a:gd name="T41" fmla="*/ 149 h 391"/>
                  <a:gd name="T42" fmla="*/ 736 w 704"/>
                  <a:gd name="T43" fmla="*/ 170 h 391"/>
                  <a:gd name="T44" fmla="*/ 715 w 704"/>
                  <a:gd name="T45" fmla="*/ 202 h 391"/>
                  <a:gd name="T46" fmla="*/ 702 w 704"/>
                  <a:gd name="T47" fmla="*/ 210 h 391"/>
                  <a:gd name="T48" fmla="*/ 697 w 704"/>
                  <a:gd name="T49" fmla="*/ 223 h 391"/>
                  <a:gd name="T50" fmla="*/ 702 w 704"/>
                  <a:gd name="T51" fmla="*/ 260 h 391"/>
                  <a:gd name="T52" fmla="*/ 688 w 704"/>
                  <a:gd name="T53" fmla="*/ 279 h 391"/>
                  <a:gd name="T54" fmla="*/ 645 w 704"/>
                  <a:gd name="T55" fmla="*/ 311 h 391"/>
                  <a:gd name="T56" fmla="*/ 610 w 704"/>
                  <a:gd name="T57" fmla="*/ 360 h 391"/>
                  <a:gd name="T58" fmla="*/ 616 w 704"/>
                  <a:gd name="T59" fmla="*/ 411 h 391"/>
                  <a:gd name="T60" fmla="*/ 613 w 704"/>
                  <a:gd name="T61" fmla="*/ 469 h 391"/>
                  <a:gd name="T62" fmla="*/ 594 w 704"/>
                  <a:gd name="T63" fmla="*/ 449 h 391"/>
                  <a:gd name="T64" fmla="*/ 585 w 704"/>
                  <a:gd name="T65" fmla="*/ 414 h 391"/>
                  <a:gd name="T66" fmla="*/ 561 w 704"/>
                  <a:gd name="T67" fmla="*/ 377 h 391"/>
                  <a:gd name="T68" fmla="*/ 528 w 704"/>
                  <a:gd name="T69" fmla="*/ 369 h 391"/>
                  <a:gd name="T70" fmla="*/ 487 w 704"/>
                  <a:gd name="T71" fmla="*/ 371 h 391"/>
                  <a:gd name="T72" fmla="*/ 487 w 704"/>
                  <a:gd name="T73" fmla="*/ 378 h 391"/>
                  <a:gd name="T74" fmla="*/ 474 w 704"/>
                  <a:gd name="T75" fmla="*/ 389 h 391"/>
                  <a:gd name="T76" fmla="*/ 447 w 704"/>
                  <a:gd name="T77" fmla="*/ 381 h 391"/>
                  <a:gd name="T78" fmla="*/ 402 w 704"/>
                  <a:gd name="T79" fmla="*/ 381 h 391"/>
                  <a:gd name="T80" fmla="*/ 365 w 704"/>
                  <a:gd name="T81" fmla="*/ 415 h 391"/>
                  <a:gd name="T82" fmla="*/ 356 w 704"/>
                  <a:gd name="T83" fmla="*/ 447 h 391"/>
                  <a:gd name="T84" fmla="*/ 319 w 704"/>
                  <a:gd name="T85" fmla="*/ 398 h 391"/>
                  <a:gd name="T86" fmla="*/ 287 w 704"/>
                  <a:gd name="T87" fmla="*/ 383 h 391"/>
                  <a:gd name="T88" fmla="*/ 253 w 704"/>
                  <a:gd name="T89" fmla="*/ 360 h 391"/>
                  <a:gd name="T90" fmla="*/ 168 w 704"/>
                  <a:gd name="T91" fmla="*/ 348 h 391"/>
                  <a:gd name="T92" fmla="*/ 79 w 704"/>
                  <a:gd name="T93" fmla="*/ 317 h 391"/>
                  <a:gd name="T94" fmla="*/ 35 w 704"/>
                  <a:gd name="T95" fmla="*/ 278 h 391"/>
                  <a:gd name="T96" fmla="*/ 18 w 704"/>
                  <a:gd name="T97" fmla="*/ 223 h 391"/>
                  <a:gd name="T98" fmla="*/ 22 w 704"/>
                  <a:gd name="T99" fmla="*/ 217 h 391"/>
                  <a:gd name="T100" fmla="*/ 0 w 704"/>
                  <a:gd name="T101" fmla="*/ 179 h 391"/>
                  <a:gd name="T102" fmla="*/ 6 w 704"/>
                  <a:gd name="T103" fmla="*/ 127 h 391"/>
                  <a:gd name="T104" fmla="*/ 29 w 704"/>
                  <a:gd name="T105" fmla="*/ 59 h 391"/>
                  <a:gd name="T106" fmla="*/ 35 w 704"/>
                  <a:gd name="T107" fmla="*/ 17 h 391"/>
                  <a:gd name="T108" fmla="*/ 49 w 704"/>
                  <a:gd name="T109" fmla="*/ 34 h 391"/>
                  <a:gd name="T110" fmla="*/ 59 w 704"/>
                  <a:gd name="T111" fmla="*/ 0 h 39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04"/>
                  <a:gd name="T169" fmla="*/ 0 h 391"/>
                  <a:gd name="T170" fmla="*/ 704 w 704"/>
                  <a:gd name="T171" fmla="*/ 391 h 39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04" h="391">
                    <a:moveTo>
                      <a:pt x="49" y="0"/>
                    </a:moveTo>
                    <a:cubicBezTo>
                      <a:pt x="58" y="0"/>
                      <a:pt x="67" y="1"/>
                      <a:pt x="75" y="1"/>
                    </a:cubicBezTo>
                    <a:cubicBezTo>
                      <a:pt x="117" y="1"/>
                      <a:pt x="159" y="1"/>
                      <a:pt x="201" y="1"/>
                    </a:cubicBezTo>
                    <a:cubicBezTo>
                      <a:pt x="236" y="1"/>
                      <a:pt x="271" y="2"/>
                      <a:pt x="306" y="2"/>
                    </a:cubicBezTo>
                    <a:cubicBezTo>
                      <a:pt x="323" y="2"/>
                      <a:pt x="341" y="2"/>
                      <a:pt x="358" y="1"/>
                    </a:cubicBezTo>
                    <a:cubicBezTo>
                      <a:pt x="365" y="1"/>
                      <a:pt x="372" y="0"/>
                      <a:pt x="379" y="0"/>
                    </a:cubicBezTo>
                    <a:cubicBezTo>
                      <a:pt x="381" y="0"/>
                      <a:pt x="383" y="1"/>
                      <a:pt x="386" y="2"/>
                    </a:cubicBezTo>
                    <a:cubicBezTo>
                      <a:pt x="389" y="3"/>
                      <a:pt x="391" y="5"/>
                      <a:pt x="394" y="6"/>
                    </a:cubicBezTo>
                    <a:cubicBezTo>
                      <a:pt x="397" y="7"/>
                      <a:pt x="401" y="6"/>
                      <a:pt x="404" y="7"/>
                    </a:cubicBezTo>
                    <a:cubicBezTo>
                      <a:pt x="406" y="8"/>
                      <a:pt x="408" y="10"/>
                      <a:pt x="410" y="11"/>
                    </a:cubicBezTo>
                    <a:cubicBezTo>
                      <a:pt x="414" y="13"/>
                      <a:pt x="417" y="15"/>
                      <a:pt x="421" y="15"/>
                    </a:cubicBezTo>
                    <a:cubicBezTo>
                      <a:pt x="423" y="16"/>
                      <a:pt x="426" y="15"/>
                      <a:pt x="429" y="15"/>
                    </a:cubicBezTo>
                    <a:cubicBezTo>
                      <a:pt x="433" y="16"/>
                      <a:pt x="437" y="18"/>
                      <a:pt x="440" y="18"/>
                    </a:cubicBezTo>
                    <a:cubicBezTo>
                      <a:pt x="438" y="19"/>
                      <a:pt x="434" y="20"/>
                      <a:pt x="431" y="22"/>
                    </a:cubicBezTo>
                    <a:cubicBezTo>
                      <a:pt x="428" y="23"/>
                      <a:pt x="424" y="26"/>
                      <a:pt x="421" y="28"/>
                    </a:cubicBezTo>
                    <a:cubicBezTo>
                      <a:pt x="418" y="31"/>
                      <a:pt x="414" y="33"/>
                      <a:pt x="412" y="36"/>
                    </a:cubicBezTo>
                    <a:cubicBezTo>
                      <a:pt x="411" y="37"/>
                      <a:pt x="413" y="38"/>
                      <a:pt x="414" y="38"/>
                    </a:cubicBezTo>
                    <a:cubicBezTo>
                      <a:pt x="417" y="38"/>
                      <a:pt x="420" y="36"/>
                      <a:pt x="423" y="35"/>
                    </a:cubicBezTo>
                    <a:cubicBezTo>
                      <a:pt x="424" y="35"/>
                      <a:pt x="425" y="36"/>
                      <a:pt x="426" y="36"/>
                    </a:cubicBezTo>
                    <a:cubicBezTo>
                      <a:pt x="427" y="37"/>
                      <a:pt x="428" y="40"/>
                      <a:pt x="429" y="39"/>
                    </a:cubicBezTo>
                    <a:cubicBezTo>
                      <a:pt x="433" y="39"/>
                      <a:pt x="436" y="37"/>
                      <a:pt x="440" y="35"/>
                    </a:cubicBezTo>
                    <a:cubicBezTo>
                      <a:pt x="443" y="34"/>
                      <a:pt x="446" y="34"/>
                      <a:pt x="449" y="32"/>
                    </a:cubicBezTo>
                    <a:cubicBezTo>
                      <a:pt x="453" y="30"/>
                      <a:pt x="455" y="26"/>
                      <a:pt x="458" y="24"/>
                    </a:cubicBezTo>
                    <a:cubicBezTo>
                      <a:pt x="460" y="23"/>
                      <a:pt x="462" y="23"/>
                      <a:pt x="463" y="24"/>
                    </a:cubicBezTo>
                    <a:cubicBezTo>
                      <a:pt x="464" y="25"/>
                      <a:pt x="461" y="26"/>
                      <a:pt x="460" y="27"/>
                    </a:cubicBezTo>
                    <a:cubicBezTo>
                      <a:pt x="458" y="29"/>
                      <a:pt x="454" y="31"/>
                      <a:pt x="455" y="34"/>
                    </a:cubicBezTo>
                    <a:cubicBezTo>
                      <a:pt x="456" y="37"/>
                      <a:pt x="461" y="36"/>
                      <a:pt x="464" y="37"/>
                    </a:cubicBezTo>
                    <a:cubicBezTo>
                      <a:pt x="466" y="38"/>
                      <a:pt x="468" y="40"/>
                      <a:pt x="470" y="40"/>
                    </a:cubicBezTo>
                    <a:cubicBezTo>
                      <a:pt x="475" y="41"/>
                      <a:pt x="480" y="38"/>
                      <a:pt x="485" y="38"/>
                    </a:cubicBezTo>
                    <a:cubicBezTo>
                      <a:pt x="488" y="38"/>
                      <a:pt x="491" y="37"/>
                      <a:pt x="493" y="38"/>
                    </a:cubicBezTo>
                    <a:cubicBezTo>
                      <a:pt x="494" y="39"/>
                      <a:pt x="494" y="41"/>
                      <a:pt x="495" y="43"/>
                    </a:cubicBezTo>
                    <a:cubicBezTo>
                      <a:pt x="496" y="45"/>
                      <a:pt x="498" y="46"/>
                      <a:pt x="499" y="47"/>
                    </a:cubicBezTo>
                    <a:cubicBezTo>
                      <a:pt x="501" y="49"/>
                      <a:pt x="503" y="49"/>
                      <a:pt x="503" y="50"/>
                    </a:cubicBezTo>
                    <a:cubicBezTo>
                      <a:pt x="504" y="52"/>
                      <a:pt x="501" y="51"/>
                      <a:pt x="500" y="51"/>
                    </a:cubicBezTo>
                    <a:cubicBezTo>
                      <a:pt x="497" y="51"/>
                      <a:pt x="494" y="51"/>
                      <a:pt x="491" y="51"/>
                    </a:cubicBezTo>
                    <a:cubicBezTo>
                      <a:pt x="489" y="51"/>
                      <a:pt x="487" y="50"/>
                      <a:pt x="486" y="50"/>
                    </a:cubicBezTo>
                    <a:cubicBezTo>
                      <a:pt x="483" y="51"/>
                      <a:pt x="482" y="53"/>
                      <a:pt x="480" y="54"/>
                    </a:cubicBezTo>
                    <a:cubicBezTo>
                      <a:pt x="476" y="54"/>
                      <a:pt x="471" y="50"/>
                      <a:pt x="468" y="52"/>
                    </a:cubicBezTo>
                    <a:cubicBezTo>
                      <a:pt x="464" y="53"/>
                      <a:pt x="462" y="57"/>
                      <a:pt x="461" y="60"/>
                    </a:cubicBezTo>
                    <a:cubicBezTo>
                      <a:pt x="458" y="64"/>
                      <a:pt x="456" y="69"/>
                      <a:pt x="455" y="74"/>
                    </a:cubicBezTo>
                    <a:cubicBezTo>
                      <a:pt x="455" y="75"/>
                      <a:pt x="457" y="75"/>
                      <a:pt x="457" y="74"/>
                    </a:cubicBezTo>
                    <a:cubicBezTo>
                      <a:pt x="459" y="72"/>
                      <a:pt x="460" y="70"/>
                      <a:pt x="461" y="68"/>
                    </a:cubicBezTo>
                    <a:cubicBezTo>
                      <a:pt x="462" y="66"/>
                      <a:pt x="462" y="63"/>
                      <a:pt x="464" y="62"/>
                    </a:cubicBezTo>
                    <a:cubicBezTo>
                      <a:pt x="465" y="61"/>
                      <a:pt x="467" y="61"/>
                      <a:pt x="467" y="62"/>
                    </a:cubicBezTo>
                    <a:cubicBezTo>
                      <a:pt x="466" y="66"/>
                      <a:pt x="464" y="70"/>
                      <a:pt x="462" y="74"/>
                    </a:cubicBezTo>
                    <a:cubicBezTo>
                      <a:pt x="460" y="78"/>
                      <a:pt x="457" y="83"/>
                      <a:pt x="455" y="87"/>
                    </a:cubicBezTo>
                    <a:cubicBezTo>
                      <a:pt x="454" y="91"/>
                      <a:pt x="453" y="95"/>
                      <a:pt x="453" y="98"/>
                    </a:cubicBezTo>
                    <a:cubicBezTo>
                      <a:pt x="452" y="102"/>
                      <a:pt x="452" y="106"/>
                      <a:pt x="452" y="110"/>
                    </a:cubicBezTo>
                    <a:cubicBezTo>
                      <a:pt x="452" y="113"/>
                      <a:pt x="451" y="116"/>
                      <a:pt x="452" y="119"/>
                    </a:cubicBezTo>
                    <a:cubicBezTo>
                      <a:pt x="453" y="120"/>
                      <a:pt x="454" y="121"/>
                      <a:pt x="455" y="122"/>
                    </a:cubicBezTo>
                    <a:cubicBezTo>
                      <a:pt x="457" y="122"/>
                      <a:pt x="459" y="122"/>
                      <a:pt x="461" y="121"/>
                    </a:cubicBezTo>
                    <a:cubicBezTo>
                      <a:pt x="464" y="118"/>
                      <a:pt x="466" y="115"/>
                      <a:pt x="468" y="111"/>
                    </a:cubicBezTo>
                    <a:cubicBezTo>
                      <a:pt x="470" y="108"/>
                      <a:pt x="471" y="105"/>
                      <a:pt x="471" y="102"/>
                    </a:cubicBezTo>
                    <a:cubicBezTo>
                      <a:pt x="472" y="96"/>
                      <a:pt x="471" y="91"/>
                      <a:pt x="471" y="86"/>
                    </a:cubicBezTo>
                    <a:cubicBezTo>
                      <a:pt x="472" y="82"/>
                      <a:pt x="473" y="78"/>
                      <a:pt x="475" y="75"/>
                    </a:cubicBezTo>
                    <a:cubicBezTo>
                      <a:pt x="476" y="72"/>
                      <a:pt x="477" y="70"/>
                      <a:pt x="479" y="68"/>
                    </a:cubicBezTo>
                    <a:cubicBezTo>
                      <a:pt x="480" y="67"/>
                      <a:pt x="482" y="65"/>
                      <a:pt x="483" y="66"/>
                    </a:cubicBezTo>
                    <a:cubicBezTo>
                      <a:pt x="484" y="66"/>
                      <a:pt x="483" y="69"/>
                      <a:pt x="484" y="69"/>
                    </a:cubicBezTo>
                    <a:cubicBezTo>
                      <a:pt x="485" y="69"/>
                      <a:pt x="486" y="67"/>
                      <a:pt x="487" y="66"/>
                    </a:cubicBezTo>
                    <a:cubicBezTo>
                      <a:pt x="488" y="64"/>
                      <a:pt x="489" y="62"/>
                      <a:pt x="489" y="61"/>
                    </a:cubicBezTo>
                    <a:cubicBezTo>
                      <a:pt x="490" y="59"/>
                      <a:pt x="491" y="56"/>
                      <a:pt x="492" y="55"/>
                    </a:cubicBezTo>
                    <a:cubicBezTo>
                      <a:pt x="494" y="54"/>
                      <a:pt x="496" y="54"/>
                      <a:pt x="497" y="55"/>
                    </a:cubicBezTo>
                    <a:cubicBezTo>
                      <a:pt x="500" y="55"/>
                      <a:pt x="501" y="57"/>
                      <a:pt x="503" y="59"/>
                    </a:cubicBezTo>
                    <a:cubicBezTo>
                      <a:pt x="506" y="60"/>
                      <a:pt x="508" y="61"/>
                      <a:pt x="510" y="63"/>
                    </a:cubicBezTo>
                    <a:cubicBezTo>
                      <a:pt x="511" y="65"/>
                      <a:pt x="510" y="67"/>
                      <a:pt x="510" y="69"/>
                    </a:cubicBezTo>
                    <a:cubicBezTo>
                      <a:pt x="510" y="72"/>
                      <a:pt x="511" y="74"/>
                      <a:pt x="510" y="77"/>
                    </a:cubicBezTo>
                    <a:cubicBezTo>
                      <a:pt x="510" y="78"/>
                      <a:pt x="509" y="80"/>
                      <a:pt x="508" y="82"/>
                    </a:cubicBezTo>
                    <a:cubicBezTo>
                      <a:pt x="506" y="83"/>
                      <a:pt x="503" y="82"/>
                      <a:pt x="501" y="83"/>
                    </a:cubicBezTo>
                    <a:cubicBezTo>
                      <a:pt x="500" y="84"/>
                      <a:pt x="499" y="87"/>
                      <a:pt x="501" y="88"/>
                    </a:cubicBezTo>
                    <a:cubicBezTo>
                      <a:pt x="503" y="88"/>
                      <a:pt x="505" y="85"/>
                      <a:pt x="507" y="84"/>
                    </a:cubicBezTo>
                    <a:cubicBezTo>
                      <a:pt x="509" y="84"/>
                      <a:pt x="511" y="83"/>
                      <a:pt x="513" y="83"/>
                    </a:cubicBezTo>
                    <a:cubicBezTo>
                      <a:pt x="514" y="84"/>
                      <a:pt x="515" y="84"/>
                      <a:pt x="515" y="85"/>
                    </a:cubicBezTo>
                    <a:cubicBezTo>
                      <a:pt x="517" y="90"/>
                      <a:pt x="517" y="97"/>
                      <a:pt x="518" y="102"/>
                    </a:cubicBezTo>
                    <a:cubicBezTo>
                      <a:pt x="517" y="104"/>
                      <a:pt x="517" y="106"/>
                      <a:pt x="516" y="107"/>
                    </a:cubicBezTo>
                    <a:cubicBezTo>
                      <a:pt x="514" y="108"/>
                      <a:pt x="511" y="107"/>
                      <a:pt x="510" y="108"/>
                    </a:cubicBezTo>
                    <a:cubicBezTo>
                      <a:pt x="509" y="109"/>
                      <a:pt x="509" y="110"/>
                      <a:pt x="508" y="111"/>
                    </a:cubicBezTo>
                    <a:cubicBezTo>
                      <a:pt x="508" y="112"/>
                      <a:pt x="507" y="114"/>
                      <a:pt x="506" y="115"/>
                    </a:cubicBezTo>
                    <a:cubicBezTo>
                      <a:pt x="504" y="116"/>
                      <a:pt x="503" y="116"/>
                      <a:pt x="501" y="118"/>
                    </a:cubicBezTo>
                    <a:cubicBezTo>
                      <a:pt x="500" y="119"/>
                      <a:pt x="500" y="121"/>
                      <a:pt x="501" y="122"/>
                    </a:cubicBezTo>
                    <a:cubicBezTo>
                      <a:pt x="504" y="124"/>
                      <a:pt x="507" y="125"/>
                      <a:pt x="510" y="125"/>
                    </a:cubicBezTo>
                    <a:cubicBezTo>
                      <a:pt x="514" y="125"/>
                      <a:pt x="518" y="125"/>
                      <a:pt x="522" y="124"/>
                    </a:cubicBezTo>
                    <a:cubicBezTo>
                      <a:pt x="526" y="123"/>
                      <a:pt x="528" y="121"/>
                      <a:pt x="531" y="119"/>
                    </a:cubicBezTo>
                    <a:cubicBezTo>
                      <a:pt x="537" y="117"/>
                      <a:pt x="542" y="114"/>
                      <a:pt x="548" y="112"/>
                    </a:cubicBezTo>
                    <a:cubicBezTo>
                      <a:pt x="552" y="110"/>
                      <a:pt x="557" y="109"/>
                      <a:pt x="560" y="106"/>
                    </a:cubicBezTo>
                    <a:cubicBezTo>
                      <a:pt x="561" y="106"/>
                      <a:pt x="560" y="105"/>
                      <a:pt x="560" y="104"/>
                    </a:cubicBezTo>
                    <a:cubicBezTo>
                      <a:pt x="559" y="103"/>
                      <a:pt x="559" y="102"/>
                      <a:pt x="559" y="101"/>
                    </a:cubicBezTo>
                    <a:cubicBezTo>
                      <a:pt x="559" y="99"/>
                      <a:pt x="559" y="98"/>
                      <a:pt x="559" y="97"/>
                    </a:cubicBezTo>
                    <a:cubicBezTo>
                      <a:pt x="560" y="97"/>
                      <a:pt x="562" y="96"/>
                      <a:pt x="563" y="96"/>
                    </a:cubicBezTo>
                    <a:cubicBezTo>
                      <a:pt x="566" y="96"/>
                      <a:pt x="570" y="97"/>
                      <a:pt x="573" y="97"/>
                    </a:cubicBezTo>
                    <a:cubicBezTo>
                      <a:pt x="577" y="97"/>
                      <a:pt x="580" y="97"/>
                      <a:pt x="583" y="96"/>
                    </a:cubicBezTo>
                    <a:cubicBezTo>
                      <a:pt x="587" y="95"/>
                      <a:pt x="591" y="95"/>
                      <a:pt x="594" y="93"/>
                    </a:cubicBezTo>
                    <a:cubicBezTo>
                      <a:pt x="596" y="92"/>
                      <a:pt x="595" y="90"/>
                      <a:pt x="595" y="89"/>
                    </a:cubicBezTo>
                    <a:cubicBezTo>
                      <a:pt x="595" y="87"/>
                      <a:pt x="593" y="85"/>
                      <a:pt x="594" y="83"/>
                    </a:cubicBezTo>
                    <a:cubicBezTo>
                      <a:pt x="595" y="81"/>
                      <a:pt x="599" y="82"/>
                      <a:pt x="600" y="80"/>
                    </a:cubicBezTo>
                    <a:cubicBezTo>
                      <a:pt x="602" y="79"/>
                      <a:pt x="602" y="77"/>
                      <a:pt x="603" y="75"/>
                    </a:cubicBezTo>
                    <a:cubicBezTo>
                      <a:pt x="606" y="73"/>
                      <a:pt x="607" y="71"/>
                      <a:pt x="609" y="69"/>
                    </a:cubicBezTo>
                    <a:cubicBezTo>
                      <a:pt x="615" y="69"/>
                      <a:pt x="622" y="69"/>
                      <a:pt x="628" y="69"/>
                    </a:cubicBezTo>
                    <a:cubicBezTo>
                      <a:pt x="636" y="69"/>
                      <a:pt x="645" y="69"/>
                      <a:pt x="653" y="69"/>
                    </a:cubicBezTo>
                    <a:cubicBezTo>
                      <a:pt x="653" y="68"/>
                      <a:pt x="652" y="66"/>
                      <a:pt x="653" y="65"/>
                    </a:cubicBezTo>
                    <a:cubicBezTo>
                      <a:pt x="654" y="64"/>
                      <a:pt x="655" y="63"/>
                      <a:pt x="657" y="63"/>
                    </a:cubicBezTo>
                    <a:cubicBezTo>
                      <a:pt x="659" y="62"/>
                      <a:pt x="662" y="64"/>
                      <a:pt x="663" y="63"/>
                    </a:cubicBezTo>
                    <a:cubicBezTo>
                      <a:pt x="665" y="62"/>
                      <a:pt x="664" y="60"/>
                      <a:pt x="665" y="58"/>
                    </a:cubicBezTo>
                    <a:cubicBezTo>
                      <a:pt x="666" y="57"/>
                      <a:pt x="668" y="57"/>
                      <a:pt x="669" y="55"/>
                    </a:cubicBezTo>
                    <a:cubicBezTo>
                      <a:pt x="670" y="53"/>
                      <a:pt x="669" y="51"/>
                      <a:pt x="670" y="49"/>
                    </a:cubicBezTo>
                    <a:cubicBezTo>
                      <a:pt x="671" y="47"/>
                      <a:pt x="674" y="45"/>
                      <a:pt x="676" y="43"/>
                    </a:cubicBezTo>
                    <a:cubicBezTo>
                      <a:pt x="676" y="42"/>
                      <a:pt x="674" y="41"/>
                      <a:pt x="675" y="40"/>
                    </a:cubicBezTo>
                    <a:cubicBezTo>
                      <a:pt x="676" y="37"/>
                      <a:pt x="679" y="34"/>
                      <a:pt x="681" y="31"/>
                    </a:cubicBezTo>
                    <a:cubicBezTo>
                      <a:pt x="682" y="29"/>
                      <a:pt x="684" y="26"/>
                      <a:pt x="687" y="26"/>
                    </a:cubicBezTo>
                    <a:cubicBezTo>
                      <a:pt x="689" y="26"/>
                      <a:pt x="688" y="31"/>
                      <a:pt x="690" y="31"/>
                    </a:cubicBezTo>
                    <a:cubicBezTo>
                      <a:pt x="692" y="32"/>
                      <a:pt x="693" y="28"/>
                      <a:pt x="695" y="28"/>
                    </a:cubicBezTo>
                    <a:cubicBezTo>
                      <a:pt x="697" y="28"/>
                      <a:pt x="699" y="29"/>
                      <a:pt x="701" y="30"/>
                    </a:cubicBezTo>
                    <a:cubicBezTo>
                      <a:pt x="701" y="30"/>
                      <a:pt x="702" y="31"/>
                      <a:pt x="703" y="31"/>
                    </a:cubicBezTo>
                    <a:cubicBezTo>
                      <a:pt x="702" y="38"/>
                      <a:pt x="701" y="45"/>
                      <a:pt x="701" y="53"/>
                    </a:cubicBezTo>
                    <a:cubicBezTo>
                      <a:pt x="701" y="53"/>
                      <a:pt x="702" y="53"/>
                      <a:pt x="703" y="53"/>
                    </a:cubicBezTo>
                    <a:cubicBezTo>
                      <a:pt x="703" y="57"/>
                      <a:pt x="703" y="62"/>
                      <a:pt x="703" y="67"/>
                    </a:cubicBezTo>
                    <a:cubicBezTo>
                      <a:pt x="703" y="70"/>
                      <a:pt x="704" y="74"/>
                      <a:pt x="702" y="77"/>
                    </a:cubicBezTo>
                    <a:cubicBezTo>
                      <a:pt x="699" y="80"/>
                      <a:pt x="695" y="83"/>
                      <a:pt x="690" y="84"/>
                    </a:cubicBezTo>
                    <a:cubicBezTo>
                      <a:pt x="688" y="85"/>
                      <a:pt x="685" y="81"/>
                      <a:pt x="682" y="82"/>
                    </a:cubicBezTo>
                    <a:cubicBezTo>
                      <a:pt x="679" y="83"/>
                      <a:pt x="678" y="86"/>
                      <a:pt x="676" y="87"/>
                    </a:cubicBezTo>
                    <a:cubicBezTo>
                      <a:pt x="674" y="88"/>
                      <a:pt x="670" y="88"/>
                      <a:pt x="668" y="89"/>
                    </a:cubicBezTo>
                    <a:cubicBezTo>
                      <a:pt x="665" y="91"/>
                      <a:pt x="663" y="94"/>
                      <a:pt x="662" y="97"/>
                    </a:cubicBezTo>
                    <a:cubicBezTo>
                      <a:pt x="660" y="100"/>
                      <a:pt x="658" y="103"/>
                      <a:pt x="657" y="107"/>
                    </a:cubicBezTo>
                    <a:cubicBezTo>
                      <a:pt x="656" y="109"/>
                      <a:pt x="656" y="111"/>
                      <a:pt x="657" y="113"/>
                    </a:cubicBezTo>
                    <a:cubicBezTo>
                      <a:pt x="657" y="115"/>
                      <a:pt x="659" y="118"/>
                      <a:pt x="659" y="121"/>
                    </a:cubicBezTo>
                    <a:cubicBezTo>
                      <a:pt x="658" y="123"/>
                      <a:pt x="657" y="127"/>
                      <a:pt x="654" y="128"/>
                    </a:cubicBezTo>
                    <a:cubicBezTo>
                      <a:pt x="652" y="129"/>
                      <a:pt x="653" y="124"/>
                      <a:pt x="651" y="124"/>
                    </a:cubicBezTo>
                    <a:cubicBezTo>
                      <a:pt x="650" y="123"/>
                      <a:pt x="648" y="124"/>
                      <a:pt x="647" y="125"/>
                    </a:cubicBezTo>
                    <a:cubicBezTo>
                      <a:pt x="647" y="126"/>
                      <a:pt x="648" y="129"/>
                      <a:pt x="647" y="129"/>
                    </a:cubicBezTo>
                    <a:cubicBezTo>
                      <a:pt x="643" y="130"/>
                      <a:pt x="639" y="128"/>
                      <a:pt x="635" y="128"/>
                    </a:cubicBezTo>
                    <a:cubicBezTo>
                      <a:pt x="632" y="128"/>
                      <a:pt x="629" y="129"/>
                      <a:pt x="627" y="130"/>
                    </a:cubicBezTo>
                    <a:cubicBezTo>
                      <a:pt x="623" y="131"/>
                      <a:pt x="620" y="133"/>
                      <a:pt x="617" y="135"/>
                    </a:cubicBezTo>
                    <a:cubicBezTo>
                      <a:pt x="615" y="137"/>
                      <a:pt x="614" y="139"/>
                      <a:pt x="613" y="142"/>
                    </a:cubicBezTo>
                    <a:cubicBezTo>
                      <a:pt x="613" y="143"/>
                      <a:pt x="615" y="144"/>
                      <a:pt x="615" y="145"/>
                    </a:cubicBezTo>
                    <a:cubicBezTo>
                      <a:pt x="615" y="149"/>
                      <a:pt x="614" y="153"/>
                      <a:pt x="612" y="157"/>
                    </a:cubicBezTo>
                    <a:cubicBezTo>
                      <a:pt x="610" y="160"/>
                      <a:pt x="607" y="161"/>
                      <a:pt x="604" y="164"/>
                    </a:cubicBezTo>
                    <a:cubicBezTo>
                      <a:pt x="602" y="165"/>
                      <a:pt x="601" y="167"/>
                      <a:pt x="599" y="167"/>
                    </a:cubicBezTo>
                    <a:cubicBezTo>
                      <a:pt x="598" y="167"/>
                      <a:pt x="597" y="165"/>
                      <a:pt x="596" y="165"/>
                    </a:cubicBezTo>
                    <a:cubicBezTo>
                      <a:pt x="595" y="165"/>
                      <a:pt x="596" y="167"/>
                      <a:pt x="596" y="168"/>
                    </a:cubicBezTo>
                    <a:cubicBezTo>
                      <a:pt x="596" y="169"/>
                      <a:pt x="598" y="170"/>
                      <a:pt x="597" y="172"/>
                    </a:cubicBezTo>
                    <a:cubicBezTo>
                      <a:pt x="597" y="176"/>
                      <a:pt x="596" y="181"/>
                      <a:pt x="594" y="186"/>
                    </a:cubicBezTo>
                    <a:cubicBezTo>
                      <a:pt x="593" y="188"/>
                      <a:pt x="591" y="191"/>
                      <a:pt x="588" y="192"/>
                    </a:cubicBezTo>
                    <a:cubicBezTo>
                      <a:pt x="587" y="193"/>
                      <a:pt x="587" y="191"/>
                      <a:pt x="587" y="190"/>
                    </a:cubicBezTo>
                    <a:cubicBezTo>
                      <a:pt x="586" y="188"/>
                      <a:pt x="585" y="185"/>
                      <a:pt x="585" y="183"/>
                    </a:cubicBezTo>
                    <a:cubicBezTo>
                      <a:pt x="584" y="180"/>
                      <a:pt x="585" y="178"/>
                      <a:pt x="585" y="175"/>
                    </a:cubicBezTo>
                    <a:cubicBezTo>
                      <a:pt x="585" y="172"/>
                      <a:pt x="584" y="169"/>
                      <a:pt x="585" y="167"/>
                    </a:cubicBezTo>
                    <a:cubicBezTo>
                      <a:pt x="585" y="165"/>
                      <a:pt x="588" y="165"/>
                      <a:pt x="588" y="163"/>
                    </a:cubicBezTo>
                    <a:cubicBezTo>
                      <a:pt x="589" y="162"/>
                      <a:pt x="587" y="160"/>
                      <a:pt x="586" y="161"/>
                    </a:cubicBezTo>
                    <a:cubicBezTo>
                      <a:pt x="584" y="163"/>
                      <a:pt x="582" y="166"/>
                      <a:pt x="581" y="169"/>
                    </a:cubicBezTo>
                    <a:cubicBezTo>
                      <a:pt x="580" y="171"/>
                      <a:pt x="581" y="174"/>
                      <a:pt x="581" y="177"/>
                    </a:cubicBezTo>
                    <a:cubicBezTo>
                      <a:pt x="581" y="180"/>
                      <a:pt x="581" y="183"/>
                      <a:pt x="581" y="186"/>
                    </a:cubicBezTo>
                    <a:cubicBezTo>
                      <a:pt x="581" y="188"/>
                      <a:pt x="580" y="189"/>
                      <a:pt x="580" y="190"/>
                    </a:cubicBezTo>
                    <a:cubicBezTo>
                      <a:pt x="580" y="194"/>
                      <a:pt x="579" y="197"/>
                      <a:pt x="579" y="201"/>
                    </a:cubicBezTo>
                    <a:cubicBezTo>
                      <a:pt x="579" y="203"/>
                      <a:pt x="578" y="205"/>
                      <a:pt x="579" y="206"/>
                    </a:cubicBezTo>
                    <a:cubicBezTo>
                      <a:pt x="580" y="207"/>
                      <a:pt x="583" y="206"/>
                      <a:pt x="584" y="208"/>
                    </a:cubicBezTo>
                    <a:cubicBezTo>
                      <a:pt x="585" y="210"/>
                      <a:pt x="583" y="212"/>
                      <a:pt x="584" y="215"/>
                    </a:cubicBezTo>
                    <a:cubicBezTo>
                      <a:pt x="584" y="216"/>
                      <a:pt x="586" y="217"/>
                      <a:pt x="585" y="217"/>
                    </a:cubicBezTo>
                    <a:cubicBezTo>
                      <a:pt x="583" y="218"/>
                      <a:pt x="581" y="217"/>
                      <a:pt x="579" y="218"/>
                    </a:cubicBezTo>
                    <a:cubicBezTo>
                      <a:pt x="578" y="218"/>
                      <a:pt x="579" y="219"/>
                      <a:pt x="579" y="219"/>
                    </a:cubicBezTo>
                    <a:cubicBezTo>
                      <a:pt x="581" y="221"/>
                      <a:pt x="585" y="221"/>
                      <a:pt x="585" y="223"/>
                    </a:cubicBezTo>
                    <a:cubicBezTo>
                      <a:pt x="586" y="225"/>
                      <a:pt x="583" y="227"/>
                      <a:pt x="581" y="228"/>
                    </a:cubicBezTo>
                    <a:cubicBezTo>
                      <a:pt x="579" y="229"/>
                      <a:pt x="575" y="226"/>
                      <a:pt x="573" y="227"/>
                    </a:cubicBezTo>
                    <a:cubicBezTo>
                      <a:pt x="571" y="228"/>
                      <a:pt x="572" y="231"/>
                      <a:pt x="573" y="233"/>
                    </a:cubicBezTo>
                    <a:cubicBezTo>
                      <a:pt x="574" y="234"/>
                      <a:pt x="577" y="232"/>
                      <a:pt x="578" y="234"/>
                    </a:cubicBezTo>
                    <a:cubicBezTo>
                      <a:pt x="578" y="236"/>
                      <a:pt x="576" y="238"/>
                      <a:pt x="575" y="239"/>
                    </a:cubicBezTo>
                    <a:cubicBezTo>
                      <a:pt x="572" y="240"/>
                      <a:pt x="567" y="239"/>
                      <a:pt x="564" y="240"/>
                    </a:cubicBezTo>
                    <a:cubicBezTo>
                      <a:pt x="561" y="242"/>
                      <a:pt x="559" y="246"/>
                      <a:pt x="556" y="248"/>
                    </a:cubicBezTo>
                    <a:cubicBezTo>
                      <a:pt x="553" y="250"/>
                      <a:pt x="549" y="249"/>
                      <a:pt x="546" y="251"/>
                    </a:cubicBezTo>
                    <a:cubicBezTo>
                      <a:pt x="542" y="253"/>
                      <a:pt x="539" y="256"/>
                      <a:pt x="537" y="259"/>
                    </a:cubicBezTo>
                    <a:cubicBezTo>
                      <a:pt x="536" y="260"/>
                      <a:pt x="538" y="262"/>
                      <a:pt x="538" y="263"/>
                    </a:cubicBezTo>
                    <a:cubicBezTo>
                      <a:pt x="535" y="266"/>
                      <a:pt x="531" y="269"/>
                      <a:pt x="527" y="272"/>
                    </a:cubicBezTo>
                    <a:cubicBezTo>
                      <a:pt x="525" y="273"/>
                      <a:pt x="521" y="272"/>
                      <a:pt x="520" y="274"/>
                    </a:cubicBezTo>
                    <a:cubicBezTo>
                      <a:pt x="518" y="275"/>
                      <a:pt x="518" y="279"/>
                      <a:pt x="517" y="281"/>
                    </a:cubicBezTo>
                    <a:cubicBezTo>
                      <a:pt x="515" y="283"/>
                      <a:pt x="513" y="285"/>
                      <a:pt x="511" y="287"/>
                    </a:cubicBezTo>
                    <a:cubicBezTo>
                      <a:pt x="509" y="291"/>
                      <a:pt x="508" y="296"/>
                      <a:pt x="508" y="300"/>
                    </a:cubicBezTo>
                    <a:cubicBezTo>
                      <a:pt x="507" y="302"/>
                      <a:pt x="507" y="305"/>
                      <a:pt x="507" y="307"/>
                    </a:cubicBezTo>
                    <a:cubicBezTo>
                      <a:pt x="507" y="310"/>
                      <a:pt x="506" y="314"/>
                      <a:pt x="506" y="317"/>
                    </a:cubicBezTo>
                    <a:cubicBezTo>
                      <a:pt x="508" y="322"/>
                      <a:pt x="512" y="326"/>
                      <a:pt x="514" y="331"/>
                    </a:cubicBezTo>
                    <a:cubicBezTo>
                      <a:pt x="514" y="333"/>
                      <a:pt x="514" y="336"/>
                      <a:pt x="514" y="339"/>
                    </a:cubicBezTo>
                    <a:cubicBezTo>
                      <a:pt x="514" y="340"/>
                      <a:pt x="513" y="336"/>
                      <a:pt x="512" y="337"/>
                    </a:cubicBezTo>
                    <a:cubicBezTo>
                      <a:pt x="512" y="339"/>
                      <a:pt x="512" y="341"/>
                      <a:pt x="513" y="343"/>
                    </a:cubicBezTo>
                    <a:cubicBezTo>
                      <a:pt x="514" y="346"/>
                      <a:pt x="515" y="348"/>
                      <a:pt x="517" y="351"/>
                    </a:cubicBezTo>
                    <a:cubicBezTo>
                      <a:pt x="518" y="354"/>
                      <a:pt x="519" y="357"/>
                      <a:pt x="520" y="360"/>
                    </a:cubicBezTo>
                    <a:cubicBezTo>
                      <a:pt x="520" y="363"/>
                      <a:pt x="520" y="366"/>
                      <a:pt x="520" y="369"/>
                    </a:cubicBezTo>
                    <a:cubicBezTo>
                      <a:pt x="519" y="372"/>
                      <a:pt x="516" y="375"/>
                      <a:pt x="515" y="379"/>
                    </a:cubicBezTo>
                    <a:cubicBezTo>
                      <a:pt x="514" y="382"/>
                      <a:pt x="515" y="385"/>
                      <a:pt x="514" y="388"/>
                    </a:cubicBezTo>
                    <a:cubicBezTo>
                      <a:pt x="513" y="390"/>
                      <a:pt x="512" y="391"/>
                      <a:pt x="511" y="391"/>
                    </a:cubicBezTo>
                    <a:cubicBezTo>
                      <a:pt x="510" y="391"/>
                      <a:pt x="512" y="388"/>
                      <a:pt x="511" y="388"/>
                    </a:cubicBezTo>
                    <a:cubicBezTo>
                      <a:pt x="508" y="387"/>
                      <a:pt x="505" y="389"/>
                      <a:pt x="501" y="388"/>
                    </a:cubicBezTo>
                    <a:cubicBezTo>
                      <a:pt x="501" y="388"/>
                      <a:pt x="501" y="387"/>
                      <a:pt x="501" y="386"/>
                    </a:cubicBezTo>
                    <a:cubicBezTo>
                      <a:pt x="502" y="384"/>
                      <a:pt x="505" y="383"/>
                      <a:pt x="505" y="382"/>
                    </a:cubicBezTo>
                    <a:cubicBezTo>
                      <a:pt x="504" y="380"/>
                      <a:pt x="501" y="380"/>
                      <a:pt x="499" y="379"/>
                    </a:cubicBezTo>
                    <a:cubicBezTo>
                      <a:pt x="497" y="377"/>
                      <a:pt x="496" y="376"/>
                      <a:pt x="495" y="374"/>
                    </a:cubicBezTo>
                    <a:cubicBezTo>
                      <a:pt x="493" y="370"/>
                      <a:pt x="493" y="366"/>
                      <a:pt x="492" y="362"/>
                    </a:cubicBezTo>
                    <a:cubicBezTo>
                      <a:pt x="491" y="361"/>
                      <a:pt x="492" y="359"/>
                      <a:pt x="492" y="358"/>
                    </a:cubicBezTo>
                    <a:cubicBezTo>
                      <a:pt x="491" y="358"/>
                      <a:pt x="490" y="360"/>
                      <a:pt x="489" y="360"/>
                    </a:cubicBezTo>
                    <a:cubicBezTo>
                      <a:pt x="488" y="358"/>
                      <a:pt x="489" y="356"/>
                      <a:pt x="488" y="354"/>
                    </a:cubicBezTo>
                    <a:cubicBezTo>
                      <a:pt x="488" y="352"/>
                      <a:pt x="487" y="350"/>
                      <a:pt x="487" y="348"/>
                    </a:cubicBezTo>
                    <a:cubicBezTo>
                      <a:pt x="487" y="347"/>
                      <a:pt x="487" y="346"/>
                      <a:pt x="487" y="345"/>
                    </a:cubicBezTo>
                    <a:cubicBezTo>
                      <a:pt x="487" y="343"/>
                      <a:pt x="486" y="341"/>
                      <a:pt x="486" y="339"/>
                    </a:cubicBezTo>
                    <a:cubicBezTo>
                      <a:pt x="486" y="336"/>
                      <a:pt x="489" y="334"/>
                      <a:pt x="489" y="331"/>
                    </a:cubicBezTo>
                    <a:cubicBezTo>
                      <a:pt x="489" y="329"/>
                      <a:pt x="487" y="326"/>
                      <a:pt x="486" y="324"/>
                    </a:cubicBezTo>
                    <a:cubicBezTo>
                      <a:pt x="485" y="323"/>
                      <a:pt x="482" y="323"/>
                      <a:pt x="481" y="322"/>
                    </a:cubicBezTo>
                    <a:cubicBezTo>
                      <a:pt x="478" y="319"/>
                      <a:pt x="477" y="313"/>
                      <a:pt x="473" y="311"/>
                    </a:cubicBezTo>
                    <a:cubicBezTo>
                      <a:pt x="471" y="310"/>
                      <a:pt x="469" y="313"/>
                      <a:pt x="467" y="314"/>
                    </a:cubicBezTo>
                    <a:cubicBezTo>
                      <a:pt x="465" y="315"/>
                      <a:pt x="463" y="317"/>
                      <a:pt x="461" y="318"/>
                    </a:cubicBezTo>
                    <a:cubicBezTo>
                      <a:pt x="460" y="318"/>
                      <a:pt x="457" y="319"/>
                      <a:pt x="456" y="318"/>
                    </a:cubicBezTo>
                    <a:cubicBezTo>
                      <a:pt x="454" y="316"/>
                      <a:pt x="455" y="312"/>
                      <a:pt x="453" y="310"/>
                    </a:cubicBezTo>
                    <a:cubicBezTo>
                      <a:pt x="452" y="309"/>
                      <a:pt x="450" y="309"/>
                      <a:pt x="449" y="309"/>
                    </a:cubicBezTo>
                    <a:cubicBezTo>
                      <a:pt x="447" y="308"/>
                      <a:pt x="446" y="307"/>
                      <a:pt x="445" y="307"/>
                    </a:cubicBezTo>
                    <a:cubicBezTo>
                      <a:pt x="443" y="307"/>
                      <a:pt x="442" y="308"/>
                      <a:pt x="440" y="308"/>
                    </a:cubicBezTo>
                    <a:cubicBezTo>
                      <a:pt x="439" y="308"/>
                      <a:pt x="438" y="307"/>
                      <a:pt x="437" y="307"/>
                    </a:cubicBezTo>
                    <a:cubicBezTo>
                      <a:pt x="436" y="307"/>
                      <a:pt x="435" y="308"/>
                      <a:pt x="434" y="308"/>
                    </a:cubicBezTo>
                    <a:cubicBezTo>
                      <a:pt x="433" y="308"/>
                      <a:pt x="431" y="308"/>
                      <a:pt x="430" y="308"/>
                    </a:cubicBezTo>
                    <a:cubicBezTo>
                      <a:pt x="429" y="307"/>
                      <a:pt x="427" y="306"/>
                      <a:pt x="425" y="306"/>
                    </a:cubicBezTo>
                    <a:cubicBezTo>
                      <a:pt x="421" y="306"/>
                      <a:pt x="416" y="307"/>
                      <a:pt x="412" y="307"/>
                    </a:cubicBezTo>
                    <a:cubicBezTo>
                      <a:pt x="410" y="308"/>
                      <a:pt x="408" y="309"/>
                      <a:pt x="406" y="309"/>
                    </a:cubicBezTo>
                    <a:cubicBezTo>
                      <a:pt x="404" y="309"/>
                      <a:pt x="403" y="307"/>
                      <a:pt x="401" y="307"/>
                    </a:cubicBezTo>
                    <a:cubicBezTo>
                      <a:pt x="399" y="306"/>
                      <a:pt x="397" y="305"/>
                      <a:pt x="396" y="307"/>
                    </a:cubicBezTo>
                    <a:cubicBezTo>
                      <a:pt x="395" y="308"/>
                      <a:pt x="397" y="310"/>
                      <a:pt x="398" y="311"/>
                    </a:cubicBezTo>
                    <a:cubicBezTo>
                      <a:pt x="399" y="313"/>
                      <a:pt x="400" y="314"/>
                      <a:pt x="402" y="314"/>
                    </a:cubicBezTo>
                    <a:cubicBezTo>
                      <a:pt x="403" y="314"/>
                      <a:pt x="403" y="312"/>
                      <a:pt x="404" y="312"/>
                    </a:cubicBezTo>
                    <a:cubicBezTo>
                      <a:pt x="405" y="312"/>
                      <a:pt x="406" y="313"/>
                      <a:pt x="406" y="315"/>
                    </a:cubicBezTo>
                    <a:cubicBezTo>
                      <a:pt x="406" y="316"/>
                      <a:pt x="404" y="318"/>
                      <a:pt x="405" y="319"/>
                    </a:cubicBezTo>
                    <a:cubicBezTo>
                      <a:pt x="406" y="321"/>
                      <a:pt x="409" y="321"/>
                      <a:pt x="410" y="322"/>
                    </a:cubicBezTo>
                    <a:cubicBezTo>
                      <a:pt x="411" y="324"/>
                      <a:pt x="412" y="328"/>
                      <a:pt x="410" y="328"/>
                    </a:cubicBezTo>
                    <a:cubicBezTo>
                      <a:pt x="408" y="328"/>
                      <a:pt x="407" y="324"/>
                      <a:pt x="405" y="322"/>
                    </a:cubicBezTo>
                    <a:cubicBezTo>
                      <a:pt x="402" y="320"/>
                      <a:pt x="399" y="316"/>
                      <a:pt x="395" y="316"/>
                    </a:cubicBezTo>
                    <a:cubicBezTo>
                      <a:pt x="393" y="317"/>
                      <a:pt x="397" y="322"/>
                      <a:pt x="395" y="324"/>
                    </a:cubicBezTo>
                    <a:cubicBezTo>
                      <a:pt x="394" y="326"/>
                      <a:pt x="391" y="324"/>
                      <a:pt x="389" y="324"/>
                    </a:cubicBezTo>
                    <a:cubicBezTo>
                      <a:pt x="388" y="324"/>
                      <a:pt x="387" y="326"/>
                      <a:pt x="386" y="326"/>
                    </a:cubicBezTo>
                    <a:cubicBezTo>
                      <a:pt x="384" y="325"/>
                      <a:pt x="383" y="324"/>
                      <a:pt x="381" y="322"/>
                    </a:cubicBezTo>
                    <a:cubicBezTo>
                      <a:pt x="380" y="321"/>
                      <a:pt x="380" y="319"/>
                      <a:pt x="379" y="318"/>
                    </a:cubicBezTo>
                    <a:cubicBezTo>
                      <a:pt x="378" y="316"/>
                      <a:pt x="376" y="314"/>
                      <a:pt x="374" y="315"/>
                    </a:cubicBezTo>
                    <a:cubicBezTo>
                      <a:pt x="373" y="315"/>
                      <a:pt x="374" y="317"/>
                      <a:pt x="372" y="318"/>
                    </a:cubicBezTo>
                    <a:cubicBezTo>
                      <a:pt x="370" y="319"/>
                      <a:pt x="367" y="319"/>
                      <a:pt x="364" y="319"/>
                    </a:cubicBezTo>
                    <a:cubicBezTo>
                      <a:pt x="361" y="318"/>
                      <a:pt x="359" y="315"/>
                      <a:pt x="357" y="315"/>
                    </a:cubicBezTo>
                    <a:cubicBezTo>
                      <a:pt x="353" y="315"/>
                      <a:pt x="350" y="317"/>
                      <a:pt x="347" y="318"/>
                    </a:cubicBezTo>
                    <a:cubicBezTo>
                      <a:pt x="345" y="319"/>
                      <a:pt x="343" y="321"/>
                      <a:pt x="341" y="321"/>
                    </a:cubicBezTo>
                    <a:cubicBezTo>
                      <a:pt x="340" y="320"/>
                      <a:pt x="340" y="318"/>
                      <a:pt x="339" y="318"/>
                    </a:cubicBezTo>
                    <a:cubicBezTo>
                      <a:pt x="338" y="317"/>
                      <a:pt x="336" y="317"/>
                      <a:pt x="335" y="318"/>
                    </a:cubicBezTo>
                    <a:cubicBezTo>
                      <a:pt x="335" y="320"/>
                      <a:pt x="338" y="322"/>
                      <a:pt x="337" y="324"/>
                    </a:cubicBezTo>
                    <a:cubicBezTo>
                      <a:pt x="336" y="327"/>
                      <a:pt x="333" y="327"/>
                      <a:pt x="331" y="329"/>
                    </a:cubicBezTo>
                    <a:cubicBezTo>
                      <a:pt x="329" y="331"/>
                      <a:pt x="328" y="334"/>
                      <a:pt x="325" y="335"/>
                    </a:cubicBezTo>
                    <a:cubicBezTo>
                      <a:pt x="323" y="336"/>
                      <a:pt x="320" y="335"/>
                      <a:pt x="318" y="336"/>
                    </a:cubicBezTo>
                    <a:cubicBezTo>
                      <a:pt x="315" y="337"/>
                      <a:pt x="313" y="338"/>
                      <a:pt x="312" y="339"/>
                    </a:cubicBezTo>
                    <a:cubicBezTo>
                      <a:pt x="309" y="341"/>
                      <a:pt x="306" y="343"/>
                      <a:pt x="304" y="346"/>
                    </a:cubicBezTo>
                    <a:cubicBezTo>
                      <a:pt x="303" y="347"/>
                      <a:pt x="305" y="349"/>
                      <a:pt x="304" y="351"/>
                    </a:cubicBezTo>
                    <a:cubicBezTo>
                      <a:pt x="304" y="353"/>
                      <a:pt x="300" y="355"/>
                      <a:pt x="300" y="357"/>
                    </a:cubicBezTo>
                    <a:cubicBezTo>
                      <a:pt x="300" y="361"/>
                      <a:pt x="303" y="364"/>
                      <a:pt x="304" y="368"/>
                    </a:cubicBezTo>
                    <a:cubicBezTo>
                      <a:pt x="304" y="369"/>
                      <a:pt x="304" y="371"/>
                      <a:pt x="304" y="373"/>
                    </a:cubicBezTo>
                    <a:cubicBezTo>
                      <a:pt x="303" y="375"/>
                      <a:pt x="302" y="376"/>
                      <a:pt x="302" y="377"/>
                    </a:cubicBezTo>
                    <a:cubicBezTo>
                      <a:pt x="300" y="376"/>
                      <a:pt x="299" y="373"/>
                      <a:pt x="297" y="373"/>
                    </a:cubicBezTo>
                    <a:cubicBezTo>
                      <a:pt x="295" y="372"/>
                      <a:pt x="293" y="373"/>
                      <a:pt x="291" y="373"/>
                    </a:cubicBezTo>
                    <a:cubicBezTo>
                      <a:pt x="288" y="371"/>
                      <a:pt x="285" y="370"/>
                      <a:pt x="283" y="368"/>
                    </a:cubicBezTo>
                    <a:cubicBezTo>
                      <a:pt x="280" y="365"/>
                      <a:pt x="279" y="362"/>
                      <a:pt x="277" y="359"/>
                    </a:cubicBezTo>
                    <a:cubicBezTo>
                      <a:pt x="276" y="357"/>
                      <a:pt x="277" y="354"/>
                      <a:pt x="276" y="352"/>
                    </a:cubicBezTo>
                    <a:cubicBezTo>
                      <a:pt x="275" y="350"/>
                      <a:pt x="273" y="348"/>
                      <a:pt x="272" y="345"/>
                    </a:cubicBezTo>
                    <a:cubicBezTo>
                      <a:pt x="270" y="341"/>
                      <a:pt x="268" y="337"/>
                      <a:pt x="266" y="332"/>
                    </a:cubicBezTo>
                    <a:cubicBezTo>
                      <a:pt x="265" y="329"/>
                      <a:pt x="264" y="325"/>
                      <a:pt x="263" y="322"/>
                    </a:cubicBezTo>
                    <a:cubicBezTo>
                      <a:pt x="262" y="319"/>
                      <a:pt x="260" y="316"/>
                      <a:pt x="258" y="315"/>
                    </a:cubicBezTo>
                    <a:cubicBezTo>
                      <a:pt x="255" y="314"/>
                      <a:pt x="253" y="314"/>
                      <a:pt x="250" y="314"/>
                    </a:cubicBezTo>
                    <a:cubicBezTo>
                      <a:pt x="248" y="314"/>
                      <a:pt x="246" y="314"/>
                      <a:pt x="245" y="314"/>
                    </a:cubicBezTo>
                    <a:cubicBezTo>
                      <a:pt x="243" y="315"/>
                      <a:pt x="242" y="315"/>
                      <a:pt x="241" y="316"/>
                    </a:cubicBezTo>
                    <a:cubicBezTo>
                      <a:pt x="240" y="317"/>
                      <a:pt x="240" y="318"/>
                      <a:pt x="239" y="319"/>
                    </a:cubicBezTo>
                    <a:cubicBezTo>
                      <a:pt x="239" y="321"/>
                      <a:pt x="239" y="323"/>
                      <a:pt x="238" y="325"/>
                    </a:cubicBezTo>
                    <a:cubicBezTo>
                      <a:pt x="238" y="326"/>
                      <a:pt x="236" y="327"/>
                      <a:pt x="235" y="327"/>
                    </a:cubicBezTo>
                    <a:cubicBezTo>
                      <a:pt x="232" y="326"/>
                      <a:pt x="229" y="323"/>
                      <a:pt x="226" y="322"/>
                    </a:cubicBezTo>
                    <a:cubicBezTo>
                      <a:pt x="224" y="320"/>
                      <a:pt x="220" y="320"/>
                      <a:pt x="219" y="318"/>
                    </a:cubicBezTo>
                    <a:cubicBezTo>
                      <a:pt x="216" y="315"/>
                      <a:pt x="216" y="311"/>
                      <a:pt x="214" y="308"/>
                    </a:cubicBezTo>
                    <a:cubicBezTo>
                      <a:pt x="213" y="305"/>
                      <a:pt x="213" y="302"/>
                      <a:pt x="211" y="300"/>
                    </a:cubicBezTo>
                    <a:cubicBezTo>
                      <a:pt x="209" y="297"/>
                      <a:pt x="206" y="294"/>
                      <a:pt x="203" y="291"/>
                    </a:cubicBezTo>
                    <a:cubicBezTo>
                      <a:pt x="201" y="288"/>
                      <a:pt x="200" y="286"/>
                      <a:pt x="199" y="283"/>
                    </a:cubicBezTo>
                    <a:cubicBezTo>
                      <a:pt x="192" y="283"/>
                      <a:pt x="185" y="283"/>
                      <a:pt x="177" y="283"/>
                    </a:cubicBezTo>
                    <a:cubicBezTo>
                      <a:pt x="177" y="286"/>
                      <a:pt x="176" y="288"/>
                      <a:pt x="176" y="291"/>
                    </a:cubicBezTo>
                    <a:cubicBezTo>
                      <a:pt x="165" y="290"/>
                      <a:pt x="154" y="290"/>
                      <a:pt x="142" y="290"/>
                    </a:cubicBezTo>
                    <a:cubicBezTo>
                      <a:pt x="142" y="290"/>
                      <a:pt x="141" y="290"/>
                      <a:pt x="140" y="290"/>
                    </a:cubicBezTo>
                    <a:cubicBezTo>
                      <a:pt x="125" y="284"/>
                      <a:pt x="111" y="278"/>
                      <a:pt x="96" y="272"/>
                    </a:cubicBezTo>
                    <a:cubicBezTo>
                      <a:pt x="96" y="272"/>
                      <a:pt x="96" y="271"/>
                      <a:pt x="96" y="270"/>
                    </a:cubicBezTo>
                    <a:cubicBezTo>
                      <a:pt x="88" y="270"/>
                      <a:pt x="81" y="270"/>
                      <a:pt x="73" y="270"/>
                    </a:cubicBezTo>
                    <a:cubicBezTo>
                      <a:pt x="71" y="271"/>
                      <a:pt x="70" y="272"/>
                      <a:pt x="68" y="273"/>
                    </a:cubicBezTo>
                    <a:cubicBezTo>
                      <a:pt x="68" y="272"/>
                      <a:pt x="66" y="271"/>
                      <a:pt x="66" y="269"/>
                    </a:cubicBezTo>
                    <a:cubicBezTo>
                      <a:pt x="66" y="268"/>
                      <a:pt x="67" y="266"/>
                      <a:pt x="66" y="264"/>
                    </a:cubicBezTo>
                    <a:cubicBezTo>
                      <a:pt x="66" y="261"/>
                      <a:pt x="64" y="258"/>
                      <a:pt x="63" y="255"/>
                    </a:cubicBezTo>
                    <a:cubicBezTo>
                      <a:pt x="61" y="252"/>
                      <a:pt x="59" y="249"/>
                      <a:pt x="56" y="247"/>
                    </a:cubicBezTo>
                    <a:cubicBezTo>
                      <a:pt x="54" y="245"/>
                      <a:pt x="50" y="247"/>
                      <a:pt x="48" y="246"/>
                    </a:cubicBezTo>
                    <a:cubicBezTo>
                      <a:pt x="45" y="245"/>
                      <a:pt x="43" y="242"/>
                      <a:pt x="40" y="241"/>
                    </a:cubicBezTo>
                    <a:cubicBezTo>
                      <a:pt x="37" y="240"/>
                      <a:pt x="32" y="241"/>
                      <a:pt x="29" y="239"/>
                    </a:cubicBezTo>
                    <a:cubicBezTo>
                      <a:pt x="28" y="237"/>
                      <a:pt x="30" y="234"/>
                      <a:pt x="29" y="232"/>
                    </a:cubicBezTo>
                    <a:cubicBezTo>
                      <a:pt x="29" y="228"/>
                      <a:pt x="26" y="226"/>
                      <a:pt x="25" y="223"/>
                    </a:cubicBezTo>
                    <a:cubicBezTo>
                      <a:pt x="23" y="218"/>
                      <a:pt x="21" y="213"/>
                      <a:pt x="20" y="208"/>
                    </a:cubicBezTo>
                    <a:cubicBezTo>
                      <a:pt x="19" y="206"/>
                      <a:pt x="22" y="203"/>
                      <a:pt x="21" y="201"/>
                    </a:cubicBezTo>
                    <a:cubicBezTo>
                      <a:pt x="21" y="200"/>
                      <a:pt x="19" y="200"/>
                      <a:pt x="18" y="199"/>
                    </a:cubicBezTo>
                    <a:cubicBezTo>
                      <a:pt x="17" y="198"/>
                      <a:pt x="16" y="196"/>
                      <a:pt x="16" y="194"/>
                    </a:cubicBezTo>
                    <a:cubicBezTo>
                      <a:pt x="15" y="192"/>
                      <a:pt x="15" y="189"/>
                      <a:pt x="15" y="186"/>
                    </a:cubicBezTo>
                    <a:cubicBezTo>
                      <a:pt x="15" y="185"/>
                      <a:pt x="15" y="183"/>
                      <a:pt x="16" y="184"/>
                    </a:cubicBezTo>
                    <a:cubicBezTo>
                      <a:pt x="18" y="184"/>
                      <a:pt x="18" y="187"/>
                      <a:pt x="19" y="187"/>
                    </a:cubicBezTo>
                    <a:cubicBezTo>
                      <a:pt x="20" y="187"/>
                      <a:pt x="19" y="185"/>
                      <a:pt x="19" y="184"/>
                    </a:cubicBezTo>
                    <a:cubicBezTo>
                      <a:pt x="20" y="182"/>
                      <a:pt x="21" y="181"/>
                      <a:pt x="21" y="180"/>
                    </a:cubicBezTo>
                    <a:cubicBezTo>
                      <a:pt x="21" y="179"/>
                      <a:pt x="20" y="178"/>
                      <a:pt x="19" y="178"/>
                    </a:cubicBezTo>
                    <a:cubicBezTo>
                      <a:pt x="18" y="178"/>
                      <a:pt x="18" y="180"/>
                      <a:pt x="18" y="181"/>
                    </a:cubicBezTo>
                    <a:cubicBezTo>
                      <a:pt x="17" y="182"/>
                      <a:pt x="16" y="182"/>
                      <a:pt x="15" y="181"/>
                    </a:cubicBezTo>
                    <a:cubicBezTo>
                      <a:pt x="13" y="180"/>
                      <a:pt x="12" y="179"/>
                      <a:pt x="11" y="178"/>
                    </a:cubicBezTo>
                    <a:cubicBezTo>
                      <a:pt x="10" y="176"/>
                      <a:pt x="9" y="174"/>
                      <a:pt x="7" y="172"/>
                    </a:cubicBezTo>
                    <a:cubicBezTo>
                      <a:pt x="6" y="170"/>
                      <a:pt x="3" y="168"/>
                      <a:pt x="3" y="166"/>
                    </a:cubicBezTo>
                    <a:cubicBezTo>
                      <a:pt x="2" y="163"/>
                      <a:pt x="5" y="161"/>
                      <a:pt x="4" y="158"/>
                    </a:cubicBezTo>
                    <a:cubicBezTo>
                      <a:pt x="4" y="155"/>
                      <a:pt x="1" y="152"/>
                      <a:pt x="0" y="149"/>
                    </a:cubicBezTo>
                    <a:cubicBezTo>
                      <a:pt x="0" y="147"/>
                      <a:pt x="0" y="146"/>
                      <a:pt x="0" y="144"/>
                    </a:cubicBezTo>
                    <a:cubicBezTo>
                      <a:pt x="1" y="141"/>
                      <a:pt x="2" y="138"/>
                      <a:pt x="3" y="135"/>
                    </a:cubicBezTo>
                    <a:cubicBezTo>
                      <a:pt x="4" y="133"/>
                      <a:pt x="5" y="132"/>
                      <a:pt x="5" y="130"/>
                    </a:cubicBezTo>
                    <a:cubicBezTo>
                      <a:pt x="5" y="127"/>
                      <a:pt x="4" y="125"/>
                      <a:pt x="4" y="122"/>
                    </a:cubicBezTo>
                    <a:cubicBezTo>
                      <a:pt x="4" y="121"/>
                      <a:pt x="6" y="119"/>
                      <a:pt x="6" y="118"/>
                    </a:cubicBezTo>
                    <a:cubicBezTo>
                      <a:pt x="6" y="114"/>
                      <a:pt x="5" y="110"/>
                      <a:pt x="5" y="106"/>
                    </a:cubicBezTo>
                    <a:cubicBezTo>
                      <a:pt x="5" y="105"/>
                      <a:pt x="6" y="104"/>
                      <a:pt x="6" y="102"/>
                    </a:cubicBezTo>
                    <a:cubicBezTo>
                      <a:pt x="8" y="98"/>
                      <a:pt x="10" y="94"/>
                      <a:pt x="12" y="90"/>
                    </a:cubicBezTo>
                    <a:cubicBezTo>
                      <a:pt x="14" y="82"/>
                      <a:pt x="17" y="75"/>
                      <a:pt x="19" y="67"/>
                    </a:cubicBezTo>
                    <a:cubicBezTo>
                      <a:pt x="20" y="62"/>
                      <a:pt x="21" y="56"/>
                      <a:pt x="23" y="51"/>
                    </a:cubicBezTo>
                    <a:cubicBezTo>
                      <a:pt x="23" y="50"/>
                      <a:pt x="26" y="50"/>
                      <a:pt x="26" y="49"/>
                    </a:cubicBezTo>
                    <a:cubicBezTo>
                      <a:pt x="26" y="49"/>
                      <a:pt x="24" y="50"/>
                      <a:pt x="24" y="49"/>
                    </a:cubicBezTo>
                    <a:cubicBezTo>
                      <a:pt x="23" y="47"/>
                      <a:pt x="25" y="45"/>
                      <a:pt x="25" y="44"/>
                    </a:cubicBezTo>
                    <a:cubicBezTo>
                      <a:pt x="25" y="40"/>
                      <a:pt x="26" y="36"/>
                      <a:pt x="26" y="32"/>
                    </a:cubicBezTo>
                    <a:cubicBezTo>
                      <a:pt x="25" y="27"/>
                      <a:pt x="22" y="23"/>
                      <a:pt x="21" y="18"/>
                    </a:cubicBezTo>
                    <a:cubicBezTo>
                      <a:pt x="21" y="16"/>
                      <a:pt x="21" y="15"/>
                      <a:pt x="22" y="13"/>
                    </a:cubicBezTo>
                    <a:cubicBezTo>
                      <a:pt x="22" y="12"/>
                      <a:pt x="23" y="11"/>
                      <a:pt x="25" y="11"/>
                    </a:cubicBezTo>
                    <a:cubicBezTo>
                      <a:pt x="26" y="12"/>
                      <a:pt x="27" y="13"/>
                      <a:pt x="29" y="14"/>
                    </a:cubicBezTo>
                    <a:cubicBezTo>
                      <a:pt x="31" y="14"/>
                      <a:pt x="33" y="14"/>
                      <a:pt x="35" y="14"/>
                    </a:cubicBezTo>
                    <a:cubicBezTo>
                      <a:pt x="38" y="14"/>
                      <a:pt x="41" y="13"/>
                      <a:pt x="43" y="14"/>
                    </a:cubicBezTo>
                    <a:cubicBezTo>
                      <a:pt x="45" y="14"/>
                      <a:pt x="45" y="17"/>
                      <a:pt x="46" y="18"/>
                    </a:cubicBezTo>
                    <a:cubicBezTo>
                      <a:pt x="47" y="19"/>
                      <a:pt x="47" y="20"/>
                      <a:pt x="47" y="21"/>
                    </a:cubicBezTo>
                    <a:cubicBezTo>
                      <a:pt x="47" y="22"/>
                      <a:pt x="46" y="24"/>
                      <a:pt x="45" y="25"/>
                    </a:cubicBezTo>
                    <a:cubicBezTo>
                      <a:pt x="44" y="27"/>
                      <a:pt x="42" y="27"/>
                      <a:pt x="41" y="28"/>
                    </a:cubicBezTo>
                    <a:cubicBezTo>
                      <a:pt x="40" y="29"/>
                      <a:pt x="39" y="32"/>
                      <a:pt x="40" y="32"/>
                    </a:cubicBezTo>
                    <a:cubicBezTo>
                      <a:pt x="43" y="31"/>
                      <a:pt x="45" y="29"/>
                      <a:pt x="47" y="27"/>
                    </a:cubicBezTo>
                    <a:cubicBezTo>
                      <a:pt x="48" y="25"/>
                      <a:pt x="50" y="23"/>
                      <a:pt x="50" y="20"/>
                    </a:cubicBezTo>
                    <a:cubicBezTo>
                      <a:pt x="51" y="18"/>
                      <a:pt x="50" y="15"/>
                      <a:pt x="50" y="13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0" y="4"/>
                      <a:pt x="50" y="2"/>
                      <a:pt x="4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7" name="Freeform 2548"/>
              <p:cNvSpPr>
                <a:spLocks noChangeAspect="1"/>
              </p:cNvSpPr>
              <p:nvPr/>
            </p:nvSpPr>
            <p:spPr bwMode="auto">
              <a:xfrm>
                <a:off x="3017486" y="3865281"/>
                <a:ext cx="101406" cy="112066"/>
              </a:xfrm>
              <a:custGeom>
                <a:avLst/>
                <a:gdLst>
                  <a:gd name="T0" fmla="*/ 50 w 51"/>
                  <a:gd name="T1" fmla="*/ 61 h 58"/>
                  <a:gd name="T2" fmla="*/ 47 w 51"/>
                  <a:gd name="T3" fmla="*/ 57 h 58"/>
                  <a:gd name="T4" fmla="*/ 45 w 51"/>
                  <a:gd name="T5" fmla="*/ 58 h 58"/>
                  <a:gd name="T6" fmla="*/ 40 w 51"/>
                  <a:gd name="T7" fmla="*/ 59 h 58"/>
                  <a:gd name="T8" fmla="*/ 34 w 51"/>
                  <a:gd name="T9" fmla="*/ 57 h 58"/>
                  <a:gd name="T10" fmla="*/ 29 w 51"/>
                  <a:gd name="T11" fmla="*/ 63 h 58"/>
                  <a:gd name="T12" fmla="*/ 34 w 51"/>
                  <a:gd name="T13" fmla="*/ 67 h 58"/>
                  <a:gd name="T14" fmla="*/ 29 w 51"/>
                  <a:gd name="T15" fmla="*/ 69 h 58"/>
                  <a:gd name="T16" fmla="*/ 23 w 51"/>
                  <a:gd name="T17" fmla="*/ 69 h 58"/>
                  <a:gd name="T18" fmla="*/ 19 w 51"/>
                  <a:gd name="T19" fmla="*/ 64 h 58"/>
                  <a:gd name="T20" fmla="*/ 16 w 51"/>
                  <a:gd name="T21" fmla="*/ 58 h 58"/>
                  <a:gd name="T22" fmla="*/ 13 w 51"/>
                  <a:gd name="T23" fmla="*/ 49 h 58"/>
                  <a:gd name="T24" fmla="*/ 11 w 51"/>
                  <a:gd name="T25" fmla="*/ 48 h 58"/>
                  <a:gd name="T26" fmla="*/ 11 w 51"/>
                  <a:gd name="T27" fmla="*/ 43 h 58"/>
                  <a:gd name="T28" fmla="*/ 7 w 51"/>
                  <a:gd name="T29" fmla="*/ 43 h 58"/>
                  <a:gd name="T30" fmla="*/ 0 w 51"/>
                  <a:gd name="T31" fmla="*/ 32 h 58"/>
                  <a:gd name="T32" fmla="*/ 2 w 51"/>
                  <a:gd name="T33" fmla="*/ 25 h 58"/>
                  <a:gd name="T34" fmla="*/ 4 w 51"/>
                  <a:gd name="T35" fmla="*/ 18 h 58"/>
                  <a:gd name="T36" fmla="*/ 10 w 51"/>
                  <a:gd name="T37" fmla="*/ 18 h 58"/>
                  <a:gd name="T38" fmla="*/ 12 w 51"/>
                  <a:gd name="T39" fmla="*/ 13 h 58"/>
                  <a:gd name="T40" fmla="*/ 11 w 51"/>
                  <a:gd name="T41" fmla="*/ 6 h 58"/>
                  <a:gd name="T42" fmla="*/ 15 w 51"/>
                  <a:gd name="T43" fmla="*/ 1 h 58"/>
                  <a:gd name="T44" fmla="*/ 24 w 51"/>
                  <a:gd name="T45" fmla="*/ 2 h 58"/>
                  <a:gd name="T46" fmla="*/ 32 w 51"/>
                  <a:gd name="T47" fmla="*/ 5 h 58"/>
                  <a:gd name="T48" fmla="*/ 38 w 51"/>
                  <a:gd name="T49" fmla="*/ 0 h 58"/>
                  <a:gd name="T50" fmla="*/ 43 w 51"/>
                  <a:gd name="T51" fmla="*/ 2 h 58"/>
                  <a:gd name="T52" fmla="*/ 47 w 51"/>
                  <a:gd name="T53" fmla="*/ 2 h 58"/>
                  <a:gd name="T54" fmla="*/ 53 w 51"/>
                  <a:gd name="T55" fmla="*/ 2 h 58"/>
                  <a:gd name="T56" fmla="*/ 58 w 51"/>
                  <a:gd name="T57" fmla="*/ 2 h 58"/>
                  <a:gd name="T58" fmla="*/ 62 w 51"/>
                  <a:gd name="T59" fmla="*/ 6 h 58"/>
                  <a:gd name="T60" fmla="*/ 60 w 51"/>
                  <a:gd name="T61" fmla="*/ 12 h 58"/>
                  <a:gd name="T62" fmla="*/ 53 w 51"/>
                  <a:gd name="T63" fmla="*/ 20 h 58"/>
                  <a:gd name="T64" fmla="*/ 57 w 51"/>
                  <a:gd name="T65" fmla="*/ 33 h 58"/>
                  <a:gd name="T66" fmla="*/ 61 w 51"/>
                  <a:gd name="T67" fmla="*/ 40 h 58"/>
                  <a:gd name="T68" fmla="*/ 57 w 51"/>
                  <a:gd name="T69" fmla="*/ 48 h 58"/>
                  <a:gd name="T70" fmla="*/ 56 w 51"/>
                  <a:gd name="T71" fmla="*/ 58 h 58"/>
                  <a:gd name="T72" fmla="*/ 50 w 51"/>
                  <a:gd name="T73" fmla="*/ 61 h 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1"/>
                  <a:gd name="T112" fmla="*/ 0 h 58"/>
                  <a:gd name="T113" fmla="*/ 51 w 51"/>
                  <a:gd name="T114" fmla="*/ 58 h 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1" h="58">
                    <a:moveTo>
                      <a:pt x="41" y="51"/>
                    </a:moveTo>
                    <a:cubicBezTo>
                      <a:pt x="41" y="50"/>
                      <a:pt x="41" y="48"/>
                      <a:pt x="39" y="48"/>
                    </a:cubicBezTo>
                    <a:cubicBezTo>
                      <a:pt x="39" y="47"/>
                      <a:pt x="38" y="49"/>
                      <a:pt x="37" y="49"/>
                    </a:cubicBezTo>
                    <a:cubicBezTo>
                      <a:pt x="36" y="49"/>
                      <a:pt x="34" y="50"/>
                      <a:pt x="33" y="50"/>
                    </a:cubicBezTo>
                    <a:cubicBezTo>
                      <a:pt x="31" y="50"/>
                      <a:pt x="30" y="48"/>
                      <a:pt x="28" y="48"/>
                    </a:cubicBezTo>
                    <a:cubicBezTo>
                      <a:pt x="26" y="49"/>
                      <a:pt x="24" y="51"/>
                      <a:pt x="24" y="53"/>
                    </a:cubicBezTo>
                    <a:cubicBezTo>
                      <a:pt x="24" y="55"/>
                      <a:pt x="28" y="54"/>
                      <a:pt x="28" y="56"/>
                    </a:cubicBezTo>
                    <a:cubicBezTo>
                      <a:pt x="28" y="57"/>
                      <a:pt x="26" y="58"/>
                      <a:pt x="24" y="58"/>
                    </a:cubicBezTo>
                    <a:cubicBezTo>
                      <a:pt x="23" y="58"/>
                      <a:pt x="20" y="58"/>
                      <a:pt x="19" y="58"/>
                    </a:cubicBezTo>
                    <a:cubicBezTo>
                      <a:pt x="18" y="57"/>
                      <a:pt x="16" y="55"/>
                      <a:pt x="16" y="54"/>
                    </a:cubicBezTo>
                    <a:cubicBezTo>
                      <a:pt x="15" y="52"/>
                      <a:pt x="14" y="51"/>
                      <a:pt x="13" y="49"/>
                    </a:cubicBezTo>
                    <a:cubicBezTo>
                      <a:pt x="12" y="46"/>
                      <a:pt x="10" y="43"/>
                      <a:pt x="11" y="41"/>
                    </a:cubicBezTo>
                    <a:cubicBezTo>
                      <a:pt x="11" y="40"/>
                      <a:pt x="9" y="41"/>
                      <a:pt x="9" y="40"/>
                    </a:cubicBezTo>
                    <a:cubicBezTo>
                      <a:pt x="8" y="39"/>
                      <a:pt x="10" y="37"/>
                      <a:pt x="9" y="36"/>
                    </a:cubicBezTo>
                    <a:cubicBezTo>
                      <a:pt x="8" y="35"/>
                      <a:pt x="7" y="37"/>
                      <a:pt x="6" y="36"/>
                    </a:cubicBezTo>
                    <a:cubicBezTo>
                      <a:pt x="4" y="33"/>
                      <a:pt x="1" y="30"/>
                      <a:pt x="0" y="27"/>
                    </a:cubicBezTo>
                    <a:cubicBezTo>
                      <a:pt x="0" y="25"/>
                      <a:pt x="2" y="23"/>
                      <a:pt x="2" y="21"/>
                    </a:cubicBezTo>
                    <a:cubicBezTo>
                      <a:pt x="3" y="19"/>
                      <a:pt x="2" y="17"/>
                      <a:pt x="3" y="15"/>
                    </a:cubicBezTo>
                    <a:cubicBezTo>
                      <a:pt x="4" y="14"/>
                      <a:pt x="6" y="15"/>
                      <a:pt x="8" y="15"/>
                    </a:cubicBezTo>
                    <a:cubicBezTo>
                      <a:pt x="9" y="14"/>
                      <a:pt x="10" y="13"/>
                      <a:pt x="10" y="11"/>
                    </a:cubicBezTo>
                    <a:cubicBezTo>
                      <a:pt x="10" y="9"/>
                      <a:pt x="9" y="7"/>
                      <a:pt x="9" y="5"/>
                    </a:cubicBezTo>
                    <a:cubicBezTo>
                      <a:pt x="9" y="4"/>
                      <a:pt x="11" y="3"/>
                      <a:pt x="12" y="1"/>
                    </a:cubicBezTo>
                    <a:cubicBezTo>
                      <a:pt x="15" y="2"/>
                      <a:pt x="17" y="1"/>
                      <a:pt x="20" y="2"/>
                    </a:cubicBezTo>
                    <a:cubicBezTo>
                      <a:pt x="22" y="2"/>
                      <a:pt x="24" y="4"/>
                      <a:pt x="26" y="4"/>
                    </a:cubicBezTo>
                    <a:cubicBezTo>
                      <a:pt x="28" y="4"/>
                      <a:pt x="29" y="1"/>
                      <a:pt x="31" y="0"/>
                    </a:cubicBezTo>
                    <a:cubicBezTo>
                      <a:pt x="32" y="0"/>
                      <a:pt x="34" y="1"/>
                      <a:pt x="35" y="2"/>
                    </a:cubicBezTo>
                    <a:cubicBezTo>
                      <a:pt x="36" y="2"/>
                      <a:pt x="38" y="2"/>
                      <a:pt x="39" y="2"/>
                    </a:cubicBezTo>
                    <a:cubicBezTo>
                      <a:pt x="41" y="3"/>
                      <a:pt x="42" y="3"/>
                      <a:pt x="44" y="2"/>
                    </a:cubicBezTo>
                    <a:cubicBezTo>
                      <a:pt x="45" y="2"/>
                      <a:pt x="46" y="1"/>
                      <a:pt x="48" y="2"/>
                    </a:cubicBezTo>
                    <a:cubicBezTo>
                      <a:pt x="49" y="2"/>
                      <a:pt x="50" y="4"/>
                      <a:pt x="51" y="5"/>
                    </a:cubicBezTo>
                    <a:cubicBezTo>
                      <a:pt x="51" y="6"/>
                      <a:pt x="49" y="9"/>
                      <a:pt x="49" y="10"/>
                    </a:cubicBezTo>
                    <a:cubicBezTo>
                      <a:pt x="47" y="12"/>
                      <a:pt x="45" y="14"/>
                      <a:pt x="44" y="17"/>
                    </a:cubicBezTo>
                    <a:cubicBezTo>
                      <a:pt x="44" y="21"/>
                      <a:pt x="46" y="24"/>
                      <a:pt x="47" y="28"/>
                    </a:cubicBezTo>
                    <a:cubicBezTo>
                      <a:pt x="48" y="30"/>
                      <a:pt x="50" y="32"/>
                      <a:pt x="50" y="34"/>
                    </a:cubicBezTo>
                    <a:cubicBezTo>
                      <a:pt x="50" y="36"/>
                      <a:pt x="48" y="38"/>
                      <a:pt x="47" y="40"/>
                    </a:cubicBezTo>
                    <a:cubicBezTo>
                      <a:pt x="46" y="43"/>
                      <a:pt x="47" y="46"/>
                      <a:pt x="46" y="49"/>
                    </a:cubicBezTo>
                    <a:cubicBezTo>
                      <a:pt x="45" y="50"/>
                      <a:pt x="43" y="50"/>
                      <a:pt x="41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8" name="Freeform 2549"/>
              <p:cNvSpPr>
                <a:spLocks noChangeAspect="1"/>
              </p:cNvSpPr>
              <p:nvPr/>
            </p:nvSpPr>
            <p:spPr bwMode="auto">
              <a:xfrm>
                <a:off x="3099265" y="3873402"/>
                <a:ext cx="81779" cy="100696"/>
              </a:xfrm>
              <a:custGeom>
                <a:avLst/>
                <a:gdLst>
                  <a:gd name="T0" fmla="*/ 50 w 42"/>
                  <a:gd name="T1" fmla="*/ 27 h 52"/>
                  <a:gd name="T2" fmla="*/ 46 w 42"/>
                  <a:gd name="T3" fmla="*/ 21 h 52"/>
                  <a:gd name="T4" fmla="*/ 42 w 42"/>
                  <a:gd name="T5" fmla="*/ 21 h 52"/>
                  <a:gd name="T6" fmla="*/ 33 w 42"/>
                  <a:gd name="T7" fmla="*/ 13 h 52"/>
                  <a:gd name="T8" fmla="*/ 30 w 42"/>
                  <a:gd name="T9" fmla="*/ 7 h 52"/>
                  <a:gd name="T10" fmla="*/ 23 w 42"/>
                  <a:gd name="T11" fmla="*/ 6 h 52"/>
                  <a:gd name="T12" fmla="*/ 17 w 42"/>
                  <a:gd name="T13" fmla="*/ 1 h 52"/>
                  <a:gd name="T14" fmla="*/ 12 w 42"/>
                  <a:gd name="T15" fmla="*/ 1 h 52"/>
                  <a:gd name="T16" fmla="*/ 10 w 42"/>
                  <a:gd name="T17" fmla="*/ 7 h 52"/>
                  <a:gd name="T18" fmla="*/ 4 w 42"/>
                  <a:gd name="T19" fmla="*/ 16 h 52"/>
                  <a:gd name="T20" fmla="*/ 7 w 42"/>
                  <a:gd name="T21" fmla="*/ 29 h 52"/>
                  <a:gd name="T22" fmla="*/ 11 w 42"/>
                  <a:gd name="T23" fmla="*/ 36 h 52"/>
                  <a:gd name="T24" fmla="*/ 7 w 42"/>
                  <a:gd name="T25" fmla="*/ 43 h 52"/>
                  <a:gd name="T26" fmla="*/ 6 w 42"/>
                  <a:gd name="T27" fmla="*/ 54 h 52"/>
                  <a:gd name="T28" fmla="*/ 0 w 42"/>
                  <a:gd name="T29" fmla="*/ 56 h 52"/>
                  <a:gd name="T30" fmla="*/ 6 w 42"/>
                  <a:gd name="T31" fmla="*/ 61 h 52"/>
                  <a:gd name="T32" fmla="*/ 12 w 42"/>
                  <a:gd name="T33" fmla="*/ 61 h 52"/>
                  <a:gd name="T34" fmla="*/ 15 w 42"/>
                  <a:gd name="T35" fmla="*/ 58 h 52"/>
                  <a:gd name="T36" fmla="*/ 20 w 42"/>
                  <a:gd name="T37" fmla="*/ 58 h 52"/>
                  <a:gd name="T38" fmla="*/ 23 w 42"/>
                  <a:gd name="T39" fmla="*/ 61 h 52"/>
                  <a:gd name="T40" fmla="*/ 30 w 42"/>
                  <a:gd name="T41" fmla="*/ 61 h 52"/>
                  <a:gd name="T42" fmla="*/ 33 w 42"/>
                  <a:gd name="T43" fmla="*/ 54 h 52"/>
                  <a:gd name="T44" fmla="*/ 36 w 42"/>
                  <a:gd name="T45" fmla="*/ 42 h 52"/>
                  <a:gd name="T46" fmla="*/ 42 w 42"/>
                  <a:gd name="T47" fmla="*/ 33 h 52"/>
                  <a:gd name="T48" fmla="*/ 50 w 42"/>
                  <a:gd name="T49" fmla="*/ 27 h 5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2"/>
                  <a:gd name="T76" fmla="*/ 0 h 52"/>
                  <a:gd name="T77" fmla="*/ 42 w 42"/>
                  <a:gd name="T78" fmla="*/ 52 h 5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2" h="52">
                    <a:moveTo>
                      <a:pt x="42" y="23"/>
                    </a:moveTo>
                    <a:cubicBezTo>
                      <a:pt x="41" y="22"/>
                      <a:pt x="40" y="19"/>
                      <a:pt x="39" y="18"/>
                    </a:cubicBezTo>
                    <a:cubicBezTo>
                      <a:pt x="38" y="17"/>
                      <a:pt x="36" y="19"/>
                      <a:pt x="35" y="18"/>
                    </a:cubicBezTo>
                    <a:cubicBezTo>
                      <a:pt x="32" y="16"/>
                      <a:pt x="30" y="13"/>
                      <a:pt x="28" y="11"/>
                    </a:cubicBezTo>
                    <a:cubicBezTo>
                      <a:pt x="27" y="9"/>
                      <a:pt x="27" y="6"/>
                      <a:pt x="25" y="6"/>
                    </a:cubicBezTo>
                    <a:cubicBezTo>
                      <a:pt x="23" y="6"/>
                      <a:pt x="21" y="6"/>
                      <a:pt x="19" y="5"/>
                    </a:cubicBezTo>
                    <a:cubicBezTo>
                      <a:pt x="17" y="4"/>
                      <a:pt x="16" y="1"/>
                      <a:pt x="14" y="1"/>
                    </a:cubicBezTo>
                    <a:cubicBezTo>
                      <a:pt x="13" y="0"/>
                      <a:pt x="12" y="1"/>
                      <a:pt x="10" y="1"/>
                    </a:cubicBezTo>
                    <a:cubicBezTo>
                      <a:pt x="10" y="2"/>
                      <a:pt x="8" y="5"/>
                      <a:pt x="8" y="6"/>
                    </a:cubicBezTo>
                    <a:cubicBezTo>
                      <a:pt x="6" y="8"/>
                      <a:pt x="4" y="10"/>
                      <a:pt x="3" y="13"/>
                    </a:cubicBezTo>
                    <a:cubicBezTo>
                      <a:pt x="3" y="17"/>
                      <a:pt x="5" y="20"/>
                      <a:pt x="6" y="24"/>
                    </a:cubicBezTo>
                    <a:cubicBezTo>
                      <a:pt x="7" y="26"/>
                      <a:pt x="9" y="28"/>
                      <a:pt x="9" y="30"/>
                    </a:cubicBezTo>
                    <a:cubicBezTo>
                      <a:pt x="9" y="32"/>
                      <a:pt x="7" y="34"/>
                      <a:pt x="6" y="36"/>
                    </a:cubicBezTo>
                    <a:cubicBezTo>
                      <a:pt x="5" y="39"/>
                      <a:pt x="6" y="42"/>
                      <a:pt x="5" y="45"/>
                    </a:cubicBezTo>
                    <a:cubicBezTo>
                      <a:pt x="4" y="46"/>
                      <a:pt x="2" y="46"/>
                      <a:pt x="0" y="47"/>
                    </a:cubicBezTo>
                    <a:cubicBezTo>
                      <a:pt x="2" y="49"/>
                      <a:pt x="3" y="50"/>
                      <a:pt x="5" y="51"/>
                    </a:cubicBezTo>
                    <a:cubicBezTo>
                      <a:pt x="7" y="52"/>
                      <a:pt x="9" y="52"/>
                      <a:pt x="10" y="51"/>
                    </a:cubicBezTo>
                    <a:cubicBezTo>
                      <a:pt x="11" y="51"/>
                      <a:pt x="12" y="49"/>
                      <a:pt x="13" y="49"/>
                    </a:cubicBezTo>
                    <a:cubicBezTo>
                      <a:pt x="15" y="48"/>
                      <a:pt x="16" y="48"/>
                      <a:pt x="17" y="49"/>
                    </a:cubicBezTo>
                    <a:cubicBezTo>
                      <a:pt x="18" y="49"/>
                      <a:pt x="18" y="51"/>
                      <a:pt x="19" y="51"/>
                    </a:cubicBezTo>
                    <a:cubicBezTo>
                      <a:pt x="20" y="52"/>
                      <a:pt x="23" y="52"/>
                      <a:pt x="25" y="51"/>
                    </a:cubicBezTo>
                    <a:cubicBezTo>
                      <a:pt x="27" y="50"/>
                      <a:pt x="28" y="47"/>
                      <a:pt x="28" y="45"/>
                    </a:cubicBezTo>
                    <a:cubicBezTo>
                      <a:pt x="29" y="42"/>
                      <a:pt x="29" y="39"/>
                      <a:pt x="30" y="35"/>
                    </a:cubicBezTo>
                    <a:cubicBezTo>
                      <a:pt x="31" y="33"/>
                      <a:pt x="33" y="30"/>
                      <a:pt x="35" y="28"/>
                    </a:cubicBezTo>
                    <a:cubicBezTo>
                      <a:pt x="37" y="26"/>
                      <a:pt x="39" y="25"/>
                      <a:pt x="42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39" name="Freeform 2550"/>
              <p:cNvSpPr>
                <a:spLocks noChangeAspect="1"/>
              </p:cNvSpPr>
              <p:nvPr/>
            </p:nvSpPr>
            <p:spPr bwMode="auto">
              <a:xfrm>
                <a:off x="4039728" y="3246487"/>
                <a:ext cx="202813" cy="194896"/>
              </a:xfrm>
              <a:custGeom>
                <a:avLst/>
                <a:gdLst>
                  <a:gd name="T0" fmla="*/ 1 w 104"/>
                  <a:gd name="T1" fmla="*/ 120 h 100"/>
                  <a:gd name="T2" fmla="*/ 1 w 104"/>
                  <a:gd name="T3" fmla="*/ 103 h 100"/>
                  <a:gd name="T4" fmla="*/ 5 w 104"/>
                  <a:gd name="T5" fmla="*/ 95 h 100"/>
                  <a:gd name="T6" fmla="*/ 11 w 104"/>
                  <a:gd name="T7" fmla="*/ 83 h 100"/>
                  <a:gd name="T8" fmla="*/ 18 w 104"/>
                  <a:gd name="T9" fmla="*/ 71 h 100"/>
                  <a:gd name="T10" fmla="*/ 24 w 104"/>
                  <a:gd name="T11" fmla="*/ 60 h 100"/>
                  <a:gd name="T12" fmla="*/ 32 w 104"/>
                  <a:gd name="T13" fmla="*/ 52 h 100"/>
                  <a:gd name="T14" fmla="*/ 36 w 104"/>
                  <a:gd name="T15" fmla="*/ 28 h 100"/>
                  <a:gd name="T16" fmla="*/ 50 w 104"/>
                  <a:gd name="T17" fmla="*/ 19 h 100"/>
                  <a:gd name="T18" fmla="*/ 54 w 104"/>
                  <a:gd name="T19" fmla="*/ 4 h 100"/>
                  <a:gd name="T20" fmla="*/ 57 w 104"/>
                  <a:gd name="T21" fmla="*/ 0 h 100"/>
                  <a:gd name="T22" fmla="*/ 124 w 104"/>
                  <a:gd name="T23" fmla="*/ 0 h 100"/>
                  <a:gd name="T24" fmla="*/ 124 w 104"/>
                  <a:gd name="T25" fmla="*/ 6 h 100"/>
                  <a:gd name="T26" fmla="*/ 124 w 104"/>
                  <a:gd name="T27" fmla="*/ 31 h 100"/>
                  <a:gd name="T28" fmla="*/ 75 w 104"/>
                  <a:gd name="T29" fmla="*/ 31 h 100"/>
                  <a:gd name="T30" fmla="*/ 75 w 104"/>
                  <a:gd name="T31" fmla="*/ 76 h 100"/>
                  <a:gd name="T32" fmla="*/ 70 w 104"/>
                  <a:gd name="T33" fmla="*/ 78 h 100"/>
                  <a:gd name="T34" fmla="*/ 64 w 104"/>
                  <a:gd name="T35" fmla="*/ 79 h 100"/>
                  <a:gd name="T36" fmla="*/ 56 w 104"/>
                  <a:gd name="T37" fmla="*/ 89 h 100"/>
                  <a:gd name="T38" fmla="*/ 58 w 104"/>
                  <a:gd name="T39" fmla="*/ 110 h 100"/>
                  <a:gd name="T40" fmla="*/ 56 w 104"/>
                  <a:gd name="T41" fmla="*/ 114 h 100"/>
                  <a:gd name="T42" fmla="*/ 6 w 104"/>
                  <a:gd name="T43" fmla="*/ 113 h 100"/>
                  <a:gd name="T44" fmla="*/ 1 w 104"/>
                  <a:gd name="T45" fmla="*/ 120 h 10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4"/>
                  <a:gd name="T70" fmla="*/ 0 h 100"/>
                  <a:gd name="T71" fmla="*/ 104 w 104"/>
                  <a:gd name="T72" fmla="*/ 100 h 10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4" h="100">
                    <a:moveTo>
                      <a:pt x="1" y="100"/>
                    </a:moveTo>
                    <a:cubicBezTo>
                      <a:pt x="1" y="95"/>
                      <a:pt x="0" y="91"/>
                      <a:pt x="1" y="86"/>
                    </a:cubicBezTo>
                    <a:cubicBezTo>
                      <a:pt x="1" y="84"/>
                      <a:pt x="3" y="81"/>
                      <a:pt x="4" y="79"/>
                    </a:cubicBezTo>
                    <a:cubicBezTo>
                      <a:pt x="6" y="76"/>
                      <a:pt x="8" y="72"/>
                      <a:pt x="9" y="69"/>
                    </a:cubicBezTo>
                    <a:cubicBezTo>
                      <a:pt x="11" y="66"/>
                      <a:pt x="13" y="62"/>
                      <a:pt x="15" y="59"/>
                    </a:cubicBezTo>
                    <a:cubicBezTo>
                      <a:pt x="16" y="56"/>
                      <a:pt x="18" y="53"/>
                      <a:pt x="20" y="50"/>
                    </a:cubicBezTo>
                    <a:cubicBezTo>
                      <a:pt x="22" y="47"/>
                      <a:pt x="26" y="46"/>
                      <a:pt x="27" y="43"/>
                    </a:cubicBezTo>
                    <a:cubicBezTo>
                      <a:pt x="30" y="37"/>
                      <a:pt x="27" y="29"/>
                      <a:pt x="30" y="23"/>
                    </a:cubicBezTo>
                    <a:cubicBezTo>
                      <a:pt x="32" y="19"/>
                      <a:pt x="39" y="19"/>
                      <a:pt x="42" y="16"/>
                    </a:cubicBezTo>
                    <a:cubicBezTo>
                      <a:pt x="44" y="12"/>
                      <a:pt x="43" y="7"/>
                      <a:pt x="45" y="3"/>
                    </a:cubicBezTo>
                    <a:cubicBezTo>
                      <a:pt x="45" y="2"/>
                      <a:pt x="47" y="1"/>
                      <a:pt x="48" y="0"/>
                    </a:cubicBezTo>
                    <a:lnTo>
                      <a:pt x="104" y="0"/>
                    </a:lnTo>
                    <a:lnTo>
                      <a:pt x="104" y="5"/>
                    </a:lnTo>
                    <a:lnTo>
                      <a:pt x="104" y="26"/>
                    </a:lnTo>
                    <a:lnTo>
                      <a:pt x="63" y="26"/>
                    </a:lnTo>
                    <a:lnTo>
                      <a:pt x="63" y="63"/>
                    </a:lnTo>
                    <a:lnTo>
                      <a:pt x="59" y="65"/>
                    </a:lnTo>
                    <a:cubicBezTo>
                      <a:pt x="57" y="65"/>
                      <a:pt x="55" y="65"/>
                      <a:pt x="54" y="66"/>
                    </a:cubicBezTo>
                    <a:cubicBezTo>
                      <a:pt x="51" y="68"/>
                      <a:pt x="49" y="71"/>
                      <a:pt x="47" y="74"/>
                    </a:cubicBezTo>
                    <a:cubicBezTo>
                      <a:pt x="47" y="80"/>
                      <a:pt x="49" y="86"/>
                      <a:pt x="49" y="92"/>
                    </a:cubicBezTo>
                    <a:cubicBezTo>
                      <a:pt x="49" y="94"/>
                      <a:pt x="47" y="94"/>
                      <a:pt x="47" y="95"/>
                    </a:cubicBezTo>
                    <a:lnTo>
                      <a:pt x="5" y="94"/>
                    </a:lnTo>
                    <a:lnTo>
                      <a:pt x="1" y="100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0" name="Freeform 2551"/>
              <p:cNvSpPr>
                <a:spLocks noChangeAspect="1"/>
              </p:cNvSpPr>
              <p:nvPr/>
            </p:nvSpPr>
            <p:spPr bwMode="auto">
              <a:xfrm>
                <a:off x="4132957" y="2993123"/>
                <a:ext cx="294406" cy="253364"/>
              </a:xfrm>
              <a:custGeom>
                <a:avLst/>
                <a:gdLst>
                  <a:gd name="T0" fmla="*/ 166 w 150"/>
                  <a:gd name="T1" fmla="*/ 17 h 130"/>
                  <a:gd name="T2" fmla="*/ 157 w 150"/>
                  <a:gd name="T3" fmla="*/ 16 h 130"/>
                  <a:gd name="T4" fmla="*/ 151 w 150"/>
                  <a:gd name="T5" fmla="*/ 12 h 130"/>
                  <a:gd name="T6" fmla="*/ 142 w 150"/>
                  <a:gd name="T7" fmla="*/ 13 h 130"/>
                  <a:gd name="T8" fmla="*/ 128 w 150"/>
                  <a:gd name="T9" fmla="*/ 14 h 130"/>
                  <a:gd name="T10" fmla="*/ 121 w 150"/>
                  <a:gd name="T11" fmla="*/ 6 h 130"/>
                  <a:gd name="T12" fmla="*/ 122 w 150"/>
                  <a:gd name="T13" fmla="*/ 1 h 130"/>
                  <a:gd name="T14" fmla="*/ 112 w 150"/>
                  <a:gd name="T15" fmla="*/ 4 h 130"/>
                  <a:gd name="T16" fmla="*/ 106 w 150"/>
                  <a:gd name="T17" fmla="*/ 14 h 130"/>
                  <a:gd name="T18" fmla="*/ 98 w 150"/>
                  <a:gd name="T19" fmla="*/ 31 h 130"/>
                  <a:gd name="T20" fmla="*/ 91 w 150"/>
                  <a:gd name="T21" fmla="*/ 42 h 130"/>
                  <a:gd name="T22" fmla="*/ 78 w 150"/>
                  <a:gd name="T23" fmla="*/ 48 h 130"/>
                  <a:gd name="T24" fmla="*/ 70 w 150"/>
                  <a:gd name="T25" fmla="*/ 54 h 130"/>
                  <a:gd name="T26" fmla="*/ 59 w 150"/>
                  <a:gd name="T27" fmla="*/ 65 h 130"/>
                  <a:gd name="T28" fmla="*/ 59 w 150"/>
                  <a:gd name="T29" fmla="*/ 70 h 130"/>
                  <a:gd name="T30" fmla="*/ 52 w 150"/>
                  <a:gd name="T31" fmla="*/ 82 h 130"/>
                  <a:gd name="T32" fmla="*/ 50 w 150"/>
                  <a:gd name="T33" fmla="*/ 101 h 130"/>
                  <a:gd name="T34" fmla="*/ 55 w 150"/>
                  <a:gd name="T35" fmla="*/ 108 h 130"/>
                  <a:gd name="T36" fmla="*/ 46 w 150"/>
                  <a:gd name="T37" fmla="*/ 120 h 130"/>
                  <a:gd name="T38" fmla="*/ 42 w 150"/>
                  <a:gd name="T39" fmla="*/ 126 h 130"/>
                  <a:gd name="T40" fmla="*/ 30 w 150"/>
                  <a:gd name="T41" fmla="*/ 136 h 130"/>
                  <a:gd name="T42" fmla="*/ 25 w 150"/>
                  <a:gd name="T43" fmla="*/ 144 h 130"/>
                  <a:gd name="T44" fmla="*/ 18 w 150"/>
                  <a:gd name="T45" fmla="*/ 144 h 130"/>
                  <a:gd name="T46" fmla="*/ 6 w 150"/>
                  <a:gd name="T47" fmla="*/ 150 h 130"/>
                  <a:gd name="T48" fmla="*/ 0 w 150"/>
                  <a:gd name="T49" fmla="*/ 156 h 130"/>
                  <a:gd name="T50" fmla="*/ 67 w 150"/>
                  <a:gd name="T51" fmla="*/ 156 h 130"/>
                  <a:gd name="T52" fmla="*/ 67 w 150"/>
                  <a:gd name="T53" fmla="*/ 138 h 130"/>
                  <a:gd name="T54" fmla="*/ 79 w 150"/>
                  <a:gd name="T55" fmla="*/ 128 h 130"/>
                  <a:gd name="T56" fmla="*/ 89 w 150"/>
                  <a:gd name="T57" fmla="*/ 122 h 130"/>
                  <a:gd name="T58" fmla="*/ 97 w 150"/>
                  <a:gd name="T59" fmla="*/ 120 h 130"/>
                  <a:gd name="T60" fmla="*/ 101 w 150"/>
                  <a:gd name="T61" fmla="*/ 116 h 130"/>
                  <a:gd name="T62" fmla="*/ 110 w 150"/>
                  <a:gd name="T63" fmla="*/ 116 h 130"/>
                  <a:gd name="T64" fmla="*/ 120 w 150"/>
                  <a:gd name="T65" fmla="*/ 114 h 130"/>
                  <a:gd name="T66" fmla="*/ 127 w 150"/>
                  <a:gd name="T67" fmla="*/ 103 h 130"/>
                  <a:gd name="T68" fmla="*/ 142 w 150"/>
                  <a:gd name="T69" fmla="*/ 100 h 130"/>
                  <a:gd name="T70" fmla="*/ 145 w 150"/>
                  <a:gd name="T71" fmla="*/ 95 h 130"/>
                  <a:gd name="T72" fmla="*/ 139 w 150"/>
                  <a:gd name="T73" fmla="*/ 90 h 130"/>
                  <a:gd name="T74" fmla="*/ 144 w 150"/>
                  <a:gd name="T75" fmla="*/ 83 h 130"/>
                  <a:gd name="T76" fmla="*/ 155 w 150"/>
                  <a:gd name="T77" fmla="*/ 80 h 130"/>
                  <a:gd name="T78" fmla="*/ 169 w 150"/>
                  <a:gd name="T79" fmla="*/ 77 h 130"/>
                  <a:gd name="T80" fmla="*/ 176 w 150"/>
                  <a:gd name="T81" fmla="*/ 76 h 130"/>
                  <a:gd name="T82" fmla="*/ 180 w 150"/>
                  <a:gd name="T83" fmla="*/ 67 h 130"/>
                  <a:gd name="T84" fmla="*/ 175 w 150"/>
                  <a:gd name="T85" fmla="*/ 62 h 130"/>
                  <a:gd name="T86" fmla="*/ 175 w 150"/>
                  <a:gd name="T87" fmla="*/ 58 h 130"/>
                  <a:gd name="T88" fmla="*/ 172 w 150"/>
                  <a:gd name="T89" fmla="*/ 53 h 130"/>
                  <a:gd name="T90" fmla="*/ 173 w 150"/>
                  <a:gd name="T91" fmla="*/ 40 h 130"/>
                  <a:gd name="T92" fmla="*/ 172 w 150"/>
                  <a:gd name="T93" fmla="*/ 24 h 130"/>
                  <a:gd name="T94" fmla="*/ 166 w 150"/>
                  <a:gd name="T95" fmla="*/ 17 h 13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50"/>
                  <a:gd name="T145" fmla="*/ 0 h 130"/>
                  <a:gd name="T146" fmla="*/ 150 w 150"/>
                  <a:gd name="T147" fmla="*/ 130 h 13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50" h="130">
                    <a:moveTo>
                      <a:pt x="138" y="14"/>
                    </a:moveTo>
                    <a:lnTo>
                      <a:pt x="131" y="13"/>
                    </a:lnTo>
                    <a:cubicBezTo>
                      <a:pt x="129" y="13"/>
                      <a:pt x="128" y="10"/>
                      <a:pt x="126" y="10"/>
                    </a:cubicBezTo>
                    <a:cubicBezTo>
                      <a:pt x="124" y="9"/>
                      <a:pt x="121" y="11"/>
                      <a:pt x="118" y="11"/>
                    </a:cubicBezTo>
                    <a:cubicBezTo>
                      <a:pt x="115" y="12"/>
                      <a:pt x="111" y="13"/>
                      <a:pt x="107" y="12"/>
                    </a:cubicBezTo>
                    <a:cubicBezTo>
                      <a:pt x="104" y="11"/>
                      <a:pt x="102" y="8"/>
                      <a:pt x="101" y="5"/>
                    </a:cubicBezTo>
                    <a:cubicBezTo>
                      <a:pt x="100" y="4"/>
                      <a:pt x="103" y="2"/>
                      <a:pt x="102" y="1"/>
                    </a:cubicBezTo>
                    <a:cubicBezTo>
                      <a:pt x="99" y="0"/>
                      <a:pt x="95" y="1"/>
                      <a:pt x="93" y="3"/>
                    </a:cubicBezTo>
                    <a:cubicBezTo>
                      <a:pt x="91" y="5"/>
                      <a:pt x="90" y="9"/>
                      <a:pt x="88" y="12"/>
                    </a:cubicBezTo>
                    <a:cubicBezTo>
                      <a:pt x="86" y="16"/>
                      <a:pt x="85" y="21"/>
                      <a:pt x="82" y="26"/>
                    </a:cubicBezTo>
                    <a:cubicBezTo>
                      <a:pt x="80" y="29"/>
                      <a:pt x="79" y="33"/>
                      <a:pt x="76" y="35"/>
                    </a:cubicBezTo>
                    <a:cubicBezTo>
                      <a:pt x="73" y="38"/>
                      <a:pt x="68" y="38"/>
                      <a:pt x="65" y="40"/>
                    </a:cubicBezTo>
                    <a:cubicBezTo>
                      <a:pt x="62" y="41"/>
                      <a:pt x="60" y="43"/>
                      <a:pt x="58" y="45"/>
                    </a:cubicBezTo>
                    <a:cubicBezTo>
                      <a:pt x="55" y="48"/>
                      <a:pt x="51" y="51"/>
                      <a:pt x="49" y="54"/>
                    </a:cubicBezTo>
                    <a:cubicBezTo>
                      <a:pt x="48" y="55"/>
                      <a:pt x="49" y="57"/>
                      <a:pt x="49" y="58"/>
                    </a:cubicBezTo>
                    <a:cubicBezTo>
                      <a:pt x="47" y="62"/>
                      <a:pt x="44" y="64"/>
                      <a:pt x="43" y="68"/>
                    </a:cubicBezTo>
                    <a:cubicBezTo>
                      <a:pt x="41" y="73"/>
                      <a:pt x="41" y="79"/>
                      <a:pt x="42" y="84"/>
                    </a:cubicBezTo>
                    <a:cubicBezTo>
                      <a:pt x="43" y="86"/>
                      <a:pt x="46" y="88"/>
                      <a:pt x="46" y="90"/>
                    </a:cubicBezTo>
                    <a:cubicBezTo>
                      <a:pt x="44" y="94"/>
                      <a:pt x="40" y="96"/>
                      <a:pt x="38" y="100"/>
                    </a:cubicBezTo>
                    <a:cubicBezTo>
                      <a:pt x="37" y="101"/>
                      <a:pt x="37" y="104"/>
                      <a:pt x="35" y="105"/>
                    </a:cubicBezTo>
                    <a:cubicBezTo>
                      <a:pt x="33" y="108"/>
                      <a:pt x="28" y="110"/>
                      <a:pt x="25" y="113"/>
                    </a:cubicBezTo>
                    <a:cubicBezTo>
                      <a:pt x="23" y="115"/>
                      <a:pt x="23" y="118"/>
                      <a:pt x="21" y="120"/>
                    </a:cubicBezTo>
                    <a:cubicBezTo>
                      <a:pt x="19" y="121"/>
                      <a:pt x="17" y="119"/>
                      <a:pt x="15" y="120"/>
                    </a:cubicBezTo>
                    <a:cubicBezTo>
                      <a:pt x="12" y="121"/>
                      <a:pt x="8" y="123"/>
                      <a:pt x="5" y="125"/>
                    </a:cubicBezTo>
                    <a:cubicBezTo>
                      <a:pt x="3" y="126"/>
                      <a:pt x="2" y="128"/>
                      <a:pt x="0" y="130"/>
                    </a:cubicBezTo>
                    <a:lnTo>
                      <a:pt x="56" y="130"/>
                    </a:lnTo>
                    <a:lnTo>
                      <a:pt x="56" y="115"/>
                    </a:lnTo>
                    <a:cubicBezTo>
                      <a:pt x="56" y="112"/>
                      <a:pt x="63" y="110"/>
                      <a:pt x="66" y="107"/>
                    </a:cubicBezTo>
                    <a:cubicBezTo>
                      <a:pt x="68" y="105"/>
                      <a:pt x="71" y="103"/>
                      <a:pt x="74" y="102"/>
                    </a:cubicBezTo>
                    <a:cubicBezTo>
                      <a:pt x="76" y="101"/>
                      <a:pt x="79" y="102"/>
                      <a:pt x="81" y="100"/>
                    </a:cubicBezTo>
                    <a:cubicBezTo>
                      <a:pt x="82" y="100"/>
                      <a:pt x="82" y="97"/>
                      <a:pt x="84" y="97"/>
                    </a:cubicBezTo>
                    <a:cubicBezTo>
                      <a:pt x="86" y="96"/>
                      <a:pt x="89" y="97"/>
                      <a:pt x="92" y="97"/>
                    </a:cubicBezTo>
                    <a:cubicBezTo>
                      <a:pt x="95" y="96"/>
                      <a:pt x="98" y="96"/>
                      <a:pt x="100" y="95"/>
                    </a:cubicBezTo>
                    <a:cubicBezTo>
                      <a:pt x="103" y="92"/>
                      <a:pt x="103" y="88"/>
                      <a:pt x="106" y="86"/>
                    </a:cubicBezTo>
                    <a:cubicBezTo>
                      <a:pt x="109" y="83"/>
                      <a:pt x="114" y="84"/>
                      <a:pt x="118" y="83"/>
                    </a:cubicBezTo>
                    <a:cubicBezTo>
                      <a:pt x="120" y="82"/>
                      <a:pt x="121" y="80"/>
                      <a:pt x="121" y="79"/>
                    </a:cubicBezTo>
                    <a:cubicBezTo>
                      <a:pt x="120" y="77"/>
                      <a:pt x="116" y="77"/>
                      <a:pt x="116" y="75"/>
                    </a:cubicBezTo>
                    <a:cubicBezTo>
                      <a:pt x="116" y="73"/>
                      <a:pt x="118" y="70"/>
                      <a:pt x="120" y="69"/>
                    </a:cubicBezTo>
                    <a:cubicBezTo>
                      <a:pt x="123" y="67"/>
                      <a:pt x="126" y="67"/>
                      <a:pt x="129" y="67"/>
                    </a:cubicBezTo>
                    <a:cubicBezTo>
                      <a:pt x="133" y="66"/>
                      <a:pt x="137" y="64"/>
                      <a:pt x="141" y="64"/>
                    </a:cubicBezTo>
                    <a:cubicBezTo>
                      <a:pt x="143" y="63"/>
                      <a:pt x="145" y="64"/>
                      <a:pt x="147" y="63"/>
                    </a:cubicBezTo>
                    <a:cubicBezTo>
                      <a:pt x="148" y="61"/>
                      <a:pt x="150" y="59"/>
                      <a:pt x="150" y="56"/>
                    </a:cubicBezTo>
                    <a:cubicBezTo>
                      <a:pt x="150" y="54"/>
                      <a:pt x="147" y="54"/>
                      <a:pt x="146" y="52"/>
                    </a:cubicBezTo>
                    <a:cubicBezTo>
                      <a:pt x="146" y="51"/>
                      <a:pt x="147" y="49"/>
                      <a:pt x="146" y="48"/>
                    </a:cubicBezTo>
                    <a:cubicBezTo>
                      <a:pt x="146" y="46"/>
                      <a:pt x="144" y="46"/>
                      <a:pt x="143" y="44"/>
                    </a:cubicBezTo>
                    <a:cubicBezTo>
                      <a:pt x="143" y="41"/>
                      <a:pt x="144" y="37"/>
                      <a:pt x="144" y="33"/>
                    </a:cubicBezTo>
                    <a:cubicBezTo>
                      <a:pt x="144" y="29"/>
                      <a:pt x="144" y="24"/>
                      <a:pt x="143" y="20"/>
                    </a:cubicBezTo>
                    <a:cubicBezTo>
                      <a:pt x="142" y="18"/>
                      <a:pt x="140" y="16"/>
                      <a:pt x="138" y="14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noFill/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1" name="Freeform 2552"/>
              <p:cNvSpPr>
                <a:spLocks noChangeAspect="1"/>
              </p:cNvSpPr>
              <p:nvPr/>
            </p:nvSpPr>
            <p:spPr bwMode="auto">
              <a:xfrm>
                <a:off x="4041364" y="3256232"/>
                <a:ext cx="296042" cy="365430"/>
              </a:xfrm>
              <a:custGeom>
                <a:avLst/>
                <a:gdLst>
                  <a:gd name="T0" fmla="*/ 70 w 151"/>
                  <a:gd name="T1" fmla="*/ 224 h 187"/>
                  <a:gd name="T2" fmla="*/ 76 w 151"/>
                  <a:gd name="T3" fmla="*/ 223 h 187"/>
                  <a:gd name="T4" fmla="*/ 79 w 151"/>
                  <a:gd name="T5" fmla="*/ 213 h 187"/>
                  <a:gd name="T6" fmla="*/ 84 w 151"/>
                  <a:gd name="T7" fmla="*/ 213 h 187"/>
                  <a:gd name="T8" fmla="*/ 90 w 151"/>
                  <a:gd name="T9" fmla="*/ 220 h 187"/>
                  <a:gd name="T10" fmla="*/ 95 w 151"/>
                  <a:gd name="T11" fmla="*/ 214 h 187"/>
                  <a:gd name="T12" fmla="*/ 110 w 151"/>
                  <a:gd name="T13" fmla="*/ 214 h 187"/>
                  <a:gd name="T14" fmla="*/ 114 w 151"/>
                  <a:gd name="T15" fmla="*/ 209 h 187"/>
                  <a:gd name="T16" fmla="*/ 116 w 151"/>
                  <a:gd name="T17" fmla="*/ 214 h 187"/>
                  <a:gd name="T18" fmla="*/ 173 w 151"/>
                  <a:gd name="T19" fmla="*/ 214 h 187"/>
                  <a:gd name="T20" fmla="*/ 176 w 151"/>
                  <a:gd name="T21" fmla="*/ 197 h 187"/>
                  <a:gd name="T22" fmla="*/ 171 w 151"/>
                  <a:gd name="T23" fmla="*/ 195 h 187"/>
                  <a:gd name="T24" fmla="*/ 158 w 151"/>
                  <a:gd name="T25" fmla="*/ 42 h 187"/>
                  <a:gd name="T26" fmla="*/ 181 w 151"/>
                  <a:gd name="T27" fmla="*/ 42 h 187"/>
                  <a:gd name="T28" fmla="*/ 123 w 151"/>
                  <a:gd name="T29" fmla="*/ 0 h 187"/>
                  <a:gd name="T30" fmla="*/ 123 w 151"/>
                  <a:gd name="T31" fmla="*/ 25 h 187"/>
                  <a:gd name="T32" fmla="*/ 74 w 151"/>
                  <a:gd name="T33" fmla="*/ 25 h 187"/>
                  <a:gd name="T34" fmla="*/ 74 w 151"/>
                  <a:gd name="T35" fmla="*/ 70 h 187"/>
                  <a:gd name="T36" fmla="*/ 70 w 151"/>
                  <a:gd name="T37" fmla="*/ 72 h 187"/>
                  <a:gd name="T38" fmla="*/ 64 w 151"/>
                  <a:gd name="T39" fmla="*/ 73 h 187"/>
                  <a:gd name="T40" fmla="*/ 55 w 151"/>
                  <a:gd name="T41" fmla="*/ 83 h 187"/>
                  <a:gd name="T42" fmla="*/ 58 w 151"/>
                  <a:gd name="T43" fmla="*/ 105 h 187"/>
                  <a:gd name="T44" fmla="*/ 55 w 151"/>
                  <a:gd name="T45" fmla="*/ 108 h 187"/>
                  <a:gd name="T46" fmla="*/ 5 w 151"/>
                  <a:gd name="T47" fmla="*/ 107 h 187"/>
                  <a:gd name="T48" fmla="*/ 0 w 151"/>
                  <a:gd name="T49" fmla="*/ 114 h 187"/>
                  <a:gd name="T50" fmla="*/ 5 w 151"/>
                  <a:gd name="T51" fmla="*/ 119 h 187"/>
                  <a:gd name="T52" fmla="*/ 7 w 151"/>
                  <a:gd name="T53" fmla="*/ 119 h 187"/>
                  <a:gd name="T54" fmla="*/ 10 w 151"/>
                  <a:gd name="T55" fmla="*/ 129 h 187"/>
                  <a:gd name="T56" fmla="*/ 6 w 151"/>
                  <a:gd name="T57" fmla="*/ 146 h 187"/>
                  <a:gd name="T58" fmla="*/ 8 w 151"/>
                  <a:gd name="T59" fmla="*/ 149 h 187"/>
                  <a:gd name="T60" fmla="*/ 11 w 151"/>
                  <a:gd name="T61" fmla="*/ 162 h 187"/>
                  <a:gd name="T62" fmla="*/ 8 w 151"/>
                  <a:gd name="T63" fmla="*/ 179 h 187"/>
                  <a:gd name="T64" fmla="*/ 4 w 151"/>
                  <a:gd name="T65" fmla="*/ 197 h 187"/>
                  <a:gd name="T66" fmla="*/ 10 w 151"/>
                  <a:gd name="T67" fmla="*/ 191 h 187"/>
                  <a:gd name="T68" fmla="*/ 25 w 151"/>
                  <a:gd name="T69" fmla="*/ 191 h 187"/>
                  <a:gd name="T70" fmla="*/ 28 w 151"/>
                  <a:gd name="T71" fmla="*/ 189 h 187"/>
                  <a:gd name="T72" fmla="*/ 37 w 151"/>
                  <a:gd name="T73" fmla="*/ 190 h 187"/>
                  <a:gd name="T74" fmla="*/ 44 w 151"/>
                  <a:gd name="T75" fmla="*/ 200 h 187"/>
                  <a:gd name="T76" fmla="*/ 52 w 151"/>
                  <a:gd name="T77" fmla="*/ 200 h 187"/>
                  <a:gd name="T78" fmla="*/ 55 w 151"/>
                  <a:gd name="T79" fmla="*/ 212 h 187"/>
                  <a:gd name="T80" fmla="*/ 61 w 151"/>
                  <a:gd name="T81" fmla="*/ 219 h 187"/>
                  <a:gd name="T82" fmla="*/ 70 w 151"/>
                  <a:gd name="T83" fmla="*/ 224 h 18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1"/>
                  <a:gd name="T127" fmla="*/ 0 h 187"/>
                  <a:gd name="T128" fmla="*/ 151 w 151"/>
                  <a:gd name="T129" fmla="*/ 187 h 18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1" h="187">
                    <a:moveTo>
                      <a:pt x="58" y="186"/>
                    </a:moveTo>
                    <a:cubicBezTo>
                      <a:pt x="60" y="186"/>
                      <a:pt x="62" y="187"/>
                      <a:pt x="63" y="185"/>
                    </a:cubicBezTo>
                    <a:cubicBezTo>
                      <a:pt x="65" y="183"/>
                      <a:pt x="64" y="179"/>
                      <a:pt x="66" y="177"/>
                    </a:cubicBezTo>
                    <a:cubicBezTo>
                      <a:pt x="66" y="176"/>
                      <a:pt x="69" y="176"/>
                      <a:pt x="70" y="177"/>
                    </a:cubicBezTo>
                    <a:cubicBezTo>
                      <a:pt x="72" y="178"/>
                      <a:pt x="72" y="182"/>
                      <a:pt x="75" y="183"/>
                    </a:cubicBezTo>
                    <a:cubicBezTo>
                      <a:pt x="77" y="183"/>
                      <a:pt x="77" y="178"/>
                      <a:pt x="79" y="178"/>
                    </a:cubicBezTo>
                    <a:cubicBezTo>
                      <a:pt x="83" y="176"/>
                      <a:pt x="88" y="179"/>
                      <a:pt x="92" y="178"/>
                    </a:cubicBezTo>
                    <a:cubicBezTo>
                      <a:pt x="94" y="177"/>
                      <a:pt x="93" y="174"/>
                      <a:pt x="95" y="174"/>
                    </a:cubicBezTo>
                    <a:cubicBezTo>
                      <a:pt x="96" y="174"/>
                      <a:pt x="96" y="178"/>
                      <a:pt x="97" y="178"/>
                    </a:cubicBezTo>
                    <a:lnTo>
                      <a:pt x="144" y="178"/>
                    </a:lnTo>
                    <a:lnTo>
                      <a:pt x="147" y="164"/>
                    </a:lnTo>
                    <a:lnTo>
                      <a:pt x="143" y="162"/>
                    </a:lnTo>
                    <a:lnTo>
                      <a:pt x="132" y="35"/>
                    </a:lnTo>
                    <a:cubicBezTo>
                      <a:pt x="131" y="29"/>
                      <a:pt x="144" y="35"/>
                      <a:pt x="151" y="35"/>
                    </a:cubicBezTo>
                    <a:lnTo>
                      <a:pt x="103" y="0"/>
                    </a:lnTo>
                    <a:lnTo>
                      <a:pt x="103" y="21"/>
                    </a:lnTo>
                    <a:lnTo>
                      <a:pt x="62" y="21"/>
                    </a:lnTo>
                    <a:lnTo>
                      <a:pt x="62" y="58"/>
                    </a:lnTo>
                    <a:lnTo>
                      <a:pt x="58" y="60"/>
                    </a:lnTo>
                    <a:cubicBezTo>
                      <a:pt x="56" y="60"/>
                      <a:pt x="54" y="60"/>
                      <a:pt x="53" y="61"/>
                    </a:cubicBezTo>
                    <a:cubicBezTo>
                      <a:pt x="50" y="63"/>
                      <a:pt x="48" y="66"/>
                      <a:pt x="46" y="69"/>
                    </a:cubicBezTo>
                    <a:cubicBezTo>
                      <a:pt x="46" y="75"/>
                      <a:pt x="48" y="81"/>
                      <a:pt x="48" y="87"/>
                    </a:cubicBezTo>
                    <a:cubicBezTo>
                      <a:pt x="48" y="89"/>
                      <a:pt x="46" y="89"/>
                      <a:pt x="46" y="90"/>
                    </a:cubicBezTo>
                    <a:lnTo>
                      <a:pt x="4" y="89"/>
                    </a:lnTo>
                    <a:lnTo>
                      <a:pt x="0" y="95"/>
                    </a:lnTo>
                    <a:cubicBezTo>
                      <a:pt x="1" y="96"/>
                      <a:pt x="2" y="98"/>
                      <a:pt x="4" y="99"/>
                    </a:cubicBezTo>
                    <a:cubicBezTo>
                      <a:pt x="4" y="99"/>
                      <a:pt x="6" y="98"/>
                      <a:pt x="6" y="99"/>
                    </a:cubicBezTo>
                    <a:cubicBezTo>
                      <a:pt x="7" y="101"/>
                      <a:pt x="8" y="104"/>
                      <a:pt x="8" y="107"/>
                    </a:cubicBezTo>
                    <a:cubicBezTo>
                      <a:pt x="8" y="111"/>
                      <a:pt x="6" y="116"/>
                      <a:pt x="5" y="121"/>
                    </a:cubicBezTo>
                    <a:cubicBezTo>
                      <a:pt x="5" y="122"/>
                      <a:pt x="7" y="123"/>
                      <a:pt x="7" y="124"/>
                    </a:cubicBezTo>
                    <a:cubicBezTo>
                      <a:pt x="8" y="127"/>
                      <a:pt x="9" y="131"/>
                      <a:pt x="9" y="135"/>
                    </a:cubicBezTo>
                    <a:cubicBezTo>
                      <a:pt x="9" y="139"/>
                      <a:pt x="8" y="144"/>
                      <a:pt x="7" y="149"/>
                    </a:cubicBezTo>
                    <a:cubicBezTo>
                      <a:pt x="6" y="154"/>
                      <a:pt x="4" y="160"/>
                      <a:pt x="3" y="164"/>
                    </a:cubicBezTo>
                    <a:cubicBezTo>
                      <a:pt x="5" y="163"/>
                      <a:pt x="6" y="160"/>
                      <a:pt x="8" y="159"/>
                    </a:cubicBezTo>
                    <a:cubicBezTo>
                      <a:pt x="12" y="158"/>
                      <a:pt x="17" y="160"/>
                      <a:pt x="21" y="159"/>
                    </a:cubicBezTo>
                    <a:cubicBezTo>
                      <a:pt x="22" y="159"/>
                      <a:pt x="22" y="157"/>
                      <a:pt x="23" y="157"/>
                    </a:cubicBezTo>
                    <a:cubicBezTo>
                      <a:pt x="26" y="157"/>
                      <a:pt x="29" y="156"/>
                      <a:pt x="31" y="158"/>
                    </a:cubicBezTo>
                    <a:cubicBezTo>
                      <a:pt x="34" y="159"/>
                      <a:pt x="34" y="164"/>
                      <a:pt x="37" y="166"/>
                    </a:cubicBezTo>
                    <a:cubicBezTo>
                      <a:pt x="39" y="167"/>
                      <a:pt x="41" y="165"/>
                      <a:pt x="43" y="166"/>
                    </a:cubicBezTo>
                    <a:cubicBezTo>
                      <a:pt x="45" y="169"/>
                      <a:pt x="45" y="173"/>
                      <a:pt x="46" y="176"/>
                    </a:cubicBezTo>
                    <a:cubicBezTo>
                      <a:pt x="47" y="178"/>
                      <a:pt x="49" y="181"/>
                      <a:pt x="51" y="182"/>
                    </a:cubicBezTo>
                    <a:cubicBezTo>
                      <a:pt x="53" y="184"/>
                      <a:pt x="56" y="185"/>
                      <a:pt x="58" y="186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242" name="Freeform 2553"/>
              <p:cNvSpPr>
                <a:spLocks noChangeAspect="1"/>
              </p:cNvSpPr>
              <p:nvPr/>
            </p:nvSpPr>
            <p:spPr bwMode="auto">
              <a:xfrm>
                <a:off x="4021737" y="3561569"/>
                <a:ext cx="152110" cy="123434"/>
              </a:xfrm>
              <a:custGeom>
                <a:avLst/>
                <a:gdLst>
                  <a:gd name="T0" fmla="*/ 12 w 78"/>
                  <a:gd name="T1" fmla="*/ 76 h 64"/>
                  <a:gd name="T2" fmla="*/ 11 w 78"/>
                  <a:gd name="T3" fmla="*/ 70 h 64"/>
                  <a:gd name="T4" fmla="*/ 11 w 78"/>
                  <a:gd name="T5" fmla="*/ 64 h 64"/>
                  <a:gd name="T6" fmla="*/ 24 w 78"/>
                  <a:gd name="T7" fmla="*/ 64 h 64"/>
                  <a:gd name="T8" fmla="*/ 36 w 78"/>
                  <a:gd name="T9" fmla="*/ 61 h 64"/>
                  <a:gd name="T10" fmla="*/ 46 w 78"/>
                  <a:gd name="T11" fmla="*/ 62 h 64"/>
                  <a:gd name="T12" fmla="*/ 55 w 78"/>
                  <a:gd name="T13" fmla="*/ 61 h 64"/>
                  <a:gd name="T14" fmla="*/ 56 w 78"/>
                  <a:gd name="T15" fmla="*/ 56 h 64"/>
                  <a:gd name="T16" fmla="*/ 43 w 78"/>
                  <a:gd name="T17" fmla="*/ 53 h 64"/>
                  <a:gd name="T18" fmla="*/ 35 w 78"/>
                  <a:gd name="T19" fmla="*/ 52 h 64"/>
                  <a:gd name="T20" fmla="*/ 31 w 78"/>
                  <a:gd name="T21" fmla="*/ 56 h 64"/>
                  <a:gd name="T22" fmla="*/ 17 w 78"/>
                  <a:gd name="T23" fmla="*/ 57 h 64"/>
                  <a:gd name="T24" fmla="*/ 13 w 78"/>
                  <a:gd name="T25" fmla="*/ 49 h 64"/>
                  <a:gd name="T26" fmla="*/ 10 w 78"/>
                  <a:gd name="T27" fmla="*/ 39 h 64"/>
                  <a:gd name="T28" fmla="*/ 0 w 78"/>
                  <a:gd name="T29" fmla="*/ 37 h 64"/>
                  <a:gd name="T30" fmla="*/ 10 w 78"/>
                  <a:gd name="T31" fmla="*/ 27 h 64"/>
                  <a:gd name="T32" fmla="*/ 17 w 78"/>
                  <a:gd name="T33" fmla="*/ 19 h 64"/>
                  <a:gd name="T34" fmla="*/ 15 w 78"/>
                  <a:gd name="T35" fmla="*/ 10 h 64"/>
                  <a:gd name="T36" fmla="*/ 21 w 78"/>
                  <a:gd name="T37" fmla="*/ 4 h 64"/>
                  <a:gd name="T38" fmla="*/ 37 w 78"/>
                  <a:gd name="T39" fmla="*/ 4 h 64"/>
                  <a:gd name="T40" fmla="*/ 39 w 78"/>
                  <a:gd name="T41" fmla="*/ 1 h 64"/>
                  <a:gd name="T42" fmla="*/ 49 w 78"/>
                  <a:gd name="T43" fmla="*/ 2 h 64"/>
                  <a:gd name="T44" fmla="*/ 56 w 78"/>
                  <a:gd name="T45" fmla="*/ 12 h 64"/>
                  <a:gd name="T46" fmla="*/ 63 w 78"/>
                  <a:gd name="T47" fmla="*/ 12 h 64"/>
                  <a:gd name="T48" fmla="*/ 67 w 78"/>
                  <a:gd name="T49" fmla="*/ 24 h 64"/>
                  <a:gd name="T50" fmla="*/ 73 w 78"/>
                  <a:gd name="T51" fmla="*/ 31 h 64"/>
                  <a:gd name="T52" fmla="*/ 81 w 78"/>
                  <a:gd name="T53" fmla="*/ 36 h 64"/>
                  <a:gd name="T54" fmla="*/ 85 w 78"/>
                  <a:gd name="T55" fmla="*/ 45 h 64"/>
                  <a:gd name="T56" fmla="*/ 82 w 78"/>
                  <a:gd name="T57" fmla="*/ 56 h 64"/>
                  <a:gd name="T58" fmla="*/ 86 w 78"/>
                  <a:gd name="T59" fmla="*/ 61 h 64"/>
                  <a:gd name="T60" fmla="*/ 89 w 78"/>
                  <a:gd name="T61" fmla="*/ 61 h 64"/>
                  <a:gd name="T62" fmla="*/ 93 w 78"/>
                  <a:gd name="T63" fmla="*/ 68 h 64"/>
                  <a:gd name="T64" fmla="*/ 91 w 78"/>
                  <a:gd name="T65" fmla="*/ 75 h 64"/>
                  <a:gd name="T66" fmla="*/ 81 w 78"/>
                  <a:gd name="T67" fmla="*/ 76 h 64"/>
                  <a:gd name="T68" fmla="*/ 72 w 78"/>
                  <a:gd name="T69" fmla="*/ 75 h 64"/>
                  <a:gd name="T70" fmla="*/ 68 w 78"/>
                  <a:gd name="T71" fmla="*/ 75 h 64"/>
                  <a:gd name="T72" fmla="*/ 66 w 78"/>
                  <a:gd name="T73" fmla="*/ 72 h 64"/>
                  <a:gd name="T74" fmla="*/ 57 w 78"/>
                  <a:gd name="T75" fmla="*/ 72 h 64"/>
                  <a:gd name="T76" fmla="*/ 39 w 78"/>
                  <a:gd name="T77" fmla="*/ 71 h 64"/>
                  <a:gd name="T78" fmla="*/ 30 w 78"/>
                  <a:gd name="T79" fmla="*/ 76 h 64"/>
                  <a:gd name="T80" fmla="*/ 19 w 78"/>
                  <a:gd name="T81" fmla="*/ 75 h 64"/>
                  <a:gd name="T82" fmla="*/ 12 w 78"/>
                  <a:gd name="T83" fmla="*/ 76 h 6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8"/>
                  <a:gd name="T127" fmla="*/ 0 h 64"/>
                  <a:gd name="T128" fmla="*/ 78 w 78"/>
                  <a:gd name="T129" fmla="*/ 64 h 6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8" h="64">
                    <a:moveTo>
                      <a:pt x="10" y="64"/>
                    </a:moveTo>
                    <a:cubicBezTo>
                      <a:pt x="10" y="62"/>
                      <a:pt x="9" y="61"/>
                      <a:pt x="9" y="59"/>
                    </a:cubicBezTo>
                    <a:cubicBezTo>
                      <a:pt x="9" y="57"/>
                      <a:pt x="9" y="56"/>
                      <a:pt x="9" y="54"/>
                    </a:cubicBezTo>
                    <a:cubicBezTo>
                      <a:pt x="13" y="54"/>
                      <a:pt x="16" y="55"/>
                      <a:pt x="20" y="54"/>
                    </a:cubicBezTo>
                    <a:cubicBezTo>
                      <a:pt x="23" y="54"/>
                      <a:pt x="26" y="51"/>
                      <a:pt x="30" y="51"/>
                    </a:cubicBezTo>
                    <a:cubicBezTo>
                      <a:pt x="33" y="51"/>
                      <a:pt x="36" y="52"/>
                      <a:pt x="39" y="52"/>
                    </a:cubicBezTo>
                    <a:cubicBezTo>
                      <a:pt x="42" y="52"/>
                      <a:pt x="44" y="52"/>
                      <a:pt x="46" y="51"/>
                    </a:cubicBezTo>
                    <a:cubicBezTo>
                      <a:pt x="47" y="50"/>
                      <a:pt x="48" y="48"/>
                      <a:pt x="47" y="47"/>
                    </a:cubicBezTo>
                    <a:cubicBezTo>
                      <a:pt x="44" y="46"/>
                      <a:pt x="39" y="45"/>
                      <a:pt x="36" y="45"/>
                    </a:cubicBezTo>
                    <a:cubicBezTo>
                      <a:pt x="33" y="44"/>
                      <a:pt x="31" y="44"/>
                      <a:pt x="29" y="44"/>
                    </a:cubicBezTo>
                    <a:cubicBezTo>
                      <a:pt x="28" y="45"/>
                      <a:pt x="27" y="47"/>
                      <a:pt x="26" y="47"/>
                    </a:cubicBezTo>
                    <a:cubicBezTo>
                      <a:pt x="22" y="48"/>
                      <a:pt x="18" y="48"/>
                      <a:pt x="14" y="48"/>
                    </a:cubicBezTo>
                    <a:cubicBezTo>
                      <a:pt x="13" y="46"/>
                      <a:pt x="12" y="43"/>
                      <a:pt x="11" y="41"/>
                    </a:cubicBezTo>
                    <a:cubicBezTo>
                      <a:pt x="10" y="38"/>
                      <a:pt x="10" y="35"/>
                      <a:pt x="8" y="33"/>
                    </a:cubicBezTo>
                    <a:cubicBezTo>
                      <a:pt x="6" y="32"/>
                      <a:pt x="0" y="34"/>
                      <a:pt x="0" y="31"/>
                    </a:cubicBezTo>
                    <a:cubicBezTo>
                      <a:pt x="0" y="27"/>
                      <a:pt x="6" y="26"/>
                      <a:pt x="8" y="23"/>
                    </a:cubicBezTo>
                    <a:cubicBezTo>
                      <a:pt x="10" y="21"/>
                      <a:pt x="13" y="19"/>
                      <a:pt x="14" y="16"/>
                    </a:cubicBezTo>
                    <a:cubicBezTo>
                      <a:pt x="14" y="14"/>
                      <a:pt x="13" y="11"/>
                      <a:pt x="13" y="8"/>
                    </a:cubicBezTo>
                    <a:cubicBezTo>
                      <a:pt x="15" y="7"/>
                      <a:pt x="16" y="4"/>
                      <a:pt x="18" y="3"/>
                    </a:cubicBezTo>
                    <a:cubicBezTo>
                      <a:pt x="22" y="2"/>
                      <a:pt x="27" y="4"/>
                      <a:pt x="31" y="3"/>
                    </a:cubicBezTo>
                    <a:cubicBezTo>
                      <a:pt x="32" y="3"/>
                      <a:pt x="32" y="1"/>
                      <a:pt x="33" y="1"/>
                    </a:cubicBezTo>
                    <a:cubicBezTo>
                      <a:pt x="36" y="1"/>
                      <a:pt x="39" y="0"/>
                      <a:pt x="41" y="2"/>
                    </a:cubicBezTo>
                    <a:cubicBezTo>
                      <a:pt x="44" y="3"/>
                      <a:pt x="44" y="8"/>
                      <a:pt x="47" y="10"/>
                    </a:cubicBezTo>
                    <a:cubicBezTo>
                      <a:pt x="49" y="11"/>
                      <a:pt x="51" y="9"/>
                      <a:pt x="53" y="10"/>
                    </a:cubicBezTo>
                    <a:cubicBezTo>
                      <a:pt x="55" y="13"/>
                      <a:pt x="55" y="17"/>
                      <a:pt x="56" y="20"/>
                    </a:cubicBezTo>
                    <a:cubicBezTo>
                      <a:pt x="57" y="22"/>
                      <a:pt x="59" y="25"/>
                      <a:pt x="61" y="26"/>
                    </a:cubicBezTo>
                    <a:cubicBezTo>
                      <a:pt x="63" y="28"/>
                      <a:pt x="66" y="29"/>
                      <a:pt x="68" y="30"/>
                    </a:cubicBezTo>
                    <a:lnTo>
                      <a:pt x="71" y="38"/>
                    </a:lnTo>
                    <a:lnTo>
                      <a:pt x="69" y="47"/>
                    </a:lnTo>
                    <a:lnTo>
                      <a:pt x="72" y="51"/>
                    </a:lnTo>
                    <a:lnTo>
                      <a:pt x="75" y="51"/>
                    </a:lnTo>
                    <a:lnTo>
                      <a:pt x="78" y="57"/>
                    </a:lnTo>
                    <a:lnTo>
                      <a:pt x="76" y="63"/>
                    </a:lnTo>
                    <a:cubicBezTo>
                      <a:pt x="73" y="63"/>
                      <a:pt x="71" y="64"/>
                      <a:pt x="68" y="64"/>
                    </a:cubicBezTo>
                    <a:cubicBezTo>
                      <a:pt x="66" y="63"/>
                      <a:pt x="63" y="63"/>
                      <a:pt x="60" y="63"/>
                    </a:cubicBezTo>
                    <a:cubicBezTo>
                      <a:pt x="59" y="63"/>
                      <a:pt x="58" y="64"/>
                      <a:pt x="57" y="63"/>
                    </a:cubicBezTo>
                    <a:cubicBezTo>
                      <a:pt x="56" y="63"/>
                      <a:pt x="56" y="61"/>
                      <a:pt x="55" y="61"/>
                    </a:cubicBezTo>
                    <a:cubicBezTo>
                      <a:pt x="53" y="60"/>
                      <a:pt x="50" y="61"/>
                      <a:pt x="48" y="61"/>
                    </a:cubicBezTo>
                    <a:cubicBezTo>
                      <a:pt x="43" y="60"/>
                      <a:pt x="38" y="59"/>
                      <a:pt x="33" y="60"/>
                    </a:cubicBezTo>
                    <a:cubicBezTo>
                      <a:pt x="30" y="60"/>
                      <a:pt x="28" y="63"/>
                      <a:pt x="25" y="64"/>
                    </a:cubicBezTo>
                    <a:cubicBezTo>
                      <a:pt x="22" y="64"/>
                      <a:pt x="19" y="63"/>
                      <a:pt x="16" y="63"/>
                    </a:cubicBezTo>
                    <a:cubicBezTo>
                      <a:pt x="14" y="63"/>
                      <a:pt x="12" y="63"/>
                      <a:pt x="10" y="6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3" name="Freeform 2554"/>
              <p:cNvSpPr>
                <a:spLocks noChangeAspect="1"/>
              </p:cNvSpPr>
              <p:nvPr/>
            </p:nvSpPr>
            <p:spPr bwMode="auto">
              <a:xfrm>
                <a:off x="4041364" y="3675258"/>
                <a:ext cx="81779" cy="53597"/>
              </a:xfrm>
              <a:custGeom>
                <a:avLst/>
                <a:gdLst>
                  <a:gd name="T0" fmla="*/ 26 w 42"/>
                  <a:gd name="T1" fmla="*/ 33 h 27"/>
                  <a:gd name="T2" fmla="*/ 31 w 42"/>
                  <a:gd name="T3" fmla="*/ 22 h 27"/>
                  <a:gd name="T4" fmla="*/ 39 w 42"/>
                  <a:gd name="T5" fmla="*/ 18 h 27"/>
                  <a:gd name="T6" fmla="*/ 48 w 42"/>
                  <a:gd name="T7" fmla="*/ 17 h 27"/>
                  <a:gd name="T8" fmla="*/ 45 w 42"/>
                  <a:gd name="T9" fmla="*/ 10 h 27"/>
                  <a:gd name="T10" fmla="*/ 46 w 42"/>
                  <a:gd name="T11" fmla="*/ 6 h 27"/>
                  <a:gd name="T12" fmla="*/ 45 w 42"/>
                  <a:gd name="T13" fmla="*/ 2 h 27"/>
                  <a:gd name="T14" fmla="*/ 27 w 42"/>
                  <a:gd name="T15" fmla="*/ 1 h 27"/>
                  <a:gd name="T16" fmla="*/ 18 w 42"/>
                  <a:gd name="T17" fmla="*/ 6 h 27"/>
                  <a:gd name="T18" fmla="*/ 7 w 42"/>
                  <a:gd name="T19" fmla="*/ 5 h 27"/>
                  <a:gd name="T20" fmla="*/ 0 w 42"/>
                  <a:gd name="T21" fmla="*/ 6 h 27"/>
                  <a:gd name="T22" fmla="*/ 6 w 42"/>
                  <a:gd name="T23" fmla="*/ 15 h 27"/>
                  <a:gd name="T24" fmla="*/ 26 w 42"/>
                  <a:gd name="T25" fmla="*/ 15 h 27"/>
                  <a:gd name="T26" fmla="*/ 17 w 42"/>
                  <a:gd name="T27" fmla="*/ 18 h 27"/>
                  <a:gd name="T28" fmla="*/ 21 w 42"/>
                  <a:gd name="T29" fmla="*/ 24 h 27"/>
                  <a:gd name="T30" fmla="*/ 26 w 42"/>
                  <a:gd name="T31" fmla="*/ 33 h 2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2"/>
                  <a:gd name="T49" fmla="*/ 0 h 27"/>
                  <a:gd name="T50" fmla="*/ 42 w 42"/>
                  <a:gd name="T51" fmla="*/ 27 h 2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2" h="27">
                    <a:moveTo>
                      <a:pt x="22" y="27"/>
                    </a:moveTo>
                    <a:cubicBezTo>
                      <a:pt x="23" y="24"/>
                      <a:pt x="23" y="21"/>
                      <a:pt x="26" y="18"/>
                    </a:cubicBezTo>
                    <a:cubicBezTo>
                      <a:pt x="27" y="16"/>
                      <a:pt x="31" y="16"/>
                      <a:pt x="33" y="15"/>
                    </a:cubicBezTo>
                    <a:cubicBezTo>
                      <a:pt x="36" y="15"/>
                      <a:pt x="39" y="16"/>
                      <a:pt x="40" y="14"/>
                    </a:cubicBezTo>
                    <a:cubicBezTo>
                      <a:pt x="42" y="12"/>
                      <a:pt x="38" y="10"/>
                      <a:pt x="38" y="8"/>
                    </a:cubicBezTo>
                    <a:cubicBezTo>
                      <a:pt x="38" y="7"/>
                      <a:pt x="39" y="6"/>
                      <a:pt x="39" y="5"/>
                    </a:cubicBezTo>
                    <a:cubicBezTo>
                      <a:pt x="39" y="4"/>
                      <a:pt x="39" y="3"/>
                      <a:pt x="38" y="2"/>
                    </a:cubicBezTo>
                    <a:cubicBezTo>
                      <a:pt x="33" y="1"/>
                      <a:pt x="28" y="0"/>
                      <a:pt x="23" y="1"/>
                    </a:cubicBezTo>
                    <a:cubicBezTo>
                      <a:pt x="20" y="1"/>
                      <a:pt x="18" y="4"/>
                      <a:pt x="15" y="5"/>
                    </a:cubicBezTo>
                    <a:cubicBezTo>
                      <a:pt x="12" y="5"/>
                      <a:pt x="9" y="4"/>
                      <a:pt x="6" y="4"/>
                    </a:cubicBezTo>
                    <a:cubicBezTo>
                      <a:pt x="4" y="4"/>
                      <a:pt x="2" y="4"/>
                      <a:pt x="0" y="5"/>
                    </a:cubicBezTo>
                    <a:cubicBezTo>
                      <a:pt x="1" y="7"/>
                      <a:pt x="2" y="11"/>
                      <a:pt x="5" y="12"/>
                    </a:cubicBezTo>
                    <a:cubicBezTo>
                      <a:pt x="11" y="14"/>
                      <a:pt x="16" y="10"/>
                      <a:pt x="22" y="12"/>
                    </a:cubicBezTo>
                    <a:cubicBezTo>
                      <a:pt x="24" y="12"/>
                      <a:pt x="15" y="12"/>
                      <a:pt x="14" y="15"/>
                    </a:cubicBezTo>
                    <a:cubicBezTo>
                      <a:pt x="14" y="16"/>
                      <a:pt x="17" y="18"/>
                      <a:pt x="18" y="20"/>
                    </a:cubicBezTo>
                    <a:cubicBezTo>
                      <a:pt x="20" y="22"/>
                      <a:pt x="21" y="24"/>
                      <a:pt x="22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4" name="Freeform 2555"/>
              <p:cNvSpPr>
                <a:spLocks noChangeAspect="1"/>
              </p:cNvSpPr>
              <p:nvPr/>
            </p:nvSpPr>
            <p:spPr bwMode="auto">
              <a:xfrm>
                <a:off x="4039728" y="3646024"/>
                <a:ext cx="75237" cy="22738"/>
              </a:xfrm>
              <a:custGeom>
                <a:avLst/>
                <a:gdLst>
                  <a:gd name="T0" fmla="*/ 0 w 39"/>
                  <a:gd name="T1" fmla="*/ 13 h 11"/>
                  <a:gd name="T2" fmla="*/ 17 w 39"/>
                  <a:gd name="T3" fmla="*/ 9 h 11"/>
                  <a:gd name="T4" fmla="*/ 6 w 39"/>
                  <a:gd name="T5" fmla="*/ 5 h 11"/>
                  <a:gd name="T6" fmla="*/ 20 w 39"/>
                  <a:gd name="T7" fmla="*/ 4 h 11"/>
                  <a:gd name="T8" fmla="*/ 24 w 39"/>
                  <a:gd name="T9" fmla="*/ 0 h 11"/>
                  <a:gd name="T10" fmla="*/ 32 w 39"/>
                  <a:gd name="T11" fmla="*/ 1 h 11"/>
                  <a:gd name="T12" fmla="*/ 45 w 39"/>
                  <a:gd name="T13" fmla="*/ 4 h 11"/>
                  <a:gd name="T14" fmla="*/ 44 w 39"/>
                  <a:gd name="T15" fmla="*/ 9 h 11"/>
                  <a:gd name="T16" fmla="*/ 35 w 39"/>
                  <a:gd name="T17" fmla="*/ 10 h 11"/>
                  <a:gd name="T18" fmla="*/ 25 w 39"/>
                  <a:gd name="T19" fmla="*/ 9 h 11"/>
                  <a:gd name="T20" fmla="*/ 13 w 39"/>
                  <a:gd name="T21" fmla="*/ 13 h 11"/>
                  <a:gd name="T22" fmla="*/ 0 w 39"/>
                  <a:gd name="T23" fmla="*/ 13 h 1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9"/>
                  <a:gd name="T37" fmla="*/ 0 h 11"/>
                  <a:gd name="T38" fmla="*/ 39 w 39"/>
                  <a:gd name="T39" fmla="*/ 11 h 1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9" h="11">
                    <a:moveTo>
                      <a:pt x="0" y="10"/>
                    </a:moveTo>
                    <a:cubicBezTo>
                      <a:pt x="5" y="9"/>
                      <a:pt x="9" y="8"/>
                      <a:pt x="14" y="7"/>
                    </a:cubicBezTo>
                    <a:cubicBezTo>
                      <a:pt x="11" y="5"/>
                      <a:pt x="8" y="5"/>
                      <a:pt x="5" y="4"/>
                    </a:cubicBezTo>
                    <a:cubicBezTo>
                      <a:pt x="9" y="4"/>
                      <a:pt x="13" y="4"/>
                      <a:pt x="17" y="3"/>
                    </a:cubicBezTo>
                    <a:cubicBezTo>
                      <a:pt x="18" y="3"/>
                      <a:pt x="19" y="1"/>
                      <a:pt x="20" y="0"/>
                    </a:cubicBezTo>
                    <a:cubicBezTo>
                      <a:pt x="22" y="0"/>
                      <a:pt x="24" y="0"/>
                      <a:pt x="27" y="1"/>
                    </a:cubicBezTo>
                    <a:cubicBezTo>
                      <a:pt x="30" y="1"/>
                      <a:pt x="35" y="2"/>
                      <a:pt x="38" y="3"/>
                    </a:cubicBezTo>
                    <a:cubicBezTo>
                      <a:pt x="39" y="4"/>
                      <a:pt x="38" y="6"/>
                      <a:pt x="37" y="7"/>
                    </a:cubicBezTo>
                    <a:cubicBezTo>
                      <a:pt x="35" y="8"/>
                      <a:pt x="33" y="8"/>
                      <a:pt x="30" y="8"/>
                    </a:cubicBezTo>
                    <a:cubicBezTo>
                      <a:pt x="27" y="8"/>
                      <a:pt x="24" y="7"/>
                      <a:pt x="21" y="7"/>
                    </a:cubicBezTo>
                    <a:cubicBezTo>
                      <a:pt x="17" y="7"/>
                      <a:pt x="14" y="10"/>
                      <a:pt x="11" y="10"/>
                    </a:cubicBezTo>
                    <a:cubicBezTo>
                      <a:pt x="7" y="11"/>
                      <a:pt x="4" y="10"/>
                      <a:pt x="0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5" name="Freeform 2556"/>
              <p:cNvSpPr>
                <a:spLocks noChangeAspect="1"/>
              </p:cNvSpPr>
              <p:nvPr/>
            </p:nvSpPr>
            <p:spPr bwMode="auto">
              <a:xfrm>
                <a:off x="4083889" y="3678506"/>
                <a:ext cx="188093" cy="157541"/>
              </a:xfrm>
              <a:custGeom>
                <a:avLst/>
                <a:gdLst>
                  <a:gd name="T0" fmla="*/ 102 w 96"/>
                  <a:gd name="T1" fmla="*/ 38 h 81"/>
                  <a:gd name="T2" fmla="*/ 96 w 96"/>
                  <a:gd name="T3" fmla="*/ 32 h 81"/>
                  <a:gd name="T4" fmla="*/ 96 w 96"/>
                  <a:gd name="T5" fmla="*/ 18 h 81"/>
                  <a:gd name="T6" fmla="*/ 85 w 96"/>
                  <a:gd name="T7" fmla="*/ 6 h 81"/>
                  <a:gd name="T8" fmla="*/ 80 w 96"/>
                  <a:gd name="T9" fmla="*/ 11 h 81"/>
                  <a:gd name="T10" fmla="*/ 67 w 96"/>
                  <a:gd name="T11" fmla="*/ 14 h 81"/>
                  <a:gd name="T12" fmla="*/ 59 w 96"/>
                  <a:gd name="T13" fmla="*/ 11 h 81"/>
                  <a:gd name="T14" fmla="*/ 53 w 96"/>
                  <a:gd name="T15" fmla="*/ 4 h 81"/>
                  <a:gd name="T16" fmla="*/ 34 w 96"/>
                  <a:gd name="T17" fmla="*/ 4 h 81"/>
                  <a:gd name="T18" fmla="*/ 28 w 96"/>
                  <a:gd name="T19" fmla="*/ 1 h 81"/>
                  <a:gd name="T20" fmla="*/ 20 w 96"/>
                  <a:gd name="T21" fmla="*/ 5 h 81"/>
                  <a:gd name="T22" fmla="*/ 22 w 96"/>
                  <a:gd name="T23" fmla="*/ 16 h 81"/>
                  <a:gd name="T24" fmla="*/ 5 w 96"/>
                  <a:gd name="T25" fmla="*/ 20 h 81"/>
                  <a:gd name="T26" fmla="*/ 7 w 96"/>
                  <a:gd name="T27" fmla="*/ 31 h 81"/>
                  <a:gd name="T28" fmla="*/ 14 w 96"/>
                  <a:gd name="T29" fmla="*/ 44 h 81"/>
                  <a:gd name="T30" fmla="*/ 25 w 96"/>
                  <a:gd name="T31" fmla="*/ 56 h 81"/>
                  <a:gd name="T32" fmla="*/ 34 w 96"/>
                  <a:gd name="T33" fmla="*/ 57 h 81"/>
                  <a:gd name="T34" fmla="*/ 47 w 96"/>
                  <a:gd name="T35" fmla="*/ 50 h 81"/>
                  <a:gd name="T36" fmla="*/ 56 w 96"/>
                  <a:gd name="T37" fmla="*/ 48 h 81"/>
                  <a:gd name="T38" fmla="*/ 62 w 96"/>
                  <a:gd name="T39" fmla="*/ 55 h 81"/>
                  <a:gd name="T40" fmla="*/ 66 w 96"/>
                  <a:gd name="T41" fmla="*/ 63 h 81"/>
                  <a:gd name="T42" fmla="*/ 66 w 96"/>
                  <a:gd name="T43" fmla="*/ 75 h 81"/>
                  <a:gd name="T44" fmla="*/ 74 w 96"/>
                  <a:gd name="T45" fmla="*/ 74 h 81"/>
                  <a:gd name="T46" fmla="*/ 80 w 96"/>
                  <a:gd name="T47" fmla="*/ 73 h 81"/>
                  <a:gd name="T48" fmla="*/ 85 w 96"/>
                  <a:gd name="T49" fmla="*/ 80 h 81"/>
                  <a:gd name="T50" fmla="*/ 85 w 96"/>
                  <a:gd name="T51" fmla="*/ 89 h 81"/>
                  <a:gd name="T52" fmla="*/ 89 w 96"/>
                  <a:gd name="T53" fmla="*/ 97 h 81"/>
                  <a:gd name="T54" fmla="*/ 97 w 96"/>
                  <a:gd name="T55" fmla="*/ 89 h 81"/>
                  <a:gd name="T56" fmla="*/ 105 w 96"/>
                  <a:gd name="T57" fmla="*/ 90 h 81"/>
                  <a:gd name="T58" fmla="*/ 109 w 96"/>
                  <a:gd name="T59" fmla="*/ 80 h 81"/>
                  <a:gd name="T60" fmla="*/ 114 w 96"/>
                  <a:gd name="T61" fmla="*/ 74 h 81"/>
                  <a:gd name="T62" fmla="*/ 111 w 96"/>
                  <a:gd name="T63" fmla="*/ 66 h 81"/>
                  <a:gd name="T64" fmla="*/ 105 w 96"/>
                  <a:gd name="T65" fmla="*/ 51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6"/>
                  <a:gd name="T100" fmla="*/ 0 h 81"/>
                  <a:gd name="T101" fmla="*/ 96 w 96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6" h="81">
                    <a:moveTo>
                      <a:pt x="92" y="38"/>
                    </a:moveTo>
                    <a:cubicBezTo>
                      <a:pt x="90" y="36"/>
                      <a:pt x="86" y="35"/>
                      <a:pt x="85" y="32"/>
                    </a:cubicBezTo>
                    <a:cubicBezTo>
                      <a:pt x="84" y="31"/>
                      <a:pt x="86" y="28"/>
                      <a:pt x="85" y="26"/>
                    </a:cubicBezTo>
                    <a:cubicBezTo>
                      <a:pt x="84" y="25"/>
                      <a:pt x="80" y="28"/>
                      <a:pt x="80" y="27"/>
                    </a:cubicBezTo>
                    <a:cubicBezTo>
                      <a:pt x="80" y="24"/>
                      <a:pt x="84" y="22"/>
                      <a:pt x="84" y="19"/>
                    </a:cubicBezTo>
                    <a:cubicBezTo>
                      <a:pt x="84" y="17"/>
                      <a:pt x="81" y="17"/>
                      <a:pt x="80" y="15"/>
                    </a:cubicBezTo>
                    <a:cubicBezTo>
                      <a:pt x="79" y="13"/>
                      <a:pt x="80" y="9"/>
                      <a:pt x="79" y="7"/>
                    </a:cubicBezTo>
                    <a:cubicBezTo>
                      <a:pt x="77" y="5"/>
                      <a:pt x="74" y="4"/>
                      <a:pt x="71" y="5"/>
                    </a:cubicBezTo>
                    <a:cubicBezTo>
                      <a:pt x="70" y="5"/>
                      <a:pt x="72" y="7"/>
                      <a:pt x="71" y="8"/>
                    </a:cubicBezTo>
                    <a:cubicBezTo>
                      <a:pt x="70" y="9"/>
                      <a:pt x="69" y="9"/>
                      <a:pt x="67" y="9"/>
                    </a:cubicBezTo>
                    <a:cubicBezTo>
                      <a:pt x="66" y="9"/>
                      <a:pt x="64" y="7"/>
                      <a:pt x="63" y="8"/>
                    </a:cubicBezTo>
                    <a:cubicBezTo>
                      <a:pt x="60" y="8"/>
                      <a:pt x="58" y="12"/>
                      <a:pt x="56" y="12"/>
                    </a:cubicBezTo>
                    <a:cubicBezTo>
                      <a:pt x="54" y="11"/>
                      <a:pt x="54" y="7"/>
                      <a:pt x="52" y="6"/>
                    </a:cubicBezTo>
                    <a:cubicBezTo>
                      <a:pt x="51" y="6"/>
                      <a:pt x="50" y="8"/>
                      <a:pt x="49" y="9"/>
                    </a:cubicBezTo>
                    <a:cubicBezTo>
                      <a:pt x="48" y="9"/>
                      <a:pt x="46" y="10"/>
                      <a:pt x="45" y="9"/>
                    </a:cubicBezTo>
                    <a:cubicBezTo>
                      <a:pt x="44" y="8"/>
                      <a:pt x="44" y="5"/>
                      <a:pt x="44" y="3"/>
                    </a:cubicBezTo>
                    <a:cubicBezTo>
                      <a:pt x="41" y="3"/>
                      <a:pt x="39" y="4"/>
                      <a:pt x="36" y="4"/>
                    </a:cubicBezTo>
                    <a:cubicBezTo>
                      <a:pt x="34" y="3"/>
                      <a:pt x="31" y="3"/>
                      <a:pt x="28" y="3"/>
                    </a:cubicBezTo>
                    <a:cubicBezTo>
                      <a:pt x="27" y="3"/>
                      <a:pt x="26" y="4"/>
                      <a:pt x="25" y="3"/>
                    </a:cubicBezTo>
                    <a:cubicBezTo>
                      <a:pt x="24" y="3"/>
                      <a:pt x="24" y="1"/>
                      <a:pt x="23" y="1"/>
                    </a:cubicBezTo>
                    <a:cubicBezTo>
                      <a:pt x="21" y="0"/>
                      <a:pt x="18" y="1"/>
                      <a:pt x="16" y="1"/>
                    </a:cubicBezTo>
                    <a:cubicBezTo>
                      <a:pt x="17" y="2"/>
                      <a:pt x="17" y="3"/>
                      <a:pt x="17" y="4"/>
                    </a:cubicBezTo>
                    <a:cubicBezTo>
                      <a:pt x="17" y="5"/>
                      <a:pt x="16" y="6"/>
                      <a:pt x="16" y="7"/>
                    </a:cubicBezTo>
                    <a:cubicBezTo>
                      <a:pt x="16" y="9"/>
                      <a:pt x="20" y="11"/>
                      <a:pt x="18" y="13"/>
                    </a:cubicBezTo>
                    <a:cubicBezTo>
                      <a:pt x="17" y="15"/>
                      <a:pt x="14" y="14"/>
                      <a:pt x="11" y="14"/>
                    </a:cubicBezTo>
                    <a:cubicBezTo>
                      <a:pt x="9" y="15"/>
                      <a:pt x="5" y="15"/>
                      <a:pt x="4" y="17"/>
                    </a:cubicBezTo>
                    <a:cubicBezTo>
                      <a:pt x="1" y="20"/>
                      <a:pt x="1" y="23"/>
                      <a:pt x="0" y="26"/>
                    </a:cubicBezTo>
                    <a:cubicBezTo>
                      <a:pt x="2" y="26"/>
                      <a:pt x="4" y="25"/>
                      <a:pt x="6" y="26"/>
                    </a:cubicBezTo>
                    <a:cubicBezTo>
                      <a:pt x="7" y="26"/>
                      <a:pt x="6" y="29"/>
                      <a:pt x="7" y="30"/>
                    </a:cubicBezTo>
                    <a:cubicBezTo>
                      <a:pt x="9" y="33"/>
                      <a:pt x="11" y="35"/>
                      <a:pt x="12" y="37"/>
                    </a:cubicBezTo>
                    <a:cubicBezTo>
                      <a:pt x="13" y="39"/>
                      <a:pt x="13" y="41"/>
                      <a:pt x="15" y="42"/>
                    </a:cubicBezTo>
                    <a:cubicBezTo>
                      <a:pt x="16" y="44"/>
                      <a:pt x="19" y="45"/>
                      <a:pt x="21" y="47"/>
                    </a:cubicBezTo>
                    <a:cubicBezTo>
                      <a:pt x="22" y="49"/>
                      <a:pt x="24" y="50"/>
                      <a:pt x="25" y="52"/>
                    </a:cubicBezTo>
                    <a:cubicBezTo>
                      <a:pt x="26" y="51"/>
                      <a:pt x="26" y="49"/>
                      <a:pt x="28" y="48"/>
                    </a:cubicBezTo>
                    <a:cubicBezTo>
                      <a:pt x="29" y="45"/>
                      <a:pt x="31" y="43"/>
                      <a:pt x="34" y="42"/>
                    </a:cubicBezTo>
                    <a:cubicBezTo>
                      <a:pt x="35" y="41"/>
                      <a:pt x="37" y="42"/>
                      <a:pt x="39" y="42"/>
                    </a:cubicBezTo>
                    <a:cubicBezTo>
                      <a:pt x="40" y="42"/>
                      <a:pt x="40" y="40"/>
                      <a:pt x="41" y="40"/>
                    </a:cubicBezTo>
                    <a:cubicBezTo>
                      <a:pt x="43" y="39"/>
                      <a:pt x="45" y="39"/>
                      <a:pt x="47" y="40"/>
                    </a:cubicBezTo>
                    <a:cubicBezTo>
                      <a:pt x="49" y="40"/>
                      <a:pt x="50" y="41"/>
                      <a:pt x="51" y="42"/>
                    </a:cubicBezTo>
                    <a:cubicBezTo>
                      <a:pt x="52" y="43"/>
                      <a:pt x="52" y="45"/>
                      <a:pt x="52" y="46"/>
                    </a:cubicBezTo>
                    <a:cubicBezTo>
                      <a:pt x="53" y="47"/>
                      <a:pt x="55" y="48"/>
                      <a:pt x="56" y="49"/>
                    </a:cubicBezTo>
                    <a:cubicBezTo>
                      <a:pt x="56" y="50"/>
                      <a:pt x="55" y="52"/>
                      <a:pt x="55" y="53"/>
                    </a:cubicBezTo>
                    <a:cubicBezTo>
                      <a:pt x="56" y="55"/>
                      <a:pt x="58" y="57"/>
                      <a:pt x="58" y="59"/>
                    </a:cubicBezTo>
                    <a:cubicBezTo>
                      <a:pt x="58" y="60"/>
                      <a:pt x="56" y="61"/>
                      <a:pt x="55" y="63"/>
                    </a:cubicBezTo>
                    <a:cubicBezTo>
                      <a:pt x="55" y="64"/>
                      <a:pt x="57" y="65"/>
                      <a:pt x="57" y="65"/>
                    </a:cubicBezTo>
                    <a:cubicBezTo>
                      <a:pt x="59" y="64"/>
                      <a:pt x="60" y="63"/>
                      <a:pt x="62" y="62"/>
                    </a:cubicBezTo>
                    <a:cubicBezTo>
                      <a:pt x="63" y="62"/>
                      <a:pt x="65" y="63"/>
                      <a:pt x="66" y="63"/>
                    </a:cubicBezTo>
                    <a:cubicBezTo>
                      <a:pt x="67" y="63"/>
                      <a:pt x="66" y="61"/>
                      <a:pt x="67" y="61"/>
                    </a:cubicBezTo>
                    <a:cubicBezTo>
                      <a:pt x="69" y="61"/>
                      <a:pt x="70" y="61"/>
                      <a:pt x="71" y="62"/>
                    </a:cubicBezTo>
                    <a:cubicBezTo>
                      <a:pt x="72" y="64"/>
                      <a:pt x="70" y="66"/>
                      <a:pt x="71" y="67"/>
                    </a:cubicBezTo>
                    <a:cubicBezTo>
                      <a:pt x="72" y="69"/>
                      <a:pt x="75" y="70"/>
                      <a:pt x="75" y="72"/>
                    </a:cubicBezTo>
                    <a:cubicBezTo>
                      <a:pt x="75" y="74"/>
                      <a:pt x="72" y="73"/>
                      <a:pt x="71" y="74"/>
                    </a:cubicBezTo>
                    <a:cubicBezTo>
                      <a:pt x="70" y="76"/>
                      <a:pt x="70" y="78"/>
                      <a:pt x="70" y="80"/>
                    </a:cubicBezTo>
                    <a:cubicBezTo>
                      <a:pt x="71" y="81"/>
                      <a:pt x="73" y="81"/>
                      <a:pt x="74" y="81"/>
                    </a:cubicBezTo>
                    <a:cubicBezTo>
                      <a:pt x="76" y="81"/>
                      <a:pt x="77" y="80"/>
                      <a:pt x="78" y="79"/>
                    </a:cubicBezTo>
                    <a:cubicBezTo>
                      <a:pt x="79" y="78"/>
                      <a:pt x="79" y="74"/>
                      <a:pt x="81" y="74"/>
                    </a:cubicBezTo>
                    <a:cubicBezTo>
                      <a:pt x="83" y="74"/>
                      <a:pt x="84" y="77"/>
                      <a:pt x="86" y="79"/>
                    </a:cubicBezTo>
                    <a:cubicBezTo>
                      <a:pt x="87" y="78"/>
                      <a:pt x="88" y="77"/>
                      <a:pt x="88" y="75"/>
                    </a:cubicBezTo>
                    <a:cubicBezTo>
                      <a:pt x="89" y="74"/>
                      <a:pt x="87" y="73"/>
                      <a:pt x="87" y="72"/>
                    </a:cubicBezTo>
                    <a:cubicBezTo>
                      <a:pt x="87" y="70"/>
                      <a:pt x="91" y="69"/>
                      <a:pt x="91" y="67"/>
                    </a:cubicBezTo>
                    <a:cubicBezTo>
                      <a:pt x="91" y="66"/>
                      <a:pt x="85" y="66"/>
                      <a:pt x="86" y="65"/>
                    </a:cubicBezTo>
                    <a:cubicBezTo>
                      <a:pt x="88" y="62"/>
                      <a:pt x="93" y="64"/>
                      <a:pt x="95" y="62"/>
                    </a:cubicBezTo>
                    <a:cubicBezTo>
                      <a:pt x="96" y="60"/>
                      <a:pt x="91" y="60"/>
                      <a:pt x="90" y="58"/>
                    </a:cubicBezTo>
                    <a:cubicBezTo>
                      <a:pt x="90" y="57"/>
                      <a:pt x="92" y="57"/>
                      <a:pt x="93" y="55"/>
                    </a:cubicBezTo>
                    <a:cubicBezTo>
                      <a:pt x="93" y="54"/>
                      <a:pt x="93" y="52"/>
                      <a:pt x="92" y="50"/>
                    </a:cubicBezTo>
                    <a:cubicBezTo>
                      <a:pt x="92" y="48"/>
                      <a:pt x="89" y="46"/>
                      <a:pt x="88" y="43"/>
                    </a:cubicBezTo>
                    <a:cubicBezTo>
                      <a:pt x="88" y="41"/>
                      <a:pt x="91" y="40"/>
                      <a:pt x="92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6" name="Freeform 2557"/>
              <p:cNvSpPr>
                <a:spLocks noChangeAspect="1"/>
              </p:cNvSpPr>
              <p:nvPr/>
            </p:nvSpPr>
            <p:spPr bwMode="auto">
              <a:xfrm>
                <a:off x="4129686" y="3753216"/>
                <a:ext cx="70331" cy="90951"/>
              </a:xfrm>
              <a:custGeom>
                <a:avLst/>
                <a:gdLst>
                  <a:gd name="T0" fmla="*/ 41 w 36"/>
                  <a:gd name="T1" fmla="*/ 32 h 46"/>
                  <a:gd name="T2" fmla="*/ 42 w 36"/>
                  <a:gd name="T3" fmla="*/ 41 h 46"/>
                  <a:gd name="T4" fmla="*/ 33 w 36"/>
                  <a:gd name="T5" fmla="*/ 46 h 46"/>
                  <a:gd name="T6" fmla="*/ 31 w 36"/>
                  <a:gd name="T7" fmla="*/ 51 h 46"/>
                  <a:gd name="T8" fmla="*/ 27 w 36"/>
                  <a:gd name="T9" fmla="*/ 56 h 46"/>
                  <a:gd name="T10" fmla="*/ 13 w 36"/>
                  <a:gd name="T11" fmla="*/ 49 h 46"/>
                  <a:gd name="T12" fmla="*/ 13 w 36"/>
                  <a:gd name="T13" fmla="*/ 44 h 46"/>
                  <a:gd name="T14" fmla="*/ 5 w 36"/>
                  <a:gd name="T15" fmla="*/ 39 h 46"/>
                  <a:gd name="T16" fmla="*/ 5 w 36"/>
                  <a:gd name="T17" fmla="*/ 32 h 46"/>
                  <a:gd name="T18" fmla="*/ 0 w 36"/>
                  <a:gd name="T19" fmla="*/ 28 h 46"/>
                  <a:gd name="T20" fmla="*/ 1 w 36"/>
                  <a:gd name="T21" fmla="*/ 21 h 46"/>
                  <a:gd name="T22" fmla="*/ 2 w 36"/>
                  <a:gd name="T23" fmla="*/ 16 h 46"/>
                  <a:gd name="T24" fmla="*/ 6 w 36"/>
                  <a:gd name="T25" fmla="*/ 11 h 46"/>
                  <a:gd name="T26" fmla="*/ 13 w 36"/>
                  <a:gd name="T27" fmla="*/ 4 h 46"/>
                  <a:gd name="T28" fmla="*/ 19 w 36"/>
                  <a:gd name="T29" fmla="*/ 4 h 46"/>
                  <a:gd name="T30" fmla="*/ 22 w 36"/>
                  <a:gd name="T31" fmla="*/ 1 h 46"/>
                  <a:gd name="T32" fmla="*/ 29 w 36"/>
                  <a:gd name="T33" fmla="*/ 1 h 46"/>
                  <a:gd name="T34" fmla="*/ 33 w 36"/>
                  <a:gd name="T35" fmla="*/ 4 h 46"/>
                  <a:gd name="T36" fmla="*/ 35 w 36"/>
                  <a:gd name="T37" fmla="*/ 9 h 46"/>
                  <a:gd name="T38" fmla="*/ 39 w 36"/>
                  <a:gd name="T39" fmla="*/ 12 h 46"/>
                  <a:gd name="T40" fmla="*/ 38 w 36"/>
                  <a:gd name="T41" fmla="*/ 17 h 46"/>
                  <a:gd name="T42" fmla="*/ 42 w 36"/>
                  <a:gd name="T43" fmla="*/ 24 h 46"/>
                  <a:gd name="T44" fmla="*/ 38 w 36"/>
                  <a:gd name="T45" fmla="*/ 29 h 46"/>
                  <a:gd name="T46" fmla="*/ 41 w 36"/>
                  <a:gd name="T47" fmla="*/ 32 h 4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36"/>
                  <a:gd name="T73" fmla="*/ 0 h 46"/>
                  <a:gd name="T74" fmla="*/ 36 w 36"/>
                  <a:gd name="T75" fmla="*/ 46 h 4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36" h="46">
                    <a:moveTo>
                      <a:pt x="34" y="26"/>
                    </a:moveTo>
                    <a:cubicBezTo>
                      <a:pt x="34" y="29"/>
                      <a:pt x="36" y="31"/>
                      <a:pt x="35" y="34"/>
                    </a:cubicBezTo>
                    <a:cubicBezTo>
                      <a:pt x="33" y="36"/>
                      <a:pt x="30" y="36"/>
                      <a:pt x="28" y="38"/>
                    </a:cubicBezTo>
                    <a:cubicBezTo>
                      <a:pt x="27" y="39"/>
                      <a:pt x="27" y="41"/>
                      <a:pt x="26" y="42"/>
                    </a:cubicBezTo>
                    <a:cubicBezTo>
                      <a:pt x="25" y="44"/>
                      <a:pt x="24" y="45"/>
                      <a:pt x="23" y="46"/>
                    </a:cubicBezTo>
                    <a:cubicBezTo>
                      <a:pt x="19" y="45"/>
                      <a:pt x="15" y="43"/>
                      <a:pt x="11" y="40"/>
                    </a:cubicBezTo>
                    <a:cubicBezTo>
                      <a:pt x="10" y="39"/>
                      <a:pt x="12" y="37"/>
                      <a:pt x="11" y="36"/>
                    </a:cubicBezTo>
                    <a:cubicBezTo>
                      <a:pt x="9" y="34"/>
                      <a:pt x="6" y="34"/>
                      <a:pt x="4" y="32"/>
                    </a:cubicBezTo>
                    <a:cubicBezTo>
                      <a:pt x="3" y="30"/>
                      <a:pt x="5" y="27"/>
                      <a:pt x="4" y="26"/>
                    </a:cubicBezTo>
                    <a:cubicBezTo>
                      <a:pt x="3" y="24"/>
                      <a:pt x="1" y="24"/>
                      <a:pt x="0" y="23"/>
                    </a:cubicBezTo>
                    <a:cubicBezTo>
                      <a:pt x="0" y="21"/>
                      <a:pt x="1" y="19"/>
                      <a:pt x="1" y="17"/>
                    </a:cubicBezTo>
                    <a:cubicBezTo>
                      <a:pt x="1" y="16"/>
                      <a:pt x="2" y="15"/>
                      <a:pt x="2" y="13"/>
                    </a:cubicBezTo>
                    <a:cubicBezTo>
                      <a:pt x="3" y="12"/>
                      <a:pt x="3" y="10"/>
                      <a:pt x="5" y="9"/>
                    </a:cubicBezTo>
                    <a:cubicBezTo>
                      <a:pt x="6" y="6"/>
                      <a:pt x="8" y="4"/>
                      <a:pt x="11" y="3"/>
                    </a:cubicBezTo>
                    <a:cubicBezTo>
                      <a:pt x="12" y="2"/>
                      <a:pt x="14" y="3"/>
                      <a:pt x="16" y="3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0"/>
                      <a:pt x="22" y="0"/>
                      <a:pt x="24" y="1"/>
                    </a:cubicBezTo>
                    <a:cubicBezTo>
                      <a:pt x="26" y="1"/>
                      <a:pt x="27" y="2"/>
                      <a:pt x="28" y="3"/>
                    </a:cubicBezTo>
                    <a:cubicBezTo>
                      <a:pt x="29" y="4"/>
                      <a:pt x="29" y="6"/>
                      <a:pt x="29" y="7"/>
                    </a:cubicBezTo>
                    <a:cubicBezTo>
                      <a:pt x="30" y="8"/>
                      <a:pt x="32" y="9"/>
                      <a:pt x="33" y="10"/>
                    </a:cubicBezTo>
                    <a:cubicBezTo>
                      <a:pt x="33" y="11"/>
                      <a:pt x="32" y="13"/>
                      <a:pt x="32" y="14"/>
                    </a:cubicBezTo>
                    <a:cubicBezTo>
                      <a:pt x="33" y="16"/>
                      <a:pt x="35" y="18"/>
                      <a:pt x="35" y="20"/>
                    </a:cubicBezTo>
                    <a:cubicBezTo>
                      <a:pt x="35" y="21"/>
                      <a:pt x="33" y="22"/>
                      <a:pt x="32" y="24"/>
                    </a:cubicBezTo>
                    <a:cubicBezTo>
                      <a:pt x="32" y="25"/>
                      <a:pt x="34" y="26"/>
                      <a:pt x="34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7" name="Freeform 2558"/>
              <p:cNvSpPr>
                <a:spLocks noChangeAspect="1"/>
              </p:cNvSpPr>
              <p:nvPr/>
            </p:nvSpPr>
            <p:spPr bwMode="auto">
              <a:xfrm>
                <a:off x="4173846" y="3797067"/>
                <a:ext cx="103043" cy="120186"/>
              </a:xfrm>
              <a:custGeom>
                <a:avLst/>
                <a:gdLst>
                  <a:gd name="T0" fmla="*/ 59 w 52"/>
                  <a:gd name="T1" fmla="*/ 74 h 62"/>
                  <a:gd name="T2" fmla="*/ 52 w 52"/>
                  <a:gd name="T3" fmla="*/ 69 h 62"/>
                  <a:gd name="T4" fmla="*/ 42 w 52"/>
                  <a:gd name="T5" fmla="*/ 64 h 62"/>
                  <a:gd name="T6" fmla="*/ 30 w 52"/>
                  <a:gd name="T7" fmla="*/ 56 h 62"/>
                  <a:gd name="T8" fmla="*/ 19 w 52"/>
                  <a:gd name="T9" fmla="*/ 45 h 62"/>
                  <a:gd name="T10" fmla="*/ 10 w 52"/>
                  <a:gd name="T11" fmla="*/ 38 h 62"/>
                  <a:gd name="T12" fmla="*/ 1 w 52"/>
                  <a:gd name="T13" fmla="*/ 33 h 62"/>
                  <a:gd name="T14" fmla="*/ 0 w 52"/>
                  <a:gd name="T15" fmla="*/ 29 h 62"/>
                  <a:gd name="T16" fmla="*/ 4 w 52"/>
                  <a:gd name="T17" fmla="*/ 24 h 62"/>
                  <a:gd name="T18" fmla="*/ 6 w 52"/>
                  <a:gd name="T19" fmla="*/ 19 h 62"/>
                  <a:gd name="T20" fmla="*/ 15 w 52"/>
                  <a:gd name="T21" fmla="*/ 14 h 62"/>
                  <a:gd name="T22" fmla="*/ 13 w 52"/>
                  <a:gd name="T23" fmla="*/ 5 h 62"/>
                  <a:gd name="T24" fmla="*/ 19 w 52"/>
                  <a:gd name="T25" fmla="*/ 1 h 62"/>
                  <a:gd name="T26" fmla="*/ 24 w 52"/>
                  <a:gd name="T27" fmla="*/ 2 h 62"/>
                  <a:gd name="T28" fmla="*/ 25 w 52"/>
                  <a:gd name="T29" fmla="*/ 0 h 62"/>
                  <a:gd name="T30" fmla="*/ 30 w 52"/>
                  <a:gd name="T31" fmla="*/ 1 h 62"/>
                  <a:gd name="T32" fmla="*/ 30 w 52"/>
                  <a:gd name="T33" fmla="*/ 7 h 62"/>
                  <a:gd name="T34" fmla="*/ 35 w 52"/>
                  <a:gd name="T35" fmla="*/ 13 h 62"/>
                  <a:gd name="T36" fmla="*/ 30 w 52"/>
                  <a:gd name="T37" fmla="*/ 16 h 62"/>
                  <a:gd name="T38" fmla="*/ 29 w 52"/>
                  <a:gd name="T39" fmla="*/ 23 h 62"/>
                  <a:gd name="T40" fmla="*/ 34 w 52"/>
                  <a:gd name="T41" fmla="*/ 24 h 62"/>
                  <a:gd name="T42" fmla="*/ 39 w 52"/>
                  <a:gd name="T43" fmla="*/ 21 h 62"/>
                  <a:gd name="T44" fmla="*/ 42 w 52"/>
                  <a:gd name="T45" fmla="*/ 16 h 62"/>
                  <a:gd name="T46" fmla="*/ 48 w 52"/>
                  <a:gd name="T47" fmla="*/ 21 h 62"/>
                  <a:gd name="T48" fmla="*/ 50 w 52"/>
                  <a:gd name="T49" fmla="*/ 27 h 62"/>
                  <a:gd name="T50" fmla="*/ 45 w 52"/>
                  <a:gd name="T51" fmla="*/ 33 h 62"/>
                  <a:gd name="T52" fmla="*/ 50 w 52"/>
                  <a:gd name="T53" fmla="*/ 39 h 62"/>
                  <a:gd name="T54" fmla="*/ 56 w 52"/>
                  <a:gd name="T55" fmla="*/ 41 h 62"/>
                  <a:gd name="T56" fmla="*/ 56 w 52"/>
                  <a:gd name="T57" fmla="*/ 45 h 62"/>
                  <a:gd name="T58" fmla="*/ 62 w 52"/>
                  <a:gd name="T59" fmla="*/ 47 h 62"/>
                  <a:gd name="T60" fmla="*/ 62 w 52"/>
                  <a:gd name="T61" fmla="*/ 55 h 62"/>
                  <a:gd name="T62" fmla="*/ 58 w 52"/>
                  <a:gd name="T63" fmla="*/ 61 h 62"/>
                  <a:gd name="T64" fmla="*/ 59 w 52"/>
                  <a:gd name="T65" fmla="*/ 74 h 6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2"/>
                  <a:gd name="T100" fmla="*/ 0 h 62"/>
                  <a:gd name="T101" fmla="*/ 52 w 52"/>
                  <a:gd name="T102" fmla="*/ 62 h 6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2" h="62">
                    <a:moveTo>
                      <a:pt x="49" y="62"/>
                    </a:moveTo>
                    <a:cubicBezTo>
                      <a:pt x="47" y="61"/>
                      <a:pt x="45" y="59"/>
                      <a:pt x="43" y="58"/>
                    </a:cubicBezTo>
                    <a:cubicBezTo>
                      <a:pt x="40" y="57"/>
                      <a:pt x="38" y="56"/>
                      <a:pt x="35" y="54"/>
                    </a:cubicBezTo>
                    <a:cubicBezTo>
                      <a:pt x="32" y="52"/>
                      <a:pt x="28" y="50"/>
                      <a:pt x="25" y="47"/>
                    </a:cubicBezTo>
                    <a:cubicBezTo>
                      <a:pt x="21" y="44"/>
                      <a:pt x="19" y="41"/>
                      <a:pt x="16" y="38"/>
                    </a:cubicBezTo>
                    <a:cubicBezTo>
                      <a:pt x="14" y="36"/>
                      <a:pt x="11" y="33"/>
                      <a:pt x="8" y="32"/>
                    </a:cubicBezTo>
                    <a:cubicBezTo>
                      <a:pt x="6" y="30"/>
                      <a:pt x="3" y="30"/>
                      <a:pt x="1" y="28"/>
                    </a:cubicBezTo>
                    <a:cubicBezTo>
                      <a:pt x="0" y="28"/>
                      <a:pt x="0" y="26"/>
                      <a:pt x="0" y="24"/>
                    </a:cubicBezTo>
                    <a:cubicBezTo>
                      <a:pt x="1" y="23"/>
                      <a:pt x="2" y="22"/>
                      <a:pt x="3" y="20"/>
                    </a:cubicBezTo>
                    <a:cubicBezTo>
                      <a:pt x="4" y="19"/>
                      <a:pt x="4" y="17"/>
                      <a:pt x="5" y="16"/>
                    </a:cubicBezTo>
                    <a:cubicBezTo>
                      <a:pt x="7" y="14"/>
                      <a:pt x="10" y="14"/>
                      <a:pt x="12" y="12"/>
                    </a:cubicBezTo>
                    <a:cubicBezTo>
                      <a:pt x="13" y="9"/>
                      <a:pt x="11" y="7"/>
                      <a:pt x="11" y="4"/>
                    </a:cubicBezTo>
                    <a:cubicBezTo>
                      <a:pt x="13" y="3"/>
                      <a:pt x="14" y="2"/>
                      <a:pt x="16" y="1"/>
                    </a:cubicBezTo>
                    <a:cubicBezTo>
                      <a:pt x="17" y="1"/>
                      <a:pt x="19" y="2"/>
                      <a:pt x="20" y="2"/>
                    </a:cubicBezTo>
                    <a:cubicBezTo>
                      <a:pt x="21" y="2"/>
                      <a:pt x="20" y="0"/>
                      <a:pt x="21" y="0"/>
                    </a:cubicBezTo>
                    <a:cubicBezTo>
                      <a:pt x="23" y="0"/>
                      <a:pt x="24" y="0"/>
                      <a:pt x="25" y="1"/>
                    </a:cubicBezTo>
                    <a:cubicBezTo>
                      <a:pt x="26" y="3"/>
                      <a:pt x="24" y="5"/>
                      <a:pt x="25" y="6"/>
                    </a:cubicBezTo>
                    <a:cubicBezTo>
                      <a:pt x="26" y="8"/>
                      <a:pt x="29" y="9"/>
                      <a:pt x="29" y="11"/>
                    </a:cubicBezTo>
                    <a:cubicBezTo>
                      <a:pt x="29" y="13"/>
                      <a:pt x="26" y="12"/>
                      <a:pt x="25" y="13"/>
                    </a:cubicBezTo>
                    <a:cubicBezTo>
                      <a:pt x="24" y="15"/>
                      <a:pt x="24" y="17"/>
                      <a:pt x="24" y="19"/>
                    </a:cubicBezTo>
                    <a:cubicBezTo>
                      <a:pt x="25" y="20"/>
                      <a:pt x="27" y="20"/>
                      <a:pt x="28" y="20"/>
                    </a:cubicBezTo>
                    <a:cubicBezTo>
                      <a:pt x="30" y="20"/>
                      <a:pt x="31" y="19"/>
                      <a:pt x="32" y="18"/>
                    </a:cubicBezTo>
                    <a:cubicBezTo>
                      <a:pt x="33" y="17"/>
                      <a:pt x="33" y="13"/>
                      <a:pt x="35" y="13"/>
                    </a:cubicBezTo>
                    <a:cubicBezTo>
                      <a:pt x="37" y="13"/>
                      <a:pt x="38" y="16"/>
                      <a:pt x="40" y="18"/>
                    </a:cubicBezTo>
                    <a:cubicBezTo>
                      <a:pt x="40" y="20"/>
                      <a:pt x="41" y="21"/>
                      <a:pt x="41" y="23"/>
                    </a:cubicBezTo>
                    <a:cubicBezTo>
                      <a:pt x="40" y="25"/>
                      <a:pt x="37" y="26"/>
                      <a:pt x="37" y="28"/>
                    </a:cubicBezTo>
                    <a:cubicBezTo>
                      <a:pt x="37" y="30"/>
                      <a:pt x="39" y="32"/>
                      <a:pt x="41" y="33"/>
                    </a:cubicBezTo>
                    <a:cubicBezTo>
                      <a:pt x="43" y="34"/>
                      <a:pt x="45" y="33"/>
                      <a:pt x="46" y="34"/>
                    </a:cubicBezTo>
                    <a:cubicBezTo>
                      <a:pt x="47" y="35"/>
                      <a:pt x="45" y="37"/>
                      <a:pt x="46" y="38"/>
                    </a:cubicBezTo>
                    <a:cubicBezTo>
                      <a:pt x="47" y="39"/>
                      <a:pt x="50" y="38"/>
                      <a:pt x="51" y="39"/>
                    </a:cubicBezTo>
                    <a:cubicBezTo>
                      <a:pt x="52" y="41"/>
                      <a:pt x="51" y="44"/>
                      <a:pt x="51" y="46"/>
                    </a:cubicBezTo>
                    <a:cubicBezTo>
                      <a:pt x="50" y="48"/>
                      <a:pt x="48" y="49"/>
                      <a:pt x="48" y="51"/>
                    </a:cubicBezTo>
                    <a:cubicBezTo>
                      <a:pt x="48" y="54"/>
                      <a:pt x="49" y="58"/>
                      <a:pt x="49" y="6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8" name="Freeform 2559"/>
              <p:cNvSpPr>
                <a:spLocks noChangeAspect="1"/>
              </p:cNvSpPr>
              <p:nvPr/>
            </p:nvSpPr>
            <p:spPr bwMode="auto">
              <a:xfrm>
                <a:off x="4247448" y="3738599"/>
                <a:ext cx="148839" cy="178654"/>
              </a:xfrm>
              <a:custGeom>
                <a:avLst/>
                <a:gdLst>
                  <a:gd name="T0" fmla="*/ 86 w 76"/>
                  <a:gd name="T1" fmla="*/ 97 h 92"/>
                  <a:gd name="T2" fmla="*/ 72 w 76"/>
                  <a:gd name="T3" fmla="*/ 94 h 92"/>
                  <a:gd name="T4" fmla="*/ 68 w 76"/>
                  <a:gd name="T5" fmla="*/ 97 h 92"/>
                  <a:gd name="T6" fmla="*/ 63 w 76"/>
                  <a:gd name="T7" fmla="*/ 94 h 92"/>
                  <a:gd name="T8" fmla="*/ 46 w 76"/>
                  <a:gd name="T9" fmla="*/ 96 h 92"/>
                  <a:gd name="T10" fmla="*/ 28 w 76"/>
                  <a:gd name="T11" fmla="*/ 102 h 92"/>
                  <a:gd name="T12" fmla="*/ 14 w 76"/>
                  <a:gd name="T13" fmla="*/ 110 h 92"/>
                  <a:gd name="T14" fmla="*/ 13 w 76"/>
                  <a:gd name="T15" fmla="*/ 97 h 92"/>
                  <a:gd name="T16" fmla="*/ 17 w 76"/>
                  <a:gd name="T17" fmla="*/ 91 h 92"/>
                  <a:gd name="T18" fmla="*/ 17 w 76"/>
                  <a:gd name="T19" fmla="*/ 83 h 92"/>
                  <a:gd name="T20" fmla="*/ 11 w 76"/>
                  <a:gd name="T21" fmla="*/ 81 h 92"/>
                  <a:gd name="T22" fmla="*/ 11 w 76"/>
                  <a:gd name="T23" fmla="*/ 77 h 92"/>
                  <a:gd name="T24" fmla="*/ 5 w 76"/>
                  <a:gd name="T25" fmla="*/ 75 h 92"/>
                  <a:gd name="T26" fmla="*/ 0 w 76"/>
                  <a:gd name="T27" fmla="*/ 69 h 92"/>
                  <a:gd name="T28" fmla="*/ 5 w 76"/>
                  <a:gd name="T29" fmla="*/ 63 h 92"/>
                  <a:gd name="T30" fmla="*/ 4 w 76"/>
                  <a:gd name="T31" fmla="*/ 57 h 92"/>
                  <a:gd name="T32" fmla="*/ 6 w 76"/>
                  <a:gd name="T33" fmla="*/ 53 h 92"/>
                  <a:gd name="T34" fmla="*/ 5 w 76"/>
                  <a:gd name="T35" fmla="*/ 49 h 92"/>
                  <a:gd name="T36" fmla="*/ 10 w 76"/>
                  <a:gd name="T37" fmla="*/ 43 h 92"/>
                  <a:gd name="T38" fmla="*/ 4 w 76"/>
                  <a:gd name="T39" fmla="*/ 41 h 92"/>
                  <a:gd name="T40" fmla="*/ 14 w 76"/>
                  <a:gd name="T41" fmla="*/ 37 h 92"/>
                  <a:gd name="T42" fmla="*/ 8 w 76"/>
                  <a:gd name="T43" fmla="*/ 32 h 92"/>
                  <a:gd name="T44" fmla="*/ 12 w 76"/>
                  <a:gd name="T45" fmla="*/ 29 h 92"/>
                  <a:gd name="T46" fmla="*/ 11 w 76"/>
                  <a:gd name="T47" fmla="*/ 23 h 92"/>
                  <a:gd name="T48" fmla="*/ 6 w 76"/>
                  <a:gd name="T49" fmla="*/ 14 h 92"/>
                  <a:gd name="T50" fmla="*/ 11 w 76"/>
                  <a:gd name="T51" fmla="*/ 8 h 92"/>
                  <a:gd name="T52" fmla="*/ 13 w 76"/>
                  <a:gd name="T53" fmla="*/ 4 h 92"/>
                  <a:gd name="T54" fmla="*/ 19 w 76"/>
                  <a:gd name="T55" fmla="*/ 5 h 92"/>
                  <a:gd name="T56" fmla="*/ 25 w 76"/>
                  <a:gd name="T57" fmla="*/ 6 h 92"/>
                  <a:gd name="T58" fmla="*/ 26 w 76"/>
                  <a:gd name="T59" fmla="*/ 0 h 92"/>
                  <a:gd name="T60" fmla="*/ 30 w 76"/>
                  <a:gd name="T61" fmla="*/ 2 h 92"/>
                  <a:gd name="T62" fmla="*/ 35 w 76"/>
                  <a:gd name="T63" fmla="*/ 0 h 92"/>
                  <a:gd name="T64" fmla="*/ 35 w 76"/>
                  <a:gd name="T65" fmla="*/ 7 h 92"/>
                  <a:gd name="T66" fmla="*/ 40 w 76"/>
                  <a:gd name="T67" fmla="*/ 6 h 92"/>
                  <a:gd name="T68" fmla="*/ 49 w 76"/>
                  <a:gd name="T69" fmla="*/ 4 h 92"/>
                  <a:gd name="T70" fmla="*/ 49 w 76"/>
                  <a:gd name="T71" fmla="*/ 8 h 92"/>
                  <a:gd name="T72" fmla="*/ 53 w 76"/>
                  <a:gd name="T73" fmla="*/ 10 h 92"/>
                  <a:gd name="T74" fmla="*/ 53 w 76"/>
                  <a:gd name="T75" fmla="*/ 14 h 92"/>
                  <a:gd name="T76" fmla="*/ 56 w 76"/>
                  <a:gd name="T77" fmla="*/ 16 h 92"/>
                  <a:gd name="T78" fmla="*/ 60 w 76"/>
                  <a:gd name="T79" fmla="*/ 17 h 92"/>
                  <a:gd name="T80" fmla="*/ 67 w 76"/>
                  <a:gd name="T81" fmla="*/ 14 h 92"/>
                  <a:gd name="T82" fmla="*/ 77 w 76"/>
                  <a:gd name="T83" fmla="*/ 13 h 92"/>
                  <a:gd name="T84" fmla="*/ 83 w 76"/>
                  <a:gd name="T85" fmla="*/ 14 h 92"/>
                  <a:gd name="T86" fmla="*/ 86 w 76"/>
                  <a:gd name="T87" fmla="*/ 18 h 92"/>
                  <a:gd name="T88" fmla="*/ 87 w 76"/>
                  <a:gd name="T89" fmla="*/ 25 h 92"/>
                  <a:gd name="T90" fmla="*/ 89 w 76"/>
                  <a:gd name="T91" fmla="*/ 30 h 92"/>
                  <a:gd name="T92" fmla="*/ 90 w 76"/>
                  <a:gd name="T93" fmla="*/ 36 h 92"/>
                  <a:gd name="T94" fmla="*/ 90 w 76"/>
                  <a:gd name="T95" fmla="*/ 42 h 92"/>
                  <a:gd name="T96" fmla="*/ 87 w 76"/>
                  <a:gd name="T97" fmla="*/ 48 h 92"/>
                  <a:gd name="T98" fmla="*/ 86 w 76"/>
                  <a:gd name="T99" fmla="*/ 59 h 92"/>
                  <a:gd name="T100" fmla="*/ 81 w 76"/>
                  <a:gd name="T101" fmla="*/ 66 h 92"/>
                  <a:gd name="T102" fmla="*/ 84 w 76"/>
                  <a:gd name="T103" fmla="*/ 75 h 92"/>
                  <a:gd name="T104" fmla="*/ 83 w 76"/>
                  <a:gd name="T105" fmla="*/ 84 h 92"/>
                  <a:gd name="T106" fmla="*/ 87 w 76"/>
                  <a:gd name="T107" fmla="*/ 87 h 92"/>
                  <a:gd name="T108" fmla="*/ 87 w 76"/>
                  <a:gd name="T109" fmla="*/ 94 h 92"/>
                  <a:gd name="T110" fmla="*/ 86 w 76"/>
                  <a:gd name="T111" fmla="*/ 97 h 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6"/>
                  <a:gd name="T169" fmla="*/ 0 h 92"/>
                  <a:gd name="T170" fmla="*/ 76 w 76"/>
                  <a:gd name="T171" fmla="*/ 92 h 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6" h="92">
                    <a:moveTo>
                      <a:pt x="72" y="81"/>
                    </a:moveTo>
                    <a:cubicBezTo>
                      <a:pt x="68" y="80"/>
                      <a:pt x="64" y="79"/>
                      <a:pt x="60" y="79"/>
                    </a:cubicBezTo>
                    <a:cubicBezTo>
                      <a:pt x="59" y="79"/>
                      <a:pt x="58" y="81"/>
                      <a:pt x="57" y="81"/>
                    </a:cubicBezTo>
                    <a:cubicBezTo>
                      <a:pt x="56" y="81"/>
                      <a:pt x="54" y="79"/>
                      <a:pt x="53" y="79"/>
                    </a:cubicBezTo>
                    <a:cubicBezTo>
                      <a:pt x="48" y="79"/>
                      <a:pt x="42" y="79"/>
                      <a:pt x="38" y="80"/>
                    </a:cubicBezTo>
                    <a:cubicBezTo>
                      <a:pt x="32" y="81"/>
                      <a:pt x="28" y="83"/>
                      <a:pt x="23" y="85"/>
                    </a:cubicBezTo>
                    <a:cubicBezTo>
                      <a:pt x="19" y="87"/>
                      <a:pt x="16" y="89"/>
                      <a:pt x="12" y="92"/>
                    </a:cubicBezTo>
                    <a:cubicBezTo>
                      <a:pt x="12" y="88"/>
                      <a:pt x="11" y="84"/>
                      <a:pt x="11" y="81"/>
                    </a:cubicBezTo>
                    <a:cubicBezTo>
                      <a:pt x="11" y="79"/>
                      <a:pt x="13" y="78"/>
                      <a:pt x="14" y="76"/>
                    </a:cubicBezTo>
                    <a:cubicBezTo>
                      <a:pt x="14" y="74"/>
                      <a:pt x="15" y="71"/>
                      <a:pt x="14" y="69"/>
                    </a:cubicBezTo>
                    <a:cubicBezTo>
                      <a:pt x="13" y="68"/>
                      <a:pt x="10" y="69"/>
                      <a:pt x="9" y="68"/>
                    </a:cubicBezTo>
                    <a:cubicBezTo>
                      <a:pt x="8" y="67"/>
                      <a:pt x="10" y="65"/>
                      <a:pt x="9" y="64"/>
                    </a:cubicBezTo>
                    <a:cubicBezTo>
                      <a:pt x="8" y="63"/>
                      <a:pt x="6" y="64"/>
                      <a:pt x="4" y="63"/>
                    </a:cubicBezTo>
                    <a:cubicBezTo>
                      <a:pt x="2" y="62"/>
                      <a:pt x="0" y="60"/>
                      <a:pt x="0" y="58"/>
                    </a:cubicBezTo>
                    <a:cubicBezTo>
                      <a:pt x="0" y="56"/>
                      <a:pt x="3" y="55"/>
                      <a:pt x="4" y="53"/>
                    </a:cubicBezTo>
                    <a:cubicBezTo>
                      <a:pt x="4" y="51"/>
                      <a:pt x="3" y="50"/>
                      <a:pt x="3" y="48"/>
                    </a:cubicBezTo>
                    <a:cubicBezTo>
                      <a:pt x="4" y="47"/>
                      <a:pt x="5" y="46"/>
                      <a:pt x="5" y="44"/>
                    </a:cubicBezTo>
                    <a:cubicBezTo>
                      <a:pt x="6" y="43"/>
                      <a:pt x="4" y="42"/>
                      <a:pt x="4" y="41"/>
                    </a:cubicBezTo>
                    <a:cubicBezTo>
                      <a:pt x="4" y="39"/>
                      <a:pt x="8" y="38"/>
                      <a:pt x="8" y="36"/>
                    </a:cubicBezTo>
                    <a:cubicBezTo>
                      <a:pt x="8" y="35"/>
                      <a:pt x="2" y="35"/>
                      <a:pt x="3" y="34"/>
                    </a:cubicBezTo>
                    <a:cubicBezTo>
                      <a:pt x="5" y="31"/>
                      <a:pt x="10" y="33"/>
                      <a:pt x="12" y="31"/>
                    </a:cubicBezTo>
                    <a:cubicBezTo>
                      <a:pt x="13" y="29"/>
                      <a:pt x="8" y="29"/>
                      <a:pt x="7" y="27"/>
                    </a:cubicBezTo>
                    <a:cubicBezTo>
                      <a:pt x="7" y="26"/>
                      <a:pt x="9" y="26"/>
                      <a:pt x="10" y="24"/>
                    </a:cubicBezTo>
                    <a:cubicBezTo>
                      <a:pt x="10" y="23"/>
                      <a:pt x="10" y="21"/>
                      <a:pt x="9" y="19"/>
                    </a:cubicBezTo>
                    <a:cubicBezTo>
                      <a:pt x="9" y="17"/>
                      <a:pt x="6" y="15"/>
                      <a:pt x="5" y="12"/>
                    </a:cubicBezTo>
                    <a:cubicBezTo>
                      <a:pt x="5" y="10"/>
                      <a:pt x="8" y="9"/>
                      <a:pt x="9" y="7"/>
                    </a:cubicBezTo>
                    <a:cubicBezTo>
                      <a:pt x="10" y="6"/>
                      <a:pt x="10" y="4"/>
                      <a:pt x="11" y="3"/>
                    </a:cubicBezTo>
                    <a:cubicBezTo>
                      <a:pt x="13" y="3"/>
                      <a:pt x="15" y="4"/>
                      <a:pt x="16" y="4"/>
                    </a:cubicBezTo>
                    <a:cubicBezTo>
                      <a:pt x="18" y="5"/>
                      <a:pt x="19" y="6"/>
                      <a:pt x="21" y="5"/>
                    </a:cubicBezTo>
                    <a:cubicBezTo>
                      <a:pt x="22" y="4"/>
                      <a:pt x="21" y="1"/>
                      <a:pt x="22" y="0"/>
                    </a:cubicBezTo>
                    <a:cubicBezTo>
                      <a:pt x="23" y="0"/>
                      <a:pt x="24" y="2"/>
                      <a:pt x="25" y="2"/>
                    </a:cubicBezTo>
                    <a:cubicBezTo>
                      <a:pt x="27" y="2"/>
                      <a:pt x="28" y="0"/>
                      <a:pt x="29" y="0"/>
                    </a:cubicBezTo>
                    <a:cubicBezTo>
                      <a:pt x="30" y="2"/>
                      <a:pt x="28" y="5"/>
                      <a:pt x="29" y="6"/>
                    </a:cubicBezTo>
                    <a:cubicBezTo>
                      <a:pt x="30" y="7"/>
                      <a:pt x="32" y="5"/>
                      <a:pt x="33" y="5"/>
                    </a:cubicBezTo>
                    <a:cubicBezTo>
                      <a:pt x="36" y="4"/>
                      <a:pt x="39" y="4"/>
                      <a:pt x="41" y="3"/>
                    </a:cubicBezTo>
                    <a:cubicBezTo>
                      <a:pt x="41" y="4"/>
                      <a:pt x="40" y="6"/>
                      <a:pt x="41" y="7"/>
                    </a:cubicBezTo>
                    <a:cubicBezTo>
                      <a:pt x="41" y="8"/>
                      <a:pt x="43" y="7"/>
                      <a:pt x="44" y="8"/>
                    </a:cubicBezTo>
                    <a:cubicBezTo>
                      <a:pt x="44" y="9"/>
                      <a:pt x="43" y="11"/>
                      <a:pt x="44" y="12"/>
                    </a:cubicBezTo>
                    <a:cubicBezTo>
                      <a:pt x="44" y="13"/>
                      <a:pt x="46" y="12"/>
                      <a:pt x="47" y="13"/>
                    </a:cubicBezTo>
                    <a:cubicBezTo>
                      <a:pt x="48" y="13"/>
                      <a:pt x="49" y="15"/>
                      <a:pt x="50" y="14"/>
                    </a:cubicBezTo>
                    <a:cubicBezTo>
                      <a:pt x="52" y="14"/>
                      <a:pt x="54" y="12"/>
                      <a:pt x="56" y="12"/>
                    </a:cubicBezTo>
                    <a:cubicBezTo>
                      <a:pt x="58" y="11"/>
                      <a:pt x="61" y="11"/>
                      <a:pt x="64" y="11"/>
                    </a:cubicBezTo>
                    <a:cubicBezTo>
                      <a:pt x="66" y="11"/>
                      <a:pt x="68" y="11"/>
                      <a:pt x="69" y="12"/>
                    </a:cubicBezTo>
                    <a:cubicBezTo>
                      <a:pt x="70" y="13"/>
                      <a:pt x="71" y="14"/>
                      <a:pt x="72" y="15"/>
                    </a:cubicBezTo>
                    <a:cubicBezTo>
                      <a:pt x="72" y="17"/>
                      <a:pt x="72" y="19"/>
                      <a:pt x="73" y="21"/>
                    </a:cubicBezTo>
                    <a:cubicBezTo>
                      <a:pt x="73" y="22"/>
                      <a:pt x="73" y="23"/>
                      <a:pt x="74" y="25"/>
                    </a:cubicBezTo>
                    <a:cubicBezTo>
                      <a:pt x="74" y="27"/>
                      <a:pt x="75" y="28"/>
                      <a:pt x="75" y="30"/>
                    </a:cubicBezTo>
                    <a:cubicBezTo>
                      <a:pt x="76" y="32"/>
                      <a:pt x="76" y="34"/>
                      <a:pt x="75" y="35"/>
                    </a:cubicBezTo>
                    <a:cubicBezTo>
                      <a:pt x="75" y="37"/>
                      <a:pt x="73" y="38"/>
                      <a:pt x="73" y="40"/>
                    </a:cubicBezTo>
                    <a:cubicBezTo>
                      <a:pt x="72" y="43"/>
                      <a:pt x="73" y="46"/>
                      <a:pt x="72" y="49"/>
                    </a:cubicBezTo>
                    <a:cubicBezTo>
                      <a:pt x="71" y="51"/>
                      <a:pt x="68" y="53"/>
                      <a:pt x="68" y="55"/>
                    </a:cubicBezTo>
                    <a:cubicBezTo>
                      <a:pt x="67" y="58"/>
                      <a:pt x="70" y="60"/>
                      <a:pt x="70" y="63"/>
                    </a:cubicBezTo>
                    <a:cubicBezTo>
                      <a:pt x="70" y="65"/>
                      <a:pt x="69" y="68"/>
                      <a:pt x="69" y="70"/>
                    </a:cubicBezTo>
                    <a:cubicBezTo>
                      <a:pt x="70" y="71"/>
                      <a:pt x="72" y="71"/>
                      <a:pt x="73" y="73"/>
                    </a:cubicBezTo>
                    <a:cubicBezTo>
                      <a:pt x="74" y="75"/>
                      <a:pt x="73" y="77"/>
                      <a:pt x="73" y="79"/>
                    </a:cubicBezTo>
                    <a:cubicBezTo>
                      <a:pt x="73" y="79"/>
                      <a:pt x="72" y="80"/>
                      <a:pt x="72" y="8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49" name="Freeform 2560"/>
              <p:cNvSpPr>
                <a:spLocks noChangeAspect="1"/>
              </p:cNvSpPr>
              <p:nvPr/>
            </p:nvSpPr>
            <p:spPr bwMode="auto">
              <a:xfrm>
                <a:off x="4154219" y="3313076"/>
                <a:ext cx="408897" cy="438515"/>
              </a:xfrm>
              <a:custGeom>
                <a:avLst/>
                <a:gdLst>
                  <a:gd name="T0" fmla="*/ 96 w 208"/>
                  <a:gd name="T1" fmla="*/ 268 h 225"/>
                  <a:gd name="T2" fmla="*/ 91 w 208"/>
                  <a:gd name="T3" fmla="*/ 262 h 225"/>
                  <a:gd name="T4" fmla="*/ 83 w 208"/>
                  <a:gd name="T5" fmla="*/ 262 h 225"/>
                  <a:gd name="T6" fmla="*/ 76 w 208"/>
                  <a:gd name="T7" fmla="*/ 266 h 225"/>
                  <a:gd name="T8" fmla="*/ 67 w 208"/>
                  <a:gd name="T9" fmla="*/ 270 h 225"/>
                  <a:gd name="T10" fmla="*/ 59 w 208"/>
                  <a:gd name="T11" fmla="*/ 256 h 225"/>
                  <a:gd name="T12" fmla="*/ 58 w 208"/>
                  <a:gd name="T13" fmla="*/ 247 h 225"/>
                  <a:gd name="T14" fmla="*/ 52 w 208"/>
                  <a:gd name="T15" fmla="*/ 233 h 225"/>
                  <a:gd name="T16" fmla="*/ 42 w 208"/>
                  <a:gd name="T17" fmla="*/ 234 h 225"/>
                  <a:gd name="T18" fmla="*/ 32 w 208"/>
                  <a:gd name="T19" fmla="*/ 234 h 225"/>
                  <a:gd name="T20" fmla="*/ 19 w 208"/>
                  <a:gd name="T21" fmla="*/ 232 h 225"/>
                  <a:gd name="T22" fmla="*/ 11 w 208"/>
                  <a:gd name="T23" fmla="*/ 235 h 225"/>
                  <a:gd name="T24" fmla="*/ 12 w 208"/>
                  <a:gd name="T25" fmla="*/ 221 h 225"/>
                  <a:gd name="T26" fmla="*/ 5 w 208"/>
                  <a:gd name="T27" fmla="*/ 214 h 225"/>
                  <a:gd name="T28" fmla="*/ 4 w 208"/>
                  <a:gd name="T29" fmla="*/ 198 h 225"/>
                  <a:gd name="T30" fmla="*/ 6 w 208"/>
                  <a:gd name="T31" fmla="*/ 187 h 225"/>
                  <a:gd name="T32" fmla="*/ 14 w 208"/>
                  <a:gd name="T33" fmla="*/ 178 h 225"/>
                  <a:gd name="T34" fmla="*/ 25 w 208"/>
                  <a:gd name="T35" fmla="*/ 179 h 225"/>
                  <a:gd name="T36" fmla="*/ 44 w 208"/>
                  <a:gd name="T37" fmla="*/ 174 h 225"/>
                  <a:gd name="T38" fmla="*/ 103 w 208"/>
                  <a:gd name="T39" fmla="*/ 179 h 225"/>
                  <a:gd name="T40" fmla="*/ 102 w 208"/>
                  <a:gd name="T41" fmla="*/ 160 h 225"/>
                  <a:gd name="T42" fmla="*/ 112 w 208"/>
                  <a:gd name="T43" fmla="*/ 7 h 225"/>
                  <a:gd name="T44" fmla="*/ 203 w 208"/>
                  <a:gd name="T45" fmla="*/ 86 h 225"/>
                  <a:gd name="T46" fmla="*/ 215 w 208"/>
                  <a:gd name="T47" fmla="*/ 95 h 225"/>
                  <a:gd name="T48" fmla="*/ 233 w 208"/>
                  <a:gd name="T49" fmla="*/ 102 h 225"/>
                  <a:gd name="T50" fmla="*/ 236 w 208"/>
                  <a:gd name="T51" fmla="*/ 116 h 225"/>
                  <a:gd name="T52" fmla="*/ 250 w 208"/>
                  <a:gd name="T53" fmla="*/ 167 h 225"/>
                  <a:gd name="T54" fmla="*/ 243 w 208"/>
                  <a:gd name="T55" fmla="*/ 173 h 225"/>
                  <a:gd name="T56" fmla="*/ 236 w 208"/>
                  <a:gd name="T57" fmla="*/ 179 h 225"/>
                  <a:gd name="T58" fmla="*/ 198 w 208"/>
                  <a:gd name="T59" fmla="*/ 187 h 225"/>
                  <a:gd name="T60" fmla="*/ 177 w 208"/>
                  <a:gd name="T61" fmla="*/ 184 h 225"/>
                  <a:gd name="T62" fmla="*/ 155 w 208"/>
                  <a:gd name="T63" fmla="*/ 200 h 225"/>
                  <a:gd name="T64" fmla="*/ 144 w 208"/>
                  <a:gd name="T65" fmla="*/ 204 h 225"/>
                  <a:gd name="T66" fmla="*/ 138 w 208"/>
                  <a:gd name="T67" fmla="*/ 209 h 225"/>
                  <a:gd name="T68" fmla="*/ 133 w 208"/>
                  <a:gd name="T69" fmla="*/ 217 h 225"/>
                  <a:gd name="T70" fmla="*/ 121 w 208"/>
                  <a:gd name="T71" fmla="*/ 216 h 225"/>
                  <a:gd name="T72" fmla="*/ 119 w 208"/>
                  <a:gd name="T73" fmla="*/ 227 h 225"/>
                  <a:gd name="T74" fmla="*/ 118 w 208"/>
                  <a:gd name="T75" fmla="*/ 232 h 225"/>
                  <a:gd name="T76" fmla="*/ 103 w 208"/>
                  <a:gd name="T77" fmla="*/ 239 h 225"/>
                  <a:gd name="T78" fmla="*/ 105 w 208"/>
                  <a:gd name="T79" fmla="*/ 254 h 22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8"/>
                  <a:gd name="T121" fmla="*/ 0 h 225"/>
                  <a:gd name="T122" fmla="*/ 208 w 208"/>
                  <a:gd name="T123" fmla="*/ 225 h 22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8" h="225">
                    <a:moveTo>
                      <a:pt x="88" y="221"/>
                    </a:moveTo>
                    <a:cubicBezTo>
                      <a:pt x="86" y="222"/>
                      <a:pt x="83" y="222"/>
                      <a:pt x="80" y="223"/>
                    </a:cubicBezTo>
                    <a:cubicBezTo>
                      <a:pt x="79" y="223"/>
                      <a:pt x="77" y="225"/>
                      <a:pt x="76" y="224"/>
                    </a:cubicBezTo>
                    <a:cubicBezTo>
                      <a:pt x="75" y="223"/>
                      <a:pt x="77" y="220"/>
                      <a:pt x="76" y="218"/>
                    </a:cubicBezTo>
                    <a:cubicBezTo>
                      <a:pt x="75" y="218"/>
                      <a:pt x="74" y="220"/>
                      <a:pt x="72" y="220"/>
                    </a:cubicBezTo>
                    <a:cubicBezTo>
                      <a:pt x="71" y="220"/>
                      <a:pt x="70" y="218"/>
                      <a:pt x="69" y="218"/>
                    </a:cubicBezTo>
                    <a:cubicBezTo>
                      <a:pt x="68" y="219"/>
                      <a:pt x="69" y="222"/>
                      <a:pt x="68" y="223"/>
                    </a:cubicBezTo>
                    <a:cubicBezTo>
                      <a:pt x="66" y="224"/>
                      <a:pt x="65" y="223"/>
                      <a:pt x="63" y="222"/>
                    </a:cubicBezTo>
                    <a:cubicBezTo>
                      <a:pt x="62" y="222"/>
                      <a:pt x="60" y="221"/>
                      <a:pt x="58" y="221"/>
                    </a:cubicBezTo>
                    <a:cubicBezTo>
                      <a:pt x="57" y="222"/>
                      <a:pt x="57" y="224"/>
                      <a:pt x="56" y="225"/>
                    </a:cubicBezTo>
                    <a:cubicBezTo>
                      <a:pt x="54" y="223"/>
                      <a:pt x="50" y="222"/>
                      <a:pt x="49" y="219"/>
                    </a:cubicBezTo>
                    <a:cubicBezTo>
                      <a:pt x="48" y="218"/>
                      <a:pt x="50" y="215"/>
                      <a:pt x="49" y="213"/>
                    </a:cubicBezTo>
                    <a:cubicBezTo>
                      <a:pt x="48" y="212"/>
                      <a:pt x="44" y="215"/>
                      <a:pt x="44" y="214"/>
                    </a:cubicBezTo>
                    <a:cubicBezTo>
                      <a:pt x="44" y="211"/>
                      <a:pt x="48" y="209"/>
                      <a:pt x="48" y="206"/>
                    </a:cubicBezTo>
                    <a:cubicBezTo>
                      <a:pt x="48" y="204"/>
                      <a:pt x="45" y="204"/>
                      <a:pt x="44" y="202"/>
                    </a:cubicBezTo>
                    <a:cubicBezTo>
                      <a:pt x="43" y="200"/>
                      <a:pt x="44" y="196"/>
                      <a:pt x="43" y="194"/>
                    </a:cubicBezTo>
                    <a:cubicBezTo>
                      <a:pt x="41" y="192"/>
                      <a:pt x="38" y="191"/>
                      <a:pt x="35" y="192"/>
                    </a:cubicBezTo>
                    <a:cubicBezTo>
                      <a:pt x="34" y="192"/>
                      <a:pt x="36" y="194"/>
                      <a:pt x="35" y="195"/>
                    </a:cubicBezTo>
                    <a:cubicBezTo>
                      <a:pt x="34" y="196"/>
                      <a:pt x="33" y="196"/>
                      <a:pt x="31" y="196"/>
                    </a:cubicBezTo>
                    <a:cubicBezTo>
                      <a:pt x="30" y="196"/>
                      <a:pt x="28" y="194"/>
                      <a:pt x="27" y="195"/>
                    </a:cubicBezTo>
                    <a:cubicBezTo>
                      <a:pt x="24" y="195"/>
                      <a:pt x="22" y="199"/>
                      <a:pt x="20" y="199"/>
                    </a:cubicBezTo>
                    <a:cubicBezTo>
                      <a:pt x="18" y="198"/>
                      <a:pt x="18" y="194"/>
                      <a:pt x="16" y="193"/>
                    </a:cubicBezTo>
                    <a:cubicBezTo>
                      <a:pt x="15" y="193"/>
                      <a:pt x="14" y="195"/>
                      <a:pt x="13" y="196"/>
                    </a:cubicBezTo>
                    <a:cubicBezTo>
                      <a:pt x="12" y="196"/>
                      <a:pt x="10" y="197"/>
                      <a:pt x="9" y="196"/>
                    </a:cubicBezTo>
                    <a:cubicBezTo>
                      <a:pt x="8" y="195"/>
                      <a:pt x="8" y="192"/>
                      <a:pt x="8" y="190"/>
                    </a:cubicBezTo>
                    <a:lnTo>
                      <a:pt x="10" y="184"/>
                    </a:lnTo>
                    <a:lnTo>
                      <a:pt x="7" y="178"/>
                    </a:lnTo>
                    <a:lnTo>
                      <a:pt x="4" y="178"/>
                    </a:lnTo>
                    <a:lnTo>
                      <a:pt x="1" y="174"/>
                    </a:lnTo>
                    <a:lnTo>
                      <a:pt x="3" y="165"/>
                    </a:lnTo>
                    <a:lnTo>
                      <a:pt x="0" y="157"/>
                    </a:lnTo>
                    <a:cubicBezTo>
                      <a:pt x="2" y="157"/>
                      <a:pt x="4" y="158"/>
                      <a:pt x="5" y="156"/>
                    </a:cubicBezTo>
                    <a:cubicBezTo>
                      <a:pt x="7" y="154"/>
                      <a:pt x="6" y="150"/>
                      <a:pt x="8" y="148"/>
                    </a:cubicBezTo>
                    <a:cubicBezTo>
                      <a:pt x="8" y="147"/>
                      <a:pt x="11" y="147"/>
                      <a:pt x="12" y="148"/>
                    </a:cubicBezTo>
                    <a:cubicBezTo>
                      <a:pt x="14" y="149"/>
                      <a:pt x="14" y="153"/>
                      <a:pt x="17" y="154"/>
                    </a:cubicBezTo>
                    <a:cubicBezTo>
                      <a:pt x="19" y="154"/>
                      <a:pt x="19" y="149"/>
                      <a:pt x="21" y="149"/>
                    </a:cubicBezTo>
                    <a:cubicBezTo>
                      <a:pt x="25" y="147"/>
                      <a:pt x="30" y="150"/>
                      <a:pt x="34" y="149"/>
                    </a:cubicBezTo>
                    <a:cubicBezTo>
                      <a:pt x="36" y="148"/>
                      <a:pt x="35" y="145"/>
                      <a:pt x="37" y="145"/>
                    </a:cubicBezTo>
                    <a:cubicBezTo>
                      <a:pt x="38" y="145"/>
                      <a:pt x="38" y="149"/>
                      <a:pt x="39" y="149"/>
                    </a:cubicBezTo>
                    <a:lnTo>
                      <a:pt x="86" y="149"/>
                    </a:lnTo>
                    <a:lnTo>
                      <a:pt x="89" y="135"/>
                    </a:lnTo>
                    <a:lnTo>
                      <a:pt x="85" y="133"/>
                    </a:lnTo>
                    <a:lnTo>
                      <a:pt x="74" y="6"/>
                    </a:lnTo>
                    <a:cubicBezTo>
                      <a:pt x="73" y="0"/>
                      <a:pt x="86" y="6"/>
                      <a:pt x="93" y="6"/>
                    </a:cubicBezTo>
                    <a:lnTo>
                      <a:pt x="169" y="65"/>
                    </a:lnTo>
                    <a:cubicBezTo>
                      <a:pt x="169" y="68"/>
                      <a:pt x="168" y="70"/>
                      <a:pt x="169" y="72"/>
                    </a:cubicBezTo>
                    <a:cubicBezTo>
                      <a:pt x="170" y="74"/>
                      <a:pt x="173" y="73"/>
                      <a:pt x="175" y="74"/>
                    </a:cubicBezTo>
                    <a:cubicBezTo>
                      <a:pt x="176" y="76"/>
                      <a:pt x="177" y="78"/>
                      <a:pt x="179" y="79"/>
                    </a:cubicBezTo>
                    <a:cubicBezTo>
                      <a:pt x="181" y="80"/>
                      <a:pt x="183" y="79"/>
                      <a:pt x="185" y="80"/>
                    </a:cubicBezTo>
                    <a:cubicBezTo>
                      <a:pt x="188" y="81"/>
                      <a:pt x="192" y="82"/>
                      <a:pt x="194" y="85"/>
                    </a:cubicBezTo>
                    <a:cubicBezTo>
                      <a:pt x="195" y="88"/>
                      <a:pt x="192" y="92"/>
                      <a:pt x="193" y="96"/>
                    </a:cubicBezTo>
                    <a:cubicBezTo>
                      <a:pt x="193" y="97"/>
                      <a:pt x="195" y="97"/>
                      <a:pt x="196" y="97"/>
                    </a:cubicBezTo>
                    <a:cubicBezTo>
                      <a:pt x="201" y="97"/>
                      <a:pt x="204" y="95"/>
                      <a:pt x="208" y="94"/>
                    </a:cubicBezTo>
                    <a:lnTo>
                      <a:pt x="208" y="139"/>
                    </a:lnTo>
                    <a:cubicBezTo>
                      <a:pt x="207" y="139"/>
                      <a:pt x="205" y="139"/>
                      <a:pt x="204" y="140"/>
                    </a:cubicBezTo>
                    <a:cubicBezTo>
                      <a:pt x="203" y="141"/>
                      <a:pt x="203" y="143"/>
                      <a:pt x="202" y="144"/>
                    </a:cubicBezTo>
                    <a:cubicBezTo>
                      <a:pt x="201" y="145"/>
                      <a:pt x="199" y="144"/>
                      <a:pt x="198" y="145"/>
                    </a:cubicBezTo>
                    <a:lnTo>
                      <a:pt x="196" y="149"/>
                    </a:lnTo>
                    <a:lnTo>
                      <a:pt x="169" y="152"/>
                    </a:lnTo>
                    <a:cubicBezTo>
                      <a:pt x="168" y="153"/>
                      <a:pt x="167" y="156"/>
                      <a:pt x="165" y="156"/>
                    </a:cubicBezTo>
                    <a:lnTo>
                      <a:pt x="156" y="155"/>
                    </a:lnTo>
                    <a:cubicBezTo>
                      <a:pt x="153" y="155"/>
                      <a:pt x="150" y="152"/>
                      <a:pt x="147" y="153"/>
                    </a:cubicBezTo>
                    <a:cubicBezTo>
                      <a:pt x="141" y="155"/>
                      <a:pt x="136" y="159"/>
                      <a:pt x="131" y="162"/>
                    </a:cubicBezTo>
                    <a:cubicBezTo>
                      <a:pt x="130" y="163"/>
                      <a:pt x="131" y="166"/>
                      <a:pt x="129" y="167"/>
                    </a:cubicBezTo>
                    <a:cubicBezTo>
                      <a:pt x="128" y="168"/>
                      <a:pt x="127" y="165"/>
                      <a:pt x="126" y="166"/>
                    </a:cubicBezTo>
                    <a:cubicBezTo>
                      <a:pt x="124" y="166"/>
                      <a:pt x="121" y="168"/>
                      <a:pt x="120" y="170"/>
                    </a:cubicBezTo>
                    <a:cubicBezTo>
                      <a:pt x="119" y="171"/>
                      <a:pt x="122" y="174"/>
                      <a:pt x="120" y="175"/>
                    </a:cubicBezTo>
                    <a:cubicBezTo>
                      <a:pt x="119" y="176"/>
                      <a:pt x="117" y="173"/>
                      <a:pt x="115" y="174"/>
                    </a:cubicBezTo>
                    <a:cubicBezTo>
                      <a:pt x="114" y="175"/>
                      <a:pt x="116" y="177"/>
                      <a:pt x="115" y="179"/>
                    </a:cubicBezTo>
                    <a:cubicBezTo>
                      <a:pt x="114" y="180"/>
                      <a:pt x="112" y="181"/>
                      <a:pt x="111" y="181"/>
                    </a:cubicBezTo>
                    <a:cubicBezTo>
                      <a:pt x="108" y="181"/>
                      <a:pt x="107" y="177"/>
                      <a:pt x="105" y="177"/>
                    </a:cubicBezTo>
                    <a:cubicBezTo>
                      <a:pt x="103" y="177"/>
                      <a:pt x="103" y="179"/>
                      <a:pt x="101" y="180"/>
                    </a:cubicBezTo>
                    <a:cubicBezTo>
                      <a:pt x="100" y="181"/>
                      <a:pt x="97" y="180"/>
                      <a:pt x="97" y="182"/>
                    </a:cubicBezTo>
                    <a:cubicBezTo>
                      <a:pt x="96" y="184"/>
                      <a:pt x="100" y="186"/>
                      <a:pt x="99" y="189"/>
                    </a:cubicBezTo>
                    <a:cubicBezTo>
                      <a:pt x="99" y="190"/>
                      <a:pt x="97" y="188"/>
                      <a:pt x="96" y="189"/>
                    </a:cubicBezTo>
                    <a:cubicBezTo>
                      <a:pt x="96" y="190"/>
                      <a:pt x="99" y="191"/>
                      <a:pt x="98" y="193"/>
                    </a:cubicBezTo>
                    <a:cubicBezTo>
                      <a:pt x="97" y="195"/>
                      <a:pt x="95" y="197"/>
                      <a:pt x="93" y="199"/>
                    </a:cubicBezTo>
                    <a:cubicBezTo>
                      <a:pt x="91" y="200"/>
                      <a:pt x="87" y="197"/>
                      <a:pt x="86" y="199"/>
                    </a:cubicBezTo>
                    <a:cubicBezTo>
                      <a:pt x="85" y="201"/>
                      <a:pt x="89" y="202"/>
                      <a:pt x="89" y="205"/>
                    </a:cubicBezTo>
                    <a:cubicBezTo>
                      <a:pt x="89" y="207"/>
                      <a:pt x="87" y="210"/>
                      <a:pt x="87" y="212"/>
                    </a:cubicBezTo>
                    <a:cubicBezTo>
                      <a:pt x="87" y="215"/>
                      <a:pt x="88" y="218"/>
                      <a:pt x="88" y="22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0" name="Freeform 2561"/>
              <p:cNvSpPr>
                <a:spLocks noChangeAspect="1"/>
              </p:cNvSpPr>
              <p:nvPr/>
            </p:nvSpPr>
            <p:spPr bwMode="auto">
              <a:xfrm>
                <a:off x="4321049" y="3610293"/>
                <a:ext cx="194635" cy="157541"/>
              </a:xfrm>
              <a:custGeom>
                <a:avLst/>
                <a:gdLst>
                  <a:gd name="T0" fmla="*/ 41 w 99"/>
                  <a:gd name="T1" fmla="*/ 97 h 81"/>
                  <a:gd name="T2" fmla="*/ 37 w 99"/>
                  <a:gd name="T3" fmla="*/ 93 h 81"/>
                  <a:gd name="T4" fmla="*/ 31 w 99"/>
                  <a:gd name="T5" fmla="*/ 92 h 81"/>
                  <a:gd name="T6" fmla="*/ 22 w 99"/>
                  <a:gd name="T7" fmla="*/ 93 h 81"/>
                  <a:gd name="T8" fmla="*/ 14 w 99"/>
                  <a:gd name="T9" fmla="*/ 96 h 81"/>
                  <a:gd name="T10" fmla="*/ 11 w 99"/>
                  <a:gd name="T11" fmla="*/ 95 h 81"/>
                  <a:gd name="T12" fmla="*/ 7 w 99"/>
                  <a:gd name="T13" fmla="*/ 93 h 81"/>
                  <a:gd name="T14" fmla="*/ 7 w 99"/>
                  <a:gd name="T15" fmla="*/ 89 h 81"/>
                  <a:gd name="T16" fmla="*/ 4 w 99"/>
                  <a:gd name="T17" fmla="*/ 87 h 81"/>
                  <a:gd name="T18" fmla="*/ 4 w 99"/>
                  <a:gd name="T19" fmla="*/ 83 h 81"/>
                  <a:gd name="T20" fmla="*/ 2 w 99"/>
                  <a:gd name="T21" fmla="*/ 72 h 81"/>
                  <a:gd name="T22" fmla="*/ 5 w 99"/>
                  <a:gd name="T23" fmla="*/ 63 h 81"/>
                  <a:gd name="T24" fmla="*/ 1 w 99"/>
                  <a:gd name="T25" fmla="*/ 56 h 81"/>
                  <a:gd name="T26" fmla="*/ 10 w 99"/>
                  <a:gd name="T27" fmla="*/ 56 h 81"/>
                  <a:gd name="T28" fmla="*/ 16 w 99"/>
                  <a:gd name="T29" fmla="*/ 49 h 81"/>
                  <a:gd name="T30" fmla="*/ 13 w 99"/>
                  <a:gd name="T31" fmla="*/ 44 h 81"/>
                  <a:gd name="T32" fmla="*/ 17 w 99"/>
                  <a:gd name="T33" fmla="*/ 44 h 81"/>
                  <a:gd name="T34" fmla="*/ 14 w 99"/>
                  <a:gd name="T35" fmla="*/ 36 h 81"/>
                  <a:gd name="T36" fmla="*/ 19 w 99"/>
                  <a:gd name="T37" fmla="*/ 34 h 81"/>
                  <a:gd name="T38" fmla="*/ 24 w 99"/>
                  <a:gd name="T39" fmla="*/ 30 h 81"/>
                  <a:gd name="T40" fmla="*/ 31 w 99"/>
                  <a:gd name="T41" fmla="*/ 35 h 81"/>
                  <a:gd name="T42" fmla="*/ 36 w 99"/>
                  <a:gd name="T43" fmla="*/ 32 h 81"/>
                  <a:gd name="T44" fmla="*/ 36 w 99"/>
                  <a:gd name="T45" fmla="*/ 26 h 81"/>
                  <a:gd name="T46" fmla="*/ 42 w 99"/>
                  <a:gd name="T47" fmla="*/ 28 h 81"/>
                  <a:gd name="T48" fmla="*/ 42 w 99"/>
                  <a:gd name="T49" fmla="*/ 22 h 81"/>
                  <a:gd name="T50" fmla="*/ 49 w 99"/>
                  <a:gd name="T51" fmla="*/ 17 h 81"/>
                  <a:gd name="T52" fmla="*/ 53 w 99"/>
                  <a:gd name="T53" fmla="*/ 18 h 81"/>
                  <a:gd name="T54" fmla="*/ 55 w 99"/>
                  <a:gd name="T55" fmla="*/ 12 h 81"/>
                  <a:gd name="T56" fmla="*/ 75 w 99"/>
                  <a:gd name="T57" fmla="*/ 1 h 81"/>
                  <a:gd name="T58" fmla="*/ 85 w 99"/>
                  <a:gd name="T59" fmla="*/ 4 h 81"/>
                  <a:gd name="T60" fmla="*/ 84 w 99"/>
                  <a:gd name="T61" fmla="*/ 14 h 81"/>
                  <a:gd name="T62" fmla="*/ 87 w 99"/>
                  <a:gd name="T63" fmla="*/ 23 h 81"/>
                  <a:gd name="T64" fmla="*/ 94 w 99"/>
                  <a:gd name="T65" fmla="*/ 29 h 81"/>
                  <a:gd name="T66" fmla="*/ 97 w 99"/>
                  <a:gd name="T67" fmla="*/ 30 h 81"/>
                  <a:gd name="T68" fmla="*/ 94 w 99"/>
                  <a:gd name="T69" fmla="*/ 38 h 81"/>
                  <a:gd name="T70" fmla="*/ 108 w 99"/>
                  <a:gd name="T71" fmla="*/ 44 h 81"/>
                  <a:gd name="T72" fmla="*/ 113 w 99"/>
                  <a:gd name="T73" fmla="*/ 43 h 81"/>
                  <a:gd name="T74" fmla="*/ 118 w 99"/>
                  <a:gd name="T75" fmla="*/ 47 h 81"/>
                  <a:gd name="T76" fmla="*/ 115 w 99"/>
                  <a:gd name="T77" fmla="*/ 50 h 81"/>
                  <a:gd name="T78" fmla="*/ 117 w 99"/>
                  <a:gd name="T79" fmla="*/ 57 h 81"/>
                  <a:gd name="T80" fmla="*/ 119 w 99"/>
                  <a:gd name="T81" fmla="*/ 59 h 81"/>
                  <a:gd name="T82" fmla="*/ 118 w 99"/>
                  <a:gd name="T83" fmla="*/ 63 h 81"/>
                  <a:gd name="T84" fmla="*/ 112 w 99"/>
                  <a:gd name="T85" fmla="*/ 66 h 81"/>
                  <a:gd name="T86" fmla="*/ 105 w 99"/>
                  <a:gd name="T87" fmla="*/ 66 h 81"/>
                  <a:gd name="T88" fmla="*/ 100 w 99"/>
                  <a:gd name="T89" fmla="*/ 67 h 81"/>
                  <a:gd name="T90" fmla="*/ 100 w 99"/>
                  <a:gd name="T91" fmla="*/ 73 h 81"/>
                  <a:gd name="T92" fmla="*/ 96 w 99"/>
                  <a:gd name="T93" fmla="*/ 72 h 81"/>
                  <a:gd name="T94" fmla="*/ 95 w 99"/>
                  <a:gd name="T95" fmla="*/ 77 h 81"/>
                  <a:gd name="T96" fmla="*/ 89 w 99"/>
                  <a:gd name="T97" fmla="*/ 75 h 81"/>
                  <a:gd name="T98" fmla="*/ 83 w 99"/>
                  <a:gd name="T99" fmla="*/ 73 h 81"/>
                  <a:gd name="T100" fmla="*/ 78 w 99"/>
                  <a:gd name="T101" fmla="*/ 71 h 81"/>
                  <a:gd name="T102" fmla="*/ 73 w 99"/>
                  <a:gd name="T103" fmla="*/ 73 h 81"/>
                  <a:gd name="T104" fmla="*/ 53 w 99"/>
                  <a:gd name="T105" fmla="*/ 73 h 81"/>
                  <a:gd name="T106" fmla="*/ 41 w 99"/>
                  <a:gd name="T107" fmla="*/ 73 h 81"/>
                  <a:gd name="T108" fmla="*/ 38 w 99"/>
                  <a:gd name="T109" fmla="*/ 78 h 81"/>
                  <a:gd name="T110" fmla="*/ 41 w 99"/>
                  <a:gd name="T111" fmla="*/ 81 h 81"/>
                  <a:gd name="T112" fmla="*/ 40 w 99"/>
                  <a:gd name="T113" fmla="*/ 84 h 81"/>
                  <a:gd name="T114" fmla="*/ 42 w 99"/>
                  <a:gd name="T115" fmla="*/ 86 h 81"/>
                  <a:gd name="T116" fmla="*/ 40 w 99"/>
                  <a:gd name="T117" fmla="*/ 87 h 81"/>
                  <a:gd name="T118" fmla="*/ 41 w 99"/>
                  <a:gd name="T119" fmla="*/ 97 h 8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9"/>
                  <a:gd name="T181" fmla="*/ 0 h 81"/>
                  <a:gd name="T182" fmla="*/ 99 w 99"/>
                  <a:gd name="T183" fmla="*/ 81 h 8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9" h="81">
                    <a:moveTo>
                      <a:pt x="34" y="81"/>
                    </a:moveTo>
                    <a:cubicBezTo>
                      <a:pt x="33" y="80"/>
                      <a:pt x="32" y="79"/>
                      <a:pt x="31" y="78"/>
                    </a:cubicBezTo>
                    <a:cubicBezTo>
                      <a:pt x="30" y="77"/>
                      <a:pt x="28" y="77"/>
                      <a:pt x="26" y="77"/>
                    </a:cubicBezTo>
                    <a:cubicBezTo>
                      <a:pt x="23" y="77"/>
                      <a:pt x="20" y="77"/>
                      <a:pt x="18" y="78"/>
                    </a:cubicBezTo>
                    <a:cubicBezTo>
                      <a:pt x="16" y="78"/>
                      <a:pt x="14" y="80"/>
                      <a:pt x="12" y="80"/>
                    </a:cubicBezTo>
                    <a:cubicBezTo>
                      <a:pt x="11" y="81"/>
                      <a:pt x="10" y="79"/>
                      <a:pt x="9" y="79"/>
                    </a:cubicBezTo>
                    <a:cubicBezTo>
                      <a:pt x="8" y="78"/>
                      <a:pt x="6" y="79"/>
                      <a:pt x="6" y="78"/>
                    </a:cubicBezTo>
                    <a:cubicBezTo>
                      <a:pt x="5" y="77"/>
                      <a:pt x="6" y="75"/>
                      <a:pt x="6" y="74"/>
                    </a:cubicBezTo>
                    <a:cubicBezTo>
                      <a:pt x="5" y="73"/>
                      <a:pt x="3" y="74"/>
                      <a:pt x="3" y="73"/>
                    </a:cubicBezTo>
                    <a:cubicBezTo>
                      <a:pt x="2" y="72"/>
                      <a:pt x="3" y="70"/>
                      <a:pt x="3" y="69"/>
                    </a:cubicBezTo>
                    <a:cubicBezTo>
                      <a:pt x="3" y="66"/>
                      <a:pt x="2" y="63"/>
                      <a:pt x="2" y="60"/>
                    </a:cubicBezTo>
                    <a:cubicBezTo>
                      <a:pt x="2" y="58"/>
                      <a:pt x="4" y="55"/>
                      <a:pt x="4" y="53"/>
                    </a:cubicBezTo>
                    <a:cubicBezTo>
                      <a:pt x="4" y="50"/>
                      <a:pt x="0" y="49"/>
                      <a:pt x="1" y="47"/>
                    </a:cubicBezTo>
                    <a:cubicBezTo>
                      <a:pt x="2" y="45"/>
                      <a:pt x="6" y="48"/>
                      <a:pt x="8" y="47"/>
                    </a:cubicBezTo>
                    <a:cubicBezTo>
                      <a:pt x="10" y="45"/>
                      <a:pt x="12" y="43"/>
                      <a:pt x="13" y="41"/>
                    </a:cubicBezTo>
                    <a:cubicBezTo>
                      <a:pt x="14" y="39"/>
                      <a:pt x="11" y="38"/>
                      <a:pt x="11" y="37"/>
                    </a:cubicBezTo>
                    <a:cubicBezTo>
                      <a:pt x="12" y="36"/>
                      <a:pt x="14" y="38"/>
                      <a:pt x="14" y="37"/>
                    </a:cubicBezTo>
                    <a:cubicBezTo>
                      <a:pt x="15" y="34"/>
                      <a:pt x="11" y="32"/>
                      <a:pt x="12" y="30"/>
                    </a:cubicBezTo>
                    <a:cubicBezTo>
                      <a:pt x="12" y="28"/>
                      <a:pt x="15" y="29"/>
                      <a:pt x="16" y="28"/>
                    </a:cubicBezTo>
                    <a:cubicBezTo>
                      <a:pt x="18" y="27"/>
                      <a:pt x="18" y="25"/>
                      <a:pt x="20" y="25"/>
                    </a:cubicBezTo>
                    <a:cubicBezTo>
                      <a:pt x="22" y="25"/>
                      <a:pt x="23" y="29"/>
                      <a:pt x="26" y="29"/>
                    </a:cubicBezTo>
                    <a:cubicBezTo>
                      <a:pt x="27" y="29"/>
                      <a:pt x="29" y="28"/>
                      <a:pt x="30" y="27"/>
                    </a:cubicBezTo>
                    <a:cubicBezTo>
                      <a:pt x="31" y="25"/>
                      <a:pt x="29" y="23"/>
                      <a:pt x="30" y="22"/>
                    </a:cubicBezTo>
                    <a:cubicBezTo>
                      <a:pt x="32" y="21"/>
                      <a:pt x="34" y="24"/>
                      <a:pt x="35" y="23"/>
                    </a:cubicBezTo>
                    <a:cubicBezTo>
                      <a:pt x="37" y="22"/>
                      <a:pt x="34" y="19"/>
                      <a:pt x="35" y="18"/>
                    </a:cubicBezTo>
                    <a:cubicBezTo>
                      <a:pt x="36" y="16"/>
                      <a:pt x="39" y="14"/>
                      <a:pt x="41" y="14"/>
                    </a:cubicBezTo>
                    <a:cubicBezTo>
                      <a:pt x="42" y="13"/>
                      <a:pt x="43" y="16"/>
                      <a:pt x="44" y="15"/>
                    </a:cubicBezTo>
                    <a:cubicBezTo>
                      <a:pt x="46" y="14"/>
                      <a:pt x="45" y="11"/>
                      <a:pt x="46" y="10"/>
                    </a:cubicBezTo>
                    <a:cubicBezTo>
                      <a:pt x="51" y="7"/>
                      <a:pt x="56" y="3"/>
                      <a:pt x="62" y="1"/>
                    </a:cubicBezTo>
                    <a:cubicBezTo>
                      <a:pt x="65" y="0"/>
                      <a:pt x="68" y="3"/>
                      <a:pt x="71" y="3"/>
                    </a:cubicBezTo>
                    <a:cubicBezTo>
                      <a:pt x="70" y="6"/>
                      <a:pt x="70" y="9"/>
                      <a:pt x="70" y="12"/>
                    </a:cubicBezTo>
                    <a:cubicBezTo>
                      <a:pt x="70" y="15"/>
                      <a:pt x="71" y="17"/>
                      <a:pt x="72" y="19"/>
                    </a:cubicBezTo>
                    <a:cubicBezTo>
                      <a:pt x="74" y="21"/>
                      <a:pt x="76" y="22"/>
                      <a:pt x="78" y="24"/>
                    </a:cubicBezTo>
                    <a:cubicBezTo>
                      <a:pt x="79" y="25"/>
                      <a:pt x="81" y="24"/>
                      <a:pt x="81" y="25"/>
                    </a:cubicBezTo>
                    <a:cubicBezTo>
                      <a:pt x="82" y="28"/>
                      <a:pt x="77" y="30"/>
                      <a:pt x="78" y="32"/>
                    </a:cubicBezTo>
                    <a:cubicBezTo>
                      <a:pt x="81" y="36"/>
                      <a:pt x="86" y="36"/>
                      <a:pt x="90" y="37"/>
                    </a:cubicBezTo>
                    <a:cubicBezTo>
                      <a:pt x="91" y="38"/>
                      <a:pt x="93" y="35"/>
                      <a:pt x="94" y="36"/>
                    </a:cubicBezTo>
                    <a:cubicBezTo>
                      <a:pt x="96" y="36"/>
                      <a:pt x="97" y="38"/>
                      <a:pt x="98" y="39"/>
                    </a:cubicBezTo>
                    <a:cubicBezTo>
                      <a:pt x="98" y="40"/>
                      <a:pt x="96" y="41"/>
                      <a:pt x="96" y="42"/>
                    </a:cubicBezTo>
                    <a:cubicBezTo>
                      <a:pt x="96" y="44"/>
                      <a:pt x="96" y="46"/>
                      <a:pt x="97" y="48"/>
                    </a:cubicBezTo>
                    <a:cubicBezTo>
                      <a:pt x="97" y="49"/>
                      <a:pt x="98" y="48"/>
                      <a:pt x="99" y="49"/>
                    </a:cubicBezTo>
                    <a:cubicBezTo>
                      <a:pt x="99" y="50"/>
                      <a:pt x="99" y="52"/>
                      <a:pt x="98" y="53"/>
                    </a:cubicBezTo>
                    <a:cubicBezTo>
                      <a:pt x="97" y="55"/>
                      <a:pt x="95" y="55"/>
                      <a:pt x="93" y="55"/>
                    </a:cubicBezTo>
                    <a:cubicBezTo>
                      <a:pt x="91" y="55"/>
                      <a:pt x="89" y="54"/>
                      <a:pt x="87" y="55"/>
                    </a:cubicBezTo>
                    <a:cubicBezTo>
                      <a:pt x="85" y="55"/>
                      <a:pt x="84" y="55"/>
                      <a:pt x="83" y="56"/>
                    </a:cubicBezTo>
                    <a:cubicBezTo>
                      <a:pt x="82" y="58"/>
                      <a:pt x="84" y="60"/>
                      <a:pt x="83" y="61"/>
                    </a:cubicBezTo>
                    <a:cubicBezTo>
                      <a:pt x="82" y="62"/>
                      <a:pt x="81" y="60"/>
                      <a:pt x="80" y="60"/>
                    </a:cubicBezTo>
                    <a:cubicBezTo>
                      <a:pt x="79" y="61"/>
                      <a:pt x="79" y="62"/>
                      <a:pt x="79" y="64"/>
                    </a:cubicBezTo>
                    <a:cubicBezTo>
                      <a:pt x="77" y="63"/>
                      <a:pt x="76" y="63"/>
                      <a:pt x="74" y="63"/>
                    </a:cubicBezTo>
                    <a:cubicBezTo>
                      <a:pt x="72" y="62"/>
                      <a:pt x="71" y="62"/>
                      <a:pt x="69" y="61"/>
                    </a:cubicBezTo>
                    <a:cubicBezTo>
                      <a:pt x="68" y="60"/>
                      <a:pt x="67" y="59"/>
                      <a:pt x="65" y="59"/>
                    </a:cubicBezTo>
                    <a:cubicBezTo>
                      <a:pt x="63" y="59"/>
                      <a:pt x="62" y="61"/>
                      <a:pt x="61" y="61"/>
                    </a:cubicBezTo>
                    <a:cubicBezTo>
                      <a:pt x="55" y="62"/>
                      <a:pt x="49" y="61"/>
                      <a:pt x="44" y="61"/>
                    </a:cubicBezTo>
                    <a:cubicBezTo>
                      <a:pt x="41" y="61"/>
                      <a:pt x="37" y="60"/>
                      <a:pt x="34" y="61"/>
                    </a:cubicBezTo>
                    <a:cubicBezTo>
                      <a:pt x="33" y="61"/>
                      <a:pt x="32" y="63"/>
                      <a:pt x="32" y="65"/>
                    </a:cubicBezTo>
                    <a:cubicBezTo>
                      <a:pt x="32" y="66"/>
                      <a:pt x="34" y="67"/>
                      <a:pt x="34" y="68"/>
                    </a:cubicBezTo>
                    <a:cubicBezTo>
                      <a:pt x="34" y="69"/>
                      <a:pt x="33" y="70"/>
                      <a:pt x="33" y="70"/>
                    </a:cubicBezTo>
                    <a:cubicBezTo>
                      <a:pt x="33" y="71"/>
                      <a:pt x="35" y="71"/>
                      <a:pt x="35" y="72"/>
                    </a:cubicBezTo>
                    <a:cubicBezTo>
                      <a:pt x="35" y="73"/>
                      <a:pt x="33" y="73"/>
                      <a:pt x="33" y="73"/>
                    </a:cubicBezTo>
                    <a:cubicBezTo>
                      <a:pt x="33" y="76"/>
                      <a:pt x="34" y="78"/>
                      <a:pt x="34" y="8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1" name="Freeform 2562"/>
              <p:cNvSpPr>
                <a:spLocks noChangeAspect="1"/>
              </p:cNvSpPr>
              <p:nvPr/>
            </p:nvSpPr>
            <p:spPr bwMode="auto">
              <a:xfrm>
                <a:off x="4378295" y="3723982"/>
                <a:ext cx="114491" cy="180279"/>
              </a:xfrm>
              <a:custGeom>
                <a:avLst/>
                <a:gdLst>
                  <a:gd name="T0" fmla="*/ 6 w 58"/>
                  <a:gd name="T1" fmla="*/ 106 h 92"/>
                  <a:gd name="T2" fmla="*/ 21 w 58"/>
                  <a:gd name="T3" fmla="*/ 111 h 92"/>
                  <a:gd name="T4" fmla="*/ 25 w 58"/>
                  <a:gd name="T5" fmla="*/ 106 h 92"/>
                  <a:gd name="T6" fmla="*/ 35 w 58"/>
                  <a:gd name="T7" fmla="*/ 106 h 92"/>
                  <a:gd name="T8" fmla="*/ 41 w 58"/>
                  <a:gd name="T9" fmla="*/ 103 h 92"/>
                  <a:gd name="T10" fmla="*/ 46 w 58"/>
                  <a:gd name="T11" fmla="*/ 98 h 92"/>
                  <a:gd name="T12" fmla="*/ 57 w 58"/>
                  <a:gd name="T13" fmla="*/ 95 h 92"/>
                  <a:gd name="T14" fmla="*/ 63 w 58"/>
                  <a:gd name="T15" fmla="*/ 92 h 92"/>
                  <a:gd name="T16" fmla="*/ 70 w 58"/>
                  <a:gd name="T17" fmla="*/ 89 h 92"/>
                  <a:gd name="T18" fmla="*/ 59 w 58"/>
                  <a:gd name="T19" fmla="*/ 83 h 92"/>
                  <a:gd name="T20" fmla="*/ 56 w 58"/>
                  <a:gd name="T21" fmla="*/ 78 h 92"/>
                  <a:gd name="T22" fmla="*/ 58 w 58"/>
                  <a:gd name="T23" fmla="*/ 70 h 92"/>
                  <a:gd name="T24" fmla="*/ 57 w 58"/>
                  <a:gd name="T25" fmla="*/ 65 h 92"/>
                  <a:gd name="T26" fmla="*/ 58 w 58"/>
                  <a:gd name="T27" fmla="*/ 56 h 92"/>
                  <a:gd name="T28" fmla="*/ 59 w 58"/>
                  <a:gd name="T29" fmla="*/ 51 h 92"/>
                  <a:gd name="T30" fmla="*/ 57 w 58"/>
                  <a:gd name="T31" fmla="*/ 45 h 92"/>
                  <a:gd name="T32" fmla="*/ 57 w 58"/>
                  <a:gd name="T33" fmla="*/ 31 h 92"/>
                  <a:gd name="T34" fmla="*/ 53 w 58"/>
                  <a:gd name="T35" fmla="*/ 28 h 92"/>
                  <a:gd name="T36" fmla="*/ 54 w 58"/>
                  <a:gd name="T37" fmla="*/ 17 h 92"/>
                  <a:gd name="T38" fmla="*/ 51 w 58"/>
                  <a:gd name="T39" fmla="*/ 14 h 92"/>
                  <a:gd name="T40" fmla="*/ 51 w 58"/>
                  <a:gd name="T41" fmla="*/ 11 h 92"/>
                  <a:gd name="T42" fmla="*/ 47 w 58"/>
                  <a:gd name="T43" fmla="*/ 7 h 92"/>
                  <a:gd name="T44" fmla="*/ 48 w 58"/>
                  <a:gd name="T45" fmla="*/ 2 h 92"/>
                  <a:gd name="T46" fmla="*/ 43 w 58"/>
                  <a:gd name="T47" fmla="*/ 0 h 92"/>
                  <a:gd name="T48" fmla="*/ 39 w 58"/>
                  <a:gd name="T49" fmla="*/ 2 h 92"/>
                  <a:gd name="T50" fmla="*/ 18 w 58"/>
                  <a:gd name="T51" fmla="*/ 2 h 92"/>
                  <a:gd name="T52" fmla="*/ 6 w 58"/>
                  <a:gd name="T53" fmla="*/ 2 h 92"/>
                  <a:gd name="T54" fmla="*/ 4 w 58"/>
                  <a:gd name="T55" fmla="*/ 7 h 92"/>
                  <a:gd name="T56" fmla="*/ 6 w 58"/>
                  <a:gd name="T57" fmla="*/ 11 h 92"/>
                  <a:gd name="T58" fmla="*/ 5 w 58"/>
                  <a:gd name="T59" fmla="*/ 13 h 92"/>
                  <a:gd name="T60" fmla="*/ 7 w 58"/>
                  <a:gd name="T61" fmla="*/ 16 h 92"/>
                  <a:gd name="T62" fmla="*/ 5 w 58"/>
                  <a:gd name="T63" fmla="*/ 17 h 92"/>
                  <a:gd name="T64" fmla="*/ 6 w 58"/>
                  <a:gd name="T65" fmla="*/ 27 h 92"/>
                  <a:gd name="T66" fmla="*/ 7 w 58"/>
                  <a:gd name="T67" fmla="*/ 34 h 92"/>
                  <a:gd name="T68" fmla="*/ 8 w 58"/>
                  <a:gd name="T69" fmla="*/ 39 h 92"/>
                  <a:gd name="T70" fmla="*/ 10 w 58"/>
                  <a:gd name="T71" fmla="*/ 45 h 92"/>
                  <a:gd name="T72" fmla="*/ 10 w 58"/>
                  <a:gd name="T73" fmla="*/ 51 h 92"/>
                  <a:gd name="T74" fmla="*/ 7 w 58"/>
                  <a:gd name="T75" fmla="*/ 57 h 92"/>
                  <a:gd name="T76" fmla="*/ 6 w 58"/>
                  <a:gd name="T77" fmla="*/ 68 h 92"/>
                  <a:gd name="T78" fmla="*/ 1 w 58"/>
                  <a:gd name="T79" fmla="*/ 75 h 92"/>
                  <a:gd name="T80" fmla="*/ 4 w 58"/>
                  <a:gd name="T81" fmla="*/ 84 h 92"/>
                  <a:gd name="T82" fmla="*/ 2 w 58"/>
                  <a:gd name="T83" fmla="*/ 93 h 92"/>
                  <a:gd name="T84" fmla="*/ 7 w 58"/>
                  <a:gd name="T85" fmla="*/ 97 h 92"/>
                  <a:gd name="T86" fmla="*/ 7 w 58"/>
                  <a:gd name="T87" fmla="*/ 104 h 92"/>
                  <a:gd name="T88" fmla="*/ 6 w 58"/>
                  <a:gd name="T89" fmla="*/ 106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8"/>
                  <a:gd name="T136" fmla="*/ 0 h 92"/>
                  <a:gd name="T137" fmla="*/ 58 w 58"/>
                  <a:gd name="T138" fmla="*/ 92 h 9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8" h="92">
                    <a:moveTo>
                      <a:pt x="5" y="88"/>
                    </a:moveTo>
                    <a:cubicBezTo>
                      <a:pt x="9" y="89"/>
                      <a:pt x="13" y="92"/>
                      <a:pt x="17" y="92"/>
                    </a:cubicBezTo>
                    <a:cubicBezTo>
                      <a:pt x="19" y="92"/>
                      <a:pt x="19" y="88"/>
                      <a:pt x="21" y="88"/>
                    </a:cubicBezTo>
                    <a:cubicBezTo>
                      <a:pt x="24" y="87"/>
                      <a:pt x="27" y="88"/>
                      <a:pt x="29" y="88"/>
                    </a:cubicBezTo>
                    <a:cubicBezTo>
                      <a:pt x="31" y="87"/>
                      <a:pt x="32" y="86"/>
                      <a:pt x="34" y="85"/>
                    </a:cubicBezTo>
                    <a:cubicBezTo>
                      <a:pt x="35" y="84"/>
                      <a:pt x="36" y="82"/>
                      <a:pt x="38" y="81"/>
                    </a:cubicBezTo>
                    <a:cubicBezTo>
                      <a:pt x="41" y="80"/>
                      <a:pt x="44" y="80"/>
                      <a:pt x="47" y="79"/>
                    </a:cubicBezTo>
                    <a:cubicBezTo>
                      <a:pt x="49" y="79"/>
                      <a:pt x="51" y="77"/>
                      <a:pt x="52" y="76"/>
                    </a:cubicBezTo>
                    <a:cubicBezTo>
                      <a:pt x="54" y="75"/>
                      <a:pt x="56" y="75"/>
                      <a:pt x="58" y="74"/>
                    </a:cubicBezTo>
                    <a:cubicBezTo>
                      <a:pt x="55" y="73"/>
                      <a:pt x="51" y="71"/>
                      <a:pt x="49" y="69"/>
                    </a:cubicBezTo>
                    <a:cubicBezTo>
                      <a:pt x="47" y="68"/>
                      <a:pt x="46" y="66"/>
                      <a:pt x="46" y="65"/>
                    </a:cubicBezTo>
                    <a:cubicBezTo>
                      <a:pt x="46" y="62"/>
                      <a:pt x="48" y="60"/>
                      <a:pt x="48" y="58"/>
                    </a:cubicBezTo>
                    <a:cubicBezTo>
                      <a:pt x="48" y="57"/>
                      <a:pt x="47" y="55"/>
                      <a:pt x="47" y="54"/>
                    </a:cubicBezTo>
                    <a:cubicBezTo>
                      <a:pt x="47" y="51"/>
                      <a:pt x="47" y="48"/>
                      <a:pt x="48" y="46"/>
                    </a:cubicBezTo>
                    <a:cubicBezTo>
                      <a:pt x="48" y="45"/>
                      <a:pt x="49" y="44"/>
                      <a:pt x="49" y="42"/>
                    </a:cubicBezTo>
                    <a:cubicBezTo>
                      <a:pt x="49" y="40"/>
                      <a:pt x="47" y="39"/>
                      <a:pt x="47" y="37"/>
                    </a:cubicBezTo>
                    <a:cubicBezTo>
                      <a:pt x="46" y="33"/>
                      <a:pt x="48" y="30"/>
                      <a:pt x="47" y="26"/>
                    </a:cubicBezTo>
                    <a:cubicBezTo>
                      <a:pt x="47" y="25"/>
                      <a:pt x="45" y="25"/>
                      <a:pt x="44" y="23"/>
                    </a:cubicBezTo>
                    <a:cubicBezTo>
                      <a:pt x="44" y="20"/>
                      <a:pt x="45" y="17"/>
                      <a:pt x="45" y="14"/>
                    </a:cubicBezTo>
                    <a:cubicBezTo>
                      <a:pt x="44" y="13"/>
                      <a:pt x="42" y="13"/>
                      <a:pt x="42" y="12"/>
                    </a:cubicBezTo>
                    <a:cubicBezTo>
                      <a:pt x="41" y="11"/>
                      <a:pt x="42" y="10"/>
                      <a:pt x="42" y="9"/>
                    </a:cubicBezTo>
                    <a:cubicBezTo>
                      <a:pt x="41" y="8"/>
                      <a:pt x="40" y="7"/>
                      <a:pt x="39" y="6"/>
                    </a:cubicBezTo>
                    <a:cubicBezTo>
                      <a:pt x="39" y="5"/>
                      <a:pt x="40" y="3"/>
                      <a:pt x="40" y="2"/>
                    </a:cubicBezTo>
                    <a:cubicBezTo>
                      <a:pt x="39" y="1"/>
                      <a:pt x="38" y="0"/>
                      <a:pt x="36" y="0"/>
                    </a:cubicBezTo>
                    <a:cubicBezTo>
                      <a:pt x="34" y="0"/>
                      <a:pt x="33" y="2"/>
                      <a:pt x="32" y="2"/>
                    </a:cubicBezTo>
                    <a:cubicBezTo>
                      <a:pt x="26" y="3"/>
                      <a:pt x="20" y="2"/>
                      <a:pt x="15" y="2"/>
                    </a:cubicBezTo>
                    <a:cubicBezTo>
                      <a:pt x="12" y="2"/>
                      <a:pt x="8" y="1"/>
                      <a:pt x="5" y="2"/>
                    </a:cubicBezTo>
                    <a:cubicBezTo>
                      <a:pt x="4" y="2"/>
                      <a:pt x="3" y="4"/>
                      <a:pt x="3" y="6"/>
                    </a:cubicBezTo>
                    <a:cubicBezTo>
                      <a:pt x="3" y="7"/>
                      <a:pt x="5" y="8"/>
                      <a:pt x="5" y="9"/>
                    </a:cubicBezTo>
                    <a:cubicBezTo>
                      <a:pt x="5" y="10"/>
                      <a:pt x="4" y="11"/>
                      <a:pt x="4" y="11"/>
                    </a:cubicBezTo>
                    <a:cubicBezTo>
                      <a:pt x="4" y="12"/>
                      <a:pt x="6" y="12"/>
                      <a:pt x="6" y="13"/>
                    </a:cubicBezTo>
                    <a:cubicBezTo>
                      <a:pt x="6" y="14"/>
                      <a:pt x="4" y="14"/>
                      <a:pt x="4" y="14"/>
                    </a:cubicBezTo>
                    <a:cubicBezTo>
                      <a:pt x="4" y="17"/>
                      <a:pt x="5" y="19"/>
                      <a:pt x="5" y="22"/>
                    </a:cubicBezTo>
                    <a:cubicBezTo>
                      <a:pt x="5" y="24"/>
                      <a:pt x="5" y="26"/>
                      <a:pt x="6" y="28"/>
                    </a:cubicBezTo>
                    <a:cubicBezTo>
                      <a:pt x="6" y="29"/>
                      <a:pt x="6" y="30"/>
                      <a:pt x="7" y="32"/>
                    </a:cubicBezTo>
                    <a:cubicBezTo>
                      <a:pt x="7" y="34"/>
                      <a:pt x="8" y="35"/>
                      <a:pt x="8" y="37"/>
                    </a:cubicBezTo>
                    <a:cubicBezTo>
                      <a:pt x="9" y="39"/>
                      <a:pt x="9" y="41"/>
                      <a:pt x="8" y="42"/>
                    </a:cubicBezTo>
                    <a:cubicBezTo>
                      <a:pt x="8" y="44"/>
                      <a:pt x="6" y="45"/>
                      <a:pt x="6" y="47"/>
                    </a:cubicBezTo>
                    <a:cubicBezTo>
                      <a:pt x="5" y="50"/>
                      <a:pt x="6" y="53"/>
                      <a:pt x="5" y="56"/>
                    </a:cubicBezTo>
                    <a:cubicBezTo>
                      <a:pt x="4" y="58"/>
                      <a:pt x="1" y="60"/>
                      <a:pt x="1" y="62"/>
                    </a:cubicBezTo>
                    <a:cubicBezTo>
                      <a:pt x="0" y="65"/>
                      <a:pt x="3" y="67"/>
                      <a:pt x="3" y="70"/>
                    </a:cubicBezTo>
                    <a:cubicBezTo>
                      <a:pt x="3" y="72"/>
                      <a:pt x="2" y="75"/>
                      <a:pt x="2" y="77"/>
                    </a:cubicBezTo>
                    <a:cubicBezTo>
                      <a:pt x="3" y="78"/>
                      <a:pt x="5" y="78"/>
                      <a:pt x="6" y="80"/>
                    </a:cubicBezTo>
                    <a:cubicBezTo>
                      <a:pt x="7" y="82"/>
                      <a:pt x="6" y="84"/>
                      <a:pt x="6" y="86"/>
                    </a:cubicBezTo>
                    <a:cubicBezTo>
                      <a:pt x="6" y="86"/>
                      <a:pt x="5" y="87"/>
                      <a:pt x="5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2" name="Freeform 2563"/>
              <p:cNvSpPr>
                <a:spLocks noChangeAspect="1"/>
              </p:cNvSpPr>
              <p:nvPr/>
            </p:nvSpPr>
            <p:spPr bwMode="auto">
              <a:xfrm>
                <a:off x="4455167" y="3728854"/>
                <a:ext cx="47433" cy="139675"/>
              </a:xfrm>
              <a:custGeom>
                <a:avLst/>
                <a:gdLst>
                  <a:gd name="T0" fmla="*/ 23 w 24"/>
                  <a:gd name="T1" fmla="*/ 86 h 72"/>
                  <a:gd name="T2" fmla="*/ 12 w 24"/>
                  <a:gd name="T3" fmla="*/ 80 h 72"/>
                  <a:gd name="T4" fmla="*/ 8 w 24"/>
                  <a:gd name="T5" fmla="*/ 75 h 72"/>
                  <a:gd name="T6" fmla="*/ 11 w 24"/>
                  <a:gd name="T7" fmla="*/ 67 h 72"/>
                  <a:gd name="T8" fmla="*/ 10 w 24"/>
                  <a:gd name="T9" fmla="*/ 62 h 72"/>
                  <a:gd name="T10" fmla="*/ 11 w 24"/>
                  <a:gd name="T11" fmla="*/ 53 h 72"/>
                  <a:gd name="T12" fmla="*/ 12 w 24"/>
                  <a:gd name="T13" fmla="*/ 48 h 72"/>
                  <a:gd name="T14" fmla="*/ 10 w 24"/>
                  <a:gd name="T15" fmla="*/ 42 h 72"/>
                  <a:gd name="T16" fmla="*/ 10 w 24"/>
                  <a:gd name="T17" fmla="*/ 29 h 72"/>
                  <a:gd name="T18" fmla="*/ 6 w 24"/>
                  <a:gd name="T19" fmla="*/ 25 h 72"/>
                  <a:gd name="T20" fmla="*/ 7 w 24"/>
                  <a:gd name="T21" fmla="*/ 14 h 72"/>
                  <a:gd name="T22" fmla="*/ 4 w 24"/>
                  <a:gd name="T23" fmla="*/ 12 h 72"/>
                  <a:gd name="T24" fmla="*/ 4 w 24"/>
                  <a:gd name="T25" fmla="*/ 8 h 72"/>
                  <a:gd name="T26" fmla="*/ 0 w 24"/>
                  <a:gd name="T27" fmla="*/ 5 h 72"/>
                  <a:gd name="T28" fmla="*/ 1 w 24"/>
                  <a:gd name="T29" fmla="*/ 0 h 72"/>
                  <a:gd name="T30" fmla="*/ 7 w 24"/>
                  <a:gd name="T31" fmla="*/ 2 h 72"/>
                  <a:gd name="T32" fmla="*/ 13 w 24"/>
                  <a:gd name="T33" fmla="*/ 4 h 72"/>
                  <a:gd name="T34" fmla="*/ 15 w 24"/>
                  <a:gd name="T35" fmla="*/ 11 h 72"/>
                  <a:gd name="T36" fmla="*/ 21 w 24"/>
                  <a:gd name="T37" fmla="*/ 18 h 72"/>
                  <a:gd name="T38" fmla="*/ 22 w 24"/>
                  <a:gd name="T39" fmla="*/ 29 h 72"/>
                  <a:gd name="T40" fmla="*/ 25 w 24"/>
                  <a:gd name="T41" fmla="*/ 33 h 72"/>
                  <a:gd name="T42" fmla="*/ 25 w 24"/>
                  <a:gd name="T43" fmla="*/ 74 h 72"/>
                  <a:gd name="T44" fmla="*/ 29 w 24"/>
                  <a:gd name="T45" fmla="*/ 82 h 72"/>
                  <a:gd name="T46" fmla="*/ 23 w 24"/>
                  <a:gd name="T47" fmla="*/ 86 h 7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4"/>
                  <a:gd name="T73" fmla="*/ 0 h 72"/>
                  <a:gd name="T74" fmla="*/ 24 w 24"/>
                  <a:gd name="T75" fmla="*/ 72 h 7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4" h="72">
                    <a:moveTo>
                      <a:pt x="19" y="72"/>
                    </a:moveTo>
                    <a:cubicBezTo>
                      <a:pt x="16" y="71"/>
                      <a:pt x="12" y="69"/>
                      <a:pt x="10" y="67"/>
                    </a:cubicBezTo>
                    <a:cubicBezTo>
                      <a:pt x="8" y="66"/>
                      <a:pt x="7" y="64"/>
                      <a:pt x="7" y="63"/>
                    </a:cubicBezTo>
                    <a:cubicBezTo>
                      <a:pt x="7" y="60"/>
                      <a:pt x="9" y="58"/>
                      <a:pt x="9" y="56"/>
                    </a:cubicBezTo>
                    <a:cubicBezTo>
                      <a:pt x="9" y="55"/>
                      <a:pt x="8" y="53"/>
                      <a:pt x="8" y="52"/>
                    </a:cubicBezTo>
                    <a:cubicBezTo>
                      <a:pt x="8" y="49"/>
                      <a:pt x="8" y="46"/>
                      <a:pt x="9" y="44"/>
                    </a:cubicBezTo>
                    <a:cubicBezTo>
                      <a:pt x="9" y="43"/>
                      <a:pt x="10" y="42"/>
                      <a:pt x="10" y="40"/>
                    </a:cubicBezTo>
                    <a:cubicBezTo>
                      <a:pt x="10" y="38"/>
                      <a:pt x="8" y="37"/>
                      <a:pt x="8" y="35"/>
                    </a:cubicBezTo>
                    <a:cubicBezTo>
                      <a:pt x="7" y="31"/>
                      <a:pt x="9" y="28"/>
                      <a:pt x="8" y="24"/>
                    </a:cubicBezTo>
                    <a:cubicBezTo>
                      <a:pt x="8" y="23"/>
                      <a:pt x="6" y="23"/>
                      <a:pt x="5" y="21"/>
                    </a:cubicBezTo>
                    <a:cubicBezTo>
                      <a:pt x="5" y="18"/>
                      <a:pt x="6" y="15"/>
                      <a:pt x="6" y="12"/>
                    </a:cubicBezTo>
                    <a:cubicBezTo>
                      <a:pt x="5" y="11"/>
                      <a:pt x="3" y="11"/>
                      <a:pt x="3" y="10"/>
                    </a:cubicBezTo>
                    <a:cubicBezTo>
                      <a:pt x="2" y="9"/>
                      <a:pt x="3" y="8"/>
                      <a:pt x="3" y="7"/>
                    </a:cubicBezTo>
                    <a:cubicBezTo>
                      <a:pt x="2" y="6"/>
                      <a:pt x="1" y="5"/>
                      <a:pt x="0" y="4"/>
                    </a:cubicBezTo>
                    <a:cubicBezTo>
                      <a:pt x="0" y="3"/>
                      <a:pt x="1" y="1"/>
                      <a:pt x="1" y="0"/>
                    </a:cubicBezTo>
                    <a:cubicBezTo>
                      <a:pt x="3" y="1"/>
                      <a:pt x="4" y="1"/>
                      <a:pt x="6" y="2"/>
                    </a:cubicBezTo>
                    <a:cubicBezTo>
                      <a:pt x="8" y="2"/>
                      <a:pt x="9" y="2"/>
                      <a:pt x="11" y="3"/>
                    </a:cubicBezTo>
                    <a:cubicBezTo>
                      <a:pt x="11" y="5"/>
                      <a:pt x="11" y="7"/>
                      <a:pt x="12" y="9"/>
                    </a:cubicBezTo>
                    <a:cubicBezTo>
                      <a:pt x="13" y="12"/>
                      <a:pt x="16" y="13"/>
                      <a:pt x="17" y="15"/>
                    </a:cubicBezTo>
                    <a:cubicBezTo>
                      <a:pt x="18" y="18"/>
                      <a:pt x="17" y="21"/>
                      <a:pt x="18" y="24"/>
                    </a:cubicBezTo>
                    <a:cubicBezTo>
                      <a:pt x="18" y="26"/>
                      <a:pt x="21" y="27"/>
                      <a:pt x="21" y="28"/>
                    </a:cubicBezTo>
                    <a:cubicBezTo>
                      <a:pt x="22" y="39"/>
                      <a:pt x="20" y="51"/>
                      <a:pt x="21" y="62"/>
                    </a:cubicBezTo>
                    <a:cubicBezTo>
                      <a:pt x="21" y="64"/>
                      <a:pt x="23" y="67"/>
                      <a:pt x="24" y="69"/>
                    </a:cubicBezTo>
                    <a:cubicBezTo>
                      <a:pt x="22" y="70"/>
                      <a:pt x="20" y="71"/>
                      <a:pt x="19" y="7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3" name="Freeform 2564"/>
              <p:cNvSpPr>
                <a:spLocks noChangeAspect="1"/>
              </p:cNvSpPr>
              <p:nvPr/>
            </p:nvSpPr>
            <p:spPr bwMode="auto">
              <a:xfrm>
                <a:off x="4476430" y="3685003"/>
                <a:ext cx="76873" cy="178654"/>
              </a:xfrm>
              <a:custGeom>
                <a:avLst/>
                <a:gdLst>
                  <a:gd name="T0" fmla="*/ 16 w 39"/>
                  <a:gd name="T1" fmla="*/ 110 h 91"/>
                  <a:gd name="T2" fmla="*/ 23 w 39"/>
                  <a:gd name="T3" fmla="*/ 109 h 91"/>
                  <a:gd name="T4" fmla="*/ 31 w 39"/>
                  <a:gd name="T5" fmla="*/ 109 h 91"/>
                  <a:gd name="T6" fmla="*/ 29 w 39"/>
                  <a:gd name="T7" fmla="*/ 88 h 91"/>
                  <a:gd name="T8" fmla="*/ 30 w 39"/>
                  <a:gd name="T9" fmla="*/ 76 h 91"/>
                  <a:gd name="T10" fmla="*/ 31 w 39"/>
                  <a:gd name="T11" fmla="*/ 60 h 91"/>
                  <a:gd name="T12" fmla="*/ 36 w 39"/>
                  <a:gd name="T13" fmla="*/ 59 h 91"/>
                  <a:gd name="T14" fmla="*/ 40 w 39"/>
                  <a:gd name="T15" fmla="*/ 50 h 91"/>
                  <a:gd name="T16" fmla="*/ 45 w 39"/>
                  <a:gd name="T17" fmla="*/ 44 h 91"/>
                  <a:gd name="T18" fmla="*/ 42 w 39"/>
                  <a:gd name="T19" fmla="*/ 37 h 91"/>
                  <a:gd name="T20" fmla="*/ 47 w 39"/>
                  <a:gd name="T21" fmla="*/ 35 h 91"/>
                  <a:gd name="T22" fmla="*/ 43 w 39"/>
                  <a:gd name="T23" fmla="*/ 29 h 91"/>
                  <a:gd name="T24" fmla="*/ 41 w 39"/>
                  <a:gd name="T25" fmla="*/ 21 h 91"/>
                  <a:gd name="T26" fmla="*/ 45 w 39"/>
                  <a:gd name="T27" fmla="*/ 12 h 91"/>
                  <a:gd name="T28" fmla="*/ 40 w 39"/>
                  <a:gd name="T29" fmla="*/ 11 h 91"/>
                  <a:gd name="T30" fmla="*/ 31 w 39"/>
                  <a:gd name="T31" fmla="*/ 1 h 91"/>
                  <a:gd name="T32" fmla="*/ 27 w 39"/>
                  <a:gd name="T33" fmla="*/ 4 h 91"/>
                  <a:gd name="T34" fmla="*/ 25 w 39"/>
                  <a:gd name="T35" fmla="*/ 10 h 91"/>
                  <a:gd name="T36" fmla="*/ 24 w 39"/>
                  <a:gd name="T37" fmla="*/ 12 h 91"/>
                  <a:gd name="T38" fmla="*/ 23 w 39"/>
                  <a:gd name="T39" fmla="*/ 17 h 91"/>
                  <a:gd name="T40" fmla="*/ 17 w 39"/>
                  <a:gd name="T41" fmla="*/ 19 h 91"/>
                  <a:gd name="T42" fmla="*/ 10 w 39"/>
                  <a:gd name="T43" fmla="*/ 19 h 91"/>
                  <a:gd name="T44" fmla="*/ 5 w 39"/>
                  <a:gd name="T45" fmla="*/ 21 h 91"/>
                  <a:gd name="T46" fmla="*/ 5 w 39"/>
                  <a:gd name="T47" fmla="*/ 27 h 91"/>
                  <a:gd name="T48" fmla="*/ 1 w 39"/>
                  <a:gd name="T49" fmla="*/ 25 h 91"/>
                  <a:gd name="T50" fmla="*/ 0 w 39"/>
                  <a:gd name="T51" fmla="*/ 30 h 91"/>
                  <a:gd name="T52" fmla="*/ 1 w 39"/>
                  <a:gd name="T53" fmla="*/ 37 h 91"/>
                  <a:gd name="T54" fmla="*/ 7 w 39"/>
                  <a:gd name="T55" fmla="*/ 45 h 91"/>
                  <a:gd name="T56" fmla="*/ 8 w 39"/>
                  <a:gd name="T57" fmla="*/ 56 h 91"/>
                  <a:gd name="T58" fmla="*/ 12 w 39"/>
                  <a:gd name="T59" fmla="*/ 60 h 91"/>
                  <a:gd name="T60" fmla="*/ 12 w 39"/>
                  <a:gd name="T61" fmla="*/ 102 h 91"/>
                  <a:gd name="T62" fmla="*/ 16 w 39"/>
                  <a:gd name="T63" fmla="*/ 110 h 9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9"/>
                  <a:gd name="T97" fmla="*/ 0 h 91"/>
                  <a:gd name="T98" fmla="*/ 39 w 39"/>
                  <a:gd name="T99" fmla="*/ 91 h 9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9" h="91">
                    <a:moveTo>
                      <a:pt x="13" y="91"/>
                    </a:moveTo>
                    <a:cubicBezTo>
                      <a:pt x="15" y="91"/>
                      <a:pt x="17" y="90"/>
                      <a:pt x="19" y="90"/>
                    </a:cubicBezTo>
                    <a:cubicBezTo>
                      <a:pt x="21" y="89"/>
                      <a:pt x="23" y="90"/>
                      <a:pt x="26" y="90"/>
                    </a:cubicBezTo>
                    <a:cubicBezTo>
                      <a:pt x="25" y="84"/>
                      <a:pt x="25" y="79"/>
                      <a:pt x="24" y="73"/>
                    </a:cubicBezTo>
                    <a:cubicBezTo>
                      <a:pt x="24" y="70"/>
                      <a:pt x="25" y="66"/>
                      <a:pt x="25" y="63"/>
                    </a:cubicBezTo>
                    <a:cubicBezTo>
                      <a:pt x="25" y="59"/>
                      <a:pt x="24" y="54"/>
                      <a:pt x="26" y="50"/>
                    </a:cubicBezTo>
                    <a:cubicBezTo>
                      <a:pt x="26" y="49"/>
                      <a:pt x="30" y="50"/>
                      <a:pt x="30" y="49"/>
                    </a:cubicBezTo>
                    <a:cubicBezTo>
                      <a:pt x="32" y="46"/>
                      <a:pt x="31" y="43"/>
                      <a:pt x="33" y="41"/>
                    </a:cubicBezTo>
                    <a:cubicBezTo>
                      <a:pt x="34" y="39"/>
                      <a:pt x="37" y="38"/>
                      <a:pt x="37" y="36"/>
                    </a:cubicBezTo>
                    <a:cubicBezTo>
                      <a:pt x="38" y="34"/>
                      <a:pt x="34" y="33"/>
                      <a:pt x="35" y="31"/>
                    </a:cubicBezTo>
                    <a:cubicBezTo>
                      <a:pt x="35" y="29"/>
                      <a:pt x="39" y="31"/>
                      <a:pt x="39" y="29"/>
                    </a:cubicBezTo>
                    <a:cubicBezTo>
                      <a:pt x="39" y="27"/>
                      <a:pt x="36" y="26"/>
                      <a:pt x="36" y="24"/>
                    </a:cubicBezTo>
                    <a:cubicBezTo>
                      <a:pt x="35" y="22"/>
                      <a:pt x="34" y="20"/>
                      <a:pt x="34" y="17"/>
                    </a:cubicBezTo>
                    <a:cubicBezTo>
                      <a:pt x="34" y="15"/>
                      <a:pt x="36" y="13"/>
                      <a:pt x="37" y="10"/>
                    </a:cubicBezTo>
                    <a:cubicBezTo>
                      <a:pt x="35" y="10"/>
                      <a:pt x="34" y="10"/>
                      <a:pt x="33" y="9"/>
                    </a:cubicBezTo>
                    <a:cubicBezTo>
                      <a:pt x="30" y="7"/>
                      <a:pt x="29" y="2"/>
                      <a:pt x="26" y="1"/>
                    </a:cubicBezTo>
                    <a:cubicBezTo>
                      <a:pt x="25" y="0"/>
                      <a:pt x="23" y="1"/>
                      <a:pt x="22" y="3"/>
                    </a:cubicBezTo>
                    <a:cubicBezTo>
                      <a:pt x="21" y="4"/>
                      <a:pt x="22" y="7"/>
                      <a:pt x="21" y="8"/>
                    </a:cubicBezTo>
                    <a:cubicBezTo>
                      <a:pt x="21" y="9"/>
                      <a:pt x="20" y="9"/>
                      <a:pt x="20" y="10"/>
                    </a:cubicBezTo>
                    <a:cubicBezTo>
                      <a:pt x="20" y="11"/>
                      <a:pt x="20" y="13"/>
                      <a:pt x="19" y="14"/>
                    </a:cubicBezTo>
                    <a:cubicBezTo>
                      <a:pt x="18" y="16"/>
                      <a:pt x="16" y="16"/>
                      <a:pt x="14" y="16"/>
                    </a:cubicBezTo>
                    <a:cubicBezTo>
                      <a:pt x="12" y="16"/>
                      <a:pt x="10" y="15"/>
                      <a:pt x="8" y="16"/>
                    </a:cubicBezTo>
                    <a:cubicBezTo>
                      <a:pt x="6" y="16"/>
                      <a:pt x="5" y="16"/>
                      <a:pt x="4" y="17"/>
                    </a:cubicBezTo>
                    <a:cubicBezTo>
                      <a:pt x="3" y="19"/>
                      <a:pt x="5" y="21"/>
                      <a:pt x="4" y="22"/>
                    </a:cubicBezTo>
                    <a:cubicBezTo>
                      <a:pt x="3" y="23"/>
                      <a:pt x="2" y="21"/>
                      <a:pt x="1" y="21"/>
                    </a:cubicBezTo>
                    <a:cubicBezTo>
                      <a:pt x="0" y="22"/>
                      <a:pt x="0" y="23"/>
                      <a:pt x="0" y="25"/>
                    </a:cubicBezTo>
                    <a:cubicBezTo>
                      <a:pt x="0" y="27"/>
                      <a:pt x="0" y="29"/>
                      <a:pt x="1" y="31"/>
                    </a:cubicBezTo>
                    <a:cubicBezTo>
                      <a:pt x="2" y="34"/>
                      <a:pt x="5" y="35"/>
                      <a:pt x="6" y="37"/>
                    </a:cubicBezTo>
                    <a:cubicBezTo>
                      <a:pt x="7" y="40"/>
                      <a:pt x="6" y="43"/>
                      <a:pt x="7" y="46"/>
                    </a:cubicBezTo>
                    <a:cubicBezTo>
                      <a:pt x="7" y="48"/>
                      <a:pt x="10" y="49"/>
                      <a:pt x="10" y="50"/>
                    </a:cubicBezTo>
                    <a:cubicBezTo>
                      <a:pt x="11" y="61"/>
                      <a:pt x="9" y="73"/>
                      <a:pt x="10" y="84"/>
                    </a:cubicBezTo>
                    <a:cubicBezTo>
                      <a:pt x="10" y="86"/>
                      <a:pt x="12" y="89"/>
                      <a:pt x="13" y="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4" name="Freeform 2565"/>
              <p:cNvSpPr>
                <a:spLocks noChangeAspect="1"/>
              </p:cNvSpPr>
              <p:nvPr/>
            </p:nvSpPr>
            <p:spPr bwMode="auto">
              <a:xfrm>
                <a:off x="4523862" y="3650896"/>
                <a:ext cx="300948" cy="266358"/>
              </a:xfrm>
              <a:custGeom>
                <a:avLst/>
                <a:gdLst>
                  <a:gd name="T0" fmla="*/ 94 w 153"/>
                  <a:gd name="T1" fmla="*/ 148 h 137"/>
                  <a:gd name="T2" fmla="*/ 97 w 153"/>
                  <a:gd name="T3" fmla="*/ 129 h 137"/>
                  <a:gd name="T4" fmla="*/ 113 w 153"/>
                  <a:gd name="T5" fmla="*/ 116 h 137"/>
                  <a:gd name="T6" fmla="*/ 120 w 153"/>
                  <a:gd name="T7" fmla="*/ 119 h 137"/>
                  <a:gd name="T8" fmla="*/ 129 w 153"/>
                  <a:gd name="T9" fmla="*/ 124 h 137"/>
                  <a:gd name="T10" fmla="*/ 141 w 153"/>
                  <a:gd name="T11" fmla="*/ 114 h 137"/>
                  <a:gd name="T12" fmla="*/ 146 w 153"/>
                  <a:gd name="T13" fmla="*/ 96 h 137"/>
                  <a:gd name="T14" fmla="*/ 156 w 153"/>
                  <a:gd name="T15" fmla="*/ 75 h 137"/>
                  <a:gd name="T16" fmla="*/ 161 w 153"/>
                  <a:gd name="T17" fmla="*/ 65 h 137"/>
                  <a:gd name="T18" fmla="*/ 171 w 153"/>
                  <a:gd name="T19" fmla="*/ 44 h 137"/>
                  <a:gd name="T20" fmla="*/ 180 w 153"/>
                  <a:gd name="T21" fmla="*/ 28 h 137"/>
                  <a:gd name="T22" fmla="*/ 176 w 153"/>
                  <a:gd name="T23" fmla="*/ 17 h 137"/>
                  <a:gd name="T24" fmla="*/ 166 w 153"/>
                  <a:gd name="T25" fmla="*/ 2 h 137"/>
                  <a:gd name="T26" fmla="*/ 152 w 153"/>
                  <a:gd name="T27" fmla="*/ 8 h 137"/>
                  <a:gd name="T28" fmla="*/ 129 w 153"/>
                  <a:gd name="T29" fmla="*/ 8 h 137"/>
                  <a:gd name="T30" fmla="*/ 105 w 153"/>
                  <a:gd name="T31" fmla="*/ 17 h 137"/>
                  <a:gd name="T32" fmla="*/ 88 w 153"/>
                  <a:gd name="T33" fmla="*/ 11 h 137"/>
                  <a:gd name="T34" fmla="*/ 67 w 153"/>
                  <a:gd name="T35" fmla="*/ 11 h 137"/>
                  <a:gd name="T36" fmla="*/ 38 w 153"/>
                  <a:gd name="T37" fmla="*/ 0 h 137"/>
                  <a:gd name="T38" fmla="*/ 19 w 153"/>
                  <a:gd name="T39" fmla="*/ 14 h 137"/>
                  <a:gd name="T40" fmla="*/ 16 w 153"/>
                  <a:gd name="T41" fmla="*/ 34 h 137"/>
                  <a:gd name="T42" fmla="*/ 14 w 153"/>
                  <a:gd name="T43" fmla="*/ 50 h 137"/>
                  <a:gd name="T44" fmla="*/ 13 w 153"/>
                  <a:gd name="T45" fmla="*/ 59 h 137"/>
                  <a:gd name="T46" fmla="*/ 11 w 153"/>
                  <a:gd name="T47" fmla="*/ 71 h 137"/>
                  <a:gd name="T48" fmla="*/ 2 w 153"/>
                  <a:gd name="T49" fmla="*/ 81 h 137"/>
                  <a:gd name="T50" fmla="*/ 0 w 153"/>
                  <a:gd name="T51" fmla="*/ 109 h 137"/>
                  <a:gd name="T52" fmla="*/ 14 w 153"/>
                  <a:gd name="T53" fmla="*/ 127 h 137"/>
                  <a:gd name="T54" fmla="*/ 36 w 153"/>
                  <a:gd name="T55" fmla="*/ 135 h 137"/>
                  <a:gd name="T56" fmla="*/ 43 w 153"/>
                  <a:gd name="T57" fmla="*/ 146 h 137"/>
                  <a:gd name="T58" fmla="*/ 44 w 153"/>
                  <a:gd name="T59" fmla="*/ 160 h 137"/>
                  <a:gd name="T60" fmla="*/ 67 w 153"/>
                  <a:gd name="T61" fmla="*/ 163 h 137"/>
                  <a:gd name="T62" fmla="*/ 83 w 153"/>
                  <a:gd name="T63" fmla="*/ 153 h 13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53"/>
                  <a:gd name="T97" fmla="*/ 0 h 137"/>
                  <a:gd name="T98" fmla="*/ 153 w 153"/>
                  <a:gd name="T99" fmla="*/ 137 h 13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53" h="137">
                    <a:moveTo>
                      <a:pt x="73" y="130"/>
                    </a:moveTo>
                    <a:cubicBezTo>
                      <a:pt x="75" y="128"/>
                      <a:pt x="77" y="126"/>
                      <a:pt x="78" y="124"/>
                    </a:cubicBezTo>
                    <a:cubicBezTo>
                      <a:pt x="78" y="121"/>
                      <a:pt x="76" y="117"/>
                      <a:pt x="77" y="114"/>
                    </a:cubicBezTo>
                    <a:cubicBezTo>
                      <a:pt x="78" y="112"/>
                      <a:pt x="80" y="110"/>
                      <a:pt x="81" y="108"/>
                    </a:cubicBezTo>
                    <a:cubicBezTo>
                      <a:pt x="83" y="106"/>
                      <a:pt x="86" y="105"/>
                      <a:pt x="88" y="104"/>
                    </a:cubicBezTo>
                    <a:cubicBezTo>
                      <a:pt x="90" y="102"/>
                      <a:pt x="91" y="98"/>
                      <a:pt x="94" y="97"/>
                    </a:cubicBezTo>
                    <a:cubicBezTo>
                      <a:pt x="95" y="97"/>
                      <a:pt x="96" y="99"/>
                      <a:pt x="98" y="100"/>
                    </a:cubicBezTo>
                    <a:cubicBezTo>
                      <a:pt x="99" y="100"/>
                      <a:pt x="100" y="100"/>
                      <a:pt x="100" y="99"/>
                    </a:cubicBezTo>
                    <a:cubicBezTo>
                      <a:pt x="101" y="99"/>
                      <a:pt x="101" y="96"/>
                      <a:pt x="101" y="97"/>
                    </a:cubicBezTo>
                    <a:cubicBezTo>
                      <a:pt x="104" y="98"/>
                      <a:pt x="105" y="102"/>
                      <a:pt x="107" y="104"/>
                    </a:cubicBezTo>
                    <a:cubicBezTo>
                      <a:pt x="108" y="105"/>
                      <a:pt x="111" y="106"/>
                      <a:pt x="112" y="105"/>
                    </a:cubicBezTo>
                    <a:cubicBezTo>
                      <a:pt x="115" y="103"/>
                      <a:pt x="116" y="98"/>
                      <a:pt x="117" y="95"/>
                    </a:cubicBezTo>
                    <a:cubicBezTo>
                      <a:pt x="119" y="92"/>
                      <a:pt x="120" y="89"/>
                      <a:pt x="121" y="86"/>
                    </a:cubicBezTo>
                    <a:cubicBezTo>
                      <a:pt x="121" y="84"/>
                      <a:pt x="120" y="82"/>
                      <a:pt x="121" y="80"/>
                    </a:cubicBezTo>
                    <a:cubicBezTo>
                      <a:pt x="123" y="77"/>
                      <a:pt x="126" y="76"/>
                      <a:pt x="128" y="73"/>
                    </a:cubicBezTo>
                    <a:cubicBezTo>
                      <a:pt x="129" y="70"/>
                      <a:pt x="128" y="66"/>
                      <a:pt x="130" y="63"/>
                    </a:cubicBezTo>
                    <a:cubicBezTo>
                      <a:pt x="131" y="61"/>
                      <a:pt x="133" y="60"/>
                      <a:pt x="134" y="58"/>
                    </a:cubicBezTo>
                    <a:cubicBezTo>
                      <a:pt x="135" y="57"/>
                      <a:pt x="134" y="55"/>
                      <a:pt x="134" y="54"/>
                    </a:cubicBezTo>
                    <a:cubicBezTo>
                      <a:pt x="134" y="52"/>
                      <a:pt x="136" y="50"/>
                      <a:pt x="137" y="48"/>
                    </a:cubicBezTo>
                    <a:cubicBezTo>
                      <a:pt x="138" y="44"/>
                      <a:pt x="139" y="40"/>
                      <a:pt x="142" y="37"/>
                    </a:cubicBezTo>
                    <a:cubicBezTo>
                      <a:pt x="144" y="35"/>
                      <a:pt x="150" y="36"/>
                      <a:pt x="152" y="33"/>
                    </a:cubicBezTo>
                    <a:cubicBezTo>
                      <a:pt x="153" y="30"/>
                      <a:pt x="151" y="26"/>
                      <a:pt x="150" y="23"/>
                    </a:cubicBezTo>
                    <a:cubicBezTo>
                      <a:pt x="149" y="21"/>
                      <a:pt x="145" y="22"/>
                      <a:pt x="144" y="20"/>
                    </a:cubicBezTo>
                    <a:cubicBezTo>
                      <a:pt x="144" y="18"/>
                      <a:pt x="145" y="15"/>
                      <a:pt x="146" y="14"/>
                    </a:cubicBezTo>
                    <a:cubicBezTo>
                      <a:pt x="145" y="13"/>
                      <a:pt x="144" y="11"/>
                      <a:pt x="143" y="10"/>
                    </a:cubicBezTo>
                    <a:cubicBezTo>
                      <a:pt x="141" y="8"/>
                      <a:pt x="140" y="4"/>
                      <a:pt x="138" y="2"/>
                    </a:cubicBezTo>
                    <a:cubicBezTo>
                      <a:pt x="136" y="2"/>
                      <a:pt x="133" y="2"/>
                      <a:pt x="131" y="3"/>
                    </a:cubicBezTo>
                    <a:cubicBezTo>
                      <a:pt x="129" y="4"/>
                      <a:pt x="127" y="6"/>
                      <a:pt x="126" y="7"/>
                    </a:cubicBezTo>
                    <a:cubicBezTo>
                      <a:pt x="124" y="8"/>
                      <a:pt x="122" y="9"/>
                      <a:pt x="120" y="9"/>
                    </a:cubicBezTo>
                    <a:cubicBezTo>
                      <a:pt x="115" y="9"/>
                      <a:pt x="111" y="7"/>
                      <a:pt x="107" y="7"/>
                    </a:cubicBezTo>
                    <a:cubicBezTo>
                      <a:pt x="103" y="6"/>
                      <a:pt x="98" y="6"/>
                      <a:pt x="95" y="8"/>
                    </a:cubicBezTo>
                    <a:cubicBezTo>
                      <a:pt x="92" y="9"/>
                      <a:pt x="90" y="13"/>
                      <a:pt x="87" y="14"/>
                    </a:cubicBezTo>
                    <a:cubicBezTo>
                      <a:pt x="85" y="15"/>
                      <a:pt x="83" y="15"/>
                      <a:pt x="81" y="15"/>
                    </a:cubicBezTo>
                    <a:cubicBezTo>
                      <a:pt x="78" y="13"/>
                      <a:pt x="76" y="10"/>
                      <a:pt x="73" y="9"/>
                    </a:cubicBezTo>
                    <a:cubicBezTo>
                      <a:pt x="70" y="7"/>
                      <a:pt x="66" y="7"/>
                      <a:pt x="63" y="7"/>
                    </a:cubicBezTo>
                    <a:cubicBezTo>
                      <a:pt x="60" y="7"/>
                      <a:pt x="58" y="10"/>
                      <a:pt x="56" y="9"/>
                    </a:cubicBezTo>
                    <a:cubicBezTo>
                      <a:pt x="53" y="9"/>
                      <a:pt x="51" y="6"/>
                      <a:pt x="48" y="5"/>
                    </a:cubicBezTo>
                    <a:cubicBezTo>
                      <a:pt x="43" y="3"/>
                      <a:pt x="38" y="1"/>
                      <a:pt x="32" y="0"/>
                    </a:cubicBezTo>
                    <a:cubicBezTo>
                      <a:pt x="28" y="0"/>
                      <a:pt x="23" y="0"/>
                      <a:pt x="19" y="2"/>
                    </a:cubicBezTo>
                    <a:cubicBezTo>
                      <a:pt x="17" y="4"/>
                      <a:pt x="18" y="9"/>
                      <a:pt x="16" y="12"/>
                    </a:cubicBezTo>
                    <a:cubicBezTo>
                      <a:pt x="15" y="15"/>
                      <a:pt x="12" y="16"/>
                      <a:pt x="12" y="18"/>
                    </a:cubicBezTo>
                    <a:cubicBezTo>
                      <a:pt x="11" y="21"/>
                      <a:pt x="12" y="25"/>
                      <a:pt x="13" y="28"/>
                    </a:cubicBezTo>
                    <a:cubicBezTo>
                      <a:pt x="12" y="31"/>
                      <a:pt x="10" y="33"/>
                      <a:pt x="10" y="35"/>
                    </a:cubicBezTo>
                    <a:cubicBezTo>
                      <a:pt x="10" y="38"/>
                      <a:pt x="11" y="40"/>
                      <a:pt x="12" y="42"/>
                    </a:cubicBezTo>
                    <a:cubicBezTo>
                      <a:pt x="12" y="44"/>
                      <a:pt x="15" y="45"/>
                      <a:pt x="15" y="47"/>
                    </a:cubicBezTo>
                    <a:cubicBezTo>
                      <a:pt x="15" y="49"/>
                      <a:pt x="11" y="47"/>
                      <a:pt x="11" y="49"/>
                    </a:cubicBezTo>
                    <a:cubicBezTo>
                      <a:pt x="10" y="51"/>
                      <a:pt x="14" y="52"/>
                      <a:pt x="13" y="54"/>
                    </a:cubicBezTo>
                    <a:cubicBezTo>
                      <a:pt x="13" y="56"/>
                      <a:pt x="10" y="57"/>
                      <a:pt x="9" y="59"/>
                    </a:cubicBezTo>
                    <a:cubicBezTo>
                      <a:pt x="7" y="61"/>
                      <a:pt x="8" y="64"/>
                      <a:pt x="6" y="67"/>
                    </a:cubicBezTo>
                    <a:cubicBezTo>
                      <a:pt x="6" y="68"/>
                      <a:pt x="2" y="67"/>
                      <a:pt x="2" y="68"/>
                    </a:cubicBezTo>
                    <a:cubicBezTo>
                      <a:pt x="0" y="72"/>
                      <a:pt x="1" y="77"/>
                      <a:pt x="1" y="81"/>
                    </a:cubicBezTo>
                    <a:cubicBezTo>
                      <a:pt x="1" y="84"/>
                      <a:pt x="0" y="88"/>
                      <a:pt x="0" y="91"/>
                    </a:cubicBezTo>
                    <a:cubicBezTo>
                      <a:pt x="1" y="97"/>
                      <a:pt x="1" y="102"/>
                      <a:pt x="2" y="108"/>
                    </a:cubicBezTo>
                    <a:cubicBezTo>
                      <a:pt x="5" y="107"/>
                      <a:pt x="8" y="106"/>
                      <a:pt x="12" y="106"/>
                    </a:cubicBezTo>
                    <a:cubicBezTo>
                      <a:pt x="15" y="106"/>
                      <a:pt x="18" y="107"/>
                      <a:pt x="21" y="108"/>
                    </a:cubicBezTo>
                    <a:cubicBezTo>
                      <a:pt x="25" y="109"/>
                      <a:pt x="28" y="111"/>
                      <a:pt x="30" y="113"/>
                    </a:cubicBezTo>
                    <a:cubicBezTo>
                      <a:pt x="32" y="115"/>
                      <a:pt x="32" y="119"/>
                      <a:pt x="34" y="122"/>
                    </a:cubicBezTo>
                    <a:cubicBezTo>
                      <a:pt x="34" y="122"/>
                      <a:pt x="36" y="121"/>
                      <a:pt x="36" y="122"/>
                    </a:cubicBezTo>
                    <a:cubicBezTo>
                      <a:pt x="36" y="123"/>
                      <a:pt x="34" y="124"/>
                      <a:pt x="34" y="125"/>
                    </a:cubicBezTo>
                    <a:cubicBezTo>
                      <a:pt x="34" y="128"/>
                      <a:pt x="35" y="132"/>
                      <a:pt x="37" y="134"/>
                    </a:cubicBezTo>
                    <a:cubicBezTo>
                      <a:pt x="39" y="136"/>
                      <a:pt x="42" y="136"/>
                      <a:pt x="44" y="136"/>
                    </a:cubicBezTo>
                    <a:cubicBezTo>
                      <a:pt x="48" y="137"/>
                      <a:pt x="52" y="137"/>
                      <a:pt x="56" y="136"/>
                    </a:cubicBezTo>
                    <a:cubicBezTo>
                      <a:pt x="61" y="136"/>
                      <a:pt x="66" y="136"/>
                      <a:pt x="71" y="133"/>
                    </a:cubicBezTo>
                    <a:cubicBezTo>
                      <a:pt x="72" y="132"/>
                      <a:pt x="68" y="129"/>
                      <a:pt x="69" y="128"/>
                    </a:cubicBezTo>
                    <a:cubicBezTo>
                      <a:pt x="70" y="127"/>
                      <a:pt x="72" y="129"/>
                      <a:pt x="73" y="13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5" name="Freeform 2566"/>
              <p:cNvSpPr>
                <a:spLocks noChangeAspect="1"/>
              </p:cNvSpPr>
              <p:nvPr/>
            </p:nvSpPr>
            <p:spPr bwMode="auto">
              <a:xfrm>
                <a:off x="4458438" y="3369921"/>
                <a:ext cx="394177" cy="334571"/>
              </a:xfrm>
              <a:custGeom>
                <a:avLst/>
                <a:gdLst>
                  <a:gd name="T0" fmla="*/ 206 w 200"/>
                  <a:gd name="T1" fmla="*/ 175 h 172"/>
                  <a:gd name="T2" fmla="*/ 206 w 200"/>
                  <a:gd name="T3" fmla="*/ 157 h 172"/>
                  <a:gd name="T4" fmla="*/ 234 w 200"/>
                  <a:gd name="T5" fmla="*/ 122 h 172"/>
                  <a:gd name="T6" fmla="*/ 233 w 200"/>
                  <a:gd name="T7" fmla="*/ 98 h 172"/>
                  <a:gd name="T8" fmla="*/ 233 w 200"/>
                  <a:gd name="T9" fmla="*/ 72 h 172"/>
                  <a:gd name="T10" fmla="*/ 241 w 200"/>
                  <a:gd name="T11" fmla="*/ 55 h 172"/>
                  <a:gd name="T12" fmla="*/ 233 w 200"/>
                  <a:gd name="T13" fmla="*/ 49 h 172"/>
                  <a:gd name="T14" fmla="*/ 234 w 200"/>
                  <a:gd name="T15" fmla="*/ 42 h 172"/>
                  <a:gd name="T16" fmla="*/ 229 w 200"/>
                  <a:gd name="T17" fmla="*/ 36 h 172"/>
                  <a:gd name="T18" fmla="*/ 230 w 200"/>
                  <a:gd name="T19" fmla="*/ 25 h 172"/>
                  <a:gd name="T20" fmla="*/ 225 w 200"/>
                  <a:gd name="T21" fmla="*/ 11 h 172"/>
                  <a:gd name="T22" fmla="*/ 208 w 200"/>
                  <a:gd name="T23" fmla="*/ 18 h 172"/>
                  <a:gd name="T24" fmla="*/ 201 w 200"/>
                  <a:gd name="T25" fmla="*/ 7 h 172"/>
                  <a:gd name="T26" fmla="*/ 187 w 200"/>
                  <a:gd name="T27" fmla="*/ 6 h 172"/>
                  <a:gd name="T28" fmla="*/ 178 w 200"/>
                  <a:gd name="T29" fmla="*/ 0 h 172"/>
                  <a:gd name="T30" fmla="*/ 83 w 200"/>
                  <a:gd name="T31" fmla="*/ 71 h 172"/>
                  <a:gd name="T32" fmla="*/ 64 w 200"/>
                  <a:gd name="T33" fmla="*/ 78 h 172"/>
                  <a:gd name="T34" fmla="*/ 64 w 200"/>
                  <a:gd name="T35" fmla="*/ 132 h 172"/>
                  <a:gd name="T36" fmla="*/ 59 w 200"/>
                  <a:gd name="T37" fmla="*/ 133 h 172"/>
                  <a:gd name="T38" fmla="*/ 57 w 200"/>
                  <a:gd name="T39" fmla="*/ 138 h 172"/>
                  <a:gd name="T40" fmla="*/ 52 w 200"/>
                  <a:gd name="T41" fmla="*/ 139 h 172"/>
                  <a:gd name="T42" fmla="*/ 49 w 200"/>
                  <a:gd name="T43" fmla="*/ 144 h 172"/>
                  <a:gd name="T44" fmla="*/ 17 w 200"/>
                  <a:gd name="T45" fmla="*/ 147 h 172"/>
                  <a:gd name="T46" fmla="*/ 12 w 200"/>
                  <a:gd name="T47" fmla="*/ 152 h 172"/>
                  <a:gd name="T48" fmla="*/ 1 w 200"/>
                  <a:gd name="T49" fmla="*/ 151 h 172"/>
                  <a:gd name="T50" fmla="*/ 0 w 200"/>
                  <a:gd name="T51" fmla="*/ 162 h 172"/>
                  <a:gd name="T52" fmla="*/ 2 w 200"/>
                  <a:gd name="T53" fmla="*/ 170 h 172"/>
                  <a:gd name="T54" fmla="*/ 10 w 200"/>
                  <a:gd name="T55" fmla="*/ 176 h 172"/>
                  <a:gd name="T56" fmla="*/ 13 w 200"/>
                  <a:gd name="T57" fmla="*/ 177 h 172"/>
                  <a:gd name="T58" fmla="*/ 10 w 200"/>
                  <a:gd name="T59" fmla="*/ 186 h 172"/>
                  <a:gd name="T60" fmla="*/ 24 w 200"/>
                  <a:gd name="T61" fmla="*/ 192 h 172"/>
                  <a:gd name="T62" fmla="*/ 29 w 200"/>
                  <a:gd name="T63" fmla="*/ 190 h 172"/>
                  <a:gd name="T64" fmla="*/ 34 w 200"/>
                  <a:gd name="T65" fmla="*/ 194 h 172"/>
                  <a:gd name="T66" fmla="*/ 31 w 200"/>
                  <a:gd name="T67" fmla="*/ 198 h 172"/>
                  <a:gd name="T68" fmla="*/ 33 w 200"/>
                  <a:gd name="T69" fmla="*/ 205 h 172"/>
                  <a:gd name="T70" fmla="*/ 35 w 200"/>
                  <a:gd name="T71" fmla="*/ 206 h 172"/>
                  <a:gd name="T72" fmla="*/ 36 w 200"/>
                  <a:gd name="T73" fmla="*/ 204 h 172"/>
                  <a:gd name="T74" fmla="*/ 37 w 200"/>
                  <a:gd name="T75" fmla="*/ 198 h 172"/>
                  <a:gd name="T76" fmla="*/ 42 w 200"/>
                  <a:gd name="T77" fmla="*/ 195 h 172"/>
                  <a:gd name="T78" fmla="*/ 51 w 200"/>
                  <a:gd name="T79" fmla="*/ 205 h 172"/>
                  <a:gd name="T80" fmla="*/ 55 w 200"/>
                  <a:gd name="T81" fmla="*/ 206 h 172"/>
                  <a:gd name="T82" fmla="*/ 54 w 200"/>
                  <a:gd name="T83" fmla="*/ 194 h 172"/>
                  <a:gd name="T84" fmla="*/ 59 w 200"/>
                  <a:gd name="T85" fmla="*/ 187 h 172"/>
                  <a:gd name="T86" fmla="*/ 63 w 200"/>
                  <a:gd name="T87" fmla="*/ 175 h 172"/>
                  <a:gd name="T88" fmla="*/ 78 w 200"/>
                  <a:gd name="T89" fmla="*/ 172 h 172"/>
                  <a:gd name="T90" fmla="*/ 98 w 200"/>
                  <a:gd name="T91" fmla="*/ 178 h 172"/>
                  <a:gd name="T92" fmla="*/ 107 w 200"/>
                  <a:gd name="T93" fmla="*/ 183 h 172"/>
                  <a:gd name="T94" fmla="*/ 116 w 200"/>
                  <a:gd name="T95" fmla="*/ 181 h 172"/>
                  <a:gd name="T96" fmla="*/ 128 w 200"/>
                  <a:gd name="T97" fmla="*/ 183 h 172"/>
                  <a:gd name="T98" fmla="*/ 137 w 200"/>
                  <a:gd name="T99" fmla="*/ 190 h 172"/>
                  <a:gd name="T100" fmla="*/ 145 w 200"/>
                  <a:gd name="T101" fmla="*/ 189 h 172"/>
                  <a:gd name="T102" fmla="*/ 154 w 200"/>
                  <a:gd name="T103" fmla="*/ 182 h 172"/>
                  <a:gd name="T104" fmla="*/ 169 w 200"/>
                  <a:gd name="T105" fmla="*/ 181 h 172"/>
                  <a:gd name="T106" fmla="*/ 184 w 200"/>
                  <a:gd name="T107" fmla="*/ 183 h 172"/>
                  <a:gd name="T108" fmla="*/ 192 w 200"/>
                  <a:gd name="T109" fmla="*/ 181 h 172"/>
                  <a:gd name="T110" fmla="*/ 198 w 200"/>
                  <a:gd name="T111" fmla="*/ 176 h 172"/>
                  <a:gd name="T112" fmla="*/ 206 w 200"/>
                  <a:gd name="T113" fmla="*/ 175 h 1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00"/>
                  <a:gd name="T172" fmla="*/ 0 h 172"/>
                  <a:gd name="T173" fmla="*/ 200 w 200"/>
                  <a:gd name="T174" fmla="*/ 172 h 17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00" h="172">
                    <a:moveTo>
                      <a:pt x="171" y="146"/>
                    </a:moveTo>
                    <a:lnTo>
                      <a:pt x="171" y="131"/>
                    </a:lnTo>
                    <a:lnTo>
                      <a:pt x="194" y="102"/>
                    </a:lnTo>
                    <a:lnTo>
                      <a:pt x="193" y="82"/>
                    </a:lnTo>
                    <a:lnTo>
                      <a:pt x="193" y="60"/>
                    </a:lnTo>
                    <a:lnTo>
                      <a:pt x="200" y="46"/>
                    </a:lnTo>
                    <a:lnTo>
                      <a:pt x="193" y="41"/>
                    </a:lnTo>
                    <a:lnTo>
                      <a:pt x="194" y="35"/>
                    </a:lnTo>
                    <a:lnTo>
                      <a:pt x="190" y="30"/>
                    </a:lnTo>
                    <a:lnTo>
                      <a:pt x="191" y="21"/>
                    </a:lnTo>
                    <a:lnTo>
                      <a:pt x="187" y="9"/>
                    </a:lnTo>
                    <a:cubicBezTo>
                      <a:pt x="182" y="11"/>
                      <a:pt x="178" y="14"/>
                      <a:pt x="173" y="15"/>
                    </a:cubicBezTo>
                    <a:cubicBezTo>
                      <a:pt x="172" y="13"/>
                      <a:pt x="171" y="8"/>
                      <a:pt x="167" y="6"/>
                    </a:cubicBezTo>
                    <a:cubicBezTo>
                      <a:pt x="164" y="4"/>
                      <a:pt x="159" y="7"/>
                      <a:pt x="155" y="5"/>
                    </a:cubicBezTo>
                    <a:cubicBezTo>
                      <a:pt x="152" y="5"/>
                      <a:pt x="150" y="2"/>
                      <a:pt x="148" y="0"/>
                    </a:cubicBezTo>
                    <a:lnTo>
                      <a:pt x="69" y="59"/>
                    </a:lnTo>
                    <a:lnTo>
                      <a:pt x="53" y="65"/>
                    </a:lnTo>
                    <a:lnTo>
                      <a:pt x="53" y="110"/>
                    </a:lnTo>
                    <a:cubicBezTo>
                      <a:pt x="52" y="110"/>
                      <a:pt x="50" y="110"/>
                      <a:pt x="49" y="111"/>
                    </a:cubicBezTo>
                    <a:cubicBezTo>
                      <a:pt x="48" y="112"/>
                      <a:pt x="48" y="114"/>
                      <a:pt x="47" y="115"/>
                    </a:cubicBezTo>
                    <a:cubicBezTo>
                      <a:pt x="46" y="116"/>
                      <a:pt x="44" y="115"/>
                      <a:pt x="43" y="116"/>
                    </a:cubicBezTo>
                    <a:lnTo>
                      <a:pt x="41" y="120"/>
                    </a:lnTo>
                    <a:lnTo>
                      <a:pt x="14" y="123"/>
                    </a:lnTo>
                    <a:cubicBezTo>
                      <a:pt x="13" y="124"/>
                      <a:pt x="12" y="127"/>
                      <a:pt x="10" y="127"/>
                    </a:cubicBezTo>
                    <a:lnTo>
                      <a:pt x="1" y="126"/>
                    </a:lnTo>
                    <a:cubicBezTo>
                      <a:pt x="0" y="129"/>
                      <a:pt x="0" y="132"/>
                      <a:pt x="0" y="135"/>
                    </a:cubicBezTo>
                    <a:cubicBezTo>
                      <a:pt x="0" y="138"/>
                      <a:pt x="1" y="140"/>
                      <a:pt x="2" y="142"/>
                    </a:cubicBezTo>
                    <a:cubicBezTo>
                      <a:pt x="4" y="144"/>
                      <a:pt x="6" y="145"/>
                      <a:pt x="8" y="147"/>
                    </a:cubicBezTo>
                    <a:cubicBezTo>
                      <a:pt x="9" y="148"/>
                      <a:pt x="11" y="147"/>
                      <a:pt x="11" y="148"/>
                    </a:cubicBezTo>
                    <a:cubicBezTo>
                      <a:pt x="12" y="151"/>
                      <a:pt x="7" y="153"/>
                      <a:pt x="8" y="155"/>
                    </a:cubicBezTo>
                    <a:cubicBezTo>
                      <a:pt x="11" y="159"/>
                      <a:pt x="16" y="159"/>
                      <a:pt x="20" y="160"/>
                    </a:cubicBezTo>
                    <a:cubicBezTo>
                      <a:pt x="21" y="161"/>
                      <a:pt x="23" y="158"/>
                      <a:pt x="24" y="159"/>
                    </a:cubicBezTo>
                    <a:cubicBezTo>
                      <a:pt x="26" y="159"/>
                      <a:pt x="27" y="161"/>
                      <a:pt x="28" y="162"/>
                    </a:cubicBezTo>
                    <a:cubicBezTo>
                      <a:pt x="28" y="163"/>
                      <a:pt x="26" y="164"/>
                      <a:pt x="26" y="165"/>
                    </a:cubicBezTo>
                    <a:cubicBezTo>
                      <a:pt x="26" y="167"/>
                      <a:pt x="26" y="169"/>
                      <a:pt x="27" y="171"/>
                    </a:cubicBezTo>
                    <a:cubicBezTo>
                      <a:pt x="27" y="172"/>
                      <a:pt x="28" y="171"/>
                      <a:pt x="29" y="172"/>
                    </a:cubicBezTo>
                    <a:cubicBezTo>
                      <a:pt x="29" y="171"/>
                      <a:pt x="30" y="171"/>
                      <a:pt x="30" y="170"/>
                    </a:cubicBezTo>
                    <a:cubicBezTo>
                      <a:pt x="31" y="169"/>
                      <a:pt x="30" y="166"/>
                      <a:pt x="31" y="165"/>
                    </a:cubicBezTo>
                    <a:cubicBezTo>
                      <a:pt x="32" y="163"/>
                      <a:pt x="34" y="162"/>
                      <a:pt x="35" y="163"/>
                    </a:cubicBezTo>
                    <a:cubicBezTo>
                      <a:pt x="38" y="164"/>
                      <a:pt x="39" y="169"/>
                      <a:pt x="42" y="171"/>
                    </a:cubicBezTo>
                    <a:cubicBezTo>
                      <a:pt x="43" y="172"/>
                      <a:pt x="44" y="172"/>
                      <a:pt x="46" y="172"/>
                    </a:cubicBezTo>
                    <a:cubicBezTo>
                      <a:pt x="45" y="169"/>
                      <a:pt x="44" y="165"/>
                      <a:pt x="45" y="162"/>
                    </a:cubicBezTo>
                    <a:cubicBezTo>
                      <a:pt x="45" y="160"/>
                      <a:pt x="48" y="159"/>
                      <a:pt x="49" y="156"/>
                    </a:cubicBezTo>
                    <a:cubicBezTo>
                      <a:pt x="51" y="153"/>
                      <a:pt x="50" y="148"/>
                      <a:pt x="52" y="146"/>
                    </a:cubicBezTo>
                    <a:cubicBezTo>
                      <a:pt x="56" y="144"/>
                      <a:pt x="61" y="144"/>
                      <a:pt x="65" y="144"/>
                    </a:cubicBezTo>
                    <a:cubicBezTo>
                      <a:pt x="71" y="145"/>
                      <a:pt x="76" y="147"/>
                      <a:pt x="81" y="149"/>
                    </a:cubicBezTo>
                    <a:cubicBezTo>
                      <a:pt x="84" y="150"/>
                      <a:pt x="86" y="153"/>
                      <a:pt x="89" y="153"/>
                    </a:cubicBezTo>
                    <a:cubicBezTo>
                      <a:pt x="91" y="154"/>
                      <a:pt x="93" y="151"/>
                      <a:pt x="96" y="151"/>
                    </a:cubicBezTo>
                    <a:cubicBezTo>
                      <a:pt x="99" y="151"/>
                      <a:pt x="103" y="151"/>
                      <a:pt x="106" y="153"/>
                    </a:cubicBezTo>
                    <a:cubicBezTo>
                      <a:pt x="109" y="154"/>
                      <a:pt x="111" y="157"/>
                      <a:pt x="114" y="159"/>
                    </a:cubicBezTo>
                    <a:cubicBezTo>
                      <a:pt x="116" y="159"/>
                      <a:pt x="118" y="159"/>
                      <a:pt x="120" y="158"/>
                    </a:cubicBezTo>
                    <a:cubicBezTo>
                      <a:pt x="123" y="157"/>
                      <a:pt x="125" y="153"/>
                      <a:pt x="128" y="152"/>
                    </a:cubicBezTo>
                    <a:cubicBezTo>
                      <a:pt x="131" y="150"/>
                      <a:pt x="136" y="150"/>
                      <a:pt x="140" y="151"/>
                    </a:cubicBezTo>
                    <a:cubicBezTo>
                      <a:pt x="144" y="151"/>
                      <a:pt x="148" y="153"/>
                      <a:pt x="153" y="153"/>
                    </a:cubicBezTo>
                    <a:cubicBezTo>
                      <a:pt x="155" y="153"/>
                      <a:pt x="157" y="152"/>
                      <a:pt x="159" y="151"/>
                    </a:cubicBezTo>
                    <a:cubicBezTo>
                      <a:pt x="160" y="150"/>
                      <a:pt x="162" y="148"/>
                      <a:pt x="164" y="147"/>
                    </a:cubicBezTo>
                    <a:cubicBezTo>
                      <a:pt x="166" y="146"/>
                      <a:pt x="169" y="146"/>
                      <a:pt x="171" y="14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6" name="Freeform 2567"/>
              <p:cNvSpPr>
                <a:spLocks noChangeAspect="1"/>
              </p:cNvSpPr>
              <p:nvPr/>
            </p:nvSpPr>
            <p:spPr bwMode="auto">
              <a:xfrm>
                <a:off x="4242541" y="2960640"/>
                <a:ext cx="507032" cy="542460"/>
              </a:xfrm>
              <a:custGeom>
                <a:avLst/>
                <a:gdLst>
                  <a:gd name="T0" fmla="*/ 215 w 258"/>
                  <a:gd name="T1" fmla="*/ 323 h 278"/>
                  <a:gd name="T2" fmla="*/ 181 w 258"/>
                  <a:gd name="T3" fmla="*/ 334 h 278"/>
                  <a:gd name="T4" fmla="*/ 179 w 258"/>
                  <a:gd name="T5" fmla="*/ 320 h 278"/>
                  <a:gd name="T6" fmla="*/ 161 w 258"/>
                  <a:gd name="T7" fmla="*/ 312 h 278"/>
                  <a:gd name="T8" fmla="*/ 149 w 258"/>
                  <a:gd name="T9" fmla="*/ 304 h 278"/>
                  <a:gd name="T10" fmla="*/ 58 w 258"/>
                  <a:gd name="T11" fmla="*/ 225 h 278"/>
                  <a:gd name="T12" fmla="*/ 0 w 258"/>
                  <a:gd name="T13" fmla="*/ 177 h 278"/>
                  <a:gd name="T14" fmla="*/ 12 w 258"/>
                  <a:gd name="T15" fmla="*/ 149 h 278"/>
                  <a:gd name="T16" fmla="*/ 30 w 258"/>
                  <a:gd name="T17" fmla="*/ 141 h 278"/>
                  <a:gd name="T18" fmla="*/ 43 w 258"/>
                  <a:gd name="T19" fmla="*/ 137 h 278"/>
                  <a:gd name="T20" fmla="*/ 60 w 258"/>
                  <a:gd name="T21" fmla="*/ 124 h 278"/>
                  <a:gd name="T22" fmla="*/ 78 w 258"/>
                  <a:gd name="T23" fmla="*/ 115 h 278"/>
                  <a:gd name="T24" fmla="*/ 77 w 258"/>
                  <a:gd name="T25" fmla="*/ 103 h 278"/>
                  <a:gd name="T26" fmla="*/ 102 w 258"/>
                  <a:gd name="T27" fmla="*/ 97 h 278"/>
                  <a:gd name="T28" fmla="*/ 113 w 258"/>
                  <a:gd name="T29" fmla="*/ 88 h 278"/>
                  <a:gd name="T30" fmla="*/ 108 w 258"/>
                  <a:gd name="T31" fmla="*/ 78 h 278"/>
                  <a:gd name="T32" fmla="*/ 106 w 258"/>
                  <a:gd name="T33" fmla="*/ 60 h 278"/>
                  <a:gd name="T34" fmla="*/ 99 w 258"/>
                  <a:gd name="T35" fmla="*/ 37 h 278"/>
                  <a:gd name="T36" fmla="*/ 112 w 258"/>
                  <a:gd name="T37" fmla="*/ 28 h 278"/>
                  <a:gd name="T38" fmla="*/ 129 w 258"/>
                  <a:gd name="T39" fmla="*/ 22 h 278"/>
                  <a:gd name="T40" fmla="*/ 150 w 258"/>
                  <a:gd name="T41" fmla="*/ 8 h 278"/>
                  <a:gd name="T42" fmla="*/ 181 w 258"/>
                  <a:gd name="T43" fmla="*/ 4 h 278"/>
                  <a:gd name="T44" fmla="*/ 205 w 258"/>
                  <a:gd name="T45" fmla="*/ 5 h 278"/>
                  <a:gd name="T46" fmla="*/ 216 w 258"/>
                  <a:gd name="T47" fmla="*/ 4 h 278"/>
                  <a:gd name="T48" fmla="*/ 231 w 258"/>
                  <a:gd name="T49" fmla="*/ 0 h 278"/>
                  <a:gd name="T50" fmla="*/ 240 w 258"/>
                  <a:gd name="T51" fmla="*/ 0 h 278"/>
                  <a:gd name="T52" fmla="*/ 257 w 258"/>
                  <a:gd name="T53" fmla="*/ 2 h 278"/>
                  <a:gd name="T54" fmla="*/ 254 w 258"/>
                  <a:gd name="T55" fmla="*/ 10 h 278"/>
                  <a:gd name="T56" fmla="*/ 255 w 258"/>
                  <a:gd name="T57" fmla="*/ 17 h 278"/>
                  <a:gd name="T58" fmla="*/ 255 w 258"/>
                  <a:gd name="T59" fmla="*/ 35 h 278"/>
                  <a:gd name="T60" fmla="*/ 248 w 258"/>
                  <a:gd name="T61" fmla="*/ 50 h 278"/>
                  <a:gd name="T62" fmla="*/ 242 w 258"/>
                  <a:gd name="T63" fmla="*/ 64 h 278"/>
                  <a:gd name="T64" fmla="*/ 254 w 258"/>
                  <a:gd name="T65" fmla="*/ 79 h 278"/>
                  <a:gd name="T66" fmla="*/ 260 w 258"/>
                  <a:gd name="T67" fmla="*/ 91 h 278"/>
                  <a:gd name="T68" fmla="*/ 272 w 258"/>
                  <a:gd name="T69" fmla="*/ 129 h 278"/>
                  <a:gd name="T70" fmla="*/ 278 w 258"/>
                  <a:gd name="T71" fmla="*/ 156 h 278"/>
                  <a:gd name="T72" fmla="*/ 280 w 258"/>
                  <a:gd name="T73" fmla="*/ 197 h 278"/>
                  <a:gd name="T74" fmla="*/ 282 w 258"/>
                  <a:gd name="T75" fmla="*/ 225 h 278"/>
                  <a:gd name="T76" fmla="*/ 293 w 258"/>
                  <a:gd name="T77" fmla="*/ 237 h 278"/>
                  <a:gd name="T78" fmla="*/ 302 w 258"/>
                  <a:gd name="T79" fmla="*/ 246 h 27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58"/>
                  <a:gd name="T121" fmla="*/ 0 h 278"/>
                  <a:gd name="T122" fmla="*/ 258 w 258"/>
                  <a:gd name="T123" fmla="*/ 278 h 27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58" h="278">
                    <a:moveTo>
                      <a:pt x="258" y="210"/>
                    </a:moveTo>
                    <a:lnTo>
                      <a:pt x="179" y="269"/>
                    </a:lnTo>
                    <a:lnTo>
                      <a:pt x="163" y="275"/>
                    </a:lnTo>
                    <a:cubicBezTo>
                      <a:pt x="159" y="276"/>
                      <a:pt x="156" y="278"/>
                      <a:pt x="151" y="278"/>
                    </a:cubicBezTo>
                    <a:cubicBezTo>
                      <a:pt x="150" y="278"/>
                      <a:pt x="148" y="278"/>
                      <a:pt x="148" y="277"/>
                    </a:cubicBezTo>
                    <a:cubicBezTo>
                      <a:pt x="147" y="273"/>
                      <a:pt x="150" y="269"/>
                      <a:pt x="149" y="266"/>
                    </a:cubicBezTo>
                    <a:cubicBezTo>
                      <a:pt x="147" y="263"/>
                      <a:pt x="143" y="262"/>
                      <a:pt x="140" y="261"/>
                    </a:cubicBezTo>
                    <a:cubicBezTo>
                      <a:pt x="138" y="260"/>
                      <a:pt x="136" y="261"/>
                      <a:pt x="134" y="260"/>
                    </a:cubicBezTo>
                    <a:cubicBezTo>
                      <a:pt x="132" y="259"/>
                      <a:pt x="131" y="257"/>
                      <a:pt x="130" y="255"/>
                    </a:cubicBezTo>
                    <a:cubicBezTo>
                      <a:pt x="128" y="254"/>
                      <a:pt x="125" y="255"/>
                      <a:pt x="124" y="253"/>
                    </a:cubicBezTo>
                    <a:cubicBezTo>
                      <a:pt x="123" y="251"/>
                      <a:pt x="124" y="249"/>
                      <a:pt x="124" y="246"/>
                    </a:cubicBezTo>
                    <a:lnTo>
                      <a:pt x="48" y="187"/>
                    </a:lnTo>
                    <a:lnTo>
                      <a:pt x="0" y="152"/>
                    </a:lnTo>
                    <a:lnTo>
                      <a:pt x="0" y="147"/>
                    </a:lnTo>
                    <a:lnTo>
                      <a:pt x="0" y="132"/>
                    </a:lnTo>
                    <a:cubicBezTo>
                      <a:pt x="0" y="129"/>
                      <a:pt x="7" y="127"/>
                      <a:pt x="10" y="124"/>
                    </a:cubicBezTo>
                    <a:cubicBezTo>
                      <a:pt x="12" y="122"/>
                      <a:pt x="15" y="120"/>
                      <a:pt x="18" y="119"/>
                    </a:cubicBezTo>
                    <a:cubicBezTo>
                      <a:pt x="20" y="118"/>
                      <a:pt x="23" y="119"/>
                      <a:pt x="25" y="117"/>
                    </a:cubicBezTo>
                    <a:cubicBezTo>
                      <a:pt x="26" y="117"/>
                      <a:pt x="26" y="114"/>
                      <a:pt x="28" y="114"/>
                    </a:cubicBezTo>
                    <a:cubicBezTo>
                      <a:pt x="30" y="113"/>
                      <a:pt x="33" y="114"/>
                      <a:pt x="36" y="114"/>
                    </a:cubicBezTo>
                    <a:cubicBezTo>
                      <a:pt x="39" y="113"/>
                      <a:pt x="42" y="113"/>
                      <a:pt x="44" y="112"/>
                    </a:cubicBezTo>
                    <a:cubicBezTo>
                      <a:pt x="47" y="109"/>
                      <a:pt x="47" y="105"/>
                      <a:pt x="50" y="103"/>
                    </a:cubicBezTo>
                    <a:cubicBezTo>
                      <a:pt x="53" y="100"/>
                      <a:pt x="58" y="101"/>
                      <a:pt x="62" y="100"/>
                    </a:cubicBezTo>
                    <a:cubicBezTo>
                      <a:pt x="64" y="99"/>
                      <a:pt x="65" y="97"/>
                      <a:pt x="65" y="96"/>
                    </a:cubicBezTo>
                    <a:cubicBezTo>
                      <a:pt x="64" y="94"/>
                      <a:pt x="60" y="94"/>
                      <a:pt x="60" y="92"/>
                    </a:cubicBezTo>
                    <a:cubicBezTo>
                      <a:pt x="60" y="90"/>
                      <a:pt x="62" y="87"/>
                      <a:pt x="64" y="86"/>
                    </a:cubicBezTo>
                    <a:cubicBezTo>
                      <a:pt x="67" y="84"/>
                      <a:pt x="70" y="84"/>
                      <a:pt x="73" y="84"/>
                    </a:cubicBezTo>
                    <a:cubicBezTo>
                      <a:pt x="77" y="83"/>
                      <a:pt x="81" y="81"/>
                      <a:pt x="85" y="81"/>
                    </a:cubicBezTo>
                    <a:cubicBezTo>
                      <a:pt x="87" y="80"/>
                      <a:pt x="89" y="81"/>
                      <a:pt x="91" y="80"/>
                    </a:cubicBezTo>
                    <a:cubicBezTo>
                      <a:pt x="92" y="78"/>
                      <a:pt x="94" y="76"/>
                      <a:pt x="94" y="73"/>
                    </a:cubicBezTo>
                    <a:cubicBezTo>
                      <a:pt x="94" y="71"/>
                      <a:pt x="91" y="71"/>
                      <a:pt x="90" y="69"/>
                    </a:cubicBezTo>
                    <a:cubicBezTo>
                      <a:pt x="90" y="68"/>
                      <a:pt x="91" y="66"/>
                      <a:pt x="90" y="65"/>
                    </a:cubicBezTo>
                    <a:cubicBezTo>
                      <a:pt x="90" y="63"/>
                      <a:pt x="88" y="63"/>
                      <a:pt x="87" y="61"/>
                    </a:cubicBezTo>
                    <a:cubicBezTo>
                      <a:pt x="87" y="58"/>
                      <a:pt x="88" y="54"/>
                      <a:pt x="88" y="50"/>
                    </a:cubicBezTo>
                    <a:cubicBezTo>
                      <a:pt x="88" y="46"/>
                      <a:pt x="88" y="41"/>
                      <a:pt x="87" y="37"/>
                    </a:cubicBezTo>
                    <a:cubicBezTo>
                      <a:pt x="86" y="35"/>
                      <a:pt x="84" y="33"/>
                      <a:pt x="82" y="31"/>
                    </a:cubicBezTo>
                    <a:cubicBezTo>
                      <a:pt x="85" y="31"/>
                      <a:pt x="87" y="31"/>
                      <a:pt x="89" y="29"/>
                    </a:cubicBezTo>
                    <a:cubicBezTo>
                      <a:pt x="91" y="28"/>
                      <a:pt x="91" y="24"/>
                      <a:pt x="93" y="23"/>
                    </a:cubicBezTo>
                    <a:cubicBezTo>
                      <a:pt x="95" y="21"/>
                      <a:pt x="97" y="20"/>
                      <a:pt x="100" y="19"/>
                    </a:cubicBezTo>
                    <a:cubicBezTo>
                      <a:pt x="102" y="19"/>
                      <a:pt x="105" y="19"/>
                      <a:pt x="107" y="18"/>
                    </a:cubicBezTo>
                    <a:cubicBezTo>
                      <a:pt x="110" y="16"/>
                      <a:pt x="111" y="13"/>
                      <a:pt x="114" y="11"/>
                    </a:cubicBezTo>
                    <a:cubicBezTo>
                      <a:pt x="118" y="9"/>
                      <a:pt x="121" y="8"/>
                      <a:pt x="125" y="7"/>
                    </a:cubicBezTo>
                    <a:cubicBezTo>
                      <a:pt x="128" y="6"/>
                      <a:pt x="132" y="6"/>
                      <a:pt x="135" y="5"/>
                    </a:cubicBezTo>
                    <a:cubicBezTo>
                      <a:pt x="140" y="5"/>
                      <a:pt x="145" y="4"/>
                      <a:pt x="151" y="3"/>
                    </a:cubicBezTo>
                    <a:cubicBezTo>
                      <a:pt x="156" y="3"/>
                      <a:pt x="161" y="2"/>
                      <a:pt x="166" y="2"/>
                    </a:cubicBezTo>
                    <a:cubicBezTo>
                      <a:pt x="168" y="2"/>
                      <a:pt x="169" y="3"/>
                      <a:pt x="171" y="4"/>
                    </a:cubicBezTo>
                    <a:cubicBezTo>
                      <a:pt x="173" y="4"/>
                      <a:pt x="174" y="6"/>
                      <a:pt x="175" y="6"/>
                    </a:cubicBezTo>
                    <a:cubicBezTo>
                      <a:pt x="177" y="6"/>
                      <a:pt x="178" y="4"/>
                      <a:pt x="180" y="3"/>
                    </a:cubicBezTo>
                    <a:cubicBezTo>
                      <a:pt x="182" y="2"/>
                      <a:pt x="185" y="2"/>
                      <a:pt x="187" y="1"/>
                    </a:cubicBezTo>
                    <a:cubicBezTo>
                      <a:pt x="189" y="1"/>
                      <a:pt x="190" y="0"/>
                      <a:pt x="192" y="0"/>
                    </a:cubicBezTo>
                    <a:cubicBezTo>
                      <a:pt x="193" y="1"/>
                      <a:pt x="194" y="2"/>
                      <a:pt x="195" y="2"/>
                    </a:cubicBezTo>
                    <a:cubicBezTo>
                      <a:pt x="197" y="2"/>
                      <a:pt x="198" y="0"/>
                      <a:pt x="200" y="0"/>
                    </a:cubicBezTo>
                    <a:cubicBezTo>
                      <a:pt x="202" y="0"/>
                      <a:pt x="205" y="3"/>
                      <a:pt x="207" y="2"/>
                    </a:cubicBezTo>
                    <a:lnTo>
                      <a:pt x="214" y="2"/>
                    </a:lnTo>
                    <a:cubicBezTo>
                      <a:pt x="214" y="2"/>
                      <a:pt x="214" y="4"/>
                      <a:pt x="214" y="5"/>
                    </a:cubicBezTo>
                    <a:cubicBezTo>
                      <a:pt x="213" y="6"/>
                      <a:pt x="212" y="7"/>
                      <a:pt x="211" y="8"/>
                    </a:cubicBezTo>
                    <a:cubicBezTo>
                      <a:pt x="211" y="9"/>
                      <a:pt x="209" y="9"/>
                      <a:pt x="209" y="10"/>
                    </a:cubicBezTo>
                    <a:cubicBezTo>
                      <a:pt x="209" y="11"/>
                      <a:pt x="211" y="12"/>
                      <a:pt x="212" y="14"/>
                    </a:cubicBezTo>
                    <a:cubicBezTo>
                      <a:pt x="212" y="16"/>
                      <a:pt x="211" y="17"/>
                      <a:pt x="211" y="18"/>
                    </a:cubicBezTo>
                    <a:cubicBezTo>
                      <a:pt x="211" y="22"/>
                      <a:pt x="212" y="25"/>
                      <a:pt x="212" y="29"/>
                    </a:cubicBezTo>
                    <a:cubicBezTo>
                      <a:pt x="212" y="32"/>
                      <a:pt x="212" y="36"/>
                      <a:pt x="210" y="38"/>
                    </a:cubicBezTo>
                    <a:cubicBezTo>
                      <a:pt x="210" y="40"/>
                      <a:pt x="207" y="41"/>
                      <a:pt x="206" y="42"/>
                    </a:cubicBezTo>
                    <a:cubicBezTo>
                      <a:pt x="204" y="44"/>
                      <a:pt x="202" y="46"/>
                      <a:pt x="201" y="48"/>
                    </a:cubicBezTo>
                    <a:cubicBezTo>
                      <a:pt x="200" y="50"/>
                      <a:pt x="200" y="52"/>
                      <a:pt x="201" y="53"/>
                    </a:cubicBezTo>
                    <a:cubicBezTo>
                      <a:pt x="201" y="56"/>
                      <a:pt x="202" y="59"/>
                      <a:pt x="204" y="61"/>
                    </a:cubicBezTo>
                    <a:cubicBezTo>
                      <a:pt x="206" y="63"/>
                      <a:pt x="209" y="64"/>
                      <a:pt x="211" y="66"/>
                    </a:cubicBezTo>
                    <a:cubicBezTo>
                      <a:pt x="212" y="68"/>
                      <a:pt x="210" y="70"/>
                      <a:pt x="211" y="72"/>
                    </a:cubicBezTo>
                    <a:cubicBezTo>
                      <a:pt x="212" y="74"/>
                      <a:pt x="214" y="75"/>
                      <a:pt x="216" y="76"/>
                    </a:cubicBezTo>
                    <a:cubicBezTo>
                      <a:pt x="217" y="77"/>
                      <a:pt x="220" y="77"/>
                      <a:pt x="221" y="78"/>
                    </a:cubicBezTo>
                    <a:lnTo>
                      <a:pt x="226" y="107"/>
                    </a:lnTo>
                    <a:cubicBezTo>
                      <a:pt x="225" y="107"/>
                      <a:pt x="223" y="107"/>
                      <a:pt x="223" y="109"/>
                    </a:cubicBezTo>
                    <a:cubicBezTo>
                      <a:pt x="225" y="116"/>
                      <a:pt x="230" y="123"/>
                      <a:pt x="231" y="130"/>
                    </a:cubicBezTo>
                    <a:cubicBezTo>
                      <a:pt x="232" y="136"/>
                      <a:pt x="229" y="143"/>
                      <a:pt x="230" y="149"/>
                    </a:cubicBezTo>
                    <a:cubicBezTo>
                      <a:pt x="230" y="154"/>
                      <a:pt x="234" y="159"/>
                      <a:pt x="233" y="164"/>
                    </a:cubicBezTo>
                    <a:cubicBezTo>
                      <a:pt x="232" y="167"/>
                      <a:pt x="225" y="166"/>
                      <a:pt x="226" y="169"/>
                    </a:cubicBezTo>
                    <a:cubicBezTo>
                      <a:pt x="226" y="176"/>
                      <a:pt x="233" y="181"/>
                      <a:pt x="235" y="187"/>
                    </a:cubicBezTo>
                    <a:cubicBezTo>
                      <a:pt x="236" y="190"/>
                      <a:pt x="234" y="195"/>
                      <a:pt x="236" y="198"/>
                    </a:cubicBezTo>
                    <a:cubicBezTo>
                      <a:pt x="238" y="200"/>
                      <a:pt x="242" y="197"/>
                      <a:pt x="244" y="197"/>
                    </a:cubicBezTo>
                    <a:cubicBezTo>
                      <a:pt x="248" y="198"/>
                      <a:pt x="252" y="199"/>
                      <a:pt x="254" y="202"/>
                    </a:cubicBezTo>
                    <a:cubicBezTo>
                      <a:pt x="255" y="203"/>
                      <a:pt x="251" y="204"/>
                      <a:pt x="251" y="205"/>
                    </a:cubicBezTo>
                    <a:cubicBezTo>
                      <a:pt x="252" y="208"/>
                      <a:pt x="256" y="209"/>
                      <a:pt x="258" y="210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7" name="Freeform 2568"/>
              <p:cNvSpPr>
                <a:spLocks noChangeAspect="1"/>
              </p:cNvSpPr>
              <p:nvPr/>
            </p:nvSpPr>
            <p:spPr bwMode="auto">
              <a:xfrm>
                <a:off x="4636718" y="2952519"/>
                <a:ext cx="103043" cy="216010"/>
              </a:xfrm>
              <a:custGeom>
                <a:avLst/>
                <a:gdLst>
                  <a:gd name="T0" fmla="*/ 31 w 53"/>
                  <a:gd name="T1" fmla="*/ 133 h 111"/>
                  <a:gd name="T2" fmla="*/ 39 w 53"/>
                  <a:gd name="T3" fmla="*/ 128 h 111"/>
                  <a:gd name="T4" fmla="*/ 42 w 53"/>
                  <a:gd name="T5" fmla="*/ 121 h 111"/>
                  <a:gd name="T6" fmla="*/ 39 w 53"/>
                  <a:gd name="T7" fmla="*/ 108 h 111"/>
                  <a:gd name="T8" fmla="*/ 45 w 53"/>
                  <a:gd name="T9" fmla="*/ 104 h 111"/>
                  <a:gd name="T10" fmla="*/ 52 w 53"/>
                  <a:gd name="T11" fmla="*/ 97 h 111"/>
                  <a:gd name="T12" fmla="*/ 62 w 53"/>
                  <a:gd name="T13" fmla="*/ 91 h 111"/>
                  <a:gd name="T14" fmla="*/ 59 w 53"/>
                  <a:gd name="T15" fmla="*/ 87 h 111"/>
                  <a:gd name="T16" fmla="*/ 61 w 53"/>
                  <a:gd name="T17" fmla="*/ 78 h 111"/>
                  <a:gd name="T18" fmla="*/ 45 w 53"/>
                  <a:gd name="T19" fmla="*/ 69 h 111"/>
                  <a:gd name="T20" fmla="*/ 40 w 53"/>
                  <a:gd name="T21" fmla="*/ 66 h 111"/>
                  <a:gd name="T22" fmla="*/ 38 w 53"/>
                  <a:gd name="T23" fmla="*/ 58 h 111"/>
                  <a:gd name="T24" fmla="*/ 46 w 53"/>
                  <a:gd name="T25" fmla="*/ 54 h 111"/>
                  <a:gd name="T26" fmla="*/ 52 w 53"/>
                  <a:gd name="T27" fmla="*/ 42 h 111"/>
                  <a:gd name="T28" fmla="*/ 52 w 53"/>
                  <a:gd name="T29" fmla="*/ 30 h 111"/>
                  <a:gd name="T30" fmla="*/ 45 w 53"/>
                  <a:gd name="T31" fmla="*/ 25 h 111"/>
                  <a:gd name="T32" fmla="*/ 44 w 53"/>
                  <a:gd name="T33" fmla="*/ 20 h 111"/>
                  <a:gd name="T34" fmla="*/ 50 w 53"/>
                  <a:gd name="T35" fmla="*/ 17 h 111"/>
                  <a:gd name="T36" fmla="*/ 53 w 53"/>
                  <a:gd name="T37" fmla="*/ 10 h 111"/>
                  <a:gd name="T38" fmla="*/ 52 w 53"/>
                  <a:gd name="T39" fmla="*/ 5 h 111"/>
                  <a:gd name="T40" fmla="*/ 46 w 53"/>
                  <a:gd name="T41" fmla="*/ 11 h 111"/>
                  <a:gd name="T42" fmla="*/ 40 w 53"/>
                  <a:gd name="T43" fmla="*/ 10 h 111"/>
                  <a:gd name="T44" fmla="*/ 43 w 53"/>
                  <a:gd name="T45" fmla="*/ 4 h 111"/>
                  <a:gd name="T46" fmla="*/ 36 w 53"/>
                  <a:gd name="T47" fmla="*/ 1 h 111"/>
                  <a:gd name="T48" fmla="*/ 26 w 53"/>
                  <a:gd name="T49" fmla="*/ 1 h 111"/>
                  <a:gd name="T50" fmla="*/ 17 w 53"/>
                  <a:gd name="T51" fmla="*/ 7 h 111"/>
                  <a:gd name="T52" fmla="*/ 17 w 53"/>
                  <a:gd name="T53" fmla="*/ 11 h 111"/>
                  <a:gd name="T54" fmla="*/ 13 w 53"/>
                  <a:gd name="T55" fmla="*/ 14 h 111"/>
                  <a:gd name="T56" fmla="*/ 11 w 53"/>
                  <a:gd name="T57" fmla="*/ 17 h 111"/>
                  <a:gd name="T58" fmla="*/ 14 w 53"/>
                  <a:gd name="T59" fmla="*/ 22 h 111"/>
                  <a:gd name="T60" fmla="*/ 13 w 53"/>
                  <a:gd name="T61" fmla="*/ 26 h 111"/>
                  <a:gd name="T62" fmla="*/ 14 w 53"/>
                  <a:gd name="T63" fmla="*/ 40 h 111"/>
                  <a:gd name="T64" fmla="*/ 12 w 53"/>
                  <a:gd name="T65" fmla="*/ 50 h 111"/>
                  <a:gd name="T66" fmla="*/ 7 w 53"/>
                  <a:gd name="T67" fmla="*/ 55 h 111"/>
                  <a:gd name="T68" fmla="*/ 1 w 53"/>
                  <a:gd name="T69" fmla="*/ 62 h 111"/>
                  <a:gd name="T70" fmla="*/ 1 w 53"/>
                  <a:gd name="T71" fmla="*/ 68 h 111"/>
                  <a:gd name="T72" fmla="*/ 5 w 53"/>
                  <a:gd name="T73" fmla="*/ 78 h 111"/>
                  <a:gd name="T74" fmla="*/ 13 w 53"/>
                  <a:gd name="T75" fmla="*/ 84 h 111"/>
                  <a:gd name="T76" fmla="*/ 13 w 53"/>
                  <a:gd name="T77" fmla="*/ 91 h 111"/>
                  <a:gd name="T78" fmla="*/ 19 w 53"/>
                  <a:gd name="T79" fmla="*/ 96 h 111"/>
                  <a:gd name="T80" fmla="*/ 25 w 53"/>
                  <a:gd name="T81" fmla="*/ 98 h 111"/>
                  <a:gd name="T82" fmla="*/ 31 w 53"/>
                  <a:gd name="T83" fmla="*/ 133 h 11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3"/>
                  <a:gd name="T127" fmla="*/ 0 h 111"/>
                  <a:gd name="T128" fmla="*/ 53 w 53"/>
                  <a:gd name="T129" fmla="*/ 111 h 11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3" h="111">
                    <a:moveTo>
                      <a:pt x="26" y="111"/>
                    </a:moveTo>
                    <a:cubicBezTo>
                      <a:pt x="28" y="110"/>
                      <a:pt x="31" y="109"/>
                      <a:pt x="33" y="107"/>
                    </a:cubicBezTo>
                    <a:cubicBezTo>
                      <a:pt x="34" y="105"/>
                      <a:pt x="35" y="103"/>
                      <a:pt x="35" y="101"/>
                    </a:cubicBezTo>
                    <a:cubicBezTo>
                      <a:pt x="35" y="97"/>
                      <a:pt x="33" y="94"/>
                      <a:pt x="33" y="90"/>
                    </a:cubicBezTo>
                    <a:cubicBezTo>
                      <a:pt x="34" y="88"/>
                      <a:pt x="37" y="89"/>
                      <a:pt x="38" y="87"/>
                    </a:cubicBezTo>
                    <a:cubicBezTo>
                      <a:pt x="40" y="86"/>
                      <a:pt x="42" y="83"/>
                      <a:pt x="44" y="81"/>
                    </a:cubicBezTo>
                    <a:cubicBezTo>
                      <a:pt x="46" y="79"/>
                      <a:pt x="50" y="78"/>
                      <a:pt x="52" y="76"/>
                    </a:cubicBezTo>
                    <a:cubicBezTo>
                      <a:pt x="53" y="75"/>
                      <a:pt x="50" y="74"/>
                      <a:pt x="50" y="73"/>
                    </a:cubicBezTo>
                    <a:cubicBezTo>
                      <a:pt x="49" y="70"/>
                      <a:pt x="50" y="67"/>
                      <a:pt x="51" y="65"/>
                    </a:cubicBezTo>
                    <a:cubicBezTo>
                      <a:pt x="47" y="63"/>
                      <a:pt x="42" y="61"/>
                      <a:pt x="38" y="58"/>
                    </a:cubicBezTo>
                    <a:cubicBezTo>
                      <a:pt x="37" y="58"/>
                      <a:pt x="35" y="57"/>
                      <a:pt x="34" y="55"/>
                    </a:cubicBezTo>
                    <a:cubicBezTo>
                      <a:pt x="33" y="53"/>
                      <a:pt x="31" y="51"/>
                      <a:pt x="32" y="48"/>
                    </a:cubicBezTo>
                    <a:cubicBezTo>
                      <a:pt x="33" y="46"/>
                      <a:pt x="37" y="47"/>
                      <a:pt x="39" y="45"/>
                    </a:cubicBezTo>
                    <a:cubicBezTo>
                      <a:pt x="41" y="42"/>
                      <a:pt x="43" y="39"/>
                      <a:pt x="44" y="35"/>
                    </a:cubicBezTo>
                    <a:cubicBezTo>
                      <a:pt x="45" y="32"/>
                      <a:pt x="46" y="28"/>
                      <a:pt x="44" y="25"/>
                    </a:cubicBezTo>
                    <a:cubicBezTo>
                      <a:pt x="43" y="22"/>
                      <a:pt x="39" y="23"/>
                      <a:pt x="38" y="21"/>
                    </a:cubicBezTo>
                    <a:cubicBezTo>
                      <a:pt x="36" y="20"/>
                      <a:pt x="36" y="18"/>
                      <a:pt x="37" y="17"/>
                    </a:cubicBezTo>
                    <a:cubicBezTo>
                      <a:pt x="38" y="15"/>
                      <a:pt x="41" y="15"/>
                      <a:pt x="42" y="14"/>
                    </a:cubicBezTo>
                    <a:cubicBezTo>
                      <a:pt x="43" y="12"/>
                      <a:pt x="45" y="10"/>
                      <a:pt x="45" y="8"/>
                    </a:cubicBezTo>
                    <a:cubicBezTo>
                      <a:pt x="45" y="7"/>
                      <a:pt x="46" y="3"/>
                      <a:pt x="44" y="4"/>
                    </a:cubicBezTo>
                    <a:cubicBezTo>
                      <a:pt x="42" y="4"/>
                      <a:pt x="41" y="8"/>
                      <a:pt x="39" y="9"/>
                    </a:cubicBezTo>
                    <a:cubicBezTo>
                      <a:pt x="38" y="10"/>
                      <a:pt x="35" y="10"/>
                      <a:pt x="34" y="8"/>
                    </a:cubicBezTo>
                    <a:cubicBezTo>
                      <a:pt x="33" y="7"/>
                      <a:pt x="37" y="5"/>
                      <a:pt x="36" y="3"/>
                    </a:cubicBezTo>
                    <a:cubicBezTo>
                      <a:pt x="35" y="1"/>
                      <a:pt x="32" y="2"/>
                      <a:pt x="30" y="1"/>
                    </a:cubicBezTo>
                    <a:cubicBezTo>
                      <a:pt x="27" y="1"/>
                      <a:pt x="25" y="0"/>
                      <a:pt x="22" y="1"/>
                    </a:cubicBezTo>
                    <a:cubicBezTo>
                      <a:pt x="19" y="2"/>
                      <a:pt x="17" y="4"/>
                      <a:pt x="14" y="6"/>
                    </a:cubicBezTo>
                    <a:cubicBezTo>
                      <a:pt x="14" y="6"/>
                      <a:pt x="14" y="8"/>
                      <a:pt x="14" y="9"/>
                    </a:cubicBezTo>
                    <a:cubicBezTo>
                      <a:pt x="13" y="10"/>
                      <a:pt x="12" y="11"/>
                      <a:pt x="11" y="12"/>
                    </a:cubicBezTo>
                    <a:cubicBezTo>
                      <a:pt x="11" y="13"/>
                      <a:pt x="9" y="13"/>
                      <a:pt x="9" y="14"/>
                    </a:cubicBezTo>
                    <a:cubicBezTo>
                      <a:pt x="9" y="15"/>
                      <a:pt x="11" y="16"/>
                      <a:pt x="12" y="18"/>
                    </a:cubicBezTo>
                    <a:cubicBezTo>
                      <a:pt x="12" y="20"/>
                      <a:pt x="11" y="21"/>
                      <a:pt x="11" y="22"/>
                    </a:cubicBezTo>
                    <a:cubicBezTo>
                      <a:pt x="11" y="26"/>
                      <a:pt x="12" y="29"/>
                      <a:pt x="12" y="33"/>
                    </a:cubicBezTo>
                    <a:cubicBezTo>
                      <a:pt x="12" y="36"/>
                      <a:pt x="12" y="40"/>
                      <a:pt x="10" y="42"/>
                    </a:cubicBezTo>
                    <a:cubicBezTo>
                      <a:pt x="10" y="44"/>
                      <a:pt x="7" y="45"/>
                      <a:pt x="6" y="46"/>
                    </a:cubicBezTo>
                    <a:cubicBezTo>
                      <a:pt x="4" y="48"/>
                      <a:pt x="2" y="50"/>
                      <a:pt x="1" y="52"/>
                    </a:cubicBezTo>
                    <a:cubicBezTo>
                      <a:pt x="0" y="54"/>
                      <a:pt x="0" y="56"/>
                      <a:pt x="1" y="57"/>
                    </a:cubicBezTo>
                    <a:cubicBezTo>
                      <a:pt x="1" y="60"/>
                      <a:pt x="2" y="63"/>
                      <a:pt x="4" y="65"/>
                    </a:cubicBezTo>
                    <a:cubicBezTo>
                      <a:pt x="6" y="67"/>
                      <a:pt x="9" y="68"/>
                      <a:pt x="11" y="70"/>
                    </a:cubicBezTo>
                    <a:cubicBezTo>
                      <a:pt x="12" y="72"/>
                      <a:pt x="10" y="74"/>
                      <a:pt x="11" y="76"/>
                    </a:cubicBezTo>
                    <a:cubicBezTo>
                      <a:pt x="12" y="78"/>
                      <a:pt x="14" y="79"/>
                      <a:pt x="16" y="80"/>
                    </a:cubicBezTo>
                    <a:cubicBezTo>
                      <a:pt x="17" y="81"/>
                      <a:pt x="20" y="81"/>
                      <a:pt x="21" y="82"/>
                    </a:cubicBezTo>
                    <a:lnTo>
                      <a:pt x="26" y="111"/>
                    </a:ln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8" name="Freeform 2569"/>
              <p:cNvSpPr>
                <a:spLocks noChangeAspect="1"/>
              </p:cNvSpPr>
              <p:nvPr/>
            </p:nvSpPr>
            <p:spPr bwMode="auto">
              <a:xfrm>
                <a:off x="4680878" y="3974098"/>
                <a:ext cx="143932" cy="175406"/>
              </a:xfrm>
              <a:custGeom>
                <a:avLst/>
                <a:gdLst>
                  <a:gd name="T0" fmla="*/ 69 w 73"/>
                  <a:gd name="T1" fmla="*/ 2 h 90"/>
                  <a:gd name="T2" fmla="*/ 60 w 73"/>
                  <a:gd name="T3" fmla="*/ 0 h 90"/>
                  <a:gd name="T4" fmla="*/ 36 w 73"/>
                  <a:gd name="T5" fmla="*/ 0 h 90"/>
                  <a:gd name="T6" fmla="*/ 35 w 73"/>
                  <a:gd name="T7" fmla="*/ 4 h 90"/>
                  <a:gd name="T8" fmla="*/ 36 w 73"/>
                  <a:gd name="T9" fmla="*/ 19 h 90"/>
                  <a:gd name="T10" fmla="*/ 33 w 73"/>
                  <a:gd name="T11" fmla="*/ 22 h 90"/>
                  <a:gd name="T12" fmla="*/ 11 w 73"/>
                  <a:gd name="T13" fmla="*/ 20 h 90"/>
                  <a:gd name="T14" fmla="*/ 10 w 73"/>
                  <a:gd name="T15" fmla="*/ 30 h 90"/>
                  <a:gd name="T16" fmla="*/ 7 w 73"/>
                  <a:gd name="T17" fmla="*/ 41 h 90"/>
                  <a:gd name="T18" fmla="*/ 4 w 73"/>
                  <a:gd name="T19" fmla="*/ 54 h 90"/>
                  <a:gd name="T20" fmla="*/ 0 w 73"/>
                  <a:gd name="T21" fmla="*/ 52 h 90"/>
                  <a:gd name="T22" fmla="*/ 4 w 73"/>
                  <a:gd name="T23" fmla="*/ 62 h 90"/>
                  <a:gd name="T24" fmla="*/ 11 w 73"/>
                  <a:gd name="T25" fmla="*/ 68 h 90"/>
                  <a:gd name="T26" fmla="*/ 6 w 73"/>
                  <a:gd name="T27" fmla="*/ 70 h 90"/>
                  <a:gd name="T28" fmla="*/ 11 w 73"/>
                  <a:gd name="T29" fmla="*/ 74 h 90"/>
                  <a:gd name="T30" fmla="*/ 10 w 73"/>
                  <a:gd name="T31" fmla="*/ 79 h 90"/>
                  <a:gd name="T32" fmla="*/ 18 w 73"/>
                  <a:gd name="T33" fmla="*/ 84 h 90"/>
                  <a:gd name="T34" fmla="*/ 14 w 73"/>
                  <a:gd name="T35" fmla="*/ 85 h 90"/>
                  <a:gd name="T36" fmla="*/ 20 w 73"/>
                  <a:gd name="T37" fmla="*/ 92 h 90"/>
                  <a:gd name="T38" fmla="*/ 28 w 73"/>
                  <a:gd name="T39" fmla="*/ 103 h 90"/>
                  <a:gd name="T40" fmla="*/ 34 w 73"/>
                  <a:gd name="T41" fmla="*/ 108 h 90"/>
                  <a:gd name="T42" fmla="*/ 36 w 73"/>
                  <a:gd name="T43" fmla="*/ 102 h 90"/>
                  <a:gd name="T44" fmla="*/ 43 w 73"/>
                  <a:gd name="T45" fmla="*/ 103 h 90"/>
                  <a:gd name="T46" fmla="*/ 45 w 73"/>
                  <a:gd name="T47" fmla="*/ 95 h 90"/>
                  <a:gd name="T48" fmla="*/ 39 w 73"/>
                  <a:gd name="T49" fmla="*/ 89 h 90"/>
                  <a:gd name="T50" fmla="*/ 40 w 73"/>
                  <a:gd name="T51" fmla="*/ 80 h 90"/>
                  <a:gd name="T52" fmla="*/ 51 w 73"/>
                  <a:gd name="T53" fmla="*/ 82 h 90"/>
                  <a:gd name="T54" fmla="*/ 53 w 73"/>
                  <a:gd name="T55" fmla="*/ 73 h 90"/>
                  <a:gd name="T56" fmla="*/ 60 w 73"/>
                  <a:gd name="T57" fmla="*/ 79 h 90"/>
                  <a:gd name="T58" fmla="*/ 70 w 73"/>
                  <a:gd name="T59" fmla="*/ 78 h 90"/>
                  <a:gd name="T60" fmla="*/ 72 w 73"/>
                  <a:gd name="T61" fmla="*/ 82 h 90"/>
                  <a:gd name="T62" fmla="*/ 77 w 73"/>
                  <a:gd name="T63" fmla="*/ 82 h 90"/>
                  <a:gd name="T64" fmla="*/ 78 w 73"/>
                  <a:gd name="T65" fmla="*/ 71 h 90"/>
                  <a:gd name="T66" fmla="*/ 78 w 73"/>
                  <a:gd name="T67" fmla="*/ 59 h 90"/>
                  <a:gd name="T68" fmla="*/ 81 w 73"/>
                  <a:gd name="T69" fmla="*/ 50 h 90"/>
                  <a:gd name="T70" fmla="*/ 74 w 73"/>
                  <a:gd name="T71" fmla="*/ 48 h 90"/>
                  <a:gd name="T72" fmla="*/ 76 w 73"/>
                  <a:gd name="T73" fmla="*/ 35 h 90"/>
                  <a:gd name="T74" fmla="*/ 84 w 73"/>
                  <a:gd name="T75" fmla="*/ 30 h 90"/>
                  <a:gd name="T76" fmla="*/ 84 w 73"/>
                  <a:gd name="T77" fmla="*/ 18 h 90"/>
                  <a:gd name="T78" fmla="*/ 68 w 73"/>
                  <a:gd name="T79" fmla="*/ 17 h 90"/>
                  <a:gd name="T80" fmla="*/ 65 w 73"/>
                  <a:gd name="T81" fmla="*/ 11 h 90"/>
                  <a:gd name="T82" fmla="*/ 69 w 73"/>
                  <a:gd name="T83" fmla="*/ 2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3"/>
                  <a:gd name="T127" fmla="*/ 0 h 90"/>
                  <a:gd name="T128" fmla="*/ 73 w 73"/>
                  <a:gd name="T129" fmla="*/ 90 h 9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3" h="90">
                    <a:moveTo>
                      <a:pt x="57" y="2"/>
                    </a:moveTo>
                    <a:cubicBezTo>
                      <a:pt x="54" y="1"/>
                      <a:pt x="52" y="1"/>
                      <a:pt x="50" y="0"/>
                    </a:cubicBezTo>
                    <a:cubicBezTo>
                      <a:pt x="43" y="0"/>
                      <a:pt x="36" y="0"/>
                      <a:pt x="30" y="0"/>
                    </a:cubicBezTo>
                    <a:cubicBezTo>
                      <a:pt x="29" y="1"/>
                      <a:pt x="29" y="2"/>
                      <a:pt x="29" y="3"/>
                    </a:cubicBezTo>
                    <a:cubicBezTo>
                      <a:pt x="29" y="7"/>
                      <a:pt x="31" y="12"/>
                      <a:pt x="30" y="16"/>
                    </a:cubicBezTo>
                    <a:cubicBezTo>
                      <a:pt x="29" y="17"/>
                      <a:pt x="28" y="18"/>
                      <a:pt x="27" y="18"/>
                    </a:cubicBezTo>
                    <a:cubicBezTo>
                      <a:pt x="21" y="18"/>
                      <a:pt x="15" y="17"/>
                      <a:pt x="9" y="17"/>
                    </a:cubicBezTo>
                    <a:cubicBezTo>
                      <a:pt x="9" y="20"/>
                      <a:pt x="9" y="22"/>
                      <a:pt x="8" y="25"/>
                    </a:cubicBezTo>
                    <a:cubicBezTo>
                      <a:pt x="8" y="28"/>
                      <a:pt x="7" y="31"/>
                      <a:pt x="6" y="34"/>
                    </a:cubicBezTo>
                    <a:cubicBezTo>
                      <a:pt x="5" y="38"/>
                      <a:pt x="5" y="42"/>
                      <a:pt x="3" y="45"/>
                    </a:cubicBezTo>
                    <a:cubicBezTo>
                      <a:pt x="2" y="46"/>
                      <a:pt x="0" y="42"/>
                      <a:pt x="0" y="43"/>
                    </a:cubicBezTo>
                    <a:cubicBezTo>
                      <a:pt x="0" y="47"/>
                      <a:pt x="1" y="50"/>
                      <a:pt x="3" y="52"/>
                    </a:cubicBezTo>
                    <a:cubicBezTo>
                      <a:pt x="4" y="54"/>
                      <a:pt x="8" y="55"/>
                      <a:pt x="9" y="57"/>
                    </a:cubicBezTo>
                    <a:cubicBezTo>
                      <a:pt x="9" y="58"/>
                      <a:pt x="5" y="57"/>
                      <a:pt x="5" y="58"/>
                    </a:cubicBezTo>
                    <a:cubicBezTo>
                      <a:pt x="5" y="60"/>
                      <a:pt x="8" y="61"/>
                      <a:pt x="9" y="62"/>
                    </a:cubicBezTo>
                    <a:cubicBezTo>
                      <a:pt x="9" y="64"/>
                      <a:pt x="7" y="65"/>
                      <a:pt x="8" y="66"/>
                    </a:cubicBezTo>
                    <a:cubicBezTo>
                      <a:pt x="10" y="68"/>
                      <a:pt x="13" y="68"/>
                      <a:pt x="15" y="70"/>
                    </a:cubicBezTo>
                    <a:cubicBezTo>
                      <a:pt x="15" y="71"/>
                      <a:pt x="11" y="70"/>
                      <a:pt x="12" y="71"/>
                    </a:cubicBezTo>
                    <a:cubicBezTo>
                      <a:pt x="12" y="74"/>
                      <a:pt x="15" y="75"/>
                      <a:pt x="17" y="77"/>
                    </a:cubicBezTo>
                    <a:cubicBezTo>
                      <a:pt x="19" y="80"/>
                      <a:pt x="21" y="83"/>
                      <a:pt x="23" y="86"/>
                    </a:cubicBezTo>
                    <a:cubicBezTo>
                      <a:pt x="25" y="88"/>
                      <a:pt x="26" y="88"/>
                      <a:pt x="28" y="90"/>
                    </a:cubicBezTo>
                    <a:cubicBezTo>
                      <a:pt x="29" y="88"/>
                      <a:pt x="29" y="86"/>
                      <a:pt x="30" y="85"/>
                    </a:cubicBezTo>
                    <a:cubicBezTo>
                      <a:pt x="32" y="84"/>
                      <a:pt x="35" y="87"/>
                      <a:pt x="36" y="86"/>
                    </a:cubicBezTo>
                    <a:cubicBezTo>
                      <a:pt x="37" y="84"/>
                      <a:pt x="37" y="81"/>
                      <a:pt x="37" y="79"/>
                    </a:cubicBezTo>
                    <a:cubicBezTo>
                      <a:pt x="36" y="77"/>
                      <a:pt x="32" y="76"/>
                      <a:pt x="32" y="74"/>
                    </a:cubicBezTo>
                    <a:cubicBezTo>
                      <a:pt x="31" y="71"/>
                      <a:pt x="31" y="68"/>
                      <a:pt x="33" y="67"/>
                    </a:cubicBezTo>
                    <a:cubicBezTo>
                      <a:pt x="36" y="65"/>
                      <a:pt x="40" y="70"/>
                      <a:pt x="42" y="68"/>
                    </a:cubicBezTo>
                    <a:cubicBezTo>
                      <a:pt x="44" y="67"/>
                      <a:pt x="42" y="62"/>
                      <a:pt x="44" y="61"/>
                    </a:cubicBezTo>
                    <a:cubicBezTo>
                      <a:pt x="47" y="60"/>
                      <a:pt x="48" y="65"/>
                      <a:pt x="50" y="66"/>
                    </a:cubicBezTo>
                    <a:cubicBezTo>
                      <a:pt x="53" y="67"/>
                      <a:pt x="56" y="65"/>
                      <a:pt x="58" y="65"/>
                    </a:cubicBezTo>
                    <a:cubicBezTo>
                      <a:pt x="59" y="66"/>
                      <a:pt x="59" y="68"/>
                      <a:pt x="60" y="68"/>
                    </a:cubicBezTo>
                    <a:cubicBezTo>
                      <a:pt x="61" y="69"/>
                      <a:pt x="63" y="70"/>
                      <a:pt x="64" y="68"/>
                    </a:cubicBezTo>
                    <a:cubicBezTo>
                      <a:pt x="66" y="66"/>
                      <a:pt x="65" y="62"/>
                      <a:pt x="65" y="59"/>
                    </a:cubicBezTo>
                    <a:cubicBezTo>
                      <a:pt x="65" y="56"/>
                      <a:pt x="65" y="52"/>
                      <a:pt x="65" y="49"/>
                    </a:cubicBezTo>
                    <a:cubicBezTo>
                      <a:pt x="65" y="47"/>
                      <a:pt x="68" y="44"/>
                      <a:pt x="67" y="42"/>
                    </a:cubicBezTo>
                    <a:cubicBezTo>
                      <a:pt x="66" y="40"/>
                      <a:pt x="62" y="42"/>
                      <a:pt x="61" y="40"/>
                    </a:cubicBezTo>
                    <a:cubicBezTo>
                      <a:pt x="60" y="36"/>
                      <a:pt x="61" y="32"/>
                      <a:pt x="63" y="29"/>
                    </a:cubicBezTo>
                    <a:cubicBezTo>
                      <a:pt x="64" y="27"/>
                      <a:pt x="68" y="27"/>
                      <a:pt x="70" y="25"/>
                    </a:cubicBezTo>
                    <a:cubicBezTo>
                      <a:pt x="71" y="22"/>
                      <a:pt x="73" y="17"/>
                      <a:pt x="70" y="15"/>
                    </a:cubicBezTo>
                    <a:cubicBezTo>
                      <a:pt x="67" y="12"/>
                      <a:pt x="60" y="16"/>
                      <a:pt x="56" y="14"/>
                    </a:cubicBezTo>
                    <a:cubicBezTo>
                      <a:pt x="54" y="14"/>
                      <a:pt x="54" y="11"/>
                      <a:pt x="54" y="9"/>
                    </a:cubicBezTo>
                    <a:cubicBezTo>
                      <a:pt x="54" y="7"/>
                      <a:pt x="56" y="4"/>
                      <a:pt x="57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59" name="Freeform 2570"/>
              <p:cNvSpPr>
                <a:spLocks noChangeAspect="1"/>
              </p:cNvSpPr>
              <p:nvPr/>
            </p:nvSpPr>
            <p:spPr bwMode="auto">
              <a:xfrm>
                <a:off x="4697234" y="3977347"/>
                <a:ext cx="44161" cy="32483"/>
              </a:xfrm>
              <a:custGeom>
                <a:avLst/>
                <a:gdLst>
                  <a:gd name="T0" fmla="*/ 1 w 23"/>
                  <a:gd name="T1" fmla="*/ 19 h 16"/>
                  <a:gd name="T2" fmla="*/ 1 w 23"/>
                  <a:gd name="T3" fmla="*/ 7 h 16"/>
                  <a:gd name="T4" fmla="*/ 2 w 23"/>
                  <a:gd name="T5" fmla="*/ 0 h 16"/>
                  <a:gd name="T6" fmla="*/ 25 w 23"/>
                  <a:gd name="T7" fmla="*/ 1 h 16"/>
                  <a:gd name="T8" fmla="*/ 26 w 23"/>
                  <a:gd name="T9" fmla="*/ 17 h 16"/>
                  <a:gd name="T10" fmla="*/ 22 w 23"/>
                  <a:gd name="T11" fmla="*/ 20 h 16"/>
                  <a:gd name="T12" fmla="*/ 1 w 23"/>
                  <a:gd name="T13" fmla="*/ 19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16"/>
                  <a:gd name="T23" fmla="*/ 23 w 23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16">
                    <a:moveTo>
                      <a:pt x="1" y="15"/>
                    </a:moveTo>
                    <a:cubicBezTo>
                      <a:pt x="1" y="12"/>
                      <a:pt x="0" y="9"/>
                      <a:pt x="1" y="6"/>
                    </a:cubicBezTo>
                    <a:cubicBezTo>
                      <a:pt x="1" y="4"/>
                      <a:pt x="2" y="2"/>
                      <a:pt x="2" y="0"/>
                    </a:cubicBezTo>
                    <a:lnTo>
                      <a:pt x="21" y="1"/>
                    </a:lnTo>
                    <a:cubicBezTo>
                      <a:pt x="21" y="5"/>
                      <a:pt x="23" y="10"/>
                      <a:pt x="22" y="14"/>
                    </a:cubicBezTo>
                    <a:cubicBezTo>
                      <a:pt x="21" y="15"/>
                      <a:pt x="20" y="16"/>
                      <a:pt x="19" y="16"/>
                    </a:cubicBezTo>
                    <a:cubicBezTo>
                      <a:pt x="13" y="16"/>
                      <a:pt x="7" y="15"/>
                      <a:pt x="1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0" name="Freeform 2571"/>
              <p:cNvSpPr>
                <a:spLocks noChangeAspect="1"/>
              </p:cNvSpPr>
              <p:nvPr/>
            </p:nvSpPr>
            <p:spPr bwMode="auto">
              <a:xfrm>
                <a:off x="4667794" y="3675258"/>
                <a:ext cx="194635" cy="316706"/>
              </a:xfrm>
              <a:custGeom>
                <a:avLst/>
                <a:gdLst>
                  <a:gd name="T0" fmla="*/ 23 w 99"/>
                  <a:gd name="T1" fmla="*/ 175 h 162"/>
                  <a:gd name="T2" fmla="*/ 19 w 99"/>
                  <a:gd name="T3" fmla="*/ 158 h 162"/>
                  <a:gd name="T4" fmla="*/ 16 w 99"/>
                  <a:gd name="T5" fmla="*/ 156 h 162"/>
                  <a:gd name="T6" fmla="*/ 7 w 99"/>
                  <a:gd name="T7" fmla="*/ 144 h 162"/>
                  <a:gd name="T8" fmla="*/ 0 w 99"/>
                  <a:gd name="T9" fmla="*/ 141 h 162"/>
                  <a:gd name="T10" fmla="*/ 5 w 99"/>
                  <a:gd name="T11" fmla="*/ 122 h 162"/>
                  <a:gd name="T12" fmla="*/ 18 w 99"/>
                  <a:gd name="T13" fmla="*/ 110 h 162"/>
                  <a:gd name="T14" fmla="*/ 30 w 99"/>
                  <a:gd name="T15" fmla="*/ 105 h 162"/>
                  <a:gd name="T16" fmla="*/ 34 w 99"/>
                  <a:gd name="T17" fmla="*/ 101 h 162"/>
                  <a:gd name="T18" fmla="*/ 47 w 99"/>
                  <a:gd name="T19" fmla="*/ 111 h 162"/>
                  <a:gd name="T20" fmla="*/ 58 w 99"/>
                  <a:gd name="T21" fmla="*/ 88 h 162"/>
                  <a:gd name="T22" fmla="*/ 66 w 99"/>
                  <a:gd name="T23" fmla="*/ 72 h 162"/>
                  <a:gd name="T24" fmla="*/ 73 w 99"/>
                  <a:gd name="T25" fmla="*/ 54 h 162"/>
                  <a:gd name="T26" fmla="*/ 77 w 99"/>
                  <a:gd name="T27" fmla="*/ 42 h 162"/>
                  <a:gd name="T28" fmla="*/ 95 w 99"/>
                  <a:gd name="T29" fmla="*/ 24 h 162"/>
                  <a:gd name="T30" fmla="*/ 85 w 99"/>
                  <a:gd name="T31" fmla="*/ 8 h 162"/>
                  <a:gd name="T32" fmla="*/ 93 w 99"/>
                  <a:gd name="T33" fmla="*/ 0 h 162"/>
                  <a:gd name="T34" fmla="*/ 101 w 99"/>
                  <a:gd name="T35" fmla="*/ 30 h 162"/>
                  <a:gd name="T36" fmla="*/ 112 w 99"/>
                  <a:gd name="T37" fmla="*/ 52 h 162"/>
                  <a:gd name="T38" fmla="*/ 97 w 99"/>
                  <a:gd name="T39" fmla="*/ 51 h 162"/>
                  <a:gd name="T40" fmla="*/ 85 w 99"/>
                  <a:gd name="T41" fmla="*/ 57 h 162"/>
                  <a:gd name="T42" fmla="*/ 101 w 99"/>
                  <a:gd name="T43" fmla="*/ 75 h 162"/>
                  <a:gd name="T44" fmla="*/ 109 w 99"/>
                  <a:gd name="T45" fmla="*/ 90 h 162"/>
                  <a:gd name="T46" fmla="*/ 103 w 99"/>
                  <a:gd name="T47" fmla="*/ 102 h 162"/>
                  <a:gd name="T48" fmla="*/ 93 w 99"/>
                  <a:gd name="T49" fmla="*/ 119 h 162"/>
                  <a:gd name="T50" fmla="*/ 96 w 99"/>
                  <a:gd name="T51" fmla="*/ 144 h 162"/>
                  <a:gd name="T52" fmla="*/ 105 w 99"/>
                  <a:gd name="T53" fmla="*/ 153 h 162"/>
                  <a:gd name="T54" fmla="*/ 109 w 99"/>
                  <a:gd name="T55" fmla="*/ 170 h 162"/>
                  <a:gd name="T56" fmla="*/ 119 w 99"/>
                  <a:gd name="T57" fmla="*/ 182 h 162"/>
                  <a:gd name="T58" fmla="*/ 118 w 99"/>
                  <a:gd name="T59" fmla="*/ 195 h 162"/>
                  <a:gd name="T60" fmla="*/ 77 w 99"/>
                  <a:gd name="T61" fmla="*/ 187 h 162"/>
                  <a:gd name="T62" fmla="*/ 44 w 99"/>
                  <a:gd name="T63" fmla="*/ 184 h 162"/>
                  <a:gd name="T64" fmla="*/ 20 w 99"/>
                  <a:gd name="T65" fmla="*/ 187 h 16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9"/>
                  <a:gd name="T100" fmla="*/ 0 h 162"/>
                  <a:gd name="T101" fmla="*/ 99 w 99"/>
                  <a:gd name="T102" fmla="*/ 162 h 16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9" h="162">
                    <a:moveTo>
                      <a:pt x="17" y="155"/>
                    </a:moveTo>
                    <a:cubicBezTo>
                      <a:pt x="18" y="152"/>
                      <a:pt x="18" y="149"/>
                      <a:pt x="19" y="145"/>
                    </a:cubicBezTo>
                    <a:cubicBezTo>
                      <a:pt x="19" y="143"/>
                      <a:pt x="18" y="141"/>
                      <a:pt x="18" y="139"/>
                    </a:cubicBezTo>
                    <a:cubicBezTo>
                      <a:pt x="18" y="137"/>
                      <a:pt x="16" y="134"/>
                      <a:pt x="16" y="131"/>
                    </a:cubicBezTo>
                    <a:cubicBezTo>
                      <a:pt x="16" y="130"/>
                      <a:pt x="17" y="128"/>
                      <a:pt x="16" y="128"/>
                    </a:cubicBezTo>
                    <a:cubicBezTo>
                      <a:pt x="15" y="127"/>
                      <a:pt x="14" y="130"/>
                      <a:pt x="13" y="130"/>
                    </a:cubicBezTo>
                    <a:cubicBezTo>
                      <a:pt x="11" y="129"/>
                      <a:pt x="8" y="128"/>
                      <a:pt x="7" y="127"/>
                    </a:cubicBezTo>
                    <a:cubicBezTo>
                      <a:pt x="6" y="125"/>
                      <a:pt x="8" y="121"/>
                      <a:pt x="6" y="120"/>
                    </a:cubicBezTo>
                    <a:cubicBezTo>
                      <a:pt x="5" y="119"/>
                      <a:pt x="3" y="123"/>
                      <a:pt x="2" y="122"/>
                    </a:cubicBezTo>
                    <a:cubicBezTo>
                      <a:pt x="0" y="121"/>
                      <a:pt x="1" y="119"/>
                      <a:pt x="0" y="117"/>
                    </a:cubicBezTo>
                    <a:cubicBezTo>
                      <a:pt x="2" y="115"/>
                      <a:pt x="4" y="113"/>
                      <a:pt x="5" y="111"/>
                    </a:cubicBezTo>
                    <a:cubicBezTo>
                      <a:pt x="5" y="108"/>
                      <a:pt x="3" y="104"/>
                      <a:pt x="4" y="101"/>
                    </a:cubicBezTo>
                    <a:cubicBezTo>
                      <a:pt x="5" y="99"/>
                      <a:pt x="7" y="97"/>
                      <a:pt x="8" y="95"/>
                    </a:cubicBezTo>
                    <a:cubicBezTo>
                      <a:pt x="10" y="93"/>
                      <a:pt x="13" y="92"/>
                      <a:pt x="15" y="91"/>
                    </a:cubicBezTo>
                    <a:cubicBezTo>
                      <a:pt x="17" y="89"/>
                      <a:pt x="18" y="85"/>
                      <a:pt x="21" y="84"/>
                    </a:cubicBezTo>
                    <a:cubicBezTo>
                      <a:pt x="22" y="84"/>
                      <a:pt x="23" y="86"/>
                      <a:pt x="25" y="87"/>
                    </a:cubicBezTo>
                    <a:cubicBezTo>
                      <a:pt x="26" y="87"/>
                      <a:pt x="27" y="87"/>
                      <a:pt x="27" y="86"/>
                    </a:cubicBezTo>
                    <a:cubicBezTo>
                      <a:pt x="28" y="86"/>
                      <a:pt x="28" y="83"/>
                      <a:pt x="28" y="84"/>
                    </a:cubicBezTo>
                    <a:cubicBezTo>
                      <a:pt x="31" y="85"/>
                      <a:pt x="32" y="89"/>
                      <a:pt x="34" y="91"/>
                    </a:cubicBezTo>
                    <a:cubicBezTo>
                      <a:pt x="35" y="92"/>
                      <a:pt x="38" y="93"/>
                      <a:pt x="39" y="92"/>
                    </a:cubicBezTo>
                    <a:cubicBezTo>
                      <a:pt x="42" y="90"/>
                      <a:pt x="43" y="85"/>
                      <a:pt x="44" y="82"/>
                    </a:cubicBezTo>
                    <a:cubicBezTo>
                      <a:pt x="46" y="79"/>
                      <a:pt x="47" y="76"/>
                      <a:pt x="48" y="73"/>
                    </a:cubicBezTo>
                    <a:cubicBezTo>
                      <a:pt x="48" y="71"/>
                      <a:pt x="47" y="69"/>
                      <a:pt x="48" y="67"/>
                    </a:cubicBezTo>
                    <a:cubicBezTo>
                      <a:pt x="50" y="64"/>
                      <a:pt x="53" y="63"/>
                      <a:pt x="55" y="60"/>
                    </a:cubicBezTo>
                    <a:cubicBezTo>
                      <a:pt x="56" y="57"/>
                      <a:pt x="55" y="53"/>
                      <a:pt x="57" y="50"/>
                    </a:cubicBezTo>
                    <a:cubicBezTo>
                      <a:pt x="58" y="48"/>
                      <a:pt x="60" y="47"/>
                      <a:pt x="61" y="45"/>
                    </a:cubicBezTo>
                    <a:cubicBezTo>
                      <a:pt x="62" y="44"/>
                      <a:pt x="61" y="42"/>
                      <a:pt x="61" y="41"/>
                    </a:cubicBezTo>
                    <a:cubicBezTo>
                      <a:pt x="61" y="39"/>
                      <a:pt x="63" y="37"/>
                      <a:pt x="64" y="35"/>
                    </a:cubicBezTo>
                    <a:cubicBezTo>
                      <a:pt x="65" y="31"/>
                      <a:pt x="66" y="27"/>
                      <a:pt x="69" y="24"/>
                    </a:cubicBezTo>
                    <a:cubicBezTo>
                      <a:pt x="71" y="22"/>
                      <a:pt x="77" y="23"/>
                      <a:pt x="79" y="20"/>
                    </a:cubicBezTo>
                    <a:cubicBezTo>
                      <a:pt x="80" y="17"/>
                      <a:pt x="78" y="13"/>
                      <a:pt x="77" y="10"/>
                    </a:cubicBezTo>
                    <a:cubicBezTo>
                      <a:pt x="76" y="8"/>
                      <a:pt x="72" y="9"/>
                      <a:pt x="71" y="7"/>
                    </a:cubicBezTo>
                    <a:cubicBezTo>
                      <a:pt x="71" y="5"/>
                      <a:pt x="72" y="2"/>
                      <a:pt x="73" y="1"/>
                    </a:cubicBezTo>
                    <a:cubicBezTo>
                      <a:pt x="74" y="1"/>
                      <a:pt x="76" y="0"/>
                      <a:pt x="77" y="0"/>
                    </a:cubicBezTo>
                    <a:cubicBezTo>
                      <a:pt x="80" y="4"/>
                      <a:pt x="82" y="8"/>
                      <a:pt x="83" y="12"/>
                    </a:cubicBezTo>
                    <a:cubicBezTo>
                      <a:pt x="84" y="16"/>
                      <a:pt x="83" y="21"/>
                      <a:pt x="84" y="25"/>
                    </a:cubicBezTo>
                    <a:cubicBezTo>
                      <a:pt x="84" y="29"/>
                      <a:pt x="84" y="32"/>
                      <a:pt x="86" y="35"/>
                    </a:cubicBezTo>
                    <a:cubicBezTo>
                      <a:pt x="88" y="38"/>
                      <a:pt x="91" y="39"/>
                      <a:pt x="93" y="43"/>
                    </a:cubicBezTo>
                    <a:cubicBezTo>
                      <a:pt x="90" y="43"/>
                      <a:pt x="87" y="42"/>
                      <a:pt x="84" y="42"/>
                    </a:cubicBezTo>
                    <a:cubicBezTo>
                      <a:pt x="83" y="42"/>
                      <a:pt x="82" y="43"/>
                      <a:pt x="81" y="42"/>
                    </a:cubicBezTo>
                    <a:cubicBezTo>
                      <a:pt x="78" y="42"/>
                      <a:pt x="76" y="40"/>
                      <a:pt x="73" y="41"/>
                    </a:cubicBezTo>
                    <a:cubicBezTo>
                      <a:pt x="71" y="42"/>
                      <a:pt x="70" y="45"/>
                      <a:pt x="71" y="47"/>
                    </a:cubicBezTo>
                    <a:cubicBezTo>
                      <a:pt x="71" y="49"/>
                      <a:pt x="75" y="51"/>
                      <a:pt x="76" y="53"/>
                    </a:cubicBezTo>
                    <a:cubicBezTo>
                      <a:pt x="79" y="56"/>
                      <a:pt x="81" y="59"/>
                      <a:pt x="84" y="62"/>
                    </a:cubicBezTo>
                    <a:cubicBezTo>
                      <a:pt x="85" y="64"/>
                      <a:pt x="87" y="66"/>
                      <a:pt x="88" y="69"/>
                    </a:cubicBezTo>
                    <a:cubicBezTo>
                      <a:pt x="89" y="71"/>
                      <a:pt x="90" y="73"/>
                      <a:pt x="91" y="75"/>
                    </a:cubicBezTo>
                    <a:cubicBezTo>
                      <a:pt x="91" y="75"/>
                      <a:pt x="91" y="76"/>
                      <a:pt x="91" y="77"/>
                    </a:cubicBezTo>
                    <a:cubicBezTo>
                      <a:pt x="89" y="79"/>
                      <a:pt x="88" y="82"/>
                      <a:pt x="86" y="85"/>
                    </a:cubicBezTo>
                    <a:cubicBezTo>
                      <a:pt x="85" y="89"/>
                      <a:pt x="85" y="93"/>
                      <a:pt x="82" y="96"/>
                    </a:cubicBezTo>
                    <a:cubicBezTo>
                      <a:pt x="81" y="98"/>
                      <a:pt x="77" y="97"/>
                      <a:pt x="77" y="99"/>
                    </a:cubicBezTo>
                    <a:cubicBezTo>
                      <a:pt x="76" y="102"/>
                      <a:pt x="80" y="103"/>
                      <a:pt x="81" y="105"/>
                    </a:cubicBezTo>
                    <a:cubicBezTo>
                      <a:pt x="81" y="110"/>
                      <a:pt x="79" y="115"/>
                      <a:pt x="80" y="120"/>
                    </a:cubicBezTo>
                    <a:cubicBezTo>
                      <a:pt x="80" y="122"/>
                      <a:pt x="81" y="123"/>
                      <a:pt x="82" y="124"/>
                    </a:cubicBezTo>
                    <a:cubicBezTo>
                      <a:pt x="83" y="125"/>
                      <a:pt x="86" y="125"/>
                      <a:pt x="87" y="127"/>
                    </a:cubicBezTo>
                    <a:cubicBezTo>
                      <a:pt x="88" y="128"/>
                      <a:pt x="87" y="130"/>
                      <a:pt x="87" y="131"/>
                    </a:cubicBezTo>
                    <a:cubicBezTo>
                      <a:pt x="88" y="135"/>
                      <a:pt x="89" y="138"/>
                      <a:pt x="91" y="141"/>
                    </a:cubicBezTo>
                    <a:cubicBezTo>
                      <a:pt x="92" y="142"/>
                      <a:pt x="95" y="142"/>
                      <a:pt x="95" y="143"/>
                    </a:cubicBezTo>
                    <a:cubicBezTo>
                      <a:pt x="97" y="145"/>
                      <a:pt x="98" y="148"/>
                      <a:pt x="99" y="151"/>
                    </a:cubicBezTo>
                    <a:cubicBezTo>
                      <a:pt x="98" y="153"/>
                      <a:pt x="98" y="155"/>
                      <a:pt x="98" y="157"/>
                    </a:cubicBezTo>
                    <a:cubicBezTo>
                      <a:pt x="97" y="159"/>
                      <a:pt x="99" y="162"/>
                      <a:pt x="98" y="162"/>
                    </a:cubicBezTo>
                    <a:cubicBezTo>
                      <a:pt x="91" y="161"/>
                      <a:pt x="85" y="156"/>
                      <a:pt x="78" y="155"/>
                    </a:cubicBezTo>
                    <a:cubicBezTo>
                      <a:pt x="73" y="154"/>
                      <a:pt x="69" y="155"/>
                      <a:pt x="64" y="155"/>
                    </a:cubicBezTo>
                    <a:cubicBezTo>
                      <a:pt x="61" y="154"/>
                      <a:pt x="59" y="154"/>
                      <a:pt x="57" y="153"/>
                    </a:cubicBezTo>
                    <a:cubicBezTo>
                      <a:pt x="50" y="153"/>
                      <a:pt x="43" y="153"/>
                      <a:pt x="37" y="153"/>
                    </a:cubicBezTo>
                    <a:cubicBezTo>
                      <a:pt x="36" y="154"/>
                      <a:pt x="36" y="155"/>
                      <a:pt x="36" y="156"/>
                    </a:cubicBezTo>
                    <a:lnTo>
                      <a:pt x="17" y="155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1" name="Freeform 2572"/>
              <p:cNvSpPr>
                <a:spLocks noChangeAspect="1"/>
              </p:cNvSpPr>
              <p:nvPr/>
            </p:nvSpPr>
            <p:spPr bwMode="auto">
              <a:xfrm>
                <a:off x="4795370" y="3373170"/>
                <a:ext cx="255152" cy="453133"/>
              </a:xfrm>
              <a:custGeom>
                <a:avLst/>
                <a:gdLst>
                  <a:gd name="T0" fmla="*/ 31 w 130"/>
                  <a:gd name="T1" fmla="*/ 279 h 232"/>
                  <a:gd name="T2" fmla="*/ 40 w 130"/>
                  <a:gd name="T3" fmla="*/ 278 h 232"/>
                  <a:gd name="T4" fmla="*/ 47 w 130"/>
                  <a:gd name="T5" fmla="*/ 274 h 232"/>
                  <a:gd name="T6" fmla="*/ 54 w 130"/>
                  <a:gd name="T7" fmla="*/ 278 h 232"/>
                  <a:gd name="T8" fmla="*/ 58 w 130"/>
                  <a:gd name="T9" fmla="*/ 273 h 232"/>
                  <a:gd name="T10" fmla="*/ 71 w 130"/>
                  <a:gd name="T11" fmla="*/ 271 h 232"/>
                  <a:gd name="T12" fmla="*/ 76 w 130"/>
                  <a:gd name="T13" fmla="*/ 271 h 232"/>
                  <a:gd name="T14" fmla="*/ 80 w 130"/>
                  <a:gd name="T15" fmla="*/ 266 h 232"/>
                  <a:gd name="T16" fmla="*/ 85 w 130"/>
                  <a:gd name="T17" fmla="*/ 260 h 232"/>
                  <a:gd name="T18" fmla="*/ 80 w 130"/>
                  <a:gd name="T19" fmla="*/ 257 h 232"/>
                  <a:gd name="T20" fmla="*/ 85 w 130"/>
                  <a:gd name="T21" fmla="*/ 254 h 232"/>
                  <a:gd name="T22" fmla="*/ 98 w 130"/>
                  <a:gd name="T23" fmla="*/ 254 h 232"/>
                  <a:gd name="T24" fmla="*/ 112 w 130"/>
                  <a:gd name="T25" fmla="*/ 248 h 232"/>
                  <a:gd name="T26" fmla="*/ 114 w 130"/>
                  <a:gd name="T27" fmla="*/ 238 h 232"/>
                  <a:gd name="T28" fmla="*/ 120 w 130"/>
                  <a:gd name="T29" fmla="*/ 238 h 232"/>
                  <a:gd name="T30" fmla="*/ 126 w 130"/>
                  <a:gd name="T31" fmla="*/ 231 h 232"/>
                  <a:gd name="T32" fmla="*/ 126 w 130"/>
                  <a:gd name="T33" fmla="*/ 222 h 232"/>
                  <a:gd name="T34" fmla="*/ 139 w 130"/>
                  <a:gd name="T35" fmla="*/ 220 h 232"/>
                  <a:gd name="T36" fmla="*/ 140 w 130"/>
                  <a:gd name="T37" fmla="*/ 215 h 232"/>
                  <a:gd name="T38" fmla="*/ 134 w 130"/>
                  <a:gd name="T39" fmla="*/ 208 h 232"/>
                  <a:gd name="T40" fmla="*/ 138 w 130"/>
                  <a:gd name="T41" fmla="*/ 203 h 232"/>
                  <a:gd name="T42" fmla="*/ 134 w 130"/>
                  <a:gd name="T43" fmla="*/ 202 h 232"/>
                  <a:gd name="T44" fmla="*/ 133 w 130"/>
                  <a:gd name="T45" fmla="*/ 190 h 232"/>
                  <a:gd name="T46" fmla="*/ 125 w 130"/>
                  <a:gd name="T47" fmla="*/ 192 h 232"/>
                  <a:gd name="T48" fmla="*/ 125 w 130"/>
                  <a:gd name="T49" fmla="*/ 186 h 232"/>
                  <a:gd name="T50" fmla="*/ 131 w 130"/>
                  <a:gd name="T51" fmla="*/ 179 h 232"/>
                  <a:gd name="T52" fmla="*/ 130 w 130"/>
                  <a:gd name="T53" fmla="*/ 168 h 232"/>
                  <a:gd name="T54" fmla="*/ 136 w 130"/>
                  <a:gd name="T55" fmla="*/ 165 h 232"/>
                  <a:gd name="T56" fmla="*/ 132 w 130"/>
                  <a:gd name="T57" fmla="*/ 158 h 232"/>
                  <a:gd name="T58" fmla="*/ 136 w 130"/>
                  <a:gd name="T59" fmla="*/ 154 h 232"/>
                  <a:gd name="T60" fmla="*/ 142 w 130"/>
                  <a:gd name="T61" fmla="*/ 146 h 232"/>
                  <a:gd name="T62" fmla="*/ 140 w 130"/>
                  <a:gd name="T63" fmla="*/ 140 h 232"/>
                  <a:gd name="T64" fmla="*/ 146 w 130"/>
                  <a:gd name="T65" fmla="*/ 136 h 232"/>
                  <a:gd name="T66" fmla="*/ 154 w 130"/>
                  <a:gd name="T67" fmla="*/ 136 h 232"/>
                  <a:gd name="T68" fmla="*/ 154 w 130"/>
                  <a:gd name="T69" fmla="*/ 72 h 232"/>
                  <a:gd name="T70" fmla="*/ 29 w 130"/>
                  <a:gd name="T71" fmla="*/ 0 h 232"/>
                  <a:gd name="T72" fmla="*/ 19 w 130"/>
                  <a:gd name="T73" fmla="*/ 8 h 232"/>
                  <a:gd name="T74" fmla="*/ 24 w 130"/>
                  <a:gd name="T75" fmla="*/ 23 h 232"/>
                  <a:gd name="T76" fmla="*/ 23 w 130"/>
                  <a:gd name="T77" fmla="*/ 34 h 232"/>
                  <a:gd name="T78" fmla="*/ 28 w 130"/>
                  <a:gd name="T79" fmla="*/ 40 h 232"/>
                  <a:gd name="T80" fmla="*/ 26 w 130"/>
                  <a:gd name="T81" fmla="*/ 47 h 232"/>
                  <a:gd name="T82" fmla="*/ 35 w 130"/>
                  <a:gd name="T83" fmla="*/ 53 h 232"/>
                  <a:gd name="T84" fmla="*/ 26 w 130"/>
                  <a:gd name="T85" fmla="*/ 70 h 232"/>
                  <a:gd name="T86" fmla="*/ 26 w 130"/>
                  <a:gd name="T87" fmla="*/ 96 h 232"/>
                  <a:gd name="T88" fmla="*/ 28 w 130"/>
                  <a:gd name="T89" fmla="*/ 120 h 232"/>
                  <a:gd name="T90" fmla="*/ 0 w 130"/>
                  <a:gd name="T91" fmla="*/ 155 h 232"/>
                  <a:gd name="T92" fmla="*/ 0 w 130"/>
                  <a:gd name="T93" fmla="*/ 173 h 232"/>
                  <a:gd name="T94" fmla="*/ 6 w 130"/>
                  <a:gd name="T95" fmla="*/ 183 h 232"/>
                  <a:gd name="T96" fmla="*/ 10 w 130"/>
                  <a:gd name="T97" fmla="*/ 188 h 232"/>
                  <a:gd name="T98" fmla="*/ 14 w 130"/>
                  <a:gd name="T99" fmla="*/ 186 h 232"/>
                  <a:gd name="T100" fmla="*/ 22 w 130"/>
                  <a:gd name="T101" fmla="*/ 201 h 232"/>
                  <a:gd name="T102" fmla="*/ 23 w 130"/>
                  <a:gd name="T103" fmla="*/ 216 h 232"/>
                  <a:gd name="T104" fmla="*/ 25 w 130"/>
                  <a:gd name="T105" fmla="*/ 228 h 232"/>
                  <a:gd name="T106" fmla="*/ 34 w 130"/>
                  <a:gd name="T107" fmla="*/ 238 h 232"/>
                  <a:gd name="T108" fmla="*/ 23 w 130"/>
                  <a:gd name="T109" fmla="*/ 237 h 232"/>
                  <a:gd name="T110" fmla="*/ 19 w 130"/>
                  <a:gd name="T111" fmla="*/ 237 h 232"/>
                  <a:gd name="T112" fmla="*/ 10 w 130"/>
                  <a:gd name="T113" fmla="*/ 236 h 232"/>
                  <a:gd name="T114" fmla="*/ 7 w 130"/>
                  <a:gd name="T115" fmla="*/ 243 h 232"/>
                  <a:gd name="T116" fmla="*/ 13 w 130"/>
                  <a:gd name="T117" fmla="*/ 250 h 232"/>
                  <a:gd name="T118" fmla="*/ 23 w 130"/>
                  <a:gd name="T119" fmla="*/ 261 h 232"/>
                  <a:gd name="T120" fmla="*/ 28 w 130"/>
                  <a:gd name="T121" fmla="*/ 269 h 232"/>
                  <a:gd name="T122" fmla="*/ 31 w 130"/>
                  <a:gd name="T123" fmla="*/ 277 h 232"/>
                  <a:gd name="T124" fmla="*/ 31 w 130"/>
                  <a:gd name="T125" fmla="*/ 279 h 2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0"/>
                  <a:gd name="T190" fmla="*/ 0 h 232"/>
                  <a:gd name="T191" fmla="*/ 130 w 130"/>
                  <a:gd name="T192" fmla="*/ 232 h 2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0" h="232">
                    <a:moveTo>
                      <a:pt x="26" y="232"/>
                    </a:moveTo>
                    <a:cubicBezTo>
                      <a:pt x="28" y="231"/>
                      <a:pt x="31" y="231"/>
                      <a:pt x="33" y="231"/>
                    </a:cubicBezTo>
                    <a:cubicBezTo>
                      <a:pt x="35" y="230"/>
                      <a:pt x="37" y="228"/>
                      <a:pt x="39" y="228"/>
                    </a:cubicBezTo>
                    <a:cubicBezTo>
                      <a:pt x="41" y="228"/>
                      <a:pt x="43" y="231"/>
                      <a:pt x="45" y="231"/>
                    </a:cubicBezTo>
                    <a:cubicBezTo>
                      <a:pt x="47" y="231"/>
                      <a:pt x="47" y="228"/>
                      <a:pt x="48" y="227"/>
                    </a:cubicBezTo>
                    <a:cubicBezTo>
                      <a:pt x="52" y="226"/>
                      <a:pt x="55" y="225"/>
                      <a:pt x="59" y="225"/>
                    </a:cubicBezTo>
                    <a:cubicBezTo>
                      <a:pt x="60" y="225"/>
                      <a:pt x="61" y="225"/>
                      <a:pt x="63" y="225"/>
                    </a:cubicBezTo>
                    <a:cubicBezTo>
                      <a:pt x="64" y="224"/>
                      <a:pt x="65" y="223"/>
                      <a:pt x="67" y="221"/>
                    </a:cubicBezTo>
                    <a:cubicBezTo>
                      <a:pt x="68" y="220"/>
                      <a:pt x="71" y="218"/>
                      <a:pt x="71" y="216"/>
                    </a:cubicBezTo>
                    <a:cubicBezTo>
                      <a:pt x="71" y="214"/>
                      <a:pt x="67" y="215"/>
                      <a:pt x="67" y="214"/>
                    </a:cubicBezTo>
                    <a:cubicBezTo>
                      <a:pt x="67" y="212"/>
                      <a:pt x="70" y="212"/>
                      <a:pt x="71" y="211"/>
                    </a:cubicBezTo>
                    <a:cubicBezTo>
                      <a:pt x="75" y="211"/>
                      <a:pt x="78" y="212"/>
                      <a:pt x="82" y="211"/>
                    </a:cubicBezTo>
                    <a:cubicBezTo>
                      <a:pt x="86" y="210"/>
                      <a:pt x="90" y="209"/>
                      <a:pt x="93" y="206"/>
                    </a:cubicBezTo>
                    <a:cubicBezTo>
                      <a:pt x="95" y="204"/>
                      <a:pt x="93" y="200"/>
                      <a:pt x="95" y="198"/>
                    </a:cubicBezTo>
                    <a:cubicBezTo>
                      <a:pt x="96" y="197"/>
                      <a:pt x="99" y="199"/>
                      <a:pt x="100" y="198"/>
                    </a:cubicBezTo>
                    <a:cubicBezTo>
                      <a:pt x="102" y="197"/>
                      <a:pt x="104" y="195"/>
                      <a:pt x="105" y="192"/>
                    </a:cubicBezTo>
                    <a:cubicBezTo>
                      <a:pt x="106" y="190"/>
                      <a:pt x="103" y="186"/>
                      <a:pt x="105" y="185"/>
                    </a:cubicBezTo>
                    <a:cubicBezTo>
                      <a:pt x="108" y="182"/>
                      <a:pt x="113" y="184"/>
                      <a:pt x="116" y="183"/>
                    </a:cubicBezTo>
                    <a:cubicBezTo>
                      <a:pt x="117" y="182"/>
                      <a:pt x="118" y="180"/>
                      <a:pt x="117" y="179"/>
                    </a:cubicBezTo>
                    <a:cubicBezTo>
                      <a:pt x="116" y="177"/>
                      <a:pt x="113" y="176"/>
                      <a:pt x="112" y="173"/>
                    </a:cubicBezTo>
                    <a:cubicBezTo>
                      <a:pt x="112" y="171"/>
                      <a:pt x="115" y="170"/>
                      <a:pt x="115" y="169"/>
                    </a:cubicBezTo>
                    <a:cubicBezTo>
                      <a:pt x="115" y="168"/>
                      <a:pt x="113" y="169"/>
                      <a:pt x="112" y="168"/>
                    </a:cubicBezTo>
                    <a:cubicBezTo>
                      <a:pt x="111" y="165"/>
                      <a:pt x="113" y="161"/>
                      <a:pt x="111" y="158"/>
                    </a:cubicBezTo>
                    <a:cubicBezTo>
                      <a:pt x="109" y="157"/>
                      <a:pt x="106" y="161"/>
                      <a:pt x="104" y="160"/>
                    </a:cubicBezTo>
                    <a:cubicBezTo>
                      <a:pt x="103" y="159"/>
                      <a:pt x="103" y="156"/>
                      <a:pt x="104" y="155"/>
                    </a:cubicBezTo>
                    <a:cubicBezTo>
                      <a:pt x="105" y="153"/>
                      <a:pt x="109" y="152"/>
                      <a:pt x="109" y="149"/>
                    </a:cubicBezTo>
                    <a:cubicBezTo>
                      <a:pt x="110" y="146"/>
                      <a:pt x="107" y="143"/>
                      <a:pt x="108" y="140"/>
                    </a:cubicBezTo>
                    <a:cubicBezTo>
                      <a:pt x="108" y="138"/>
                      <a:pt x="113" y="139"/>
                      <a:pt x="113" y="137"/>
                    </a:cubicBezTo>
                    <a:cubicBezTo>
                      <a:pt x="114" y="135"/>
                      <a:pt x="110" y="133"/>
                      <a:pt x="110" y="131"/>
                    </a:cubicBezTo>
                    <a:cubicBezTo>
                      <a:pt x="109" y="130"/>
                      <a:pt x="112" y="129"/>
                      <a:pt x="113" y="128"/>
                    </a:cubicBezTo>
                    <a:cubicBezTo>
                      <a:pt x="115" y="126"/>
                      <a:pt x="117" y="124"/>
                      <a:pt x="118" y="121"/>
                    </a:cubicBezTo>
                    <a:cubicBezTo>
                      <a:pt x="119" y="119"/>
                      <a:pt x="116" y="117"/>
                      <a:pt x="117" y="116"/>
                    </a:cubicBezTo>
                    <a:cubicBezTo>
                      <a:pt x="118" y="114"/>
                      <a:pt x="120" y="113"/>
                      <a:pt x="122" y="113"/>
                    </a:cubicBezTo>
                    <a:cubicBezTo>
                      <a:pt x="124" y="112"/>
                      <a:pt x="128" y="115"/>
                      <a:pt x="128" y="113"/>
                    </a:cubicBezTo>
                    <a:cubicBezTo>
                      <a:pt x="130" y="96"/>
                      <a:pt x="128" y="78"/>
                      <a:pt x="128" y="60"/>
                    </a:cubicBezTo>
                    <a:lnTo>
                      <a:pt x="24" y="0"/>
                    </a:lnTo>
                    <a:lnTo>
                      <a:pt x="16" y="7"/>
                    </a:lnTo>
                    <a:lnTo>
                      <a:pt x="20" y="19"/>
                    </a:lnTo>
                    <a:lnTo>
                      <a:pt x="19" y="28"/>
                    </a:lnTo>
                    <a:lnTo>
                      <a:pt x="23" y="33"/>
                    </a:lnTo>
                    <a:lnTo>
                      <a:pt x="22" y="39"/>
                    </a:lnTo>
                    <a:lnTo>
                      <a:pt x="29" y="44"/>
                    </a:lnTo>
                    <a:lnTo>
                      <a:pt x="22" y="58"/>
                    </a:lnTo>
                    <a:lnTo>
                      <a:pt x="22" y="80"/>
                    </a:lnTo>
                    <a:lnTo>
                      <a:pt x="23" y="100"/>
                    </a:lnTo>
                    <a:lnTo>
                      <a:pt x="0" y="129"/>
                    </a:lnTo>
                    <a:lnTo>
                      <a:pt x="0" y="144"/>
                    </a:lnTo>
                    <a:cubicBezTo>
                      <a:pt x="2" y="146"/>
                      <a:pt x="3" y="150"/>
                      <a:pt x="5" y="152"/>
                    </a:cubicBezTo>
                    <a:cubicBezTo>
                      <a:pt x="6" y="153"/>
                      <a:pt x="7" y="155"/>
                      <a:pt x="8" y="156"/>
                    </a:cubicBezTo>
                    <a:cubicBezTo>
                      <a:pt x="9" y="156"/>
                      <a:pt x="11" y="155"/>
                      <a:pt x="12" y="155"/>
                    </a:cubicBezTo>
                    <a:cubicBezTo>
                      <a:pt x="15" y="159"/>
                      <a:pt x="17" y="163"/>
                      <a:pt x="18" y="167"/>
                    </a:cubicBezTo>
                    <a:cubicBezTo>
                      <a:pt x="19" y="171"/>
                      <a:pt x="18" y="176"/>
                      <a:pt x="19" y="180"/>
                    </a:cubicBezTo>
                    <a:cubicBezTo>
                      <a:pt x="19" y="184"/>
                      <a:pt x="19" y="187"/>
                      <a:pt x="21" y="190"/>
                    </a:cubicBezTo>
                    <a:cubicBezTo>
                      <a:pt x="23" y="193"/>
                      <a:pt x="26" y="194"/>
                      <a:pt x="28" y="198"/>
                    </a:cubicBezTo>
                    <a:cubicBezTo>
                      <a:pt x="25" y="198"/>
                      <a:pt x="22" y="197"/>
                      <a:pt x="19" y="197"/>
                    </a:cubicBezTo>
                    <a:cubicBezTo>
                      <a:pt x="18" y="197"/>
                      <a:pt x="17" y="198"/>
                      <a:pt x="16" y="197"/>
                    </a:cubicBezTo>
                    <a:cubicBezTo>
                      <a:pt x="13" y="197"/>
                      <a:pt x="11" y="195"/>
                      <a:pt x="8" y="196"/>
                    </a:cubicBezTo>
                    <a:cubicBezTo>
                      <a:pt x="6" y="197"/>
                      <a:pt x="5" y="200"/>
                      <a:pt x="6" y="202"/>
                    </a:cubicBezTo>
                    <a:cubicBezTo>
                      <a:pt x="6" y="204"/>
                      <a:pt x="10" y="206"/>
                      <a:pt x="11" y="208"/>
                    </a:cubicBezTo>
                    <a:cubicBezTo>
                      <a:pt x="14" y="211"/>
                      <a:pt x="16" y="214"/>
                      <a:pt x="19" y="217"/>
                    </a:cubicBezTo>
                    <a:cubicBezTo>
                      <a:pt x="20" y="219"/>
                      <a:pt x="22" y="221"/>
                      <a:pt x="23" y="224"/>
                    </a:cubicBezTo>
                    <a:cubicBezTo>
                      <a:pt x="24" y="226"/>
                      <a:pt x="25" y="228"/>
                      <a:pt x="26" y="230"/>
                    </a:cubicBezTo>
                    <a:cubicBezTo>
                      <a:pt x="26" y="230"/>
                      <a:pt x="26" y="231"/>
                      <a:pt x="26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2" name="Freeform 2573"/>
              <p:cNvSpPr>
                <a:spLocks noChangeAspect="1"/>
              </p:cNvSpPr>
              <p:nvPr/>
            </p:nvSpPr>
            <p:spPr bwMode="auto">
              <a:xfrm>
                <a:off x="4816633" y="3728854"/>
                <a:ext cx="323846" cy="241996"/>
              </a:xfrm>
              <a:custGeom>
                <a:avLst/>
                <a:gdLst>
                  <a:gd name="T0" fmla="*/ 198 w 165"/>
                  <a:gd name="T1" fmla="*/ 97 h 124"/>
                  <a:gd name="T2" fmla="*/ 190 w 165"/>
                  <a:gd name="T3" fmla="*/ 87 h 124"/>
                  <a:gd name="T4" fmla="*/ 185 w 165"/>
                  <a:gd name="T5" fmla="*/ 78 h 124"/>
                  <a:gd name="T6" fmla="*/ 170 w 165"/>
                  <a:gd name="T7" fmla="*/ 68 h 124"/>
                  <a:gd name="T8" fmla="*/ 166 w 165"/>
                  <a:gd name="T9" fmla="*/ 55 h 124"/>
                  <a:gd name="T10" fmla="*/ 160 w 165"/>
                  <a:gd name="T11" fmla="*/ 49 h 124"/>
                  <a:gd name="T12" fmla="*/ 149 w 165"/>
                  <a:gd name="T13" fmla="*/ 41 h 124"/>
                  <a:gd name="T14" fmla="*/ 136 w 165"/>
                  <a:gd name="T15" fmla="*/ 35 h 124"/>
                  <a:gd name="T16" fmla="*/ 140 w 165"/>
                  <a:gd name="T17" fmla="*/ 22 h 124"/>
                  <a:gd name="T18" fmla="*/ 126 w 165"/>
                  <a:gd name="T19" fmla="*/ 1 h 124"/>
                  <a:gd name="T20" fmla="*/ 113 w 165"/>
                  <a:gd name="T21" fmla="*/ 12 h 124"/>
                  <a:gd name="T22" fmla="*/ 101 w 165"/>
                  <a:gd name="T23" fmla="*/ 19 h 124"/>
                  <a:gd name="T24" fmla="*/ 85 w 165"/>
                  <a:gd name="T25" fmla="*/ 35 h 124"/>
                  <a:gd name="T26" fmla="*/ 67 w 165"/>
                  <a:gd name="T27" fmla="*/ 38 h 124"/>
                  <a:gd name="T28" fmla="*/ 67 w 165"/>
                  <a:gd name="T29" fmla="*/ 47 h 124"/>
                  <a:gd name="T30" fmla="*/ 58 w 165"/>
                  <a:gd name="T31" fmla="*/ 52 h 124"/>
                  <a:gd name="T32" fmla="*/ 41 w 165"/>
                  <a:gd name="T33" fmla="*/ 59 h 124"/>
                  <a:gd name="T34" fmla="*/ 26 w 165"/>
                  <a:gd name="T35" fmla="*/ 59 h 124"/>
                  <a:gd name="T36" fmla="*/ 12 w 165"/>
                  <a:gd name="T37" fmla="*/ 70 h 124"/>
                  <a:gd name="T38" fmla="*/ 1 w 165"/>
                  <a:gd name="T39" fmla="*/ 87 h 124"/>
                  <a:gd name="T40" fmla="*/ 5 w 165"/>
                  <a:gd name="T41" fmla="*/ 112 h 124"/>
                  <a:gd name="T42" fmla="*/ 13 w 165"/>
                  <a:gd name="T43" fmla="*/ 120 h 124"/>
                  <a:gd name="T44" fmla="*/ 18 w 165"/>
                  <a:gd name="T45" fmla="*/ 137 h 124"/>
                  <a:gd name="T46" fmla="*/ 28 w 165"/>
                  <a:gd name="T47" fmla="*/ 149 h 124"/>
                  <a:gd name="T48" fmla="*/ 32 w 165"/>
                  <a:gd name="T49" fmla="*/ 136 h 124"/>
                  <a:gd name="T50" fmla="*/ 44 w 165"/>
                  <a:gd name="T51" fmla="*/ 130 h 124"/>
                  <a:gd name="T52" fmla="*/ 56 w 165"/>
                  <a:gd name="T53" fmla="*/ 130 h 124"/>
                  <a:gd name="T54" fmla="*/ 65 w 165"/>
                  <a:gd name="T55" fmla="*/ 117 h 124"/>
                  <a:gd name="T56" fmla="*/ 74 w 165"/>
                  <a:gd name="T57" fmla="*/ 103 h 124"/>
                  <a:gd name="T58" fmla="*/ 94 w 165"/>
                  <a:gd name="T59" fmla="*/ 113 h 124"/>
                  <a:gd name="T60" fmla="*/ 120 w 165"/>
                  <a:gd name="T61" fmla="*/ 119 h 124"/>
                  <a:gd name="T62" fmla="*/ 130 w 165"/>
                  <a:gd name="T63" fmla="*/ 107 h 124"/>
                  <a:gd name="T64" fmla="*/ 150 w 165"/>
                  <a:gd name="T65" fmla="*/ 107 h 124"/>
                  <a:gd name="T66" fmla="*/ 157 w 165"/>
                  <a:gd name="T67" fmla="*/ 106 h 124"/>
                  <a:gd name="T68" fmla="*/ 168 w 165"/>
                  <a:gd name="T69" fmla="*/ 100 h 124"/>
                  <a:gd name="T70" fmla="*/ 180 w 165"/>
                  <a:gd name="T71" fmla="*/ 102 h 124"/>
                  <a:gd name="T72" fmla="*/ 192 w 165"/>
                  <a:gd name="T73" fmla="*/ 102 h 1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65"/>
                  <a:gd name="T112" fmla="*/ 0 h 124"/>
                  <a:gd name="T113" fmla="*/ 165 w 165"/>
                  <a:gd name="T114" fmla="*/ 124 h 12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65" h="124">
                    <a:moveTo>
                      <a:pt x="164" y="88"/>
                    </a:moveTo>
                    <a:cubicBezTo>
                      <a:pt x="164" y="85"/>
                      <a:pt x="165" y="83"/>
                      <a:pt x="165" y="81"/>
                    </a:cubicBezTo>
                    <a:cubicBezTo>
                      <a:pt x="165" y="78"/>
                      <a:pt x="163" y="76"/>
                      <a:pt x="162" y="74"/>
                    </a:cubicBezTo>
                    <a:cubicBezTo>
                      <a:pt x="161" y="73"/>
                      <a:pt x="159" y="72"/>
                      <a:pt x="158" y="72"/>
                    </a:cubicBezTo>
                    <a:cubicBezTo>
                      <a:pt x="156" y="70"/>
                      <a:pt x="153" y="70"/>
                      <a:pt x="151" y="67"/>
                    </a:cubicBezTo>
                    <a:cubicBezTo>
                      <a:pt x="151" y="66"/>
                      <a:pt x="155" y="66"/>
                      <a:pt x="154" y="65"/>
                    </a:cubicBezTo>
                    <a:cubicBezTo>
                      <a:pt x="153" y="63"/>
                      <a:pt x="149" y="61"/>
                      <a:pt x="147" y="57"/>
                    </a:cubicBezTo>
                    <a:cubicBezTo>
                      <a:pt x="146" y="56"/>
                      <a:pt x="144" y="58"/>
                      <a:pt x="142" y="57"/>
                    </a:cubicBezTo>
                    <a:cubicBezTo>
                      <a:pt x="140" y="55"/>
                      <a:pt x="138" y="53"/>
                      <a:pt x="137" y="51"/>
                    </a:cubicBezTo>
                    <a:cubicBezTo>
                      <a:pt x="137" y="50"/>
                      <a:pt x="139" y="47"/>
                      <a:pt x="138" y="46"/>
                    </a:cubicBezTo>
                    <a:cubicBezTo>
                      <a:pt x="137" y="45"/>
                      <a:pt x="135" y="47"/>
                      <a:pt x="134" y="46"/>
                    </a:cubicBezTo>
                    <a:cubicBezTo>
                      <a:pt x="133" y="45"/>
                      <a:pt x="134" y="42"/>
                      <a:pt x="133" y="41"/>
                    </a:cubicBezTo>
                    <a:cubicBezTo>
                      <a:pt x="130" y="39"/>
                      <a:pt x="126" y="41"/>
                      <a:pt x="123" y="39"/>
                    </a:cubicBezTo>
                    <a:cubicBezTo>
                      <a:pt x="122" y="37"/>
                      <a:pt x="126" y="35"/>
                      <a:pt x="124" y="34"/>
                    </a:cubicBezTo>
                    <a:cubicBezTo>
                      <a:pt x="122" y="32"/>
                      <a:pt x="119" y="35"/>
                      <a:pt x="117" y="34"/>
                    </a:cubicBezTo>
                    <a:cubicBezTo>
                      <a:pt x="115" y="33"/>
                      <a:pt x="113" y="31"/>
                      <a:pt x="113" y="29"/>
                    </a:cubicBezTo>
                    <a:cubicBezTo>
                      <a:pt x="113" y="28"/>
                      <a:pt x="116" y="27"/>
                      <a:pt x="117" y="25"/>
                    </a:cubicBezTo>
                    <a:cubicBezTo>
                      <a:pt x="117" y="23"/>
                      <a:pt x="118" y="20"/>
                      <a:pt x="117" y="18"/>
                    </a:cubicBezTo>
                    <a:cubicBezTo>
                      <a:pt x="116" y="14"/>
                      <a:pt x="114" y="10"/>
                      <a:pt x="111" y="7"/>
                    </a:cubicBezTo>
                    <a:cubicBezTo>
                      <a:pt x="110" y="5"/>
                      <a:pt x="107" y="3"/>
                      <a:pt x="105" y="1"/>
                    </a:cubicBezTo>
                    <a:cubicBezTo>
                      <a:pt x="102" y="2"/>
                      <a:pt x="97" y="0"/>
                      <a:pt x="94" y="3"/>
                    </a:cubicBezTo>
                    <a:cubicBezTo>
                      <a:pt x="92" y="4"/>
                      <a:pt x="95" y="8"/>
                      <a:pt x="94" y="10"/>
                    </a:cubicBezTo>
                    <a:cubicBezTo>
                      <a:pt x="93" y="13"/>
                      <a:pt x="91" y="15"/>
                      <a:pt x="89" y="16"/>
                    </a:cubicBezTo>
                    <a:cubicBezTo>
                      <a:pt x="88" y="17"/>
                      <a:pt x="85" y="15"/>
                      <a:pt x="84" y="16"/>
                    </a:cubicBezTo>
                    <a:cubicBezTo>
                      <a:pt x="82" y="18"/>
                      <a:pt x="84" y="22"/>
                      <a:pt x="82" y="24"/>
                    </a:cubicBezTo>
                    <a:cubicBezTo>
                      <a:pt x="79" y="27"/>
                      <a:pt x="75" y="28"/>
                      <a:pt x="71" y="29"/>
                    </a:cubicBezTo>
                    <a:cubicBezTo>
                      <a:pt x="67" y="30"/>
                      <a:pt x="64" y="29"/>
                      <a:pt x="60" y="29"/>
                    </a:cubicBezTo>
                    <a:cubicBezTo>
                      <a:pt x="59" y="30"/>
                      <a:pt x="56" y="30"/>
                      <a:pt x="56" y="32"/>
                    </a:cubicBezTo>
                    <a:cubicBezTo>
                      <a:pt x="56" y="33"/>
                      <a:pt x="60" y="32"/>
                      <a:pt x="60" y="34"/>
                    </a:cubicBezTo>
                    <a:cubicBezTo>
                      <a:pt x="60" y="36"/>
                      <a:pt x="57" y="38"/>
                      <a:pt x="56" y="39"/>
                    </a:cubicBezTo>
                    <a:cubicBezTo>
                      <a:pt x="54" y="41"/>
                      <a:pt x="53" y="42"/>
                      <a:pt x="52" y="43"/>
                    </a:cubicBezTo>
                    <a:cubicBezTo>
                      <a:pt x="50" y="43"/>
                      <a:pt x="49" y="43"/>
                      <a:pt x="48" y="43"/>
                    </a:cubicBezTo>
                    <a:cubicBezTo>
                      <a:pt x="44" y="43"/>
                      <a:pt x="41" y="44"/>
                      <a:pt x="37" y="45"/>
                    </a:cubicBezTo>
                    <a:cubicBezTo>
                      <a:pt x="36" y="46"/>
                      <a:pt x="36" y="49"/>
                      <a:pt x="34" y="49"/>
                    </a:cubicBezTo>
                    <a:cubicBezTo>
                      <a:pt x="32" y="49"/>
                      <a:pt x="30" y="46"/>
                      <a:pt x="28" y="46"/>
                    </a:cubicBezTo>
                    <a:cubicBezTo>
                      <a:pt x="26" y="46"/>
                      <a:pt x="24" y="48"/>
                      <a:pt x="22" y="49"/>
                    </a:cubicBezTo>
                    <a:cubicBezTo>
                      <a:pt x="20" y="49"/>
                      <a:pt x="17" y="49"/>
                      <a:pt x="15" y="50"/>
                    </a:cubicBezTo>
                    <a:cubicBezTo>
                      <a:pt x="13" y="52"/>
                      <a:pt x="12" y="55"/>
                      <a:pt x="10" y="58"/>
                    </a:cubicBezTo>
                    <a:cubicBezTo>
                      <a:pt x="9" y="62"/>
                      <a:pt x="9" y="66"/>
                      <a:pt x="6" y="69"/>
                    </a:cubicBezTo>
                    <a:cubicBezTo>
                      <a:pt x="5" y="71"/>
                      <a:pt x="1" y="70"/>
                      <a:pt x="1" y="72"/>
                    </a:cubicBezTo>
                    <a:cubicBezTo>
                      <a:pt x="0" y="75"/>
                      <a:pt x="4" y="76"/>
                      <a:pt x="5" y="78"/>
                    </a:cubicBezTo>
                    <a:cubicBezTo>
                      <a:pt x="5" y="83"/>
                      <a:pt x="3" y="88"/>
                      <a:pt x="4" y="93"/>
                    </a:cubicBezTo>
                    <a:cubicBezTo>
                      <a:pt x="4" y="95"/>
                      <a:pt x="5" y="96"/>
                      <a:pt x="6" y="97"/>
                    </a:cubicBezTo>
                    <a:cubicBezTo>
                      <a:pt x="7" y="98"/>
                      <a:pt x="10" y="98"/>
                      <a:pt x="11" y="100"/>
                    </a:cubicBezTo>
                    <a:cubicBezTo>
                      <a:pt x="12" y="101"/>
                      <a:pt x="11" y="103"/>
                      <a:pt x="11" y="104"/>
                    </a:cubicBezTo>
                    <a:cubicBezTo>
                      <a:pt x="12" y="108"/>
                      <a:pt x="13" y="111"/>
                      <a:pt x="15" y="114"/>
                    </a:cubicBezTo>
                    <a:cubicBezTo>
                      <a:pt x="16" y="115"/>
                      <a:pt x="19" y="115"/>
                      <a:pt x="19" y="116"/>
                    </a:cubicBezTo>
                    <a:cubicBezTo>
                      <a:pt x="21" y="118"/>
                      <a:pt x="22" y="121"/>
                      <a:pt x="23" y="124"/>
                    </a:cubicBezTo>
                    <a:cubicBezTo>
                      <a:pt x="24" y="123"/>
                      <a:pt x="26" y="123"/>
                      <a:pt x="26" y="121"/>
                    </a:cubicBezTo>
                    <a:cubicBezTo>
                      <a:pt x="27" y="119"/>
                      <a:pt x="27" y="116"/>
                      <a:pt x="27" y="113"/>
                    </a:cubicBezTo>
                    <a:cubicBezTo>
                      <a:pt x="27" y="112"/>
                      <a:pt x="27" y="109"/>
                      <a:pt x="28" y="108"/>
                    </a:cubicBezTo>
                    <a:cubicBezTo>
                      <a:pt x="31" y="107"/>
                      <a:pt x="34" y="108"/>
                      <a:pt x="37" y="108"/>
                    </a:cubicBezTo>
                    <a:cubicBezTo>
                      <a:pt x="38" y="108"/>
                      <a:pt x="39" y="106"/>
                      <a:pt x="41" y="106"/>
                    </a:cubicBezTo>
                    <a:cubicBezTo>
                      <a:pt x="43" y="107"/>
                      <a:pt x="45" y="108"/>
                      <a:pt x="47" y="108"/>
                    </a:cubicBezTo>
                    <a:cubicBezTo>
                      <a:pt x="49" y="109"/>
                      <a:pt x="51" y="108"/>
                      <a:pt x="54" y="107"/>
                    </a:cubicBezTo>
                    <a:cubicBezTo>
                      <a:pt x="54" y="104"/>
                      <a:pt x="53" y="101"/>
                      <a:pt x="54" y="97"/>
                    </a:cubicBezTo>
                    <a:cubicBezTo>
                      <a:pt x="54" y="95"/>
                      <a:pt x="56" y="92"/>
                      <a:pt x="57" y="90"/>
                    </a:cubicBezTo>
                    <a:cubicBezTo>
                      <a:pt x="58" y="88"/>
                      <a:pt x="60" y="87"/>
                      <a:pt x="62" y="86"/>
                    </a:cubicBezTo>
                    <a:cubicBezTo>
                      <a:pt x="63" y="86"/>
                      <a:pt x="66" y="85"/>
                      <a:pt x="67" y="86"/>
                    </a:cubicBezTo>
                    <a:cubicBezTo>
                      <a:pt x="71" y="88"/>
                      <a:pt x="74" y="92"/>
                      <a:pt x="78" y="94"/>
                    </a:cubicBezTo>
                    <a:cubicBezTo>
                      <a:pt x="81" y="96"/>
                      <a:pt x="84" y="95"/>
                      <a:pt x="87" y="96"/>
                    </a:cubicBezTo>
                    <a:cubicBezTo>
                      <a:pt x="92" y="97"/>
                      <a:pt x="96" y="100"/>
                      <a:pt x="100" y="99"/>
                    </a:cubicBezTo>
                    <a:cubicBezTo>
                      <a:pt x="103" y="99"/>
                      <a:pt x="103" y="94"/>
                      <a:pt x="104" y="92"/>
                    </a:cubicBezTo>
                    <a:cubicBezTo>
                      <a:pt x="105" y="91"/>
                      <a:pt x="107" y="89"/>
                      <a:pt x="108" y="89"/>
                    </a:cubicBezTo>
                    <a:cubicBezTo>
                      <a:pt x="111" y="89"/>
                      <a:pt x="113" y="92"/>
                      <a:pt x="115" y="92"/>
                    </a:cubicBezTo>
                    <a:cubicBezTo>
                      <a:pt x="118" y="92"/>
                      <a:pt x="122" y="90"/>
                      <a:pt x="125" y="89"/>
                    </a:cubicBezTo>
                    <a:cubicBezTo>
                      <a:pt x="126" y="88"/>
                      <a:pt x="127" y="85"/>
                      <a:pt x="128" y="85"/>
                    </a:cubicBezTo>
                    <a:cubicBezTo>
                      <a:pt x="130" y="85"/>
                      <a:pt x="130" y="88"/>
                      <a:pt x="131" y="88"/>
                    </a:cubicBezTo>
                    <a:cubicBezTo>
                      <a:pt x="133" y="89"/>
                      <a:pt x="135" y="89"/>
                      <a:pt x="137" y="88"/>
                    </a:cubicBezTo>
                    <a:cubicBezTo>
                      <a:pt x="139" y="87"/>
                      <a:pt x="138" y="83"/>
                      <a:pt x="140" y="83"/>
                    </a:cubicBezTo>
                    <a:cubicBezTo>
                      <a:pt x="143" y="83"/>
                      <a:pt x="144" y="87"/>
                      <a:pt x="146" y="87"/>
                    </a:cubicBezTo>
                    <a:cubicBezTo>
                      <a:pt x="148" y="87"/>
                      <a:pt x="149" y="85"/>
                      <a:pt x="150" y="85"/>
                    </a:cubicBezTo>
                    <a:cubicBezTo>
                      <a:pt x="152" y="85"/>
                      <a:pt x="151" y="89"/>
                      <a:pt x="153" y="89"/>
                    </a:cubicBezTo>
                    <a:cubicBezTo>
                      <a:pt x="156" y="88"/>
                      <a:pt x="157" y="85"/>
                      <a:pt x="160" y="85"/>
                    </a:cubicBezTo>
                    <a:cubicBezTo>
                      <a:pt x="161" y="85"/>
                      <a:pt x="163" y="87"/>
                      <a:pt x="164" y="8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3" name="Freeform 2574"/>
              <p:cNvSpPr>
                <a:spLocks noChangeAspect="1"/>
              </p:cNvSpPr>
              <p:nvPr/>
            </p:nvSpPr>
            <p:spPr bwMode="auto">
              <a:xfrm>
                <a:off x="5294225" y="3886395"/>
                <a:ext cx="197907" cy="285847"/>
              </a:xfrm>
              <a:custGeom>
                <a:avLst/>
                <a:gdLst>
                  <a:gd name="T0" fmla="*/ 121 w 101"/>
                  <a:gd name="T1" fmla="*/ 26 h 147"/>
                  <a:gd name="T2" fmla="*/ 115 w 101"/>
                  <a:gd name="T3" fmla="*/ 26 h 147"/>
                  <a:gd name="T4" fmla="*/ 108 w 101"/>
                  <a:gd name="T5" fmla="*/ 19 h 147"/>
                  <a:gd name="T6" fmla="*/ 93 w 101"/>
                  <a:gd name="T7" fmla="*/ 26 h 147"/>
                  <a:gd name="T8" fmla="*/ 91 w 101"/>
                  <a:gd name="T9" fmla="*/ 34 h 147"/>
                  <a:gd name="T10" fmla="*/ 69 w 101"/>
                  <a:gd name="T11" fmla="*/ 32 h 147"/>
                  <a:gd name="T12" fmla="*/ 53 w 101"/>
                  <a:gd name="T13" fmla="*/ 18 h 147"/>
                  <a:gd name="T14" fmla="*/ 43 w 101"/>
                  <a:gd name="T15" fmla="*/ 17 h 147"/>
                  <a:gd name="T16" fmla="*/ 35 w 101"/>
                  <a:gd name="T17" fmla="*/ 14 h 147"/>
                  <a:gd name="T18" fmla="*/ 34 w 101"/>
                  <a:gd name="T19" fmla="*/ 2 h 147"/>
                  <a:gd name="T20" fmla="*/ 25 w 101"/>
                  <a:gd name="T21" fmla="*/ 0 h 147"/>
                  <a:gd name="T22" fmla="*/ 6 w 101"/>
                  <a:gd name="T23" fmla="*/ 20 h 147"/>
                  <a:gd name="T24" fmla="*/ 8 w 101"/>
                  <a:gd name="T25" fmla="*/ 26 h 147"/>
                  <a:gd name="T26" fmla="*/ 13 w 101"/>
                  <a:gd name="T27" fmla="*/ 29 h 147"/>
                  <a:gd name="T28" fmla="*/ 14 w 101"/>
                  <a:gd name="T29" fmla="*/ 40 h 147"/>
                  <a:gd name="T30" fmla="*/ 22 w 101"/>
                  <a:gd name="T31" fmla="*/ 50 h 147"/>
                  <a:gd name="T32" fmla="*/ 23 w 101"/>
                  <a:gd name="T33" fmla="*/ 63 h 147"/>
                  <a:gd name="T34" fmla="*/ 16 w 101"/>
                  <a:gd name="T35" fmla="*/ 74 h 147"/>
                  <a:gd name="T36" fmla="*/ 6 w 101"/>
                  <a:gd name="T37" fmla="*/ 86 h 147"/>
                  <a:gd name="T38" fmla="*/ 0 w 101"/>
                  <a:gd name="T39" fmla="*/ 107 h 147"/>
                  <a:gd name="T40" fmla="*/ 60 w 101"/>
                  <a:gd name="T41" fmla="*/ 146 h 147"/>
                  <a:gd name="T42" fmla="*/ 61 w 101"/>
                  <a:gd name="T43" fmla="*/ 153 h 147"/>
                  <a:gd name="T44" fmla="*/ 86 w 101"/>
                  <a:gd name="T45" fmla="*/ 176 h 147"/>
                  <a:gd name="T46" fmla="*/ 87 w 101"/>
                  <a:gd name="T47" fmla="*/ 170 h 147"/>
                  <a:gd name="T48" fmla="*/ 90 w 101"/>
                  <a:gd name="T49" fmla="*/ 163 h 147"/>
                  <a:gd name="T50" fmla="*/ 96 w 101"/>
                  <a:gd name="T51" fmla="*/ 152 h 147"/>
                  <a:gd name="T52" fmla="*/ 99 w 101"/>
                  <a:gd name="T53" fmla="*/ 144 h 147"/>
                  <a:gd name="T54" fmla="*/ 99 w 101"/>
                  <a:gd name="T55" fmla="*/ 138 h 147"/>
                  <a:gd name="T56" fmla="*/ 105 w 101"/>
                  <a:gd name="T57" fmla="*/ 136 h 147"/>
                  <a:gd name="T58" fmla="*/ 109 w 101"/>
                  <a:gd name="T59" fmla="*/ 131 h 147"/>
                  <a:gd name="T60" fmla="*/ 114 w 101"/>
                  <a:gd name="T61" fmla="*/ 126 h 147"/>
                  <a:gd name="T62" fmla="*/ 120 w 101"/>
                  <a:gd name="T63" fmla="*/ 122 h 147"/>
                  <a:gd name="T64" fmla="*/ 110 w 101"/>
                  <a:gd name="T65" fmla="*/ 110 h 147"/>
                  <a:gd name="T66" fmla="*/ 110 w 101"/>
                  <a:gd name="T67" fmla="*/ 45 h 147"/>
                  <a:gd name="T68" fmla="*/ 117 w 101"/>
                  <a:gd name="T69" fmla="*/ 37 h 147"/>
                  <a:gd name="T70" fmla="*/ 121 w 101"/>
                  <a:gd name="T71" fmla="*/ 26 h 14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1"/>
                  <a:gd name="T109" fmla="*/ 0 h 147"/>
                  <a:gd name="T110" fmla="*/ 101 w 101"/>
                  <a:gd name="T111" fmla="*/ 147 h 14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1" h="147">
                    <a:moveTo>
                      <a:pt x="101" y="22"/>
                    </a:moveTo>
                    <a:cubicBezTo>
                      <a:pt x="100" y="22"/>
                      <a:pt x="97" y="23"/>
                      <a:pt x="96" y="22"/>
                    </a:cubicBezTo>
                    <a:cubicBezTo>
                      <a:pt x="93" y="21"/>
                      <a:pt x="93" y="16"/>
                      <a:pt x="90" y="16"/>
                    </a:cubicBezTo>
                    <a:cubicBezTo>
                      <a:pt x="85" y="16"/>
                      <a:pt x="82" y="19"/>
                      <a:pt x="78" y="22"/>
                    </a:cubicBezTo>
                    <a:cubicBezTo>
                      <a:pt x="77" y="23"/>
                      <a:pt x="78" y="28"/>
                      <a:pt x="76" y="28"/>
                    </a:cubicBezTo>
                    <a:lnTo>
                      <a:pt x="58" y="27"/>
                    </a:lnTo>
                    <a:cubicBezTo>
                      <a:pt x="52" y="26"/>
                      <a:pt x="49" y="18"/>
                      <a:pt x="44" y="15"/>
                    </a:cubicBezTo>
                    <a:cubicBezTo>
                      <a:pt x="41" y="14"/>
                      <a:pt x="38" y="15"/>
                      <a:pt x="36" y="14"/>
                    </a:cubicBezTo>
                    <a:cubicBezTo>
                      <a:pt x="33" y="14"/>
                      <a:pt x="30" y="14"/>
                      <a:pt x="29" y="12"/>
                    </a:cubicBezTo>
                    <a:cubicBezTo>
                      <a:pt x="27" y="9"/>
                      <a:pt x="30" y="5"/>
                      <a:pt x="28" y="2"/>
                    </a:cubicBezTo>
                    <a:cubicBezTo>
                      <a:pt x="27" y="0"/>
                      <a:pt x="23" y="1"/>
                      <a:pt x="21" y="0"/>
                    </a:cubicBezTo>
                    <a:lnTo>
                      <a:pt x="5" y="17"/>
                    </a:lnTo>
                    <a:cubicBezTo>
                      <a:pt x="6" y="19"/>
                      <a:pt x="6" y="20"/>
                      <a:pt x="7" y="22"/>
                    </a:cubicBezTo>
                    <a:cubicBezTo>
                      <a:pt x="8" y="23"/>
                      <a:pt x="10" y="23"/>
                      <a:pt x="11" y="24"/>
                    </a:cubicBezTo>
                    <a:cubicBezTo>
                      <a:pt x="12" y="27"/>
                      <a:pt x="11" y="30"/>
                      <a:pt x="12" y="33"/>
                    </a:cubicBezTo>
                    <a:cubicBezTo>
                      <a:pt x="13" y="36"/>
                      <a:pt x="17" y="39"/>
                      <a:pt x="18" y="42"/>
                    </a:cubicBezTo>
                    <a:cubicBezTo>
                      <a:pt x="19" y="46"/>
                      <a:pt x="20" y="50"/>
                      <a:pt x="19" y="53"/>
                    </a:cubicBezTo>
                    <a:cubicBezTo>
                      <a:pt x="18" y="57"/>
                      <a:pt x="15" y="59"/>
                      <a:pt x="13" y="62"/>
                    </a:cubicBezTo>
                    <a:cubicBezTo>
                      <a:pt x="11" y="65"/>
                      <a:pt x="7" y="69"/>
                      <a:pt x="5" y="72"/>
                    </a:cubicBezTo>
                    <a:cubicBezTo>
                      <a:pt x="3" y="77"/>
                      <a:pt x="2" y="83"/>
                      <a:pt x="0" y="89"/>
                    </a:cubicBezTo>
                    <a:lnTo>
                      <a:pt x="50" y="122"/>
                    </a:lnTo>
                    <a:lnTo>
                      <a:pt x="51" y="128"/>
                    </a:lnTo>
                    <a:lnTo>
                      <a:pt x="72" y="147"/>
                    </a:lnTo>
                    <a:cubicBezTo>
                      <a:pt x="72" y="145"/>
                      <a:pt x="72" y="144"/>
                      <a:pt x="73" y="142"/>
                    </a:cubicBezTo>
                    <a:cubicBezTo>
                      <a:pt x="73" y="140"/>
                      <a:pt x="74" y="138"/>
                      <a:pt x="75" y="136"/>
                    </a:cubicBezTo>
                    <a:cubicBezTo>
                      <a:pt x="77" y="133"/>
                      <a:pt x="78" y="130"/>
                      <a:pt x="80" y="127"/>
                    </a:cubicBezTo>
                    <a:cubicBezTo>
                      <a:pt x="81" y="124"/>
                      <a:pt x="82" y="122"/>
                      <a:pt x="83" y="120"/>
                    </a:cubicBezTo>
                    <a:cubicBezTo>
                      <a:pt x="83" y="118"/>
                      <a:pt x="81" y="116"/>
                      <a:pt x="83" y="115"/>
                    </a:cubicBezTo>
                    <a:cubicBezTo>
                      <a:pt x="84" y="113"/>
                      <a:pt x="86" y="115"/>
                      <a:pt x="88" y="114"/>
                    </a:cubicBezTo>
                    <a:cubicBezTo>
                      <a:pt x="89" y="113"/>
                      <a:pt x="89" y="110"/>
                      <a:pt x="91" y="109"/>
                    </a:cubicBezTo>
                    <a:cubicBezTo>
                      <a:pt x="92" y="107"/>
                      <a:pt x="94" y="106"/>
                      <a:pt x="95" y="105"/>
                    </a:cubicBezTo>
                    <a:cubicBezTo>
                      <a:pt x="96" y="104"/>
                      <a:pt x="98" y="103"/>
                      <a:pt x="100" y="102"/>
                    </a:cubicBezTo>
                    <a:lnTo>
                      <a:pt x="92" y="92"/>
                    </a:lnTo>
                    <a:lnTo>
                      <a:pt x="92" y="38"/>
                    </a:lnTo>
                    <a:lnTo>
                      <a:pt x="98" y="31"/>
                    </a:lnTo>
                    <a:cubicBezTo>
                      <a:pt x="101" y="29"/>
                      <a:pt x="100" y="25"/>
                      <a:pt x="101" y="22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4" name="Freeform 2575"/>
              <p:cNvSpPr>
                <a:spLocks noChangeAspect="1"/>
              </p:cNvSpPr>
              <p:nvPr/>
            </p:nvSpPr>
            <p:spPr bwMode="auto">
              <a:xfrm>
                <a:off x="5192818" y="3918878"/>
                <a:ext cx="140661" cy="159165"/>
              </a:xfrm>
              <a:custGeom>
                <a:avLst/>
                <a:gdLst>
                  <a:gd name="T0" fmla="*/ 62 w 71"/>
                  <a:gd name="T1" fmla="*/ 87 h 81"/>
                  <a:gd name="T2" fmla="*/ 56 w 71"/>
                  <a:gd name="T3" fmla="*/ 91 h 81"/>
                  <a:gd name="T4" fmla="*/ 41 w 71"/>
                  <a:gd name="T5" fmla="*/ 91 h 81"/>
                  <a:gd name="T6" fmla="*/ 23 w 71"/>
                  <a:gd name="T7" fmla="*/ 90 h 81"/>
                  <a:gd name="T8" fmla="*/ 13 w 71"/>
                  <a:gd name="T9" fmla="*/ 92 h 81"/>
                  <a:gd name="T10" fmla="*/ 7 w 71"/>
                  <a:gd name="T11" fmla="*/ 97 h 81"/>
                  <a:gd name="T12" fmla="*/ 0 w 71"/>
                  <a:gd name="T13" fmla="*/ 96 h 81"/>
                  <a:gd name="T14" fmla="*/ 1 w 71"/>
                  <a:gd name="T15" fmla="*/ 82 h 81"/>
                  <a:gd name="T16" fmla="*/ 2 w 71"/>
                  <a:gd name="T17" fmla="*/ 75 h 81"/>
                  <a:gd name="T18" fmla="*/ 6 w 71"/>
                  <a:gd name="T19" fmla="*/ 64 h 81"/>
                  <a:gd name="T20" fmla="*/ 10 w 71"/>
                  <a:gd name="T21" fmla="*/ 56 h 81"/>
                  <a:gd name="T22" fmla="*/ 13 w 71"/>
                  <a:gd name="T23" fmla="*/ 52 h 81"/>
                  <a:gd name="T24" fmla="*/ 15 w 71"/>
                  <a:gd name="T25" fmla="*/ 46 h 81"/>
                  <a:gd name="T26" fmla="*/ 21 w 71"/>
                  <a:gd name="T27" fmla="*/ 41 h 81"/>
                  <a:gd name="T28" fmla="*/ 27 w 71"/>
                  <a:gd name="T29" fmla="*/ 36 h 81"/>
                  <a:gd name="T30" fmla="*/ 19 w 71"/>
                  <a:gd name="T31" fmla="*/ 34 h 81"/>
                  <a:gd name="T32" fmla="*/ 22 w 71"/>
                  <a:gd name="T33" fmla="*/ 25 h 81"/>
                  <a:gd name="T34" fmla="*/ 17 w 71"/>
                  <a:gd name="T35" fmla="*/ 22 h 81"/>
                  <a:gd name="T36" fmla="*/ 19 w 71"/>
                  <a:gd name="T37" fmla="*/ 18 h 81"/>
                  <a:gd name="T38" fmla="*/ 17 w 71"/>
                  <a:gd name="T39" fmla="*/ 13 h 81"/>
                  <a:gd name="T40" fmla="*/ 21 w 71"/>
                  <a:gd name="T41" fmla="*/ 10 h 81"/>
                  <a:gd name="T42" fmla="*/ 29 w 71"/>
                  <a:gd name="T43" fmla="*/ 10 h 81"/>
                  <a:gd name="T44" fmla="*/ 35 w 71"/>
                  <a:gd name="T45" fmla="*/ 6 h 81"/>
                  <a:gd name="T46" fmla="*/ 39 w 71"/>
                  <a:gd name="T47" fmla="*/ 11 h 81"/>
                  <a:gd name="T48" fmla="*/ 44 w 71"/>
                  <a:gd name="T49" fmla="*/ 8 h 81"/>
                  <a:gd name="T50" fmla="*/ 52 w 71"/>
                  <a:gd name="T51" fmla="*/ 5 h 81"/>
                  <a:gd name="T52" fmla="*/ 56 w 71"/>
                  <a:gd name="T53" fmla="*/ 7 h 81"/>
                  <a:gd name="T54" fmla="*/ 62 w 71"/>
                  <a:gd name="T55" fmla="*/ 7 h 81"/>
                  <a:gd name="T56" fmla="*/ 68 w 71"/>
                  <a:gd name="T57" fmla="*/ 0 h 81"/>
                  <a:gd name="T58" fmla="*/ 70 w 71"/>
                  <a:gd name="T59" fmla="*/ 6 h 81"/>
                  <a:gd name="T60" fmla="*/ 75 w 71"/>
                  <a:gd name="T61" fmla="*/ 8 h 81"/>
                  <a:gd name="T62" fmla="*/ 76 w 71"/>
                  <a:gd name="T63" fmla="*/ 19 h 81"/>
                  <a:gd name="T64" fmla="*/ 84 w 71"/>
                  <a:gd name="T65" fmla="*/ 30 h 81"/>
                  <a:gd name="T66" fmla="*/ 85 w 71"/>
                  <a:gd name="T67" fmla="*/ 44 h 81"/>
                  <a:gd name="T68" fmla="*/ 78 w 71"/>
                  <a:gd name="T69" fmla="*/ 54 h 81"/>
                  <a:gd name="T70" fmla="*/ 68 w 71"/>
                  <a:gd name="T71" fmla="*/ 67 h 81"/>
                  <a:gd name="T72" fmla="*/ 62 w 71"/>
                  <a:gd name="T73" fmla="*/ 87 h 8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1"/>
                  <a:gd name="T112" fmla="*/ 0 h 81"/>
                  <a:gd name="T113" fmla="*/ 71 w 71"/>
                  <a:gd name="T114" fmla="*/ 81 h 8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1" h="81">
                    <a:moveTo>
                      <a:pt x="51" y="72"/>
                    </a:moveTo>
                    <a:cubicBezTo>
                      <a:pt x="49" y="73"/>
                      <a:pt x="48" y="74"/>
                      <a:pt x="46" y="75"/>
                    </a:cubicBezTo>
                    <a:cubicBezTo>
                      <a:pt x="42" y="76"/>
                      <a:pt x="38" y="76"/>
                      <a:pt x="34" y="75"/>
                    </a:cubicBezTo>
                    <a:cubicBezTo>
                      <a:pt x="29" y="75"/>
                      <a:pt x="24" y="74"/>
                      <a:pt x="19" y="74"/>
                    </a:cubicBezTo>
                    <a:cubicBezTo>
                      <a:pt x="16" y="74"/>
                      <a:pt x="14" y="76"/>
                      <a:pt x="11" y="76"/>
                    </a:cubicBezTo>
                    <a:cubicBezTo>
                      <a:pt x="10" y="77"/>
                      <a:pt x="9" y="80"/>
                      <a:pt x="6" y="80"/>
                    </a:cubicBezTo>
                    <a:cubicBezTo>
                      <a:pt x="4" y="81"/>
                      <a:pt x="2" y="80"/>
                      <a:pt x="0" y="79"/>
                    </a:cubicBezTo>
                    <a:cubicBezTo>
                      <a:pt x="0" y="75"/>
                      <a:pt x="1" y="72"/>
                      <a:pt x="1" y="68"/>
                    </a:cubicBezTo>
                    <a:cubicBezTo>
                      <a:pt x="1" y="66"/>
                      <a:pt x="1" y="64"/>
                      <a:pt x="2" y="62"/>
                    </a:cubicBezTo>
                    <a:cubicBezTo>
                      <a:pt x="3" y="59"/>
                      <a:pt x="4" y="56"/>
                      <a:pt x="5" y="53"/>
                    </a:cubicBezTo>
                    <a:cubicBezTo>
                      <a:pt x="6" y="50"/>
                      <a:pt x="6" y="48"/>
                      <a:pt x="8" y="46"/>
                    </a:cubicBezTo>
                    <a:cubicBezTo>
                      <a:pt x="8" y="44"/>
                      <a:pt x="10" y="44"/>
                      <a:pt x="11" y="43"/>
                    </a:cubicBezTo>
                    <a:cubicBezTo>
                      <a:pt x="12" y="41"/>
                      <a:pt x="11" y="39"/>
                      <a:pt x="12" y="38"/>
                    </a:cubicBezTo>
                    <a:cubicBezTo>
                      <a:pt x="13" y="36"/>
                      <a:pt x="15" y="35"/>
                      <a:pt x="17" y="34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1" y="28"/>
                      <a:pt x="17" y="29"/>
                      <a:pt x="16" y="28"/>
                    </a:cubicBezTo>
                    <a:cubicBezTo>
                      <a:pt x="15" y="26"/>
                      <a:pt x="18" y="24"/>
                      <a:pt x="18" y="21"/>
                    </a:cubicBezTo>
                    <a:cubicBezTo>
                      <a:pt x="17" y="20"/>
                      <a:pt x="14" y="20"/>
                      <a:pt x="14" y="18"/>
                    </a:cubicBezTo>
                    <a:cubicBezTo>
                      <a:pt x="14" y="17"/>
                      <a:pt x="16" y="16"/>
                      <a:pt x="16" y="15"/>
                    </a:cubicBezTo>
                    <a:cubicBezTo>
                      <a:pt x="17" y="14"/>
                      <a:pt x="15" y="12"/>
                      <a:pt x="14" y="11"/>
                    </a:cubicBezTo>
                    <a:cubicBezTo>
                      <a:pt x="15" y="10"/>
                      <a:pt x="15" y="8"/>
                      <a:pt x="17" y="8"/>
                    </a:cubicBezTo>
                    <a:cubicBezTo>
                      <a:pt x="19" y="7"/>
                      <a:pt x="22" y="8"/>
                      <a:pt x="24" y="8"/>
                    </a:cubicBezTo>
                    <a:cubicBezTo>
                      <a:pt x="26" y="7"/>
                      <a:pt x="27" y="4"/>
                      <a:pt x="29" y="5"/>
                    </a:cubicBezTo>
                    <a:cubicBezTo>
                      <a:pt x="31" y="5"/>
                      <a:pt x="30" y="9"/>
                      <a:pt x="32" y="9"/>
                    </a:cubicBezTo>
                    <a:cubicBezTo>
                      <a:pt x="33" y="10"/>
                      <a:pt x="34" y="7"/>
                      <a:pt x="36" y="7"/>
                    </a:cubicBezTo>
                    <a:cubicBezTo>
                      <a:pt x="38" y="5"/>
                      <a:pt x="40" y="4"/>
                      <a:pt x="43" y="4"/>
                    </a:cubicBezTo>
                    <a:cubicBezTo>
                      <a:pt x="44" y="4"/>
                      <a:pt x="45" y="6"/>
                      <a:pt x="46" y="6"/>
                    </a:cubicBezTo>
                    <a:cubicBezTo>
                      <a:pt x="48" y="6"/>
                      <a:pt x="50" y="7"/>
                      <a:pt x="51" y="6"/>
                    </a:cubicBezTo>
                    <a:cubicBezTo>
                      <a:pt x="54" y="5"/>
                      <a:pt x="55" y="2"/>
                      <a:pt x="56" y="0"/>
                    </a:cubicBezTo>
                    <a:cubicBezTo>
                      <a:pt x="57" y="2"/>
                      <a:pt x="57" y="3"/>
                      <a:pt x="58" y="5"/>
                    </a:cubicBezTo>
                    <a:cubicBezTo>
                      <a:pt x="59" y="6"/>
                      <a:pt x="61" y="6"/>
                      <a:pt x="62" y="7"/>
                    </a:cubicBezTo>
                    <a:cubicBezTo>
                      <a:pt x="63" y="10"/>
                      <a:pt x="62" y="13"/>
                      <a:pt x="63" y="16"/>
                    </a:cubicBezTo>
                    <a:cubicBezTo>
                      <a:pt x="64" y="19"/>
                      <a:pt x="68" y="22"/>
                      <a:pt x="69" y="25"/>
                    </a:cubicBezTo>
                    <a:cubicBezTo>
                      <a:pt x="70" y="29"/>
                      <a:pt x="71" y="33"/>
                      <a:pt x="70" y="36"/>
                    </a:cubicBezTo>
                    <a:cubicBezTo>
                      <a:pt x="69" y="40"/>
                      <a:pt x="66" y="42"/>
                      <a:pt x="64" y="45"/>
                    </a:cubicBezTo>
                    <a:cubicBezTo>
                      <a:pt x="62" y="48"/>
                      <a:pt x="58" y="52"/>
                      <a:pt x="56" y="55"/>
                    </a:cubicBezTo>
                    <a:cubicBezTo>
                      <a:pt x="54" y="60"/>
                      <a:pt x="53" y="66"/>
                      <a:pt x="51" y="72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5" name="Freeform 2576"/>
              <p:cNvSpPr>
                <a:spLocks noChangeAspect="1"/>
              </p:cNvSpPr>
              <p:nvPr/>
            </p:nvSpPr>
            <p:spPr bwMode="auto">
              <a:xfrm>
                <a:off x="5271326" y="3613541"/>
                <a:ext cx="379456" cy="328075"/>
              </a:xfrm>
              <a:custGeom>
                <a:avLst/>
                <a:gdLst>
                  <a:gd name="T0" fmla="*/ 139 w 193"/>
                  <a:gd name="T1" fmla="*/ 55 h 168"/>
                  <a:gd name="T2" fmla="*/ 135 w 193"/>
                  <a:gd name="T3" fmla="*/ 72 h 168"/>
                  <a:gd name="T4" fmla="*/ 144 w 193"/>
                  <a:gd name="T5" fmla="*/ 72 h 168"/>
                  <a:gd name="T6" fmla="*/ 145 w 193"/>
                  <a:gd name="T7" fmla="*/ 83 h 168"/>
                  <a:gd name="T8" fmla="*/ 157 w 193"/>
                  <a:gd name="T9" fmla="*/ 99 h 168"/>
                  <a:gd name="T10" fmla="*/ 214 w 193"/>
                  <a:gd name="T11" fmla="*/ 125 h 168"/>
                  <a:gd name="T12" fmla="*/ 184 w 193"/>
                  <a:gd name="T13" fmla="*/ 177 h 168"/>
                  <a:gd name="T14" fmla="*/ 150 w 193"/>
                  <a:gd name="T15" fmla="*/ 185 h 168"/>
                  <a:gd name="T16" fmla="*/ 129 w 193"/>
                  <a:gd name="T17" fmla="*/ 195 h 168"/>
                  <a:gd name="T18" fmla="*/ 107 w 193"/>
                  <a:gd name="T19" fmla="*/ 195 h 168"/>
                  <a:gd name="T20" fmla="*/ 83 w 193"/>
                  <a:gd name="T21" fmla="*/ 201 h 168"/>
                  <a:gd name="T22" fmla="*/ 56 w 193"/>
                  <a:gd name="T23" fmla="*/ 185 h 168"/>
                  <a:gd name="T24" fmla="*/ 47 w 193"/>
                  <a:gd name="T25" fmla="*/ 171 h 168"/>
                  <a:gd name="T26" fmla="*/ 35 w 193"/>
                  <a:gd name="T27" fmla="*/ 162 h 168"/>
                  <a:gd name="T28" fmla="*/ 24 w 193"/>
                  <a:gd name="T29" fmla="*/ 141 h 168"/>
                  <a:gd name="T30" fmla="*/ 2 w 193"/>
                  <a:gd name="T31" fmla="*/ 127 h 168"/>
                  <a:gd name="T32" fmla="*/ 13 w 193"/>
                  <a:gd name="T33" fmla="*/ 117 h 168"/>
                  <a:gd name="T34" fmla="*/ 19 w 193"/>
                  <a:gd name="T35" fmla="*/ 100 h 168"/>
                  <a:gd name="T36" fmla="*/ 19 w 193"/>
                  <a:gd name="T37" fmla="*/ 81 h 168"/>
                  <a:gd name="T38" fmla="*/ 28 w 193"/>
                  <a:gd name="T39" fmla="*/ 77 h 168"/>
                  <a:gd name="T40" fmla="*/ 32 w 193"/>
                  <a:gd name="T41" fmla="*/ 55 h 168"/>
                  <a:gd name="T42" fmla="*/ 41 w 193"/>
                  <a:gd name="T43" fmla="*/ 41 h 168"/>
                  <a:gd name="T44" fmla="*/ 49 w 193"/>
                  <a:gd name="T45" fmla="*/ 35 h 168"/>
                  <a:gd name="T46" fmla="*/ 53 w 193"/>
                  <a:gd name="T47" fmla="*/ 19 h 168"/>
                  <a:gd name="T48" fmla="*/ 63 w 193"/>
                  <a:gd name="T49" fmla="*/ 14 h 168"/>
                  <a:gd name="T50" fmla="*/ 71 w 193"/>
                  <a:gd name="T51" fmla="*/ 16 h 168"/>
                  <a:gd name="T52" fmla="*/ 79 w 193"/>
                  <a:gd name="T53" fmla="*/ 7 h 168"/>
                  <a:gd name="T54" fmla="*/ 90 w 193"/>
                  <a:gd name="T55" fmla="*/ 10 h 168"/>
                  <a:gd name="T56" fmla="*/ 99 w 193"/>
                  <a:gd name="T57" fmla="*/ 11 h 168"/>
                  <a:gd name="T58" fmla="*/ 120 w 193"/>
                  <a:gd name="T59" fmla="*/ 18 h 168"/>
                  <a:gd name="T60" fmla="*/ 136 w 193"/>
                  <a:gd name="T61" fmla="*/ 36 h 168"/>
                  <a:gd name="T62" fmla="*/ 143 w 193"/>
                  <a:gd name="T63" fmla="*/ 47 h 16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3"/>
                  <a:gd name="T97" fmla="*/ 0 h 168"/>
                  <a:gd name="T98" fmla="*/ 193 w 193"/>
                  <a:gd name="T99" fmla="*/ 168 h 16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3" h="168">
                    <a:moveTo>
                      <a:pt x="119" y="39"/>
                    </a:moveTo>
                    <a:cubicBezTo>
                      <a:pt x="118" y="41"/>
                      <a:pt x="117" y="44"/>
                      <a:pt x="116" y="46"/>
                    </a:cubicBezTo>
                    <a:cubicBezTo>
                      <a:pt x="115" y="48"/>
                      <a:pt x="113" y="50"/>
                      <a:pt x="112" y="52"/>
                    </a:cubicBezTo>
                    <a:cubicBezTo>
                      <a:pt x="112" y="55"/>
                      <a:pt x="112" y="57"/>
                      <a:pt x="112" y="60"/>
                    </a:cubicBezTo>
                    <a:cubicBezTo>
                      <a:pt x="113" y="61"/>
                      <a:pt x="114" y="62"/>
                      <a:pt x="115" y="62"/>
                    </a:cubicBezTo>
                    <a:cubicBezTo>
                      <a:pt x="117" y="62"/>
                      <a:pt x="118" y="60"/>
                      <a:pt x="120" y="60"/>
                    </a:cubicBezTo>
                    <a:cubicBezTo>
                      <a:pt x="122" y="60"/>
                      <a:pt x="124" y="60"/>
                      <a:pt x="126" y="60"/>
                    </a:cubicBezTo>
                    <a:cubicBezTo>
                      <a:pt x="124" y="63"/>
                      <a:pt x="120" y="66"/>
                      <a:pt x="121" y="69"/>
                    </a:cubicBezTo>
                    <a:cubicBezTo>
                      <a:pt x="122" y="73"/>
                      <a:pt x="127" y="74"/>
                      <a:pt x="129" y="77"/>
                    </a:cubicBezTo>
                    <a:cubicBezTo>
                      <a:pt x="130" y="78"/>
                      <a:pt x="130" y="80"/>
                      <a:pt x="131" y="82"/>
                    </a:cubicBezTo>
                    <a:cubicBezTo>
                      <a:pt x="133" y="84"/>
                      <a:pt x="134" y="87"/>
                      <a:pt x="137" y="88"/>
                    </a:cubicBezTo>
                    <a:lnTo>
                      <a:pt x="178" y="104"/>
                    </a:lnTo>
                    <a:cubicBezTo>
                      <a:pt x="182" y="105"/>
                      <a:pt x="193" y="99"/>
                      <a:pt x="190" y="102"/>
                    </a:cubicBezTo>
                    <a:lnTo>
                      <a:pt x="153" y="147"/>
                    </a:lnTo>
                    <a:cubicBezTo>
                      <a:pt x="150" y="151"/>
                      <a:pt x="143" y="147"/>
                      <a:pt x="139" y="148"/>
                    </a:cubicBezTo>
                    <a:cubicBezTo>
                      <a:pt x="134" y="149"/>
                      <a:pt x="130" y="152"/>
                      <a:pt x="125" y="154"/>
                    </a:cubicBezTo>
                    <a:cubicBezTo>
                      <a:pt x="121" y="156"/>
                      <a:pt x="116" y="160"/>
                      <a:pt x="112" y="162"/>
                    </a:cubicBezTo>
                    <a:cubicBezTo>
                      <a:pt x="111" y="162"/>
                      <a:pt x="108" y="163"/>
                      <a:pt x="107" y="162"/>
                    </a:cubicBezTo>
                    <a:cubicBezTo>
                      <a:pt x="104" y="161"/>
                      <a:pt x="104" y="156"/>
                      <a:pt x="101" y="156"/>
                    </a:cubicBezTo>
                    <a:cubicBezTo>
                      <a:pt x="96" y="156"/>
                      <a:pt x="93" y="159"/>
                      <a:pt x="89" y="162"/>
                    </a:cubicBezTo>
                    <a:cubicBezTo>
                      <a:pt x="88" y="163"/>
                      <a:pt x="89" y="168"/>
                      <a:pt x="87" y="168"/>
                    </a:cubicBezTo>
                    <a:lnTo>
                      <a:pt x="69" y="167"/>
                    </a:lnTo>
                    <a:cubicBezTo>
                      <a:pt x="63" y="166"/>
                      <a:pt x="60" y="158"/>
                      <a:pt x="55" y="155"/>
                    </a:cubicBezTo>
                    <a:cubicBezTo>
                      <a:pt x="52" y="154"/>
                      <a:pt x="49" y="155"/>
                      <a:pt x="47" y="154"/>
                    </a:cubicBezTo>
                    <a:cubicBezTo>
                      <a:pt x="44" y="154"/>
                      <a:pt x="41" y="154"/>
                      <a:pt x="40" y="152"/>
                    </a:cubicBezTo>
                    <a:cubicBezTo>
                      <a:pt x="38" y="149"/>
                      <a:pt x="41" y="145"/>
                      <a:pt x="39" y="142"/>
                    </a:cubicBezTo>
                    <a:cubicBezTo>
                      <a:pt x="38" y="140"/>
                      <a:pt x="34" y="141"/>
                      <a:pt x="32" y="140"/>
                    </a:cubicBezTo>
                    <a:cubicBezTo>
                      <a:pt x="31" y="138"/>
                      <a:pt x="29" y="137"/>
                      <a:pt x="29" y="135"/>
                    </a:cubicBezTo>
                    <a:cubicBezTo>
                      <a:pt x="27" y="132"/>
                      <a:pt x="28" y="128"/>
                      <a:pt x="26" y="125"/>
                    </a:cubicBezTo>
                    <a:cubicBezTo>
                      <a:pt x="25" y="122"/>
                      <a:pt x="22" y="120"/>
                      <a:pt x="20" y="117"/>
                    </a:cubicBezTo>
                    <a:cubicBezTo>
                      <a:pt x="17" y="114"/>
                      <a:pt x="16" y="109"/>
                      <a:pt x="12" y="107"/>
                    </a:cubicBezTo>
                    <a:cubicBezTo>
                      <a:pt x="9" y="105"/>
                      <a:pt x="5" y="108"/>
                      <a:pt x="2" y="106"/>
                    </a:cubicBezTo>
                    <a:cubicBezTo>
                      <a:pt x="0" y="104"/>
                      <a:pt x="1" y="100"/>
                      <a:pt x="3" y="98"/>
                    </a:cubicBezTo>
                    <a:cubicBezTo>
                      <a:pt x="5" y="96"/>
                      <a:pt x="9" y="98"/>
                      <a:pt x="11" y="97"/>
                    </a:cubicBezTo>
                    <a:cubicBezTo>
                      <a:pt x="13" y="97"/>
                      <a:pt x="16" y="97"/>
                      <a:pt x="16" y="96"/>
                    </a:cubicBezTo>
                    <a:cubicBezTo>
                      <a:pt x="18" y="92"/>
                      <a:pt x="15" y="87"/>
                      <a:pt x="16" y="83"/>
                    </a:cubicBezTo>
                    <a:cubicBezTo>
                      <a:pt x="16" y="79"/>
                      <a:pt x="18" y="75"/>
                      <a:pt x="18" y="71"/>
                    </a:cubicBezTo>
                    <a:cubicBezTo>
                      <a:pt x="18" y="70"/>
                      <a:pt x="16" y="69"/>
                      <a:pt x="16" y="67"/>
                    </a:cubicBezTo>
                    <a:cubicBezTo>
                      <a:pt x="16" y="65"/>
                      <a:pt x="17" y="64"/>
                      <a:pt x="19" y="63"/>
                    </a:cubicBezTo>
                    <a:cubicBezTo>
                      <a:pt x="20" y="63"/>
                      <a:pt x="21" y="64"/>
                      <a:pt x="23" y="64"/>
                    </a:cubicBezTo>
                    <a:cubicBezTo>
                      <a:pt x="24" y="64"/>
                      <a:pt x="26" y="65"/>
                      <a:pt x="26" y="64"/>
                    </a:cubicBezTo>
                    <a:cubicBezTo>
                      <a:pt x="27" y="58"/>
                      <a:pt x="25" y="52"/>
                      <a:pt x="27" y="46"/>
                    </a:cubicBezTo>
                    <a:cubicBezTo>
                      <a:pt x="27" y="44"/>
                      <a:pt x="30" y="44"/>
                      <a:pt x="31" y="43"/>
                    </a:cubicBezTo>
                    <a:cubicBezTo>
                      <a:pt x="32" y="40"/>
                      <a:pt x="32" y="36"/>
                      <a:pt x="34" y="34"/>
                    </a:cubicBezTo>
                    <a:cubicBezTo>
                      <a:pt x="36" y="32"/>
                      <a:pt x="39" y="33"/>
                      <a:pt x="41" y="32"/>
                    </a:cubicBezTo>
                    <a:cubicBezTo>
                      <a:pt x="42" y="31"/>
                      <a:pt x="40" y="30"/>
                      <a:pt x="41" y="29"/>
                    </a:cubicBezTo>
                    <a:cubicBezTo>
                      <a:pt x="42" y="26"/>
                      <a:pt x="44" y="24"/>
                      <a:pt x="44" y="22"/>
                    </a:cubicBezTo>
                    <a:cubicBezTo>
                      <a:pt x="45" y="20"/>
                      <a:pt x="43" y="18"/>
                      <a:pt x="44" y="16"/>
                    </a:cubicBezTo>
                    <a:cubicBezTo>
                      <a:pt x="44" y="14"/>
                      <a:pt x="46" y="13"/>
                      <a:pt x="47" y="12"/>
                    </a:cubicBezTo>
                    <a:cubicBezTo>
                      <a:pt x="48" y="12"/>
                      <a:pt x="50" y="12"/>
                      <a:pt x="52" y="12"/>
                    </a:cubicBezTo>
                    <a:cubicBezTo>
                      <a:pt x="53" y="12"/>
                      <a:pt x="54" y="9"/>
                      <a:pt x="55" y="9"/>
                    </a:cubicBezTo>
                    <a:cubicBezTo>
                      <a:pt x="57" y="9"/>
                      <a:pt x="58" y="15"/>
                      <a:pt x="59" y="13"/>
                    </a:cubicBezTo>
                    <a:cubicBezTo>
                      <a:pt x="62" y="11"/>
                      <a:pt x="60" y="5"/>
                      <a:pt x="62" y="2"/>
                    </a:cubicBezTo>
                    <a:cubicBezTo>
                      <a:pt x="63" y="0"/>
                      <a:pt x="64" y="5"/>
                      <a:pt x="66" y="6"/>
                    </a:cubicBezTo>
                    <a:cubicBezTo>
                      <a:pt x="67" y="7"/>
                      <a:pt x="68" y="8"/>
                      <a:pt x="69" y="9"/>
                    </a:cubicBezTo>
                    <a:cubicBezTo>
                      <a:pt x="71" y="9"/>
                      <a:pt x="73" y="8"/>
                      <a:pt x="75" y="8"/>
                    </a:cubicBezTo>
                    <a:cubicBezTo>
                      <a:pt x="76" y="8"/>
                      <a:pt x="77" y="6"/>
                      <a:pt x="78" y="6"/>
                    </a:cubicBezTo>
                    <a:cubicBezTo>
                      <a:pt x="79" y="6"/>
                      <a:pt x="80" y="8"/>
                      <a:pt x="82" y="9"/>
                    </a:cubicBezTo>
                    <a:cubicBezTo>
                      <a:pt x="86" y="10"/>
                      <a:pt x="89" y="9"/>
                      <a:pt x="93" y="10"/>
                    </a:cubicBezTo>
                    <a:cubicBezTo>
                      <a:pt x="95" y="11"/>
                      <a:pt x="98" y="13"/>
                      <a:pt x="100" y="15"/>
                    </a:cubicBezTo>
                    <a:cubicBezTo>
                      <a:pt x="102" y="17"/>
                      <a:pt x="102" y="20"/>
                      <a:pt x="104" y="22"/>
                    </a:cubicBezTo>
                    <a:cubicBezTo>
                      <a:pt x="107" y="25"/>
                      <a:pt x="110" y="27"/>
                      <a:pt x="113" y="30"/>
                    </a:cubicBezTo>
                    <a:cubicBezTo>
                      <a:pt x="114" y="31"/>
                      <a:pt x="114" y="33"/>
                      <a:pt x="115" y="35"/>
                    </a:cubicBezTo>
                    <a:cubicBezTo>
                      <a:pt x="116" y="36"/>
                      <a:pt x="118" y="38"/>
                      <a:pt x="119" y="39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6" name="Freeform 2577"/>
              <p:cNvSpPr>
                <a:spLocks noChangeAspect="1"/>
              </p:cNvSpPr>
              <p:nvPr/>
            </p:nvSpPr>
            <p:spPr bwMode="auto">
              <a:xfrm>
                <a:off x="5492130" y="3683378"/>
                <a:ext cx="42525" cy="50349"/>
              </a:xfrm>
              <a:custGeom>
                <a:avLst/>
                <a:gdLst>
                  <a:gd name="T0" fmla="*/ 17 w 22"/>
                  <a:gd name="T1" fmla="*/ 29 h 26"/>
                  <a:gd name="T2" fmla="*/ 9 w 22"/>
                  <a:gd name="T3" fmla="*/ 29 h 26"/>
                  <a:gd name="T4" fmla="*/ 4 w 22"/>
                  <a:gd name="T5" fmla="*/ 31 h 26"/>
                  <a:gd name="T6" fmla="*/ 0 w 22"/>
                  <a:gd name="T7" fmla="*/ 29 h 26"/>
                  <a:gd name="T8" fmla="*/ 0 w 22"/>
                  <a:gd name="T9" fmla="*/ 19 h 26"/>
                  <a:gd name="T10" fmla="*/ 5 w 22"/>
                  <a:gd name="T11" fmla="*/ 12 h 26"/>
                  <a:gd name="T12" fmla="*/ 8 w 22"/>
                  <a:gd name="T13" fmla="*/ 4 h 26"/>
                  <a:gd name="T14" fmla="*/ 14 w 22"/>
                  <a:gd name="T15" fmla="*/ 5 h 26"/>
                  <a:gd name="T16" fmla="*/ 17 w 22"/>
                  <a:gd name="T17" fmla="*/ 1 h 26"/>
                  <a:gd name="T18" fmla="*/ 20 w 22"/>
                  <a:gd name="T19" fmla="*/ 1 h 26"/>
                  <a:gd name="T20" fmla="*/ 22 w 22"/>
                  <a:gd name="T21" fmla="*/ 6 h 26"/>
                  <a:gd name="T22" fmla="*/ 25 w 22"/>
                  <a:gd name="T23" fmla="*/ 12 h 26"/>
                  <a:gd name="T24" fmla="*/ 18 w 22"/>
                  <a:gd name="T25" fmla="*/ 16 h 26"/>
                  <a:gd name="T26" fmla="*/ 9 w 22"/>
                  <a:gd name="T27" fmla="*/ 23 h 26"/>
                  <a:gd name="T28" fmla="*/ 18 w 22"/>
                  <a:gd name="T29" fmla="*/ 21 h 26"/>
                  <a:gd name="T30" fmla="*/ 24 w 22"/>
                  <a:gd name="T31" fmla="*/ 24 h 26"/>
                  <a:gd name="T32" fmla="*/ 20 w 22"/>
                  <a:gd name="T33" fmla="*/ 26 h 26"/>
                  <a:gd name="T34" fmla="*/ 17 w 22"/>
                  <a:gd name="T35" fmla="*/ 29 h 2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2"/>
                  <a:gd name="T55" fmla="*/ 0 h 26"/>
                  <a:gd name="T56" fmla="*/ 22 w 22"/>
                  <a:gd name="T57" fmla="*/ 26 h 2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2" h="26">
                    <a:moveTo>
                      <a:pt x="14" y="24"/>
                    </a:moveTo>
                    <a:cubicBezTo>
                      <a:pt x="12" y="24"/>
                      <a:pt x="10" y="24"/>
                      <a:pt x="8" y="24"/>
                    </a:cubicBezTo>
                    <a:cubicBezTo>
                      <a:pt x="6" y="24"/>
                      <a:pt x="5" y="26"/>
                      <a:pt x="3" y="26"/>
                    </a:cubicBezTo>
                    <a:cubicBezTo>
                      <a:pt x="2" y="26"/>
                      <a:pt x="1" y="25"/>
                      <a:pt x="0" y="24"/>
                    </a:cubicBezTo>
                    <a:cubicBezTo>
                      <a:pt x="0" y="21"/>
                      <a:pt x="0" y="19"/>
                      <a:pt x="0" y="16"/>
                    </a:cubicBezTo>
                    <a:cubicBezTo>
                      <a:pt x="1" y="14"/>
                      <a:pt x="3" y="12"/>
                      <a:pt x="4" y="10"/>
                    </a:cubicBezTo>
                    <a:cubicBezTo>
                      <a:pt x="5" y="8"/>
                      <a:pt x="6" y="5"/>
                      <a:pt x="7" y="3"/>
                    </a:cubicBezTo>
                    <a:cubicBezTo>
                      <a:pt x="9" y="3"/>
                      <a:pt x="10" y="5"/>
                      <a:pt x="12" y="4"/>
                    </a:cubicBezTo>
                    <a:cubicBezTo>
                      <a:pt x="13" y="4"/>
                      <a:pt x="13" y="2"/>
                      <a:pt x="14" y="1"/>
                    </a:cubicBezTo>
                    <a:cubicBezTo>
                      <a:pt x="14" y="0"/>
                      <a:pt x="16" y="1"/>
                      <a:pt x="17" y="1"/>
                    </a:cubicBezTo>
                    <a:cubicBezTo>
                      <a:pt x="18" y="2"/>
                      <a:pt x="18" y="4"/>
                      <a:pt x="19" y="5"/>
                    </a:cubicBezTo>
                    <a:cubicBezTo>
                      <a:pt x="20" y="6"/>
                      <a:pt x="22" y="8"/>
                      <a:pt x="21" y="10"/>
                    </a:cubicBezTo>
                    <a:cubicBezTo>
                      <a:pt x="20" y="12"/>
                      <a:pt x="17" y="12"/>
                      <a:pt x="15" y="13"/>
                    </a:cubicBezTo>
                    <a:cubicBezTo>
                      <a:pt x="12" y="15"/>
                      <a:pt x="8" y="16"/>
                      <a:pt x="8" y="19"/>
                    </a:cubicBezTo>
                    <a:cubicBezTo>
                      <a:pt x="8" y="21"/>
                      <a:pt x="12" y="18"/>
                      <a:pt x="15" y="18"/>
                    </a:cubicBezTo>
                    <a:cubicBezTo>
                      <a:pt x="16" y="19"/>
                      <a:pt x="18" y="19"/>
                      <a:pt x="20" y="20"/>
                    </a:cubicBezTo>
                    <a:cubicBezTo>
                      <a:pt x="19" y="21"/>
                      <a:pt x="18" y="21"/>
                      <a:pt x="17" y="22"/>
                    </a:cubicBezTo>
                    <a:cubicBezTo>
                      <a:pt x="16" y="23"/>
                      <a:pt x="15" y="24"/>
                      <a:pt x="14" y="24"/>
                    </a:cubicBezTo>
                    <a:close/>
                  </a:path>
                </a:pathLst>
              </a:custGeom>
              <a:pattFill prst="wdUpDiag">
                <a:fgClr>
                  <a:srgbClr val="FFFF66"/>
                </a:fgClr>
                <a:bgClr>
                  <a:srgbClr val="6CF834"/>
                </a:bgClr>
              </a:patt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7" name="Freeform 2578"/>
              <p:cNvSpPr>
                <a:spLocks noChangeAspect="1"/>
              </p:cNvSpPr>
              <p:nvPr/>
            </p:nvSpPr>
            <p:spPr bwMode="auto">
              <a:xfrm>
                <a:off x="5356377" y="3533958"/>
                <a:ext cx="168466" cy="159165"/>
              </a:xfrm>
              <a:custGeom>
                <a:avLst/>
                <a:gdLst>
                  <a:gd name="T0" fmla="*/ 103 w 86"/>
                  <a:gd name="T1" fmla="*/ 93 h 82"/>
                  <a:gd name="T2" fmla="*/ 98 w 86"/>
                  <a:gd name="T3" fmla="*/ 88 h 82"/>
                  <a:gd name="T4" fmla="*/ 92 w 86"/>
                  <a:gd name="T5" fmla="*/ 81 h 82"/>
                  <a:gd name="T6" fmla="*/ 90 w 86"/>
                  <a:gd name="T7" fmla="*/ 78 h 82"/>
                  <a:gd name="T8" fmla="*/ 80 w 86"/>
                  <a:gd name="T9" fmla="*/ 69 h 82"/>
                  <a:gd name="T10" fmla="*/ 73 w 86"/>
                  <a:gd name="T11" fmla="*/ 60 h 82"/>
                  <a:gd name="T12" fmla="*/ 67 w 86"/>
                  <a:gd name="T13" fmla="*/ 56 h 82"/>
                  <a:gd name="T14" fmla="*/ 65 w 86"/>
                  <a:gd name="T15" fmla="*/ 53 h 82"/>
                  <a:gd name="T16" fmla="*/ 60 w 86"/>
                  <a:gd name="T17" fmla="*/ 53 h 82"/>
                  <a:gd name="T18" fmla="*/ 55 w 86"/>
                  <a:gd name="T19" fmla="*/ 50 h 82"/>
                  <a:gd name="T20" fmla="*/ 52 w 86"/>
                  <a:gd name="T21" fmla="*/ 44 h 82"/>
                  <a:gd name="T22" fmla="*/ 48 w 86"/>
                  <a:gd name="T23" fmla="*/ 48 h 82"/>
                  <a:gd name="T24" fmla="*/ 44 w 86"/>
                  <a:gd name="T25" fmla="*/ 39 h 82"/>
                  <a:gd name="T26" fmla="*/ 42 w 86"/>
                  <a:gd name="T27" fmla="*/ 30 h 82"/>
                  <a:gd name="T28" fmla="*/ 38 w 86"/>
                  <a:gd name="T29" fmla="*/ 17 h 82"/>
                  <a:gd name="T30" fmla="*/ 34 w 86"/>
                  <a:gd name="T31" fmla="*/ 0 h 82"/>
                  <a:gd name="T32" fmla="*/ 26 w 86"/>
                  <a:gd name="T33" fmla="*/ 4 h 82"/>
                  <a:gd name="T34" fmla="*/ 22 w 86"/>
                  <a:gd name="T35" fmla="*/ 7 h 82"/>
                  <a:gd name="T36" fmla="*/ 17 w 86"/>
                  <a:gd name="T37" fmla="*/ 5 h 82"/>
                  <a:gd name="T38" fmla="*/ 14 w 86"/>
                  <a:gd name="T39" fmla="*/ 12 h 82"/>
                  <a:gd name="T40" fmla="*/ 8 w 86"/>
                  <a:gd name="T41" fmla="*/ 12 h 82"/>
                  <a:gd name="T42" fmla="*/ 7 w 86"/>
                  <a:gd name="T43" fmla="*/ 18 h 82"/>
                  <a:gd name="T44" fmla="*/ 5 w 86"/>
                  <a:gd name="T45" fmla="*/ 23 h 82"/>
                  <a:gd name="T46" fmla="*/ 8 w 86"/>
                  <a:gd name="T47" fmla="*/ 27 h 82"/>
                  <a:gd name="T48" fmla="*/ 5 w 86"/>
                  <a:gd name="T49" fmla="*/ 38 h 82"/>
                  <a:gd name="T50" fmla="*/ 1 w 86"/>
                  <a:gd name="T51" fmla="*/ 45 h 82"/>
                  <a:gd name="T52" fmla="*/ 2 w 86"/>
                  <a:gd name="T53" fmla="*/ 57 h 82"/>
                  <a:gd name="T54" fmla="*/ 5 w 86"/>
                  <a:gd name="T55" fmla="*/ 63 h 82"/>
                  <a:gd name="T56" fmla="*/ 11 w 86"/>
                  <a:gd name="T57" fmla="*/ 63 h 82"/>
                  <a:gd name="T58" fmla="*/ 14 w 86"/>
                  <a:gd name="T59" fmla="*/ 60 h 82"/>
                  <a:gd name="T60" fmla="*/ 19 w 86"/>
                  <a:gd name="T61" fmla="*/ 65 h 82"/>
                  <a:gd name="T62" fmla="*/ 23 w 86"/>
                  <a:gd name="T63" fmla="*/ 51 h 82"/>
                  <a:gd name="T64" fmla="*/ 28 w 86"/>
                  <a:gd name="T65" fmla="*/ 56 h 82"/>
                  <a:gd name="T66" fmla="*/ 31 w 86"/>
                  <a:gd name="T67" fmla="*/ 60 h 82"/>
                  <a:gd name="T68" fmla="*/ 38 w 86"/>
                  <a:gd name="T69" fmla="*/ 59 h 82"/>
                  <a:gd name="T70" fmla="*/ 42 w 86"/>
                  <a:gd name="T71" fmla="*/ 56 h 82"/>
                  <a:gd name="T72" fmla="*/ 47 w 86"/>
                  <a:gd name="T73" fmla="*/ 60 h 82"/>
                  <a:gd name="T74" fmla="*/ 60 w 86"/>
                  <a:gd name="T75" fmla="*/ 61 h 82"/>
                  <a:gd name="T76" fmla="*/ 68 w 86"/>
                  <a:gd name="T77" fmla="*/ 67 h 82"/>
                  <a:gd name="T78" fmla="*/ 73 w 86"/>
                  <a:gd name="T79" fmla="*/ 75 h 82"/>
                  <a:gd name="T80" fmla="*/ 84 w 86"/>
                  <a:gd name="T81" fmla="*/ 85 h 82"/>
                  <a:gd name="T82" fmla="*/ 86 w 86"/>
                  <a:gd name="T83" fmla="*/ 91 h 82"/>
                  <a:gd name="T84" fmla="*/ 91 w 86"/>
                  <a:gd name="T85" fmla="*/ 96 h 82"/>
                  <a:gd name="T86" fmla="*/ 97 w 86"/>
                  <a:gd name="T87" fmla="*/ 97 h 82"/>
                  <a:gd name="T88" fmla="*/ 99 w 86"/>
                  <a:gd name="T89" fmla="*/ 93 h 82"/>
                  <a:gd name="T90" fmla="*/ 103 w 86"/>
                  <a:gd name="T91" fmla="*/ 93 h 8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6"/>
                  <a:gd name="T139" fmla="*/ 0 h 82"/>
                  <a:gd name="T140" fmla="*/ 86 w 86"/>
                  <a:gd name="T141" fmla="*/ 82 h 8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6" h="82">
                    <a:moveTo>
                      <a:pt x="86" y="78"/>
                    </a:moveTo>
                    <a:cubicBezTo>
                      <a:pt x="85" y="77"/>
                      <a:pt x="83" y="76"/>
                      <a:pt x="82" y="74"/>
                    </a:cubicBezTo>
                    <a:cubicBezTo>
                      <a:pt x="80" y="72"/>
                      <a:pt x="79" y="70"/>
                      <a:pt x="77" y="68"/>
                    </a:cubicBezTo>
                    <a:cubicBezTo>
                      <a:pt x="77" y="67"/>
                      <a:pt x="76" y="66"/>
                      <a:pt x="75" y="65"/>
                    </a:cubicBezTo>
                    <a:cubicBezTo>
                      <a:pt x="73" y="62"/>
                      <a:pt x="69" y="61"/>
                      <a:pt x="67" y="58"/>
                    </a:cubicBezTo>
                    <a:cubicBezTo>
                      <a:pt x="65" y="56"/>
                      <a:pt x="64" y="53"/>
                      <a:pt x="61" y="50"/>
                    </a:cubicBezTo>
                    <a:cubicBezTo>
                      <a:pt x="60" y="49"/>
                      <a:pt x="58" y="49"/>
                      <a:pt x="56" y="47"/>
                    </a:cubicBezTo>
                    <a:cubicBezTo>
                      <a:pt x="55" y="46"/>
                      <a:pt x="55" y="45"/>
                      <a:pt x="54" y="44"/>
                    </a:cubicBezTo>
                    <a:cubicBezTo>
                      <a:pt x="53" y="43"/>
                      <a:pt x="51" y="45"/>
                      <a:pt x="50" y="44"/>
                    </a:cubicBezTo>
                    <a:cubicBezTo>
                      <a:pt x="48" y="44"/>
                      <a:pt x="47" y="43"/>
                      <a:pt x="46" y="42"/>
                    </a:cubicBezTo>
                    <a:cubicBezTo>
                      <a:pt x="45" y="41"/>
                      <a:pt x="45" y="38"/>
                      <a:pt x="43" y="37"/>
                    </a:cubicBezTo>
                    <a:cubicBezTo>
                      <a:pt x="42" y="37"/>
                      <a:pt x="41" y="41"/>
                      <a:pt x="40" y="40"/>
                    </a:cubicBezTo>
                    <a:cubicBezTo>
                      <a:pt x="38" y="39"/>
                      <a:pt x="38" y="36"/>
                      <a:pt x="37" y="33"/>
                    </a:cubicBezTo>
                    <a:cubicBezTo>
                      <a:pt x="37" y="31"/>
                      <a:pt x="36" y="28"/>
                      <a:pt x="35" y="25"/>
                    </a:cubicBezTo>
                    <a:cubicBezTo>
                      <a:pt x="34" y="21"/>
                      <a:pt x="33" y="17"/>
                      <a:pt x="32" y="14"/>
                    </a:cubicBezTo>
                    <a:cubicBezTo>
                      <a:pt x="31" y="9"/>
                      <a:pt x="29" y="4"/>
                      <a:pt x="28" y="0"/>
                    </a:cubicBezTo>
                    <a:cubicBezTo>
                      <a:pt x="26" y="1"/>
                      <a:pt x="24" y="2"/>
                      <a:pt x="22" y="3"/>
                    </a:cubicBezTo>
                    <a:cubicBezTo>
                      <a:pt x="20" y="3"/>
                      <a:pt x="19" y="5"/>
                      <a:pt x="18" y="6"/>
                    </a:cubicBezTo>
                    <a:cubicBezTo>
                      <a:pt x="16" y="6"/>
                      <a:pt x="15" y="3"/>
                      <a:pt x="14" y="4"/>
                    </a:cubicBezTo>
                    <a:cubicBezTo>
                      <a:pt x="13" y="5"/>
                      <a:pt x="14" y="9"/>
                      <a:pt x="12" y="10"/>
                    </a:cubicBezTo>
                    <a:cubicBezTo>
                      <a:pt x="10" y="11"/>
                      <a:pt x="8" y="9"/>
                      <a:pt x="7" y="10"/>
                    </a:cubicBezTo>
                    <a:cubicBezTo>
                      <a:pt x="6" y="11"/>
                      <a:pt x="7" y="13"/>
                      <a:pt x="6" y="15"/>
                    </a:cubicBezTo>
                    <a:cubicBezTo>
                      <a:pt x="6" y="16"/>
                      <a:pt x="4" y="18"/>
                      <a:pt x="4" y="19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7" y="26"/>
                      <a:pt x="6" y="29"/>
                      <a:pt x="4" y="32"/>
                    </a:cubicBezTo>
                    <a:cubicBezTo>
                      <a:pt x="4" y="35"/>
                      <a:pt x="1" y="36"/>
                      <a:pt x="1" y="38"/>
                    </a:cubicBezTo>
                    <a:cubicBezTo>
                      <a:pt x="0" y="41"/>
                      <a:pt x="1" y="45"/>
                      <a:pt x="2" y="48"/>
                    </a:cubicBezTo>
                    <a:cubicBezTo>
                      <a:pt x="2" y="50"/>
                      <a:pt x="3" y="51"/>
                      <a:pt x="4" y="53"/>
                    </a:cubicBezTo>
                    <a:cubicBezTo>
                      <a:pt x="5" y="53"/>
                      <a:pt x="7" y="53"/>
                      <a:pt x="9" y="53"/>
                    </a:cubicBezTo>
                    <a:cubicBezTo>
                      <a:pt x="10" y="53"/>
                      <a:pt x="11" y="50"/>
                      <a:pt x="12" y="50"/>
                    </a:cubicBezTo>
                    <a:cubicBezTo>
                      <a:pt x="14" y="50"/>
                      <a:pt x="15" y="56"/>
                      <a:pt x="16" y="54"/>
                    </a:cubicBezTo>
                    <a:cubicBezTo>
                      <a:pt x="19" y="52"/>
                      <a:pt x="17" y="46"/>
                      <a:pt x="19" y="43"/>
                    </a:cubicBezTo>
                    <a:cubicBezTo>
                      <a:pt x="20" y="41"/>
                      <a:pt x="21" y="46"/>
                      <a:pt x="23" y="47"/>
                    </a:cubicBezTo>
                    <a:cubicBezTo>
                      <a:pt x="24" y="48"/>
                      <a:pt x="25" y="49"/>
                      <a:pt x="26" y="50"/>
                    </a:cubicBezTo>
                    <a:cubicBezTo>
                      <a:pt x="28" y="50"/>
                      <a:pt x="30" y="49"/>
                      <a:pt x="32" y="49"/>
                    </a:cubicBezTo>
                    <a:cubicBezTo>
                      <a:pt x="33" y="49"/>
                      <a:pt x="34" y="47"/>
                      <a:pt x="35" y="47"/>
                    </a:cubicBezTo>
                    <a:cubicBezTo>
                      <a:pt x="36" y="47"/>
                      <a:pt x="37" y="49"/>
                      <a:pt x="39" y="50"/>
                    </a:cubicBezTo>
                    <a:cubicBezTo>
                      <a:pt x="43" y="51"/>
                      <a:pt x="46" y="50"/>
                      <a:pt x="50" y="51"/>
                    </a:cubicBezTo>
                    <a:cubicBezTo>
                      <a:pt x="52" y="52"/>
                      <a:pt x="55" y="54"/>
                      <a:pt x="57" y="56"/>
                    </a:cubicBezTo>
                    <a:cubicBezTo>
                      <a:pt x="59" y="58"/>
                      <a:pt x="59" y="61"/>
                      <a:pt x="61" y="63"/>
                    </a:cubicBezTo>
                    <a:cubicBezTo>
                      <a:pt x="64" y="66"/>
                      <a:pt x="67" y="68"/>
                      <a:pt x="70" y="71"/>
                    </a:cubicBezTo>
                    <a:cubicBezTo>
                      <a:pt x="71" y="72"/>
                      <a:pt x="71" y="74"/>
                      <a:pt x="72" y="76"/>
                    </a:cubicBezTo>
                    <a:cubicBezTo>
                      <a:pt x="73" y="77"/>
                      <a:pt x="75" y="79"/>
                      <a:pt x="76" y="80"/>
                    </a:cubicBezTo>
                    <a:cubicBezTo>
                      <a:pt x="78" y="80"/>
                      <a:pt x="79" y="82"/>
                      <a:pt x="81" y="81"/>
                    </a:cubicBezTo>
                    <a:cubicBezTo>
                      <a:pt x="82" y="81"/>
                      <a:pt x="82" y="79"/>
                      <a:pt x="83" y="78"/>
                    </a:cubicBezTo>
                    <a:cubicBezTo>
                      <a:pt x="83" y="77"/>
                      <a:pt x="85" y="78"/>
                      <a:pt x="86" y="7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8" name="Freeform 2579"/>
              <p:cNvSpPr>
                <a:spLocks noChangeAspect="1"/>
              </p:cNvSpPr>
              <p:nvPr/>
            </p:nvSpPr>
            <p:spPr bwMode="auto">
              <a:xfrm>
                <a:off x="4996547" y="3382915"/>
                <a:ext cx="415439" cy="558701"/>
              </a:xfrm>
              <a:custGeom>
                <a:avLst/>
                <a:gdLst>
                  <a:gd name="T0" fmla="*/ 223 w 211"/>
                  <a:gd name="T1" fmla="*/ 150 h 286"/>
                  <a:gd name="T2" fmla="*/ 225 w 211"/>
                  <a:gd name="T3" fmla="*/ 131 h 286"/>
                  <a:gd name="T4" fmla="*/ 225 w 211"/>
                  <a:gd name="T5" fmla="*/ 115 h 286"/>
                  <a:gd name="T6" fmla="*/ 229 w 211"/>
                  <a:gd name="T7" fmla="*/ 105 h 286"/>
                  <a:gd name="T8" fmla="*/ 237 w 211"/>
                  <a:gd name="T9" fmla="*/ 97 h 286"/>
                  <a:gd name="T10" fmla="*/ 247 w 211"/>
                  <a:gd name="T11" fmla="*/ 96 h 286"/>
                  <a:gd name="T12" fmla="*/ 244 w 211"/>
                  <a:gd name="T13" fmla="*/ 87 h 286"/>
                  <a:gd name="T14" fmla="*/ 237 w 211"/>
                  <a:gd name="T15" fmla="*/ 77 h 286"/>
                  <a:gd name="T16" fmla="*/ 230 w 211"/>
                  <a:gd name="T17" fmla="*/ 52 h 286"/>
                  <a:gd name="T18" fmla="*/ 225 w 211"/>
                  <a:gd name="T19" fmla="*/ 26 h 286"/>
                  <a:gd name="T20" fmla="*/ 215 w 211"/>
                  <a:gd name="T21" fmla="*/ 6 h 286"/>
                  <a:gd name="T22" fmla="*/ 206 w 211"/>
                  <a:gd name="T23" fmla="*/ 0 h 286"/>
                  <a:gd name="T24" fmla="*/ 193 w 211"/>
                  <a:gd name="T25" fmla="*/ 7 h 286"/>
                  <a:gd name="T26" fmla="*/ 184 w 211"/>
                  <a:gd name="T27" fmla="*/ 16 h 286"/>
                  <a:gd name="T28" fmla="*/ 176 w 211"/>
                  <a:gd name="T29" fmla="*/ 26 h 286"/>
                  <a:gd name="T30" fmla="*/ 46 w 211"/>
                  <a:gd name="T31" fmla="*/ 19 h 286"/>
                  <a:gd name="T32" fmla="*/ 31 w 211"/>
                  <a:gd name="T33" fmla="*/ 58 h 286"/>
                  <a:gd name="T34" fmla="*/ 30 w 211"/>
                  <a:gd name="T35" fmla="*/ 130 h 286"/>
                  <a:gd name="T36" fmla="*/ 17 w 211"/>
                  <a:gd name="T37" fmla="*/ 134 h 286"/>
                  <a:gd name="T38" fmla="*/ 12 w 211"/>
                  <a:gd name="T39" fmla="*/ 148 h 286"/>
                  <a:gd name="T40" fmla="*/ 12 w 211"/>
                  <a:gd name="T41" fmla="*/ 159 h 286"/>
                  <a:gd name="T42" fmla="*/ 7 w 211"/>
                  <a:gd name="T43" fmla="*/ 173 h 286"/>
                  <a:gd name="T44" fmla="*/ 1 w 211"/>
                  <a:gd name="T45" fmla="*/ 186 h 286"/>
                  <a:gd name="T46" fmla="*/ 11 w 211"/>
                  <a:gd name="T47" fmla="*/ 196 h 286"/>
                  <a:gd name="T48" fmla="*/ 11 w 211"/>
                  <a:gd name="T49" fmla="*/ 202 h 286"/>
                  <a:gd name="T50" fmla="*/ 16 w 211"/>
                  <a:gd name="T51" fmla="*/ 214 h 286"/>
                  <a:gd name="T52" fmla="*/ 30 w 211"/>
                  <a:gd name="T53" fmla="*/ 235 h 286"/>
                  <a:gd name="T54" fmla="*/ 25 w 211"/>
                  <a:gd name="T55" fmla="*/ 248 h 286"/>
                  <a:gd name="T56" fmla="*/ 39 w 211"/>
                  <a:gd name="T57" fmla="*/ 254 h 286"/>
                  <a:gd name="T58" fmla="*/ 49 w 211"/>
                  <a:gd name="T59" fmla="*/ 262 h 286"/>
                  <a:gd name="T60" fmla="*/ 55 w 211"/>
                  <a:gd name="T61" fmla="*/ 268 h 286"/>
                  <a:gd name="T62" fmla="*/ 60 w 211"/>
                  <a:gd name="T63" fmla="*/ 281 h 286"/>
                  <a:gd name="T64" fmla="*/ 75 w 211"/>
                  <a:gd name="T65" fmla="*/ 291 h 286"/>
                  <a:gd name="T66" fmla="*/ 79 w 211"/>
                  <a:gd name="T67" fmla="*/ 299 h 286"/>
                  <a:gd name="T68" fmla="*/ 88 w 211"/>
                  <a:gd name="T69" fmla="*/ 310 h 286"/>
                  <a:gd name="T70" fmla="*/ 94 w 211"/>
                  <a:gd name="T71" fmla="*/ 324 h 286"/>
                  <a:gd name="T72" fmla="*/ 107 w 211"/>
                  <a:gd name="T73" fmla="*/ 325 h 286"/>
                  <a:gd name="T74" fmla="*/ 119 w 211"/>
                  <a:gd name="T75" fmla="*/ 321 h 286"/>
                  <a:gd name="T76" fmla="*/ 134 w 211"/>
                  <a:gd name="T77" fmla="*/ 340 h 286"/>
                  <a:gd name="T78" fmla="*/ 141 w 211"/>
                  <a:gd name="T79" fmla="*/ 340 h 286"/>
                  <a:gd name="T80" fmla="*/ 155 w 211"/>
                  <a:gd name="T81" fmla="*/ 337 h 286"/>
                  <a:gd name="T82" fmla="*/ 164 w 211"/>
                  <a:gd name="T83" fmla="*/ 339 h 286"/>
                  <a:gd name="T84" fmla="*/ 176 w 211"/>
                  <a:gd name="T85" fmla="*/ 338 h 286"/>
                  <a:gd name="T86" fmla="*/ 188 w 211"/>
                  <a:gd name="T87" fmla="*/ 331 h 286"/>
                  <a:gd name="T88" fmla="*/ 203 w 211"/>
                  <a:gd name="T89" fmla="*/ 304 h 286"/>
                  <a:gd name="T90" fmla="*/ 193 w 211"/>
                  <a:gd name="T91" fmla="*/ 283 h 286"/>
                  <a:gd name="T92" fmla="*/ 171 w 211"/>
                  <a:gd name="T93" fmla="*/ 269 h 286"/>
                  <a:gd name="T94" fmla="*/ 182 w 211"/>
                  <a:gd name="T95" fmla="*/ 259 h 286"/>
                  <a:gd name="T96" fmla="*/ 188 w 211"/>
                  <a:gd name="T97" fmla="*/ 242 h 286"/>
                  <a:gd name="T98" fmla="*/ 188 w 211"/>
                  <a:gd name="T99" fmla="*/ 223 h 286"/>
                  <a:gd name="T100" fmla="*/ 196 w 211"/>
                  <a:gd name="T101" fmla="*/ 219 h 286"/>
                  <a:gd name="T102" fmla="*/ 201 w 211"/>
                  <a:gd name="T103" fmla="*/ 197 h 286"/>
                  <a:gd name="T104" fmla="*/ 209 w 211"/>
                  <a:gd name="T105" fmla="*/ 183 h 286"/>
                  <a:gd name="T106" fmla="*/ 218 w 211"/>
                  <a:gd name="T107" fmla="*/ 177 h 286"/>
                  <a:gd name="T108" fmla="*/ 221 w 211"/>
                  <a:gd name="T109" fmla="*/ 161 h 28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11"/>
                  <a:gd name="T166" fmla="*/ 0 h 286"/>
                  <a:gd name="T167" fmla="*/ 211 w 211"/>
                  <a:gd name="T168" fmla="*/ 286 h 28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11" h="286">
                    <a:moveTo>
                      <a:pt x="187" y="130"/>
                    </a:moveTo>
                    <a:cubicBezTo>
                      <a:pt x="186" y="128"/>
                      <a:pt x="185" y="127"/>
                      <a:pt x="185" y="125"/>
                    </a:cubicBezTo>
                    <a:cubicBezTo>
                      <a:pt x="184" y="122"/>
                      <a:pt x="183" y="118"/>
                      <a:pt x="184" y="115"/>
                    </a:cubicBezTo>
                    <a:cubicBezTo>
                      <a:pt x="184" y="113"/>
                      <a:pt x="187" y="112"/>
                      <a:pt x="187" y="109"/>
                    </a:cubicBezTo>
                    <a:cubicBezTo>
                      <a:pt x="189" y="106"/>
                      <a:pt x="190" y="103"/>
                      <a:pt x="190" y="100"/>
                    </a:cubicBezTo>
                    <a:cubicBezTo>
                      <a:pt x="189" y="99"/>
                      <a:pt x="187" y="98"/>
                      <a:pt x="187" y="96"/>
                    </a:cubicBezTo>
                    <a:cubicBezTo>
                      <a:pt x="187" y="95"/>
                      <a:pt x="189" y="93"/>
                      <a:pt x="189" y="92"/>
                    </a:cubicBezTo>
                    <a:cubicBezTo>
                      <a:pt x="190" y="90"/>
                      <a:pt x="189" y="88"/>
                      <a:pt x="190" y="87"/>
                    </a:cubicBezTo>
                    <a:cubicBezTo>
                      <a:pt x="191" y="86"/>
                      <a:pt x="193" y="88"/>
                      <a:pt x="195" y="87"/>
                    </a:cubicBezTo>
                    <a:cubicBezTo>
                      <a:pt x="197" y="86"/>
                      <a:pt x="196" y="82"/>
                      <a:pt x="197" y="81"/>
                    </a:cubicBezTo>
                    <a:cubicBezTo>
                      <a:pt x="198" y="80"/>
                      <a:pt x="199" y="83"/>
                      <a:pt x="201" y="83"/>
                    </a:cubicBezTo>
                    <a:cubicBezTo>
                      <a:pt x="202" y="82"/>
                      <a:pt x="203" y="80"/>
                      <a:pt x="205" y="80"/>
                    </a:cubicBezTo>
                    <a:cubicBezTo>
                      <a:pt x="207" y="79"/>
                      <a:pt x="209" y="78"/>
                      <a:pt x="211" y="77"/>
                    </a:cubicBezTo>
                    <a:cubicBezTo>
                      <a:pt x="208" y="75"/>
                      <a:pt x="205" y="74"/>
                      <a:pt x="203" y="72"/>
                    </a:cubicBezTo>
                    <a:cubicBezTo>
                      <a:pt x="203" y="71"/>
                      <a:pt x="204" y="69"/>
                      <a:pt x="203" y="69"/>
                    </a:cubicBezTo>
                    <a:cubicBezTo>
                      <a:pt x="202" y="67"/>
                      <a:pt x="198" y="66"/>
                      <a:pt x="197" y="64"/>
                    </a:cubicBezTo>
                    <a:cubicBezTo>
                      <a:pt x="195" y="62"/>
                      <a:pt x="193" y="60"/>
                      <a:pt x="192" y="57"/>
                    </a:cubicBezTo>
                    <a:cubicBezTo>
                      <a:pt x="191" y="52"/>
                      <a:pt x="191" y="47"/>
                      <a:pt x="191" y="43"/>
                    </a:cubicBezTo>
                    <a:cubicBezTo>
                      <a:pt x="191" y="38"/>
                      <a:pt x="192" y="34"/>
                      <a:pt x="191" y="30"/>
                    </a:cubicBezTo>
                    <a:cubicBezTo>
                      <a:pt x="191" y="27"/>
                      <a:pt x="187" y="25"/>
                      <a:pt x="187" y="22"/>
                    </a:cubicBezTo>
                    <a:cubicBezTo>
                      <a:pt x="186" y="19"/>
                      <a:pt x="189" y="17"/>
                      <a:pt x="188" y="15"/>
                    </a:cubicBezTo>
                    <a:cubicBezTo>
                      <a:pt x="186" y="11"/>
                      <a:pt x="183" y="8"/>
                      <a:pt x="179" y="5"/>
                    </a:cubicBezTo>
                    <a:cubicBezTo>
                      <a:pt x="178" y="5"/>
                      <a:pt x="176" y="6"/>
                      <a:pt x="175" y="5"/>
                    </a:cubicBezTo>
                    <a:cubicBezTo>
                      <a:pt x="174" y="4"/>
                      <a:pt x="173" y="2"/>
                      <a:pt x="171" y="0"/>
                    </a:cubicBezTo>
                    <a:cubicBezTo>
                      <a:pt x="170" y="2"/>
                      <a:pt x="168" y="4"/>
                      <a:pt x="166" y="6"/>
                    </a:cubicBezTo>
                    <a:cubicBezTo>
                      <a:pt x="164" y="7"/>
                      <a:pt x="162" y="5"/>
                      <a:pt x="160" y="6"/>
                    </a:cubicBezTo>
                    <a:cubicBezTo>
                      <a:pt x="159" y="7"/>
                      <a:pt x="159" y="9"/>
                      <a:pt x="158" y="11"/>
                    </a:cubicBezTo>
                    <a:cubicBezTo>
                      <a:pt x="156" y="12"/>
                      <a:pt x="154" y="11"/>
                      <a:pt x="153" y="13"/>
                    </a:cubicBezTo>
                    <a:cubicBezTo>
                      <a:pt x="152" y="15"/>
                      <a:pt x="153" y="17"/>
                      <a:pt x="152" y="19"/>
                    </a:cubicBezTo>
                    <a:cubicBezTo>
                      <a:pt x="151" y="21"/>
                      <a:pt x="148" y="23"/>
                      <a:pt x="146" y="22"/>
                    </a:cubicBezTo>
                    <a:cubicBezTo>
                      <a:pt x="144" y="21"/>
                      <a:pt x="145" y="16"/>
                      <a:pt x="142" y="16"/>
                    </a:cubicBezTo>
                    <a:cubicBezTo>
                      <a:pt x="107" y="14"/>
                      <a:pt x="73" y="16"/>
                      <a:pt x="38" y="16"/>
                    </a:cubicBezTo>
                    <a:lnTo>
                      <a:pt x="37" y="48"/>
                    </a:lnTo>
                    <a:lnTo>
                      <a:pt x="26" y="48"/>
                    </a:lnTo>
                    <a:lnTo>
                      <a:pt x="25" y="55"/>
                    </a:lnTo>
                    <a:cubicBezTo>
                      <a:pt x="25" y="73"/>
                      <a:pt x="27" y="91"/>
                      <a:pt x="25" y="108"/>
                    </a:cubicBezTo>
                    <a:cubicBezTo>
                      <a:pt x="25" y="110"/>
                      <a:pt x="21" y="107"/>
                      <a:pt x="19" y="108"/>
                    </a:cubicBezTo>
                    <a:cubicBezTo>
                      <a:pt x="17" y="108"/>
                      <a:pt x="15" y="109"/>
                      <a:pt x="14" y="111"/>
                    </a:cubicBezTo>
                    <a:cubicBezTo>
                      <a:pt x="13" y="112"/>
                      <a:pt x="16" y="114"/>
                      <a:pt x="15" y="116"/>
                    </a:cubicBezTo>
                    <a:cubicBezTo>
                      <a:pt x="14" y="119"/>
                      <a:pt x="12" y="121"/>
                      <a:pt x="10" y="123"/>
                    </a:cubicBezTo>
                    <a:cubicBezTo>
                      <a:pt x="9" y="124"/>
                      <a:pt x="6" y="125"/>
                      <a:pt x="7" y="126"/>
                    </a:cubicBezTo>
                    <a:cubicBezTo>
                      <a:pt x="7" y="128"/>
                      <a:pt x="11" y="130"/>
                      <a:pt x="10" y="132"/>
                    </a:cubicBezTo>
                    <a:cubicBezTo>
                      <a:pt x="10" y="134"/>
                      <a:pt x="5" y="133"/>
                      <a:pt x="5" y="135"/>
                    </a:cubicBezTo>
                    <a:cubicBezTo>
                      <a:pt x="4" y="138"/>
                      <a:pt x="7" y="141"/>
                      <a:pt x="6" y="144"/>
                    </a:cubicBezTo>
                    <a:cubicBezTo>
                      <a:pt x="6" y="147"/>
                      <a:pt x="2" y="148"/>
                      <a:pt x="1" y="150"/>
                    </a:cubicBezTo>
                    <a:cubicBezTo>
                      <a:pt x="0" y="151"/>
                      <a:pt x="0" y="154"/>
                      <a:pt x="1" y="155"/>
                    </a:cubicBezTo>
                    <a:cubicBezTo>
                      <a:pt x="3" y="156"/>
                      <a:pt x="6" y="152"/>
                      <a:pt x="8" y="153"/>
                    </a:cubicBezTo>
                    <a:cubicBezTo>
                      <a:pt x="10" y="156"/>
                      <a:pt x="8" y="160"/>
                      <a:pt x="9" y="163"/>
                    </a:cubicBezTo>
                    <a:cubicBezTo>
                      <a:pt x="10" y="164"/>
                      <a:pt x="12" y="163"/>
                      <a:pt x="12" y="164"/>
                    </a:cubicBezTo>
                    <a:cubicBezTo>
                      <a:pt x="12" y="165"/>
                      <a:pt x="9" y="166"/>
                      <a:pt x="9" y="168"/>
                    </a:cubicBezTo>
                    <a:cubicBezTo>
                      <a:pt x="10" y="171"/>
                      <a:pt x="13" y="172"/>
                      <a:pt x="14" y="174"/>
                    </a:cubicBezTo>
                    <a:cubicBezTo>
                      <a:pt x="15" y="175"/>
                      <a:pt x="14" y="177"/>
                      <a:pt x="13" y="178"/>
                    </a:cubicBezTo>
                    <a:cubicBezTo>
                      <a:pt x="15" y="180"/>
                      <a:pt x="18" y="182"/>
                      <a:pt x="19" y="184"/>
                    </a:cubicBezTo>
                    <a:cubicBezTo>
                      <a:pt x="22" y="187"/>
                      <a:pt x="24" y="191"/>
                      <a:pt x="25" y="195"/>
                    </a:cubicBezTo>
                    <a:cubicBezTo>
                      <a:pt x="26" y="197"/>
                      <a:pt x="25" y="200"/>
                      <a:pt x="25" y="202"/>
                    </a:cubicBezTo>
                    <a:cubicBezTo>
                      <a:pt x="24" y="204"/>
                      <a:pt x="21" y="205"/>
                      <a:pt x="21" y="206"/>
                    </a:cubicBezTo>
                    <a:cubicBezTo>
                      <a:pt x="21" y="208"/>
                      <a:pt x="23" y="210"/>
                      <a:pt x="25" y="211"/>
                    </a:cubicBezTo>
                    <a:cubicBezTo>
                      <a:pt x="27" y="212"/>
                      <a:pt x="30" y="209"/>
                      <a:pt x="32" y="211"/>
                    </a:cubicBezTo>
                    <a:cubicBezTo>
                      <a:pt x="34" y="212"/>
                      <a:pt x="30" y="214"/>
                      <a:pt x="31" y="216"/>
                    </a:cubicBezTo>
                    <a:cubicBezTo>
                      <a:pt x="34" y="218"/>
                      <a:pt x="38" y="216"/>
                      <a:pt x="41" y="218"/>
                    </a:cubicBezTo>
                    <a:cubicBezTo>
                      <a:pt x="42" y="219"/>
                      <a:pt x="41" y="222"/>
                      <a:pt x="42" y="223"/>
                    </a:cubicBezTo>
                    <a:cubicBezTo>
                      <a:pt x="43" y="224"/>
                      <a:pt x="45" y="222"/>
                      <a:pt x="46" y="223"/>
                    </a:cubicBezTo>
                    <a:cubicBezTo>
                      <a:pt x="47" y="224"/>
                      <a:pt x="45" y="227"/>
                      <a:pt x="45" y="228"/>
                    </a:cubicBezTo>
                    <a:cubicBezTo>
                      <a:pt x="46" y="230"/>
                      <a:pt x="48" y="232"/>
                      <a:pt x="50" y="234"/>
                    </a:cubicBezTo>
                    <a:cubicBezTo>
                      <a:pt x="52" y="235"/>
                      <a:pt x="54" y="233"/>
                      <a:pt x="55" y="234"/>
                    </a:cubicBezTo>
                    <a:cubicBezTo>
                      <a:pt x="57" y="238"/>
                      <a:pt x="61" y="240"/>
                      <a:pt x="62" y="242"/>
                    </a:cubicBezTo>
                    <a:cubicBezTo>
                      <a:pt x="63" y="243"/>
                      <a:pt x="59" y="243"/>
                      <a:pt x="59" y="244"/>
                    </a:cubicBezTo>
                    <a:cubicBezTo>
                      <a:pt x="61" y="247"/>
                      <a:pt x="64" y="247"/>
                      <a:pt x="66" y="249"/>
                    </a:cubicBezTo>
                    <a:cubicBezTo>
                      <a:pt x="67" y="249"/>
                      <a:pt x="69" y="250"/>
                      <a:pt x="70" y="251"/>
                    </a:cubicBezTo>
                    <a:cubicBezTo>
                      <a:pt x="71" y="253"/>
                      <a:pt x="73" y="255"/>
                      <a:pt x="73" y="258"/>
                    </a:cubicBezTo>
                    <a:cubicBezTo>
                      <a:pt x="73" y="260"/>
                      <a:pt x="72" y="262"/>
                      <a:pt x="72" y="265"/>
                    </a:cubicBezTo>
                    <a:cubicBezTo>
                      <a:pt x="74" y="266"/>
                      <a:pt x="76" y="268"/>
                      <a:pt x="78" y="269"/>
                    </a:cubicBezTo>
                    <a:cubicBezTo>
                      <a:pt x="80" y="270"/>
                      <a:pt x="83" y="272"/>
                      <a:pt x="85" y="272"/>
                    </a:cubicBezTo>
                    <a:cubicBezTo>
                      <a:pt x="87" y="272"/>
                      <a:pt x="88" y="270"/>
                      <a:pt x="89" y="270"/>
                    </a:cubicBezTo>
                    <a:cubicBezTo>
                      <a:pt x="91" y="269"/>
                      <a:pt x="93" y="270"/>
                      <a:pt x="95" y="270"/>
                    </a:cubicBezTo>
                    <a:cubicBezTo>
                      <a:pt x="97" y="269"/>
                      <a:pt x="97" y="267"/>
                      <a:pt x="99" y="267"/>
                    </a:cubicBezTo>
                    <a:cubicBezTo>
                      <a:pt x="102" y="269"/>
                      <a:pt x="105" y="273"/>
                      <a:pt x="107" y="277"/>
                    </a:cubicBezTo>
                    <a:cubicBezTo>
                      <a:pt x="109" y="278"/>
                      <a:pt x="109" y="281"/>
                      <a:pt x="111" y="283"/>
                    </a:cubicBezTo>
                    <a:cubicBezTo>
                      <a:pt x="112" y="284"/>
                      <a:pt x="113" y="285"/>
                      <a:pt x="114" y="286"/>
                    </a:cubicBezTo>
                    <a:cubicBezTo>
                      <a:pt x="115" y="285"/>
                      <a:pt x="115" y="283"/>
                      <a:pt x="117" y="283"/>
                    </a:cubicBezTo>
                    <a:cubicBezTo>
                      <a:pt x="119" y="282"/>
                      <a:pt x="122" y="283"/>
                      <a:pt x="124" y="283"/>
                    </a:cubicBezTo>
                    <a:cubicBezTo>
                      <a:pt x="126" y="282"/>
                      <a:pt x="127" y="279"/>
                      <a:pt x="129" y="280"/>
                    </a:cubicBezTo>
                    <a:cubicBezTo>
                      <a:pt x="131" y="280"/>
                      <a:pt x="130" y="284"/>
                      <a:pt x="132" y="284"/>
                    </a:cubicBezTo>
                    <a:cubicBezTo>
                      <a:pt x="133" y="285"/>
                      <a:pt x="134" y="282"/>
                      <a:pt x="136" y="282"/>
                    </a:cubicBezTo>
                    <a:cubicBezTo>
                      <a:pt x="138" y="280"/>
                      <a:pt x="140" y="279"/>
                      <a:pt x="143" y="279"/>
                    </a:cubicBezTo>
                    <a:cubicBezTo>
                      <a:pt x="144" y="279"/>
                      <a:pt x="145" y="281"/>
                      <a:pt x="146" y="281"/>
                    </a:cubicBezTo>
                    <a:cubicBezTo>
                      <a:pt x="148" y="281"/>
                      <a:pt x="150" y="282"/>
                      <a:pt x="151" y="281"/>
                    </a:cubicBezTo>
                    <a:cubicBezTo>
                      <a:pt x="154" y="280"/>
                      <a:pt x="155" y="277"/>
                      <a:pt x="156" y="275"/>
                    </a:cubicBezTo>
                    <a:lnTo>
                      <a:pt x="172" y="258"/>
                    </a:lnTo>
                    <a:cubicBezTo>
                      <a:pt x="171" y="256"/>
                      <a:pt x="169" y="255"/>
                      <a:pt x="169" y="253"/>
                    </a:cubicBezTo>
                    <a:cubicBezTo>
                      <a:pt x="167" y="250"/>
                      <a:pt x="168" y="246"/>
                      <a:pt x="166" y="243"/>
                    </a:cubicBezTo>
                    <a:cubicBezTo>
                      <a:pt x="165" y="240"/>
                      <a:pt x="162" y="238"/>
                      <a:pt x="160" y="235"/>
                    </a:cubicBezTo>
                    <a:cubicBezTo>
                      <a:pt x="157" y="232"/>
                      <a:pt x="156" y="227"/>
                      <a:pt x="152" y="225"/>
                    </a:cubicBezTo>
                    <a:cubicBezTo>
                      <a:pt x="149" y="223"/>
                      <a:pt x="145" y="226"/>
                      <a:pt x="142" y="224"/>
                    </a:cubicBezTo>
                    <a:cubicBezTo>
                      <a:pt x="140" y="222"/>
                      <a:pt x="141" y="218"/>
                      <a:pt x="143" y="216"/>
                    </a:cubicBezTo>
                    <a:cubicBezTo>
                      <a:pt x="145" y="214"/>
                      <a:pt x="149" y="216"/>
                      <a:pt x="151" y="215"/>
                    </a:cubicBezTo>
                    <a:cubicBezTo>
                      <a:pt x="153" y="215"/>
                      <a:pt x="156" y="215"/>
                      <a:pt x="156" y="214"/>
                    </a:cubicBezTo>
                    <a:cubicBezTo>
                      <a:pt x="158" y="210"/>
                      <a:pt x="155" y="205"/>
                      <a:pt x="156" y="201"/>
                    </a:cubicBezTo>
                    <a:cubicBezTo>
                      <a:pt x="156" y="197"/>
                      <a:pt x="158" y="193"/>
                      <a:pt x="158" y="189"/>
                    </a:cubicBezTo>
                    <a:cubicBezTo>
                      <a:pt x="158" y="188"/>
                      <a:pt x="156" y="187"/>
                      <a:pt x="156" y="185"/>
                    </a:cubicBezTo>
                    <a:cubicBezTo>
                      <a:pt x="156" y="183"/>
                      <a:pt x="157" y="182"/>
                      <a:pt x="159" y="181"/>
                    </a:cubicBezTo>
                    <a:cubicBezTo>
                      <a:pt x="160" y="181"/>
                      <a:pt x="161" y="182"/>
                      <a:pt x="163" y="182"/>
                    </a:cubicBezTo>
                    <a:cubicBezTo>
                      <a:pt x="164" y="182"/>
                      <a:pt x="166" y="183"/>
                      <a:pt x="166" y="182"/>
                    </a:cubicBezTo>
                    <a:cubicBezTo>
                      <a:pt x="167" y="176"/>
                      <a:pt x="165" y="170"/>
                      <a:pt x="167" y="164"/>
                    </a:cubicBezTo>
                    <a:cubicBezTo>
                      <a:pt x="167" y="162"/>
                      <a:pt x="170" y="162"/>
                      <a:pt x="171" y="161"/>
                    </a:cubicBezTo>
                    <a:cubicBezTo>
                      <a:pt x="172" y="158"/>
                      <a:pt x="172" y="154"/>
                      <a:pt x="174" y="152"/>
                    </a:cubicBezTo>
                    <a:cubicBezTo>
                      <a:pt x="176" y="150"/>
                      <a:pt x="179" y="151"/>
                      <a:pt x="181" y="150"/>
                    </a:cubicBezTo>
                    <a:cubicBezTo>
                      <a:pt x="182" y="149"/>
                      <a:pt x="180" y="148"/>
                      <a:pt x="181" y="147"/>
                    </a:cubicBezTo>
                    <a:cubicBezTo>
                      <a:pt x="182" y="144"/>
                      <a:pt x="184" y="142"/>
                      <a:pt x="184" y="140"/>
                    </a:cubicBezTo>
                    <a:cubicBezTo>
                      <a:pt x="185" y="138"/>
                      <a:pt x="183" y="136"/>
                      <a:pt x="184" y="134"/>
                    </a:cubicBezTo>
                    <a:cubicBezTo>
                      <a:pt x="184" y="132"/>
                      <a:pt x="186" y="131"/>
                      <a:pt x="187" y="13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69" name="Freeform 2580"/>
              <p:cNvSpPr>
                <a:spLocks noChangeAspect="1"/>
              </p:cNvSpPr>
              <p:nvPr/>
            </p:nvSpPr>
            <p:spPr bwMode="auto">
              <a:xfrm>
                <a:off x="4680878" y="3079201"/>
                <a:ext cx="390906" cy="410906"/>
              </a:xfrm>
              <a:custGeom>
                <a:avLst/>
                <a:gdLst>
                  <a:gd name="T0" fmla="*/ 239 w 199"/>
                  <a:gd name="T1" fmla="*/ 206 h 211"/>
                  <a:gd name="T2" fmla="*/ 238 w 199"/>
                  <a:gd name="T3" fmla="*/ 245 h 211"/>
                  <a:gd name="T4" fmla="*/ 225 w 199"/>
                  <a:gd name="T5" fmla="*/ 245 h 211"/>
                  <a:gd name="T6" fmla="*/ 223 w 199"/>
                  <a:gd name="T7" fmla="*/ 253 h 211"/>
                  <a:gd name="T8" fmla="*/ 98 w 199"/>
                  <a:gd name="T9" fmla="*/ 181 h 211"/>
                  <a:gd name="T10" fmla="*/ 89 w 199"/>
                  <a:gd name="T11" fmla="*/ 189 h 211"/>
                  <a:gd name="T12" fmla="*/ 72 w 199"/>
                  <a:gd name="T13" fmla="*/ 197 h 211"/>
                  <a:gd name="T14" fmla="*/ 65 w 199"/>
                  <a:gd name="T15" fmla="*/ 186 h 211"/>
                  <a:gd name="T16" fmla="*/ 50 w 199"/>
                  <a:gd name="T17" fmla="*/ 185 h 211"/>
                  <a:gd name="T18" fmla="*/ 42 w 199"/>
                  <a:gd name="T19" fmla="*/ 179 h 211"/>
                  <a:gd name="T20" fmla="*/ 34 w 199"/>
                  <a:gd name="T21" fmla="*/ 173 h 211"/>
                  <a:gd name="T22" fmla="*/ 37 w 199"/>
                  <a:gd name="T23" fmla="*/ 169 h 211"/>
                  <a:gd name="T24" fmla="*/ 25 w 199"/>
                  <a:gd name="T25" fmla="*/ 163 h 211"/>
                  <a:gd name="T26" fmla="*/ 16 w 199"/>
                  <a:gd name="T27" fmla="*/ 164 h 211"/>
                  <a:gd name="T28" fmla="*/ 14 w 199"/>
                  <a:gd name="T29" fmla="*/ 151 h 211"/>
                  <a:gd name="T30" fmla="*/ 4 w 199"/>
                  <a:gd name="T31" fmla="*/ 129 h 211"/>
                  <a:gd name="T32" fmla="*/ 12 w 199"/>
                  <a:gd name="T33" fmla="*/ 124 h 211"/>
                  <a:gd name="T34" fmla="*/ 8 w 199"/>
                  <a:gd name="T35" fmla="*/ 106 h 211"/>
                  <a:gd name="T36" fmla="*/ 10 w 199"/>
                  <a:gd name="T37" fmla="*/ 83 h 211"/>
                  <a:gd name="T38" fmla="*/ 0 w 199"/>
                  <a:gd name="T39" fmla="*/ 58 h 211"/>
                  <a:gd name="T40" fmla="*/ 4 w 199"/>
                  <a:gd name="T41" fmla="*/ 55 h 211"/>
                  <a:gd name="T42" fmla="*/ 12 w 199"/>
                  <a:gd name="T43" fmla="*/ 50 h 211"/>
                  <a:gd name="T44" fmla="*/ 14 w 199"/>
                  <a:gd name="T45" fmla="*/ 43 h 211"/>
                  <a:gd name="T46" fmla="*/ 12 w 199"/>
                  <a:gd name="T47" fmla="*/ 30 h 211"/>
                  <a:gd name="T48" fmla="*/ 18 w 199"/>
                  <a:gd name="T49" fmla="*/ 26 h 211"/>
                  <a:gd name="T50" fmla="*/ 25 w 199"/>
                  <a:gd name="T51" fmla="*/ 19 h 211"/>
                  <a:gd name="T52" fmla="*/ 35 w 199"/>
                  <a:gd name="T53" fmla="*/ 13 h 211"/>
                  <a:gd name="T54" fmla="*/ 32 w 199"/>
                  <a:gd name="T55" fmla="*/ 10 h 211"/>
                  <a:gd name="T56" fmla="*/ 34 w 199"/>
                  <a:gd name="T57" fmla="*/ 0 h 211"/>
                  <a:gd name="T58" fmla="*/ 41 w 199"/>
                  <a:gd name="T59" fmla="*/ 4 h 211"/>
                  <a:gd name="T60" fmla="*/ 58 w 199"/>
                  <a:gd name="T61" fmla="*/ 6 h 211"/>
                  <a:gd name="T62" fmla="*/ 73 w 199"/>
                  <a:gd name="T63" fmla="*/ 10 h 211"/>
                  <a:gd name="T64" fmla="*/ 86 w 199"/>
                  <a:gd name="T65" fmla="*/ 14 h 211"/>
                  <a:gd name="T66" fmla="*/ 92 w 199"/>
                  <a:gd name="T67" fmla="*/ 28 h 211"/>
                  <a:gd name="T68" fmla="*/ 101 w 199"/>
                  <a:gd name="T69" fmla="*/ 36 h 211"/>
                  <a:gd name="T70" fmla="*/ 113 w 199"/>
                  <a:gd name="T71" fmla="*/ 38 h 211"/>
                  <a:gd name="T72" fmla="*/ 131 w 199"/>
                  <a:gd name="T73" fmla="*/ 43 h 211"/>
                  <a:gd name="T74" fmla="*/ 142 w 199"/>
                  <a:gd name="T75" fmla="*/ 53 h 211"/>
                  <a:gd name="T76" fmla="*/ 153 w 199"/>
                  <a:gd name="T77" fmla="*/ 54 h 211"/>
                  <a:gd name="T78" fmla="*/ 159 w 199"/>
                  <a:gd name="T79" fmla="*/ 47 h 211"/>
                  <a:gd name="T80" fmla="*/ 162 w 199"/>
                  <a:gd name="T81" fmla="*/ 38 h 211"/>
                  <a:gd name="T82" fmla="*/ 160 w 199"/>
                  <a:gd name="T83" fmla="*/ 31 h 211"/>
                  <a:gd name="T84" fmla="*/ 160 w 199"/>
                  <a:gd name="T85" fmla="*/ 20 h 211"/>
                  <a:gd name="T86" fmla="*/ 166 w 199"/>
                  <a:gd name="T87" fmla="*/ 12 h 211"/>
                  <a:gd name="T88" fmla="*/ 179 w 199"/>
                  <a:gd name="T89" fmla="*/ 7 h 211"/>
                  <a:gd name="T90" fmla="*/ 189 w 199"/>
                  <a:gd name="T91" fmla="*/ 5 h 211"/>
                  <a:gd name="T92" fmla="*/ 198 w 199"/>
                  <a:gd name="T93" fmla="*/ 8 h 211"/>
                  <a:gd name="T94" fmla="*/ 204 w 199"/>
                  <a:gd name="T95" fmla="*/ 11 h 211"/>
                  <a:gd name="T96" fmla="*/ 209 w 199"/>
                  <a:gd name="T97" fmla="*/ 18 h 211"/>
                  <a:gd name="T98" fmla="*/ 222 w 199"/>
                  <a:gd name="T99" fmla="*/ 23 h 211"/>
                  <a:gd name="T100" fmla="*/ 231 w 199"/>
                  <a:gd name="T101" fmla="*/ 23 h 211"/>
                  <a:gd name="T102" fmla="*/ 235 w 199"/>
                  <a:gd name="T103" fmla="*/ 23 h 211"/>
                  <a:gd name="T104" fmla="*/ 238 w 199"/>
                  <a:gd name="T105" fmla="*/ 26 h 211"/>
                  <a:gd name="T106" fmla="*/ 234 w 199"/>
                  <a:gd name="T107" fmla="*/ 32 h 211"/>
                  <a:gd name="T108" fmla="*/ 234 w 199"/>
                  <a:gd name="T109" fmla="*/ 46 h 211"/>
                  <a:gd name="T110" fmla="*/ 231 w 199"/>
                  <a:gd name="T111" fmla="*/ 55 h 211"/>
                  <a:gd name="T112" fmla="*/ 235 w 199"/>
                  <a:gd name="T113" fmla="*/ 74 h 211"/>
                  <a:gd name="T114" fmla="*/ 239 w 199"/>
                  <a:gd name="T115" fmla="*/ 206 h 21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99"/>
                  <a:gd name="T175" fmla="*/ 0 h 211"/>
                  <a:gd name="T176" fmla="*/ 199 w 199"/>
                  <a:gd name="T177" fmla="*/ 211 h 21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99" h="211">
                    <a:moveTo>
                      <a:pt x="199" y="172"/>
                    </a:moveTo>
                    <a:lnTo>
                      <a:pt x="198" y="204"/>
                    </a:lnTo>
                    <a:lnTo>
                      <a:pt x="187" y="204"/>
                    </a:lnTo>
                    <a:lnTo>
                      <a:pt x="186" y="211"/>
                    </a:lnTo>
                    <a:lnTo>
                      <a:pt x="82" y="151"/>
                    </a:lnTo>
                    <a:lnTo>
                      <a:pt x="74" y="158"/>
                    </a:lnTo>
                    <a:cubicBezTo>
                      <a:pt x="69" y="160"/>
                      <a:pt x="65" y="163"/>
                      <a:pt x="60" y="164"/>
                    </a:cubicBezTo>
                    <a:cubicBezTo>
                      <a:pt x="59" y="162"/>
                      <a:pt x="58" y="157"/>
                      <a:pt x="54" y="155"/>
                    </a:cubicBezTo>
                    <a:cubicBezTo>
                      <a:pt x="51" y="153"/>
                      <a:pt x="46" y="156"/>
                      <a:pt x="42" y="154"/>
                    </a:cubicBezTo>
                    <a:cubicBezTo>
                      <a:pt x="39" y="154"/>
                      <a:pt x="37" y="151"/>
                      <a:pt x="35" y="149"/>
                    </a:cubicBezTo>
                    <a:cubicBezTo>
                      <a:pt x="33" y="148"/>
                      <a:pt x="29" y="147"/>
                      <a:pt x="28" y="144"/>
                    </a:cubicBezTo>
                    <a:cubicBezTo>
                      <a:pt x="28" y="143"/>
                      <a:pt x="32" y="142"/>
                      <a:pt x="31" y="141"/>
                    </a:cubicBezTo>
                    <a:cubicBezTo>
                      <a:pt x="29" y="138"/>
                      <a:pt x="25" y="137"/>
                      <a:pt x="21" y="136"/>
                    </a:cubicBezTo>
                    <a:cubicBezTo>
                      <a:pt x="19" y="136"/>
                      <a:pt x="15" y="139"/>
                      <a:pt x="13" y="137"/>
                    </a:cubicBezTo>
                    <a:cubicBezTo>
                      <a:pt x="11" y="134"/>
                      <a:pt x="13" y="129"/>
                      <a:pt x="12" y="126"/>
                    </a:cubicBezTo>
                    <a:cubicBezTo>
                      <a:pt x="10" y="120"/>
                      <a:pt x="3" y="115"/>
                      <a:pt x="3" y="108"/>
                    </a:cubicBezTo>
                    <a:cubicBezTo>
                      <a:pt x="2" y="105"/>
                      <a:pt x="9" y="106"/>
                      <a:pt x="10" y="103"/>
                    </a:cubicBezTo>
                    <a:cubicBezTo>
                      <a:pt x="11" y="98"/>
                      <a:pt x="7" y="93"/>
                      <a:pt x="7" y="88"/>
                    </a:cubicBezTo>
                    <a:cubicBezTo>
                      <a:pt x="6" y="82"/>
                      <a:pt x="9" y="75"/>
                      <a:pt x="8" y="69"/>
                    </a:cubicBezTo>
                    <a:cubicBezTo>
                      <a:pt x="7" y="62"/>
                      <a:pt x="2" y="55"/>
                      <a:pt x="0" y="48"/>
                    </a:cubicBezTo>
                    <a:cubicBezTo>
                      <a:pt x="0" y="46"/>
                      <a:pt x="2" y="46"/>
                      <a:pt x="3" y="46"/>
                    </a:cubicBezTo>
                    <a:cubicBezTo>
                      <a:pt x="5" y="45"/>
                      <a:pt x="8" y="44"/>
                      <a:pt x="10" y="42"/>
                    </a:cubicBezTo>
                    <a:cubicBezTo>
                      <a:pt x="11" y="40"/>
                      <a:pt x="12" y="38"/>
                      <a:pt x="12" y="36"/>
                    </a:cubicBezTo>
                    <a:cubicBezTo>
                      <a:pt x="12" y="32"/>
                      <a:pt x="10" y="29"/>
                      <a:pt x="10" y="25"/>
                    </a:cubicBezTo>
                    <a:cubicBezTo>
                      <a:pt x="11" y="23"/>
                      <a:pt x="14" y="24"/>
                      <a:pt x="15" y="22"/>
                    </a:cubicBezTo>
                    <a:cubicBezTo>
                      <a:pt x="17" y="21"/>
                      <a:pt x="19" y="18"/>
                      <a:pt x="21" y="16"/>
                    </a:cubicBezTo>
                    <a:cubicBezTo>
                      <a:pt x="23" y="14"/>
                      <a:pt x="27" y="13"/>
                      <a:pt x="29" y="11"/>
                    </a:cubicBezTo>
                    <a:cubicBezTo>
                      <a:pt x="30" y="10"/>
                      <a:pt x="27" y="9"/>
                      <a:pt x="27" y="8"/>
                    </a:cubicBezTo>
                    <a:cubicBezTo>
                      <a:pt x="26" y="5"/>
                      <a:pt x="27" y="2"/>
                      <a:pt x="28" y="0"/>
                    </a:cubicBezTo>
                    <a:cubicBezTo>
                      <a:pt x="30" y="1"/>
                      <a:pt x="32" y="3"/>
                      <a:pt x="34" y="3"/>
                    </a:cubicBezTo>
                    <a:cubicBezTo>
                      <a:pt x="39" y="4"/>
                      <a:pt x="44" y="4"/>
                      <a:pt x="48" y="5"/>
                    </a:cubicBezTo>
                    <a:cubicBezTo>
                      <a:pt x="53" y="5"/>
                      <a:pt x="57" y="6"/>
                      <a:pt x="61" y="8"/>
                    </a:cubicBezTo>
                    <a:cubicBezTo>
                      <a:pt x="65" y="9"/>
                      <a:pt x="69" y="10"/>
                      <a:pt x="72" y="12"/>
                    </a:cubicBezTo>
                    <a:cubicBezTo>
                      <a:pt x="75" y="15"/>
                      <a:pt x="75" y="20"/>
                      <a:pt x="77" y="23"/>
                    </a:cubicBezTo>
                    <a:cubicBezTo>
                      <a:pt x="79" y="26"/>
                      <a:pt x="81" y="29"/>
                      <a:pt x="84" y="30"/>
                    </a:cubicBezTo>
                    <a:cubicBezTo>
                      <a:pt x="87" y="32"/>
                      <a:pt x="91" y="31"/>
                      <a:pt x="94" y="32"/>
                    </a:cubicBezTo>
                    <a:cubicBezTo>
                      <a:pt x="99" y="33"/>
                      <a:pt x="104" y="34"/>
                      <a:pt x="109" y="36"/>
                    </a:cubicBezTo>
                    <a:cubicBezTo>
                      <a:pt x="112" y="38"/>
                      <a:pt x="114" y="43"/>
                      <a:pt x="118" y="44"/>
                    </a:cubicBezTo>
                    <a:cubicBezTo>
                      <a:pt x="121" y="46"/>
                      <a:pt x="124" y="46"/>
                      <a:pt x="127" y="45"/>
                    </a:cubicBezTo>
                    <a:cubicBezTo>
                      <a:pt x="129" y="44"/>
                      <a:pt x="131" y="41"/>
                      <a:pt x="132" y="39"/>
                    </a:cubicBezTo>
                    <a:cubicBezTo>
                      <a:pt x="134" y="37"/>
                      <a:pt x="135" y="35"/>
                      <a:pt x="135" y="32"/>
                    </a:cubicBezTo>
                    <a:cubicBezTo>
                      <a:pt x="135" y="30"/>
                      <a:pt x="133" y="28"/>
                      <a:pt x="133" y="26"/>
                    </a:cubicBezTo>
                    <a:cubicBezTo>
                      <a:pt x="132" y="23"/>
                      <a:pt x="132" y="20"/>
                      <a:pt x="133" y="17"/>
                    </a:cubicBezTo>
                    <a:cubicBezTo>
                      <a:pt x="133" y="14"/>
                      <a:pt x="136" y="12"/>
                      <a:pt x="138" y="10"/>
                    </a:cubicBezTo>
                    <a:cubicBezTo>
                      <a:pt x="141" y="8"/>
                      <a:pt x="145" y="7"/>
                      <a:pt x="149" y="6"/>
                    </a:cubicBezTo>
                    <a:cubicBezTo>
                      <a:pt x="152" y="5"/>
                      <a:pt x="154" y="4"/>
                      <a:pt x="157" y="4"/>
                    </a:cubicBezTo>
                    <a:cubicBezTo>
                      <a:pt x="160" y="4"/>
                      <a:pt x="162" y="6"/>
                      <a:pt x="165" y="7"/>
                    </a:cubicBezTo>
                    <a:cubicBezTo>
                      <a:pt x="166" y="8"/>
                      <a:pt x="169" y="7"/>
                      <a:pt x="170" y="9"/>
                    </a:cubicBezTo>
                    <a:cubicBezTo>
                      <a:pt x="172" y="10"/>
                      <a:pt x="172" y="13"/>
                      <a:pt x="174" y="15"/>
                    </a:cubicBezTo>
                    <a:cubicBezTo>
                      <a:pt x="177" y="17"/>
                      <a:pt x="181" y="18"/>
                      <a:pt x="185" y="19"/>
                    </a:cubicBezTo>
                    <a:cubicBezTo>
                      <a:pt x="187" y="19"/>
                      <a:pt x="190" y="19"/>
                      <a:pt x="192" y="19"/>
                    </a:cubicBezTo>
                    <a:cubicBezTo>
                      <a:pt x="193" y="19"/>
                      <a:pt x="195" y="18"/>
                      <a:pt x="196" y="19"/>
                    </a:cubicBezTo>
                    <a:cubicBezTo>
                      <a:pt x="197" y="20"/>
                      <a:pt x="197" y="21"/>
                      <a:pt x="198" y="22"/>
                    </a:cubicBezTo>
                    <a:cubicBezTo>
                      <a:pt x="197" y="23"/>
                      <a:pt x="195" y="25"/>
                      <a:pt x="195" y="27"/>
                    </a:cubicBezTo>
                    <a:cubicBezTo>
                      <a:pt x="194" y="31"/>
                      <a:pt x="196" y="35"/>
                      <a:pt x="195" y="38"/>
                    </a:cubicBezTo>
                    <a:cubicBezTo>
                      <a:pt x="195" y="41"/>
                      <a:pt x="192" y="43"/>
                      <a:pt x="192" y="46"/>
                    </a:cubicBezTo>
                    <a:cubicBezTo>
                      <a:pt x="192" y="51"/>
                      <a:pt x="195" y="56"/>
                      <a:pt x="196" y="62"/>
                    </a:cubicBezTo>
                    <a:cubicBezTo>
                      <a:pt x="198" y="99"/>
                      <a:pt x="198" y="136"/>
                      <a:pt x="199" y="172"/>
                    </a:cubicBezTo>
                    <a:close/>
                  </a:path>
                </a:pathLst>
              </a:custGeom>
              <a:pattFill prst="wdUpDiag">
                <a:fgClr>
                  <a:srgbClr val="FFFF66"/>
                </a:fgClr>
                <a:bgClr>
                  <a:srgbClr val="6CF834"/>
                </a:bgClr>
              </a:patt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0" name="Freeform 2581"/>
              <p:cNvSpPr>
                <a:spLocks noChangeAspect="1"/>
              </p:cNvSpPr>
              <p:nvPr/>
            </p:nvSpPr>
            <p:spPr bwMode="auto">
              <a:xfrm>
                <a:off x="4229456" y="2794979"/>
                <a:ext cx="78508" cy="167286"/>
              </a:xfrm>
              <a:custGeom>
                <a:avLst/>
                <a:gdLst>
                  <a:gd name="T0" fmla="*/ 30 w 40"/>
                  <a:gd name="T1" fmla="*/ 97 h 86"/>
                  <a:gd name="T2" fmla="*/ 23 w 40"/>
                  <a:gd name="T3" fmla="*/ 102 h 86"/>
                  <a:gd name="T4" fmla="*/ 20 w 40"/>
                  <a:gd name="T5" fmla="*/ 99 h 86"/>
                  <a:gd name="T6" fmla="*/ 12 w 40"/>
                  <a:gd name="T7" fmla="*/ 99 h 86"/>
                  <a:gd name="T8" fmla="*/ 7 w 40"/>
                  <a:gd name="T9" fmla="*/ 102 h 86"/>
                  <a:gd name="T10" fmla="*/ 10 w 40"/>
                  <a:gd name="T11" fmla="*/ 93 h 86"/>
                  <a:gd name="T12" fmla="*/ 8 w 40"/>
                  <a:gd name="T13" fmla="*/ 84 h 86"/>
                  <a:gd name="T14" fmla="*/ 12 w 40"/>
                  <a:gd name="T15" fmla="*/ 72 h 86"/>
                  <a:gd name="T16" fmla="*/ 8 w 40"/>
                  <a:gd name="T17" fmla="*/ 72 h 86"/>
                  <a:gd name="T18" fmla="*/ 4 w 40"/>
                  <a:gd name="T19" fmla="*/ 73 h 86"/>
                  <a:gd name="T20" fmla="*/ 7 w 40"/>
                  <a:gd name="T21" fmla="*/ 67 h 86"/>
                  <a:gd name="T22" fmla="*/ 7 w 40"/>
                  <a:gd name="T23" fmla="*/ 63 h 86"/>
                  <a:gd name="T24" fmla="*/ 4 w 40"/>
                  <a:gd name="T25" fmla="*/ 67 h 86"/>
                  <a:gd name="T26" fmla="*/ 0 w 40"/>
                  <a:gd name="T27" fmla="*/ 66 h 86"/>
                  <a:gd name="T28" fmla="*/ 2 w 40"/>
                  <a:gd name="T29" fmla="*/ 59 h 86"/>
                  <a:gd name="T30" fmla="*/ 6 w 40"/>
                  <a:gd name="T31" fmla="*/ 50 h 86"/>
                  <a:gd name="T32" fmla="*/ 8 w 40"/>
                  <a:gd name="T33" fmla="*/ 41 h 86"/>
                  <a:gd name="T34" fmla="*/ 10 w 40"/>
                  <a:gd name="T35" fmla="*/ 35 h 86"/>
                  <a:gd name="T36" fmla="*/ 12 w 40"/>
                  <a:gd name="T37" fmla="*/ 29 h 86"/>
                  <a:gd name="T38" fmla="*/ 12 w 40"/>
                  <a:gd name="T39" fmla="*/ 19 h 86"/>
                  <a:gd name="T40" fmla="*/ 10 w 40"/>
                  <a:gd name="T41" fmla="*/ 12 h 86"/>
                  <a:gd name="T42" fmla="*/ 8 w 40"/>
                  <a:gd name="T43" fmla="*/ 5 h 86"/>
                  <a:gd name="T44" fmla="*/ 18 w 40"/>
                  <a:gd name="T45" fmla="*/ 0 h 86"/>
                  <a:gd name="T46" fmla="*/ 22 w 40"/>
                  <a:gd name="T47" fmla="*/ 2 h 86"/>
                  <a:gd name="T48" fmla="*/ 19 w 40"/>
                  <a:gd name="T49" fmla="*/ 7 h 86"/>
                  <a:gd name="T50" fmla="*/ 26 w 40"/>
                  <a:gd name="T51" fmla="*/ 6 h 86"/>
                  <a:gd name="T52" fmla="*/ 31 w 40"/>
                  <a:gd name="T53" fmla="*/ 7 h 86"/>
                  <a:gd name="T54" fmla="*/ 35 w 40"/>
                  <a:gd name="T55" fmla="*/ 4 h 86"/>
                  <a:gd name="T56" fmla="*/ 43 w 40"/>
                  <a:gd name="T57" fmla="*/ 4 h 86"/>
                  <a:gd name="T58" fmla="*/ 42 w 40"/>
                  <a:gd name="T59" fmla="*/ 10 h 86"/>
                  <a:gd name="T60" fmla="*/ 48 w 40"/>
                  <a:gd name="T61" fmla="*/ 11 h 86"/>
                  <a:gd name="T62" fmla="*/ 43 w 40"/>
                  <a:gd name="T63" fmla="*/ 18 h 86"/>
                  <a:gd name="T64" fmla="*/ 37 w 40"/>
                  <a:gd name="T65" fmla="*/ 23 h 86"/>
                  <a:gd name="T66" fmla="*/ 38 w 40"/>
                  <a:gd name="T67" fmla="*/ 36 h 86"/>
                  <a:gd name="T68" fmla="*/ 36 w 40"/>
                  <a:gd name="T69" fmla="*/ 40 h 86"/>
                  <a:gd name="T70" fmla="*/ 37 w 40"/>
                  <a:gd name="T71" fmla="*/ 43 h 86"/>
                  <a:gd name="T72" fmla="*/ 36 w 40"/>
                  <a:gd name="T73" fmla="*/ 49 h 86"/>
                  <a:gd name="T74" fmla="*/ 30 w 40"/>
                  <a:gd name="T75" fmla="*/ 52 h 86"/>
                  <a:gd name="T76" fmla="*/ 32 w 40"/>
                  <a:gd name="T77" fmla="*/ 59 h 86"/>
                  <a:gd name="T78" fmla="*/ 36 w 40"/>
                  <a:gd name="T79" fmla="*/ 61 h 86"/>
                  <a:gd name="T80" fmla="*/ 36 w 40"/>
                  <a:gd name="T81" fmla="*/ 65 h 86"/>
                  <a:gd name="T82" fmla="*/ 31 w 40"/>
                  <a:gd name="T83" fmla="*/ 69 h 86"/>
                  <a:gd name="T84" fmla="*/ 31 w 40"/>
                  <a:gd name="T85" fmla="*/ 74 h 86"/>
                  <a:gd name="T86" fmla="*/ 36 w 40"/>
                  <a:gd name="T87" fmla="*/ 80 h 86"/>
                  <a:gd name="T88" fmla="*/ 31 w 40"/>
                  <a:gd name="T89" fmla="*/ 85 h 86"/>
                  <a:gd name="T90" fmla="*/ 28 w 40"/>
                  <a:gd name="T91" fmla="*/ 90 h 86"/>
                  <a:gd name="T92" fmla="*/ 30 w 40"/>
                  <a:gd name="T93" fmla="*/ 97 h 8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0"/>
                  <a:gd name="T142" fmla="*/ 0 h 86"/>
                  <a:gd name="T143" fmla="*/ 40 w 40"/>
                  <a:gd name="T144" fmla="*/ 86 h 8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0" h="86">
                    <a:moveTo>
                      <a:pt x="25" y="81"/>
                    </a:moveTo>
                    <a:cubicBezTo>
                      <a:pt x="23" y="83"/>
                      <a:pt x="21" y="85"/>
                      <a:pt x="19" y="85"/>
                    </a:cubicBezTo>
                    <a:cubicBezTo>
                      <a:pt x="18" y="85"/>
                      <a:pt x="18" y="84"/>
                      <a:pt x="17" y="83"/>
                    </a:cubicBezTo>
                    <a:cubicBezTo>
                      <a:pt x="15" y="83"/>
                      <a:pt x="12" y="83"/>
                      <a:pt x="10" y="83"/>
                    </a:cubicBezTo>
                    <a:cubicBezTo>
                      <a:pt x="8" y="83"/>
                      <a:pt x="6" y="86"/>
                      <a:pt x="6" y="85"/>
                    </a:cubicBezTo>
                    <a:cubicBezTo>
                      <a:pt x="5" y="82"/>
                      <a:pt x="7" y="80"/>
                      <a:pt x="8" y="78"/>
                    </a:cubicBezTo>
                    <a:cubicBezTo>
                      <a:pt x="8" y="75"/>
                      <a:pt x="7" y="72"/>
                      <a:pt x="7" y="70"/>
                    </a:cubicBezTo>
                    <a:cubicBezTo>
                      <a:pt x="8" y="66"/>
                      <a:pt x="10" y="63"/>
                      <a:pt x="10" y="60"/>
                    </a:cubicBezTo>
                    <a:cubicBezTo>
                      <a:pt x="10" y="59"/>
                      <a:pt x="8" y="60"/>
                      <a:pt x="7" y="60"/>
                    </a:cubicBezTo>
                    <a:cubicBezTo>
                      <a:pt x="6" y="61"/>
                      <a:pt x="4" y="62"/>
                      <a:pt x="3" y="61"/>
                    </a:cubicBezTo>
                    <a:cubicBezTo>
                      <a:pt x="3" y="59"/>
                      <a:pt x="5" y="58"/>
                      <a:pt x="6" y="56"/>
                    </a:cubicBezTo>
                    <a:cubicBezTo>
                      <a:pt x="6" y="55"/>
                      <a:pt x="7" y="53"/>
                      <a:pt x="6" y="53"/>
                    </a:cubicBezTo>
                    <a:cubicBezTo>
                      <a:pt x="4" y="53"/>
                      <a:pt x="5" y="56"/>
                      <a:pt x="3" y="56"/>
                    </a:cubicBezTo>
                    <a:cubicBezTo>
                      <a:pt x="2" y="56"/>
                      <a:pt x="1" y="56"/>
                      <a:pt x="0" y="55"/>
                    </a:cubicBezTo>
                    <a:cubicBezTo>
                      <a:pt x="0" y="53"/>
                      <a:pt x="1" y="51"/>
                      <a:pt x="2" y="49"/>
                    </a:cubicBezTo>
                    <a:cubicBezTo>
                      <a:pt x="2" y="47"/>
                      <a:pt x="4" y="45"/>
                      <a:pt x="5" y="42"/>
                    </a:cubicBezTo>
                    <a:cubicBezTo>
                      <a:pt x="6" y="39"/>
                      <a:pt x="7" y="37"/>
                      <a:pt x="7" y="34"/>
                    </a:cubicBezTo>
                    <a:cubicBezTo>
                      <a:pt x="8" y="32"/>
                      <a:pt x="7" y="31"/>
                      <a:pt x="8" y="29"/>
                    </a:cubicBezTo>
                    <a:cubicBezTo>
                      <a:pt x="8" y="27"/>
                      <a:pt x="10" y="26"/>
                      <a:pt x="10" y="24"/>
                    </a:cubicBezTo>
                    <a:cubicBezTo>
                      <a:pt x="10" y="21"/>
                      <a:pt x="10" y="18"/>
                      <a:pt x="10" y="16"/>
                    </a:cubicBezTo>
                    <a:cubicBezTo>
                      <a:pt x="9" y="14"/>
                      <a:pt x="9" y="12"/>
                      <a:pt x="8" y="10"/>
                    </a:cubicBezTo>
                    <a:cubicBezTo>
                      <a:pt x="8" y="8"/>
                      <a:pt x="8" y="6"/>
                      <a:pt x="7" y="4"/>
                    </a:cubicBezTo>
                    <a:cubicBezTo>
                      <a:pt x="10" y="3"/>
                      <a:pt x="12" y="1"/>
                      <a:pt x="15" y="0"/>
                    </a:cubicBezTo>
                    <a:cubicBezTo>
                      <a:pt x="16" y="0"/>
                      <a:pt x="18" y="1"/>
                      <a:pt x="18" y="2"/>
                    </a:cubicBezTo>
                    <a:cubicBezTo>
                      <a:pt x="18" y="4"/>
                      <a:pt x="14" y="5"/>
                      <a:pt x="16" y="6"/>
                    </a:cubicBezTo>
                    <a:cubicBezTo>
                      <a:pt x="17" y="7"/>
                      <a:pt x="20" y="5"/>
                      <a:pt x="22" y="5"/>
                    </a:cubicBezTo>
                    <a:cubicBezTo>
                      <a:pt x="23" y="5"/>
                      <a:pt x="25" y="6"/>
                      <a:pt x="26" y="6"/>
                    </a:cubicBezTo>
                    <a:cubicBezTo>
                      <a:pt x="27" y="5"/>
                      <a:pt x="28" y="3"/>
                      <a:pt x="29" y="3"/>
                    </a:cubicBezTo>
                    <a:cubicBezTo>
                      <a:pt x="31" y="3"/>
                      <a:pt x="34" y="2"/>
                      <a:pt x="36" y="3"/>
                    </a:cubicBezTo>
                    <a:cubicBezTo>
                      <a:pt x="37" y="4"/>
                      <a:pt x="35" y="6"/>
                      <a:pt x="35" y="8"/>
                    </a:cubicBezTo>
                    <a:cubicBezTo>
                      <a:pt x="36" y="9"/>
                      <a:pt x="40" y="8"/>
                      <a:pt x="40" y="9"/>
                    </a:cubicBezTo>
                    <a:cubicBezTo>
                      <a:pt x="40" y="12"/>
                      <a:pt x="37" y="13"/>
                      <a:pt x="36" y="15"/>
                    </a:cubicBezTo>
                    <a:cubicBezTo>
                      <a:pt x="34" y="17"/>
                      <a:pt x="32" y="17"/>
                      <a:pt x="31" y="19"/>
                    </a:cubicBezTo>
                    <a:cubicBezTo>
                      <a:pt x="30" y="23"/>
                      <a:pt x="33" y="26"/>
                      <a:pt x="32" y="30"/>
                    </a:cubicBezTo>
                    <a:cubicBezTo>
                      <a:pt x="32" y="31"/>
                      <a:pt x="30" y="32"/>
                      <a:pt x="30" y="33"/>
                    </a:cubicBezTo>
                    <a:cubicBezTo>
                      <a:pt x="29" y="34"/>
                      <a:pt x="31" y="35"/>
                      <a:pt x="31" y="36"/>
                    </a:cubicBezTo>
                    <a:cubicBezTo>
                      <a:pt x="31" y="38"/>
                      <a:pt x="31" y="40"/>
                      <a:pt x="30" y="41"/>
                    </a:cubicBezTo>
                    <a:cubicBezTo>
                      <a:pt x="28" y="42"/>
                      <a:pt x="25" y="41"/>
                      <a:pt x="25" y="43"/>
                    </a:cubicBezTo>
                    <a:cubicBezTo>
                      <a:pt x="24" y="45"/>
                      <a:pt x="26" y="47"/>
                      <a:pt x="27" y="49"/>
                    </a:cubicBezTo>
                    <a:cubicBezTo>
                      <a:pt x="28" y="50"/>
                      <a:pt x="30" y="50"/>
                      <a:pt x="30" y="51"/>
                    </a:cubicBezTo>
                    <a:cubicBezTo>
                      <a:pt x="31" y="52"/>
                      <a:pt x="31" y="53"/>
                      <a:pt x="30" y="54"/>
                    </a:cubicBezTo>
                    <a:cubicBezTo>
                      <a:pt x="29" y="56"/>
                      <a:pt x="27" y="57"/>
                      <a:pt x="26" y="58"/>
                    </a:cubicBezTo>
                    <a:cubicBezTo>
                      <a:pt x="26" y="59"/>
                      <a:pt x="26" y="61"/>
                      <a:pt x="26" y="62"/>
                    </a:cubicBezTo>
                    <a:cubicBezTo>
                      <a:pt x="27" y="64"/>
                      <a:pt x="30" y="65"/>
                      <a:pt x="30" y="67"/>
                    </a:cubicBezTo>
                    <a:cubicBezTo>
                      <a:pt x="30" y="69"/>
                      <a:pt x="27" y="69"/>
                      <a:pt x="26" y="71"/>
                    </a:cubicBezTo>
                    <a:cubicBezTo>
                      <a:pt x="25" y="72"/>
                      <a:pt x="23" y="74"/>
                      <a:pt x="23" y="75"/>
                    </a:cubicBezTo>
                    <a:cubicBezTo>
                      <a:pt x="23" y="78"/>
                      <a:pt x="24" y="79"/>
                      <a:pt x="25" y="8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1" name="Freeform 2582"/>
              <p:cNvSpPr>
                <a:spLocks noChangeAspect="1"/>
              </p:cNvSpPr>
              <p:nvPr/>
            </p:nvSpPr>
            <p:spPr bwMode="auto">
              <a:xfrm>
                <a:off x="4340676" y="2492891"/>
                <a:ext cx="307491" cy="292344"/>
              </a:xfrm>
              <a:custGeom>
                <a:avLst/>
                <a:gdLst>
                  <a:gd name="T0" fmla="*/ 181 w 156"/>
                  <a:gd name="T1" fmla="*/ 150 h 150"/>
                  <a:gd name="T2" fmla="*/ 171 w 156"/>
                  <a:gd name="T3" fmla="*/ 142 h 150"/>
                  <a:gd name="T4" fmla="*/ 168 w 156"/>
                  <a:gd name="T5" fmla="*/ 128 h 150"/>
                  <a:gd name="T6" fmla="*/ 172 w 156"/>
                  <a:gd name="T7" fmla="*/ 118 h 150"/>
                  <a:gd name="T8" fmla="*/ 172 w 156"/>
                  <a:gd name="T9" fmla="*/ 109 h 150"/>
                  <a:gd name="T10" fmla="*/ 166 w 156"/>
                  <a:gd name="T11" fmla="*/ 100 h 150"/>
                  <a:gd name="T12" fmla="*/ 159 w 156"/>
                  <a:gd name="T13" fmla="*/ 98 h 150"/>
                  <a:gd name="T14" fmla="*/ 166 w 156"/>
                  <a:gd name="T15" fmla="*/ 85 h 150"/>
                  <a:gd name="T16" fmla="*/ 171 w 156"/>
                  <a:gd name="T17" fmla="*/ 77 h 150"/>
                  <a:gd name="T18" fmla="*/ 180 w 156"/>
                  <a:gd name="T19" fmla="*/ 68 h 150"/>
                  <a:gd name="T20" fmla="*/ 184 w 156"/>
                  <a:gd name="T21" fmla="*/ 48 h 150"/>
                  <a:gd name="T22" fmla="*/ 176 w 156"/>
                  <a:gd name="T23" fmla="*/ 40 h 150"/>
                  <a:gd name="T24" fmla="*/ 164 w 156"/>
                  <a:gd name="T25" fmla="*/ 35 h 150"/>
                  <a:gd name="T26" fmla="*/ 154 w 156"/>
                  <a:gd name="T27" fmla="*/ 32 h 150"/>
                  <a:gd name="T28" fmla="*/ 141 w 156"/>
                  <a:gd name="T29" fmla="*/ 26 h 150"/>
                  <a:gd name="T30" fmla="*/ 131 w 156"/>
                  <a:gd name="T31" fmla="*/ 23 h 150"/>
                  <a:gd name="T32" fmla="*/ 123 w 156"/>
                  <a:gd name="T33" fmla="*/ 16 h 150"/>
                  <a:gd name="T34" fmla="*/ 114 w 156"/>
                  <a:gd name="T35" fmla="*/ 8 h 150"/>
                  <a:gd name="T36" fmla="*/ 106 w 156"/>
                  <a:gd name="T37" fmla="*/ 1 h 150"/>
                  <a:gd name="T38" fmla="*/ 94 w 156"/>
                  <a:gd name="T39" fmla="*/ 22 h 150"/>
                  <a:gd name="T40" fmla="*/ 71 w 156"/>
                  <a:gd name="T41" fmla="*/ 30 h 150"/>
                  <a:gd name="T42" fmla="*/ 71 w 156"/>
                  <a:gd name="T43" fmla="*/ 37 h 150"/>
                  <a:gd name="T44" fmla="*/ 53 w 156"/>
                  <a:gd name="T45" fmla="*/ 37 h 150"/>
                  <a:gd name="T46" fmla="*/ 47 w 156"/>
                  <a:gd name="T47" fmla="*/ 30 h 150"/>
                  <a:gd name="T48" fmla="*/ 46 w 156"/>
                  <a:gd name="T49" fmla="*/ 42 h 150"/>
                  <a:gd name="T50" fmla="*/ 43 w 156"/>
                  <a:gd name="T51" fmla="*/ 53 h 150"/>
                  <a:gd name="T52" fmla="*/ 28 w 156"/>
                  <a:gd name="T53" fmla="*/ 50 h 150"/>
                  <a:gd name="T54" fmla="*/ 17 w 156"/>
                  <a:gd name="T55" fmla="*/ 52 h 150"/>
                  <a:gd name="T56" fmla="*/ 2 w 156"/>
                  <a:gd name="T57" fmla="*/ 54 h 150"/>
                  <a:gd name="T58" fmla="*/ 8 w 156"/>
                  <a:gd name="T59" fmla="*/ 64 h 150"/>
                  <a:gd name="T60" fmla="*/ 7 w 156"/>
                  <a:gd name="T61" fmla="*/ 71 h 150"/>
                  <a:gd name="T62" fmla="*/ 25 w 156"/>
                  <a:gd name="T63" fmla="*/ 76 h 150"/>
                  <a:gd name="T64" fmla="*/ 34 w 156"/>
                  <a:gd name="T65" fmla="*/ 77 h 150"/>
                  <a:gd name="T66" fmla="*/ 41 w 156"/>
                  <a:gd name="T67" fmla="*/ 80 h 150"/>
                  <a:gd name="T68" fmla="*/ 39 w 156"/>
                  <a:gd name="T69" fmla="*/ 90 h 150"/>
                  <a:gd name="T70" fmla="*/ 49 w 156"/>
                  <a:gd name="T71" fmla="*/ 101 h 150"/>
                  <a:gd name="T72" fmla="*/ 54 w 156"/>
                  <a:gd name="T73" fmla="*/ 107 h 150"/>
                  <a:gd name="T74" fmla="*/ 58 w 156"/>
                  <a:gd name="T75" fmla="*/ 116 h 150"/>
                  <a:gd name="T76" fmla="*/ 53 w 156"/>
                  <a:gd name="T77" fmla="*/ 118 h 150"/>
                  <a:gd name="T78" fmla="*/ 55 w 156"/>
                  <a:gd name="T79" fmla="*/ 133 h 150"/>
                  <a:gd name="T80" fmla="*/ 51 w 156"/>
                  <a:gd name="T81" fmla="*/ 154 h 150"/>
                  <a:gd name="T82" fmla="*/ 49 w 156"/>
                  <a:gd name="T83" fmla="*/ 163 h 150"/>
                  <a:gd name="T84" fmla="*/ 66 w 156"/>
                  <a:gd name="T85" fmla="*/ 173 h 150"/>
                  <a:gd name="T86" fmla="*/ 81 w 156"/>
                  <a:gd name="T87" fmla="*/ 170 h 150"/>
                  <a:gd name="T88" fmla="*/ 102 w 156"/>
                  <a:gd name="T89" fmla="*/ 179 h 150"/>
                  <a:gd name="T90" fmla="*/ 113 w 156"/>
                  <a:gd name="T91" fmla="*/ 170 h 150"/>
                  <a:gd name="T92" fmla="*/ 131 w 156"/>
                  <a:gd name="T93" fmla="*/ 160 h 150"/>
                  <a:gd name="T94" fmla="*/ 143 w 156"/>
                  <a:gd name="T95" fmla="*/ 157 h 150"/>
                  <a:gd name="T96" fmla="*/ 159 w 156"/>
                  <a:gd name="T97" fmla="*/ 167 h 150"/>
                  <a:gd name="T98" fmla="*/ 171 w 156"/>
                  <a:gd name="T99" fmla="*/ 160 h 15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56"/>
                  <a:gd name="T151" fmla="*/ 0 h 150"/>
                  <a:gd name="T152" fmla="*/ 156 w 156"/>
                  <a:gd name="T153" fmla="*/ 150 h 15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56" h="150">
                    <a:moveTo>
                      <a:pt x="147" y="129"/>
                    </a:moveTo>
                    <a:cubicBezTo>
                      <a:pt x="147" y="128"/>
                      <a:pt x="146" y="127"/>
                      <a:pt x="146" y="126"/>
                    </a:cubicBezTo>
                    <a:cubicBezTo>
                      <a:pt x="147" y="125"/>
                      <a:pt x="149" y="126"/>
                      <a:pt x="150" y="125"/>
                    </a:cubicBezTo>
                    <a:cubicBezTo>
                      <a:pt x="151" y="124"/>
                      <a:pt x="151" y="123"/>
                      <a:pt x="151" y="122"/>
                    </a:cubicBezTo>
                    <a:cubicBezTo>
                      <a:pt x="150" y="121"/>
                      <a:pt x="148" y="122"/>
                      <a:pt x="147" y="122"/>
                    </a:cubicBezTo>
                    <a:cubicBezTo>
                      <a:pt x="145" y="121"/>
                      <a:pt x="143" y="120"/>
                      <a:pt x="142" y="118"/>
                    </a:cubicBezTo>
                    <a:cubicBezTo>
                      <a:pt x="141" y="117"/>
                      <a:pt x="142" y="115"/>
                      <a:pt x="142" y="113"/>
                    </a:cubicBezTo>
                    <a:cubicBezTo>
                      <a:pt x="142" y="112"/>
                      <a:pt x="143" y="111"/>
                      <a:pt x="142" y="109"/>
                    </a:cubicBezTo>
                    <a:cubicBezTo>
                      <a:pt x="142" y="108"/>
                      <a:pt x="139" y="108"/>
                      <a:pt x="139" y="107"/>
                    </a:cubicBezTo>
                    <a:cubicBezTo>
                      <a:pt x="139" y="106"/>
                      <a:pt x="140" y="105"/>
                      <a:pt x="140" y="104"/>
                    </a:cubicBezTo>
                    <a:cubicBezTo>
                      <a:pt x="141" y="103"/>
                      <a:pt x="143" y="103"/>
                      <a:pt x="144" y="102"/>
                    </a:cubicBezTo>
                    <a:cubicBezTo>
                      <a:pt x="144" y="101"/>
                      <a:pt x="143" y="99"/>
                      <a:pt x="143" y="98"/>
                    </a:cubicBezTo>
                    <a:cubicBezTo>
                      <a:pt x="142" y="97"/>
                      <a:pt x="140" y="96"/>
                      <a:pt x="139" y="94"/>
                    </a:cubicBezTo>
                    <a:cubicBezTo>
                      <a:pt x="139" y="94"/>
                      <a:pt x="139" y="93"/>
                      <a:pt x="140" y="92"/>
                    </a:cubicBezTo>
                    <a:cubicBezTo>
                      <a:pt x="140" y="92"/>
                      <a:pt x="142" y="92"/>
                      <a:pt x="143" y="91"/>
                    </a:cubicBezTo>
                    <a:cubicBezTo>
                      <a:pt x="142" y="90"/>
                      <a:pt x="141" y="89"/>
                      <a:pt x="140" y="88"/>
                    </a:cubicBezTo>
                    <a:cubicBezTo>
                      <a:pt x="140" y="87"/>
                      <a:pt x="140" y="85"/>
                      <a:pt x="140" y="84"/>
                    </a:cubicBezTo>
                    <a:cubicBezTo>
                      <a:pt x="139" y="84"/>
                      <a:pt x="139" y="83"/>
                      <a:pt x="138" y="83"/>
                    </a:cubicBezTo>
                    <a:cubicBezTo>
                      <a:pt x="137" y="83"/>
                      <a:pt x="136" y="83"/>
                      <a:pt x="135" y="83"/>
                    </a:cubicBezTo>
                    <a:cubicBezTo>
                      <a:pt x="134" y="84"/>
                      <a:pt x="133" y="87"/>
                      <a:pt x="131" y="87"/>
                    </a:cubicBezTo>
                    <a:cubicBezTo>
                      <a:pt x="130" y="86"/>
                      <a:pt x="131" y="84"/>
                      <a:pt x="132" y="82"/>
                    </a:cubicBezTo>
                    <a:cubicBezTo>
                      <a:pt x="132" y="81"/>
                      <a:pt x="132" y="79"/>
                      <a:pt x="133" y="78"/>
                    </a:cubicBezTo>
                    <a:cubicBezTo>
                      <a:pt x="133" y="77"/>
                      <a:pt x="134" y="75"/>
                      <a:pt x="135" y="74"/>
                    </a:cubicBezTo>
                    <a:cubicBezTo>
                      <a:pt x="135" y="73"/>
                      <a:pt x="137" y="72"/>
                      <a:pt x="138" y="71"/>
                    </a:cubicBezTo>
                    <a:cubicBezTo>
                      <a:pt x="139" y="70"/>
                      <a:pt x="141" y="68"/>
                      <a:pt x="142" y="67"/>
                    </a:cubicBezTo>
                    <a:cubicBezTo>
                      <a:pt x="142" y="66"/>
                      <a:pt x="140" y="66"/>
                      <a:pt x="140" y="65"/>
                    </a:cubicBezTo>
                    <a:cubicBezTo>
                      <a:pt x="140" y="65"/>
                      <a:pt x="141" y="64"/>
                      <a:pt x="142" y="64"/>
                    </a:cubicBezTo>
                    <a:cubicBezTo>
                      <a:pt x="143" y="63"/>
                      <a:pt x="144" y="65"/>
                      <a:pt x="146" y="65"/>
                    </a:cubicBezTo>
                    <a:cubicBezTo>
                      <a:pt x="147" y="65"/>
                      <a:pt x="148" y="64"/>
                      <a:pt x="149" y="63"/>
                    </a:cubicBezTo>
                    <a:cubicBezTo>
                      <a:pt x="149" y="61"/>
                      <a:pt x="149" y="59"/>
                      <a:pt x="149" y="57"/>
                    </a:cubicBezTo>
                    <a:cubicBezTo>
                      <a:pt x="149" y="55"/>
                      <a:pt x="149" y="53"/>
                      <a:pt x="149" y="52"/>
                    </a:cubicBezTo>
                    <a:cubicBezTo>
                      <a:pt x="149" y="50"/>
                      <a:pt x="150" y="48"/>
                      <a:pt x="151" y="46"/>
                    </a:cubicBezTo>
                    <a:cubicBezTo>
                      <a:pt x="152" y="44"/>
                      <a:pt x="152" y="42"/>
                      <a:pt x="153" y="40"/>
                    </a:cubicBezTo>
                    <a:cubicBezTo>
                      <a:pt x="154" y="39"/>
                      <a:pt x="156" y="39"/>
                      <a:pt x="156" y="37"/>
                    </a:cubicBezTo>
                    <a:cubicBezTo>
                      <a:pt x="155" y="36"/>
                      <a:pt x="152" y="36"/>
                      <a:pt x="150" y="36"/>
                    </a:cubicBezTo>
                    <a:cubicBezTo>
                      <a:pt x="149" y="35"/>
                      <a:pt x="148" y="34"/>
                      <a:pt x="146" y="33"/>
                    </a:cubicBezTo>
                    <a:cubicBezTo>
                      <a:pt x="145" y="33"/>
                      <a:pt x="144" y="34"/>
                      <a:pt x="143" y="34"/>
                    </a:cubicBezTo>
                    <a:cubicBezTo>
                      <a:pt x="141" y="33"/>
                      <a:pt x="140" y="33"/>
                      <a:pt x="139" y="32"/>
                    </a:cubicBezTo>
                    <a:cubicBezTo>
                      <a:pt x="138" y="31"/>
                      <a:pt x="137" y="30"/>
                      <a:pt x="136" y="29"/>
                    </a:cubicBezTo>
                    <a:cubicBezTo>
                      <a:pt x="135" y="29"/>
                      <a:pt x="135" y="28"/>
                      <a:pt x="134" y="28"/>
                    </a:cubicBezTo>
                    <a:cubicBezTo>
                      <a:pt x="133" y="28"/>
                      <a:pt x="132" y="28"/>
                      <a:pt x="131" y="28"/>
                    </a:cubicBezTo>
                    <a:cubicBezTo>
                      <a:pt x="130" y="28"/>
                      <a:pt x="129" y="27"/>
                      <a:pt x="128" y="27"/>
                    </a:cubicBezTo>
                    <a:cubicBezTo>
                      <a:pt x="127" y="27"/>
                      <a:pt x="126" y="27"/>
                      <a:pt x="125" y="27"/>
                    </a:cubicBezTo>
                    <a:cubicBezTo>
                      <a:pt x="124" y="26"/>
                      <a:pt x="122" y="26"/>
                      <a:pt x="121" y="25"/>
                    </a:cubicBezTo>
                    <a:cubicBezTo>
                      <a:pt x="120" y="24"/>
                      <a:pt x="118" y="23"/>
                      <a:pt x="117" y="22"/>
                    </a:cubicBezTo>
                    <a:cubicBezTo>
                      <a:pt x="116" y="21"/>
                      <a:pt x="116" y="19"/>
                      <a:pt x="115" y="19"/>
                    </a:cubicBezTo>
                    <a:cubicBezTo>
                      <a:pt x="114" y="18"/>
                      <a:pt x="113" y="19"/>
                      <a:pt x="113" y="19"/>
                    </a:cubicBezTo>
                    <a:cubicBezTo>
                      <a:pt x="111" y="19"/>
                      <a:pt x="110" y="20"/>
                      <a:pt x="109" y="19"/>
                    </a:cubicBezTo>
                    <a:cubicBezTo>
                      <a:pt x="108" y="19"/>
                      <a:pt x="109" y="17"/>
                      <a:pt x="108" y="16"/>
                    </a:cubicBezTo>
                    <a:cubicBezTo>
                      <a:pt x="108" y="15"/>
                      <a:pt x="108" y="13"/>
                      <a:pt x="106" y="13"/>
                    </a:cubicBezTo>
                    <a:cubicBezTo>
                      <a:pt x="105" y="12"/>
                      <a:pt x="104" y="13"/>
                      <a:pt x="102" y="13"/>
                    </a:cubicBezTo>
                    <a:cubicBezTo>
                      <a:pt x="102" y="12"/>
                      <a:pt x="101" y="11"/>
                      <a:pt x="101" y="11"/>
                    </a:cubicBezTo>
                    <a:cubicBezTo>
                      <a:pt x="100" y="10"/>
                      <a:pt x="98" y="11"/>
                      <a:pt x="97" y="10"/>
                    </a:cubicBezTo>
                    <a:cubicBezTo>
                      <a:pt x="96" y="9"/>
                      <a:pt x="96" y="7"/>
                      <a:pt x="95" y="7"/>
                    </a:cubicBezTo>
                    <a:cubicBezTo>
                      <a:pt x="94" y="6"/>
                      <a:pt x="93" y="6"/>
                      <a:pt x="92" y="6"/>
                    </a:cubicBezTo>
                    <a:cubicBezTo>
                      <a:pt x="91" y="6"/>
                      <a:pt x="90" y="6"/>
                      <a:pt x="90" y="5"/>
                    </a:cubicBezTo>
                    <a:cubicBezTo>
                      <a:pt x="89" y="4"/>
                      <a:pt x="88" y="2"/>
                      <a:pt x="88" y="1"/>
                    </a:cubicBezTo>
                    <a:cubicBezTo>
                      <a:pt x="84" y="2"/>
                      <a:pt x="79" y="0"/>
                      <a:pt x="77" y="3"/>
                    </a:cubicBezTo>
                    <a:cubicBezTo>
                      <a:pt x="75" y="7"/>
                      <a:pt x="76" y="12"/>
                      <a:pt x="76" y="16"/>
                    </a:cubicBezTo>
                    <a:cubicBezTo>
                      <a:pt x="76" y="17"/>
                      <a:pt x="78" y="18"/>
                      <a:pt x="78" y="18"/>
                    </a:cubicBezTo>
                    <a:cubicBezTo>
                      <a:pt x="76" y="19"/>
                      <a:pt x="75" y="18"/>
                      <a:pt x="73" y="18"/>
                    </a:cubicBezTo>
                    <a:cubicBezTo>
                      <a:pt x="71" y="19"/>
                      <a:pt x="69" y="20"/>
                      <a:pt x="67" y="21"/>
                    </a:cubicBezTo>
                    <a:cubicBezTo>
                      <a:pt x="64" y="23"/>
                      <a:pt x="61" y="23"/>
                      <a:pt x="59" y="25"/>
                    </a:cubicBezTo>
                    <a:cubicBezTo>
                      <a:pt x="58" y="26"/>
                      <a:pt x="58" y="27"/>
                      <a:pt x="59" y="28"/>
                    </a:cubicBezTo>
                    <a:cubicBezTo>
                      <a:pt x="60" y="29"/>
                      <a:pt x="63" y="28"/>
                      <a:pt x="63" y="29"/>
                    </a:cubicBezTo>
                    <a:cubicBezTo>
                      <a:pt x="63" y="31"/>
                      <a:pt x="60" y="30"/>
                      <a:pt x="59" y="31"/>
                    </a:cubicBezTo>
                    <a:cubicBezTo>
                      <a:pt x="56" y="31"/>
                      <a:pt x="54" y="31"/>
                      <a:pt x="51" y="30"/>
                    </a:cubicBezTo>
                    <a:cubicBezTo>
                      <a:pt x="49" y="30"/>
                      <a:pt x="47" y="29"/>
                      <a:pt x="46" y="30"/>
                    </a:cubicBezTo>
                    <a:cubicBezTo>
                      <a:pt x="45" y="30"/>
                      <a:pt x="44" y="31"/>
                      <a:pt x="44" y="31"/>
                    </a:cubicBezTo>
                    <a:cubicBezTo>
                      <a:pt x="43" y="31"/>
                      <a:pt x="43" y="29"/>
                      <a:pt x="43" y="28"/>
                    </a:cubicBezTo>
                    <a:cubicBezTo>
                      <a:pt x="43" y="27"/>
                      <a:pt x="44" y="26"/>
                      <a:pt x="43" y="25"/>
                    </a:cubicBezTo>
                    <a:cubicBezTo>
                      <a:pt x="42" y="24"/>
                      <a:pt x="40" y="25"/>
                      <a:pt x="39" y="25"/>
                    </a:cubicBezTo>
                    <a:cubicBezTo>
                      <a:pt x="38" y="25"/>
                      <a:pt x="36" y="23"/>
                      <a:pt x="36" y="24"/>
                    </a:cubicBezTo>
                    <a:cubicBezTo>
                      <a:pt x="35" y="25"/>
                      <a:pt x="36" y="28"/>
                      <a:pt x="36" y="29"/>
                    </a:cubicBezTo>
                    <a:cubicBezTo>
                      <a:pt x="36" y="31"/>
                      <a:pt x="38" y="33"/>
                      <a:pt x="38" y="35"/>
                    </a:cubicBezTo>
                    <a:cubicBezTo>
                      <a:pt x="39" y="37"/>
                      <a:pt x="39" y="40"/>
                      <a:pt x="40" y="42"/>
                    </a:cubicBezTo>
                    <a:cubicBezTo>
                      <a:pt x="40" y="42"/>
                      <a:pt x="41" y="43"/>
                      <a:pt x="40" y="44"/>
                    </a:cubicBezTo>
                    <a:cubicBezTo>
                      <a:pt x="39" y="45"/>
                      <a:pt x="37" y="44"/>
                      <a:pt x="36" y="44"/>
                    </a:cubicBezTo>
                    <a:cubicBezTo>
                      <a:pt x="34" y="44"/>
                      <a:pt x="32" y="43"/>
                      <a:pt x="30" y="43"/>
                    </a:cubicBezTo>
                    <a:cubicBezTo>
                      <a:pt x="29" y="43"/>
                      <a:pt x="28" y="46"/>
                      <a:pt x="27" y="46"/>
                    </a:cubicBezTo>
                    <a:cubicBezTo>
                      <a:pt x="25" y="46"/>
                      <a:pt x="24" y="43"/>
                      <a:pt x="23" y="42"/>
                    </a:cubicBezTo>
                    <a:cubicBezTo>
                      <a:pt x="22" y="41"/>
                      <a:pt x="22" y="40"/>
                      <a:pt x="21" y="40"/>
                    </a:cubicBezTo>
                    <a:cubicBezTo>
                      <a:pt x="19" y="40"/>
                      <a:pt x="17" y="40"/>
                      <a:pt x="15" y="40"/>
                    </a:cubicBezTo>
                    <a:cubicBezTo>
                      <a:pt x="15" y="41"/>
                      <a:pt x="15" y="43"/>
                      <a:pt x="14" y="43"/>
                    </a:cubicBezTo>
                    <a:cubicBezTo>
                      <a:pt x="14" y="44"/>
                      <a:pt x="13" y="43"/>
                      <a:pt x="12" y="43"/>
                    </a:cubicBezTo>
                    <a:cubicBezTo>
                      <a:pt x="10" y="43"/>
                      <a:pt x="9" y="43"/>
                      <a:pt x="8" y="43"/>
                    </a:cubicBezTo>
                    <a:cubicBezTo>
                      <a:pt x="6" y="43"/>
                      <a:pt x="4" y="44"/>
                      <a:pt x="2" y="45"/>
                    </a:cubicBezTo>
                    <a:cubicBezTo>
                      <a:pt x="1" y="46"/>
                      <a:pt x="0" y="47"/>
                      <a:pt x="0" y="49"/>
                    </a:cubicBezTo>
                    <a:cubicBezTo>
                      <a:pt x="1" y="50"/>
                      <a:pt x="3" y="50"/>
                      <a:pt x="4" y="51"/>
                    </a:cubicBezTo>
                    <a:cubicBezTo>
                      <a:pt x="5" y="51"/>
                      <a:pt x="7" y="52"/>
                      <a:pt x="7" y="53"/>
                    </a:cubicBezTo>
                    <a:cubicBezTo>
                      <a:pt x="5" y="54"/>
                      <a:pt x="2" y="52"/>
                      <a:pt x="1" y="54"/>
                    </a:cubicBezTo>
                    <a:cubicBezTo>
                      <a:pt x="0" y="55"/>
                      <a:pt x="3" y="55"/>
                      <a:pt x="4" y="56"/>
                    </a:cubicBezTo>
                    <a:cubicBezTo>
                      <a:pt x="5" y="57"/>
                      <a:pt x="4" y="59"/>
                      <a:pt x="6" y="59"/>
                    </a:cubicBezTo>
                    <a:cubicBezTo>
                      <a:pt x="7" y="60"/>
                      <a:pt x="9" y="57"/>
                      <a:pt x="10" y="57"/>
                    </a:cubicBezTo>
                    <a:cubicBezTo>
                      <a:pt x="13" y="57"/>
                      <a:pt x="16" y="59"/>
                      <a:pt x="18" y="60"/>
                    </a:cubicBezTo>
                    <a:cubicBezTo>
                      <a:pt x="19" y="61"/>
                      <a:pt x="20" y="63"/>
                      <a:pt x="21" y="63"/>
                    </a:cubicBezTo>
                    <a:cubicBezTo>
                      <a:pt x="22" y="64"/>
                      <a:pt x="24" y="62"/>
                      <a:pt x="25" y="62"/>
                    </a:cubicBezTo>
                    <a:cubicBezTo>
                      <a:pt x="26" y="62"/>
                      <a:pt x="25" y="64"/>
                      <a:pt x="25" y="64"/>
                    </a:cubicBezTo>
                    <a:cubicBezTo>
                      <a:pt x="26" y="64"/>
                      <a:pt x="27" y="63"/>
                      <a:pt x="28" y="64"/>
                    </a:cubicBezTo>
                    <a:cubicBezTo>
                      <a:pt x="28" y="65"/>
                      <a:pt x="27" y="67"/>
                      <a:pt x="28" y="67"/>
                    </a:cubicBezTo>
                    <a:cubicBezTo>
                      <a:pt x="28" y="68"/>
                      <a:pt x="30" y="67"/>
                      <a:pt x="31" y="67"/>
                    </a:cubicBezTo>
                    <a:cubicBezTo>
                      <a:pt x="32" y="67"/>
                      <a:pt x="34" y="66"/>
                      <a:pt x="34" y="67"/>
                    </a:cubicBezTo>
                    <a:cubicBezTo>
                      <a:pt x="34" y="69"/>
                      <a:pt x="31" y="69"/>
                      <a:pt x="31" y="70"/>
                    </a:cubicBezTo>
                    <a:cubicBezTo>
                      <a:pt x="31" y="71"/>
                      <a:pt x="33" y="71"/>
                      <a:pt x="34" y="72"/>
                    </a:cubicBezTo>
                    <a:cubicBezTo>
                      <a:pt x="34" y="73"/>
                      <a:pt x="32" y="74"/>
                      <a:pt x="32" y="75"/>
                    </a:cubicBezTo>
                    <a:cubicBezTo>
                      <a:pt x="33" y="77"/>
                      <a:pt x="35" y="77"/>
                      <a:pt x="35" y="78"/>
                    </a:cubicBezTo>
                    <a:cubicBezTo>
                      <a:pt x="36" y="79"/>
                      <a:pt x="36" y="81"/>
                      <a:pt x="37" y="82"/>
                    </a:cubicBezTo>
                    <a:cubicBezTo>
                      <a:pt x="38" y="83"/>
                      <a:pt x="40" y="84"/>
                      <a:pt x="41" y="84"/>
                    </a:cubicBezTo>
                    <a:cubicBezTo>
                      <a:pt x="43" y="85"/>
                      <a:pt x="44" y="83"/>
                      <a:pt x="45" y="84"/>
                    </a:cubicBezTo>
                    <a:cubicBezTo>
                      <a:pt x="46" y="85"/>
                      <a:pt x="44" y="86"/>
                      <a:pt x="44" y="87"/>
                    </a:cubicBezTo>
                    <a:cubicBezTo>
                      <a:pt x="44" y="88"/>
                      <a:pt x="45" y="89"/>
                      <a:pt x="45" y="89"/>
                    </a:cubicBezTo>
                    <a:cubicBezTo>
                      <a:pt x="45" y="91"/>
                      <a:pt x="45" y="92"/>
                      <a:pt x="44" y="93"/>
                    </a:cubicBezTo>
                    <a:cubicBezTo>
                      <a:pt x="44" y="94"/>
                      <a:pt x="43" y="94"/>
                      <a:pt x="44" y="95"/>
                    </a:cubicBezTo>
                    <a:cubicBezTo>
                      <a:pt x="45" y="96"/>
                      <a:pt x="47" y="96"/>
                      <a:pt x="48" y="97"/>
                    </a:cubicBezTo>
                    <a:cubicBezTo>
                      <a:pt x="49" y="99"/>
                      <a:pt x="51" y="102"/>
                      <a:pt x="49" y="103"/>
                    </a:cubicBezTo>
                    <a:cubicBezTo>
                      <a:pt x="48" y="103"/>
                      <a:pt x="47" y="100"/>
                      <a:pt x="46" y="99"/>
                    </a:cubicBezTo>
                    <a:cubicBezTo>
                      <a:pt x="46" y="98"/>
                      <a:pt x="45" y="97"/>
                      <a:pt x="44" y="98"/>
                    </a:cubicBezTo>
                    <a:cubicBezTo>
                      <a:pt x="43" y="100"/>
                      <a:pt x="43" y="103"/>
                      <a:pt x="43" y="105"/>
                    </a:cubicBezTo>
                    <a:cubicBezTo>
                      <a:pt x="43" y="107"/>
                      <a:pt x="42" y="110"/>
                      <a:pt x="42" y="112"/>
                    </a:cubicBezTo>
                    <a:cubicBezTo>
                      <a:pt x="43" y="113"/>
                      <a:pt x="45" y="110"/>
                      <a:pt x="46" y="111"/>
                    </a:cubicBezTo>
                    <a:cubicBezTo>
                      <a:pt x="46" y="112"/>
                      <a:pt x="44" y="113"/>
                      <a:pt x="43" y="114"/>
                    </a:cubicBezTo>
                    <a:cubicBezTo>
                      <a:pt x="43" y="117"/>
                      <a:pt x="42" y="119"/>
                      <a:pt x="42" y="121"/>
                    </a:cubicBezTo>
                    <a:cubicBezTo>
                      <a:pt x="42" y="123"/>
                      <a:pt x="42" y="126"/>
                      <a:pt x="42" y="128"/>
                    </a:cubicBezTo>
                    <a:cubicBezTo>
                      <a:pt x="41" y="129"/>
                      <a:pt x="40" y="130"/>
                      <a:pt x="39" y="132"/>
                    </a:cubicBezTo>
                    <a:cubicBezTo>
                      <a:pt x="38" y="133"/>
                      <a:pt x="37" y="134"/>
                      <a:pt x="36" y="135"/>
                    </a:cubicBezTo>
                    <a:cubicBezTo>
                      <a:pt x="38" y="135"/>
                      <a:pt x="40" y="135"/>
                      <a:pt x="41" y="136"/>
                    </a:cubicBezTo>
                    <a:cubicBezTo>
                      <a:pt x="43" y="137"/>
                      <a:pt x="42" y="139"/>
                      <a:pt x="44" y="140"/>
                    </a:cubicBezTo>
                    <a:cubicBezTo>
                      <a:pt x="45" y="141"/>
                      <a:pt x="47" y="141"/>
                      <a:pt x="49" y="141"/>
                    </a:cubicBezTo>
                    <a:cubicBezTo>
                      <a:pt x="51" y="142"/>
                      <a:pt x="53" y="143"/>
                      <a:pt x="55" y="144"/>
                    </a:cubicBezTo>
                    <a:cubicBezTo>
                      <a:pt x="57" y="144"/>
                      <a:pt x="59" y="144"/>
                      <a:pt x="61" y="145"/>
                    </a:cubicBezTo>
                    <a:cubicBezTo>
                      <a:pt x="63" y="145"/>
                      <a:pt x="65" y="145"/>
                      <a:pt x="66" y="144"/>
                    </a:cubicBezTo>
                    <a:cubicBezTo>
                      <a:pt x="67" y="144"/>
                      <a:pt x="67" y="142"/>
                      <a:pt x="67" y="142"/>
                    </a:cubicBezTo>
                    <a:cubicBezTo>
                      <a:pt x="70" y="143"/>
                      <a:pt x="73" y="145"/>
                      <a:pt x="75" y="146"/>
                    </a:cubicBezTo>
                    <a:cubicBezTo>
                      <a:pt x="77" y="147"/>
                      <a:pt x="78" y="148"/>
                      <a:pt x="80" y="149"/>
                    </a:cubicBezTo>
                    <a:cubicBezTo>
                      <a:pt x="82" y="149"/>
                      <a:pt x="83" y="149"/>
                      <a:pt x="85" y="149"/>
                    </a:cubicBezTo>
                    <a:cubicBezTo>
                      <a:pt x="87" y="150"/>
                      <a:pt x="90" y="150"/>
                      <a:pt x="92" y="150"/>
                    </a:cubicBezTo>
                    <a:cubicBezTo>
                      <a:pt x="93" y="150"/>
                      <a:pt x="94" y="149"/>
                      <a:pt x="95" y="149"/>
                    </a:cubicBezTo>
                    <a:cubicBezTo>
                      <a:pt x="95" y="146"/>
                      <a:pt x="94" y="144"/>
                      <a:pt x="94" y="142"/>
                    </a:cubicBezTo>
                    <a:cubicBezTo>
                      <a:pt x="95" y="140"/>
                      <a:pt x="96" y="139"/>
                      <a:pt x="98" y="137"/>
                    </a:cubicBezTo>
                    <a:cubicBezTo>
                      <a:pt x="100" y="135"/>
                      <a:pt x="103" y="133"/>
                      <a:pt x="106" y="132"/>
                    </a:cubicBezTo>
                    <a:cubicBezTo>
                      <a:pt x="107" y="132"/>
                      <a:pt x="108" y="133"/>
                      <a:pt x="109" y="133"/>
                    </a:cubicBezTo>
                    <a:cubicBezTo>
                      <a:pt x="110" y="133"/>
                      <a:pt x="112" y="132"/>
                      <a:pt x="113" y="132"/>
                    </a:cubicBezTo>
                    <a:cubicBezTo>
                      <a:pt x="114" y="132"/>
                      <a:pt x="115" y="135"/>
                      <a:pt x="116" y="135"/>
                    </a:cubicBezTo>
                    <a:cubicBezTo>
                      <a:pt x="117" y="135"/>
                      <a:pt x="117" y="131"/>
                      <a:pt x="119" y="131"/>
                    </a:cubicBezTo>
                    <a:cubicBezTo>
                      <a:pt x="121" y="131"/>
                      <a:pt x="122" y="133"/>
                      <a:pt x="123" y="135"/>
                    </a:cubicBezTo>
                    <a:cubicBezTo>
                      <a:pt x="125" y="136"/>
                      <a:pt x="125" y="138"/>
                      <a:pt x="127" y="139"/>
                    </a:cubicBezTo>
                    <a:cubicBezTo>
                      <a:pt x="129" y="140"/>
                      <a:pt x="130" y="139"/>
                      <a:pt x="132" y="139"/>
                    </a:cubicBezTo>
                    <a:cubicBezTo>
                      <a:pt x="134" y="139"/>
                      <a:pt x="136" y="139"/>
                      <a:pt x="138" y="138"/>
                    </a:cubicBezTo>
                    <a:cubicBezTo>
                      <a:pt x="139" y="138"/>
                      <a:pt x="137" y="136"/>
                      <a:pt x="138" y="135"/>
                    </a:cubicBezTo>
                    <a:cubicBezTo>
                      <a:pt x="139" y="134"/>
                      <a:pt x="140" y="134"/>
                      <a:pt x="142" y="133"/>
                    </a:cubicBezTo>
                    <a:cubicBezTo>
                      <a:pt x="143" y="132"/>
                      <a:pt x="145" y="130"/>
                      <a:pt x="147" y="12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2" name="Freeform 2583"/>
              <p:cNvSpPr>
                <a:spLocks noChangeAspect="1"/>
              </p:cNvSpPr>
              <p:nvPr/>
            </p:nvSpPr>
            <p:spPr bwMode="auto">
              <a:xfrm>
                <a:off x="4589286" y="2523749"/>
                <a:ext cx="17992" cy="22738"/>
              </a:xfrm>
              <a:custGeom>
                <a:avLst/>
                <a:gdLst>
                  <a:gd name="T0" fmla="*/ 10 w 9"/>
                  <a:gd name="T1" fmla="*/ 14 h 12"/>
                  <a:gd name="T2" fmla="*/ 11 w 9"/>
                  <a:gd name="T3" fmla="*/ 9 h 12"/>
                  <a:gd name="T4" fmla="*/ 10 w 9"/>
                  <a:gd name="T5" fmla="*/ 7 h 12"/>
                  <a:gd name="T6" fmla="*/ 6 w 9"/>
                  <a:gd name="T7" fmla="*/ 4 h 12"/>
                  <a:gd name="T8" fmla="*/ 5 w 9"/>
                  <a:gd name="T9" fmla="*/ 0 h 12"/>
                  <a:gd name="T10" fmla="*/ 2 w 9"/>
                  <a:gd name="T11" fmla="*/ 1 h 12"/>
                  <a:gd name="T12" fmla="*/ 0 w 9"/>
                  <a:gd name="T13" fmla="*/ 5 h 12"/>
                  <a:gd name="T14" fmla="*/ 1 w 9"/>
                  <a:gd name="T15" fmla="*/ 8 h 12"/>
                  <a:gd name="T16" fmla="*/ 2 w 9"/>
                  <a:gd name="T17" fmla="*/ 13 h 12"/>
                  <a:gd name="T18" fmla="*/ 6 w 9"/>
                  <a:gd name="T19" fmla="*/ 14 h 12"/>
                  <a:gd name="T20" fmla="*/ 10 w 9"/>
                  <a:gd name="T21" fmla="*/ 14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"/>
                  <a:gd name="T34" fmla="*/ 0 h 12"/>
                  <a:gd name="T35" fmla="*/ 9 w 9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" h="12">
                    <a:moveTo>
                      <a:pt x="8" y="12"/>
                    </a:moveTo>
                    <a:cubicBezTo>
                      <a:pt x="8" y="10"/>
                      <a:pt x="9" y="9"/>
                      <a:pt x="9" y="8"/>
                    </a:cubicBezTo>
                    <a:cubicBezTo>
                      <a:pt x="9" y="7"/>
                      <a:pt x="9" y="6"/>
                      <a:pt x="8" y="6"/>
                    </a:cubicBezTo>
                    <a:cubicBezTo>
                      <a:pt x="7" y="5"/>
                      <a:pt x="6" y="4"/>
                      <a:pt x="5" y="3"/>
                    </a:cubicBezTo>
                    <a:cubicBezTo>
                      <a:pt x="5" y="2"/>
                      <a:pt x="4" y="1"/>
                      <a:pt x="4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5"/>
                      <a:pt x="1" y="6"/>
                      <a:pt x="1" y="7"/>
                    </a:cubicBezTo>
                    <a:cubicBezTo>
                      <a:pt x="1" y="8"/>
                      <a:pt x="2" y="10"/>
                      <a:pt x="2" y="11"/>
                    </a:cubicBezTo>
                    <a:cubicBezTo>
                      <a:pt x="3" y="11"/>
                      <a:pt x="4" y="12"/>
                      <a:pt x="5" y="12"/>
                    </a:cubicBezTo>
                    <a:cubicBezTo>
                      <a:pt x="6" y="12"/>
                      <a:pt x="7" y="12"/>
                      <a:pt x="8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3" name="Freeform 2584"/>
              <p:cNvSpPr>
                <a:spLocks noChangeAspect="1"/>
              </p:cNvSpPr>
              <p:nvPr/>
            </p:nvSpPr>
            <p:spPr bwMode="auto">
              <a:xfrm>
                <a:off x="4613820" y="2630941"/>
                <a:ext cx="284592" cy="300465"/>
              </a:xfrm>
              <a:custGeom>
                <a:avLst/>
                <a:gdLst>
                  <a:gd name="T0" fmla="*/ 94 w 145"/>
                  <a:gd name="T1" fmla="*/ 29 h 154"/>
                  <a:gd name="T2" fmla="*/ 80 w 145"/>
                  <a:gd name="T3" fmla="*/ 38 h 154"/>
                  <a:gd name="T4" fmla="*/ 82 w 145"/>
                  <a:gd name="T5" fmla="*/ 58 h 154"/>
                  <a:gd name="T6" fmla="*/ 97 w 145"/>
                  <a:gd name="T7" fmla="*/ 71 h 154"/>
                  <a:gd name="T8" fmla="*/ 119 w 145"/>
                  <a:gd name="T9" fmla="*/ 102 h 154"/>
                  <a:gd name="T10" fmla="*/ 138 w 145"/>
                  <a:gd name="T11" fmla="*/ 105 h 154"/>
                  <a:gd name="T12" fmla="*/ 140 w 145"/>
                  <a:gd name="T13" fmla="*/ 118 h 154"/>
                  <a:gd name="T14" fmla="*/ 169 w 145"/>
                  <a:gd name="T15" fmla="*/ 133 h 154"/>
                  <a:gd name="T16" fmla="*/ 167 w 145"/>
                  <a:gd name="T17" fmla="*/ 143 h 154"/>
                  <a:gd name="T18" fmla="*/ 156 w 145"/>
                  <a:gd name="T19" fmla="*/ 136 h 154"/>
                  <a:gd name="T20" fmla="*/ 145 w 145"/>
                  <a:gd name="T21" fmla="*/ 147 h 154"/>
                  <a:gd name="T22" fmla="*/ 154 w 145"/>
                  <a:gd name="T23" fmla="*/ 159 h 154"/>
                  <a:gd name="T24" fmla="*/ 145 w 145"/>
                  <a:gd name="T25" fmla="*/ 167 h 154"/>
                  <a:gd name="T26" fmla="*/ 139 w 145"/>
                  <a:gd name="T27" fmla="*/ 184 h 154"/>
                  <a:gd name="T28" fmla="*/ 136 w 145"/>
                  <a:gd name="T29" fmla="*/ 173 h 154"/>
                  <a:gd name="T30" fmla="*/ 139 w 145"/>
                  <a:gd name="T31" fmla="*/ 163 h 154"/>
                  <a:gd name="T32" fmla="*/ 132 w 145"/>
                  <a:gd name="T33" fmla="*/ 143 h 154"/>
                  <a:gd name="T34" fmla="*/ 121 w 145"/>
                  <a:gd name="T35" fmla="*/ 138 h 154"/>
                  <a:gd name="T36" fmla="*/ 115 w 145"/>
                  <a:gd name="T37" fmla="*/ 132 h 154"/>
                  <a:gd name="T38" fmla="*/ 102 w 145"/>
                  <a:gd name="T39" fmla="*/ 119 h 154"/>
                  <a:gd name="T40" fmla="*/ 84 w 145"/>
                  <a:gd name="T41" fmla="*/ 111 h 154"/>
                  <a:gd name="T42" fmla="*/ 66 w 145"/>
                  <a:gd name="T43" fmla="*/ 95 h 154"/>
                  <a:gd name="T44" fmla="*/ 56 w 145"/>
                  <a:gd name="T45" fmla="*/ 82 h 154"/>
                  <a:gd name="T46" fmla="*/ 47 w 145"/>
                  <a:gd name="T47" fmla="*/ 62 h 154"/>
                  <a:gd name="T48" fmla="*/ 29 w 145"/>
                  <a:gd name="T49" fmla="*/ 55 h 154"/>
                  <a:gd name="T50" fmla="*/ 16 w 145"/>
                  <a:gd name="T51" fmla="*/ 66 h 154"/>
                  <a:gd name="T52" fmla="*/ 8 w 145"/>
                  <a:gd name="T53" fmla="*/ 66 h 154"/>
                  <a:gd name="T54" fmla="*/ 10 w 145"/>
                  <a:gd name="T55" fmla="*/ 61 h 154"/>
                  <a:gd name="T56" fmla="*/ 4 w 145"/>
                  <a:gd name="T57" fmla="*/ 46 h 154"/>
                  <a:gd name="T58" fmla="*/ 6 w 145"/>
                  <a:gd name="T59" fmla="*/ 37 h 154"/>
                  <a:gd name="T60" fmla="*/ 1 w 145"/>
                  <a:gd name="T61" fmla="*/ 25 h 154"/>
                  <a:gd name="T62" fmla="*/ 12 w 145"/>
                  <a:gd name="T63" fmla="*/ 23 h 154"/>
                  <a:gd name="T64" fmla="*/ 20 w 145"/>
                  <a:gd name="T65" fmla="*/ 16 h 154"/>
                  <a:gd name="T66" fmla="*/ 29 w 145"/>
                  <a:gd name="T67" fmla="*/ 20 h 154"/>
                  <a:gd name="T68" fmla="*/ 36 w 145"/>
                  <a:gd name="T69" fmla="*/ 16 h 154"/>
                  <a:gd name="T70" fmla="*/ 46 w 145"/>
                  <a:gd name="T71" fmla="*/ 16 h 154"/>
                  <a:gd name="T72" fmla="*/ 49 w 145"/>
                  <a:gd name="T73" fmla="*/ 10 h 154"/>
                  <a:gd name="T74" fmla="*/ 54 w 145"/>
                  <a:gd name="T75" fmla="*/ 5 h 154"/>
                  <a:gd name="T76" fmla="*/ 62 w 145"/>
                  <a:gd name="T77" fmla="*/ 4 h 154"/>
                  <a:gd name="T78" fmla="*/ 79 w 145"/>
                  <a:gd name="T79" fmla="*/ 0 h 154"/>
                  <a:gd name="T80" fmla="*/ 90 w 145"/>
                  <a:gd name="T81" fmla="*/ 10 h 154"/>
                  <a:gd name="T82" fmla="*/ 97 w 145"/>
                  <a:gd name="T83" fmla="*/ 14 h 154"/>
                  <a:gd name="T84" fmla="*/ 101 w 145"/>
                  <a:gd name="T85" fmla="*/ 29 h 15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"/>
                  <a:gd name="T130" fmla="*/ 0 h 154"/>
                  <a:gd name="T131" fmla="*/ 145 w 145"/>
                  <a:gd name="T132" fmla="*/ 154 h 15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" h="154">
                    <a:moveTo>
                      <a:pt x="84" y="24"/>
                    </a:moveTo>
                    <a:cubicBezTo>
                      <a:pt x="83" y="24"/>
                      <a:pt x="82" y="24"/>
                      <a:pt x="81" y="24"/>
                    </a:cubicBezTo>
                    <a:cubicBezTo>
                      <a:pt x="80" y="24"/>
                      <a:pt x="79" y="23"/>
                      <a:pt x="78" y="24"/>
                    </a:cubicBezTo>
                    <a:cubicBezTo>
                      <a:pt x="76" y="24"/>
                      <a:pt x="75" y="26"/>
                      <a:pt x="74" y="26"/>
                    </a:cubicBezTo>
                    <a:cubicBezTo>
                      <a:pt x="72" y="27"/>
                      <a:pt x="70" y="26"/>
                      <a:pt x="69" y="27"/>
                    </a:cubicBezTo>
                    <a:cubicBezTo>
                      <a:pt x="68" y="28"/>
                      <a:pt x="67" y="30"/>
                      <a:pt x="67" y="32"/>
                    </a:cubicBezTo>
                    <a:cubicBezTo>
                      <a:pt x="67" y="34"/>
                      <a:pt x="70" y="35"/>
                      <a:pt x="70" y="37"/>
                    </a:cubicBezTo>
                    <a:cubicBezTo>
                      <a:pt x="70" y="38"/>
                      <a:pt x="67" y="39"/>
                      <a:pt x="67" y="40"/>
                    </a:cubicBezTo>
                    <a:cubicBezTo>
                      <a:pt x="67" y="43"/>
                      <a:pt x="67" y="46"/>
                      <a:pt x="68" y="48"/>
                    </a:cubicBezTo>
                    <a:cubicBezTo>
                      <a:pt x="69" y="50"/>
                      <a:pt x="70" y="52"/>
                      <a:pt x="71" y="54"/>
                    </a:cubicBezTo>
                    <a:cubicBezTo>
                      <a:pt x="72" y="55"/>
                      <a:pt x="74" y="53"/>
                      <a:pt x="75" y="54"/>
                    </a:cubicBezTo>
                    <a:cubicBezTo>
                      <a:pt x="77" y="55"/>
                      <a:pt x="79" y="58"/>
                      <a:pt x="81" y="59"/>
                    </a:cubicBezTo>
                    <a:cubicBezTo>
                      <a:pt x="82" y="60"/>
                      <a:pt x="83" y="59"/>
                      <a:pt x="84" y="60"/>
                    </a:cubicBezTo>
                    <a:cubicBezTo>
                      <a:pt x="86" y="65"/>
                      <a:pt x="87" y="72"/>
                      <a:pt x="90" y="77"/>
                    </a:cubicBezTo>
                    <a:cubicBezTo>
                      <a:pt x="92" y="81"/>
                      <a:pt x="96" y="82"/>
                      <a:pt x="99" y="85"/>
                    </a:cubicBezTo>
                    <a:cubicBezTo>
                      <a:pt x="100" y="86"/>
                      <a:pt x="101" y="87"/>
                      <a:pt x="102" y="87"/>
                    </a:cubicBezTo>
                    <a:cubicBezTo>
                      <a:pt x="105" y="88"/>
                      <a:pt x="108" y="87"/>
                      <a:pt x="112" y="87"/>
                    </a:cubicBezTo>
                    <a:cubicBezTo>
                      <a:pt x="113" y="87"/>
                      <a:pt x="114" y="87"/>
                      <a:pt x="115" y="87"/>
                    </a:cubicBezTo>
                    <a:cubicBezTo>
                      <a:pt x="116" y="88"/>
                      <a:pt x="115" y="90"/>
                      <a:pt x="114" y="91"/>
                    </a:cubicBezTo>
                    <a:cubicBezTo>
                      <a:pt x="114" y="92"/>
                      <a:pt x="112" y="93"/>
                      <a:pt x="112" y="94"/>
                    </a:cubicBezTo>
                    <a:cubicBezTo>
                      <a:pt x="113" y="96"/>
                      <a:pt x="115" y="97"/>
                      <a:pt x="117" y="98"/>
                    </a:cubicBezTo>
                    <a:cubicBezTo>
                      <a:pt x="120" y="100"/>
                      <a:pt x="124" y="100"/>
                      <a:pt x="126" y="101"/>
                    </a:cubicBezTo>
                    <a:cubicBezTo>
                      <a:pt x="130" y="103"/>
                      <a:pt x="132" y="106"/>
                      <a:pt x="135" y="108"/>
                    </a:cubicBezTo>
                    <a:cubicBezTo>
                      <a:pt x="137" y="109"/>
                      <a:pt x="139" y="109"/>
                      <a:pt x="141" y="111"/>
                    </a:cubicBezTo>
                    <a:cubicBezTo>
                      <a:pt x="142" y="112"/>
                      <a:pt x="143" y="113"/>
                      <a:pt x="143" y="115"/>
                    </a:cubicBezTo>
                    <a:cubicBezTo>
                      <a:pt x="143" y="118"/>
                      <a:pt x="145" y="121"/>
                      <a:pt x="143" y="123"/>
                    </a:cubicBezTo>
                    <a:cubicBezTo>
                      <a:pt x="142" y="124"/>
                      <a:pt x="140" y="121"/>
                      <a:pt x="139" y="119"/>
                    </a:cubicBezTo>
                    <a:cubicBezTo>
                      <a:pt x="138" y="118"/>
                      <a:pt x="139" y="116"/>
                      <a:pt x="138" y="115"/>
                    </a:cubicBezTo>
                    <a:cubicBezTo>
                      <a:pt x="138" y="114"/>
                      <a:pt x="137" y="115"/>
                      <a:pt x="136" y="115"/>
                    </a:cubicBezTo>
                    <a:cubicBezTo>
                      <a:pt x="134" y="114"/>
                      <a:pt x="132" y="114"/>
                      <a:pt x="130" y="113"/>
                    </a:cubicBezTo>
                    <a:cubicBezTo>
                      <a:pt x="129" y="113"/>
                      <a:pt x="128" y="111"/>
                      <a:pt x="127" y="111"/>
                    </a:cubicBezTo>
                    <a:cubicBezTo>
                      <a:pt x="125" y="112"/>
                      <a:pt x="123" y="114"/>
                      <a:pt x="122" y="115"/>
                    </a:cubicBezTo>
                    <a:cubicBezTo>
                      <a:pt x="121" y="117"/>
                      <a:pt x="121" y="120"/>
                      <a:pt x="121" y="122"/>
                    </a:cubicBezTo>
                    <a:cubicBezTo>
                      <a:pt x="121" y="123"/>
                      <a:pt x="121" y="124"/>
                      <a:pt x="121" y="125"/>
                    </a:cubicBezTo>
                    <a:cubicBezTo>
                      <a:pt x="123" y="127"/>
                      <a:pt x="126" y="127"/>
                      <a:pt x="128" y="129"/>
                    </a:cubicBezTo>
                    <a:cubicBezTo>
                      <a:pt x="129" y="129"/>
                      <a:pt x="128" y="131"/>
                      <a:pt x="128" y="132"/>
                    </a:cubicBezTo>
                    <a:cubicBezTo>
                      <a:pt x="128" y="133"/>
                      <a:pt x="130" y="135"/>
                      <a:pt x="129" y="137"/>
                    </a:cubicBezTo>
                    <a:cubicBezTo>
                      <a:pt x="128" y="138"/>
                      <a:pt x="127" y="136"/>
                      <a:pt x="125" y="137"/>
                    </a:cubicBezTo>
                    <a:cubicBezTo>
                      <a:pt x="124" y="137"/>
                      <a:pt x="122" y="138"/>
                      <a:pt x="121" y="139"/>
                    </a:cubicBezTo>
                    <a:cubicBezTo>
                      <a:pt x="121" y="141"/>
                      <a:pt x="122" y="144"/>
                      <a:pt x="121" y="146"/>
                    </a:cubicBezTo>
                    <a:cubicBezTo>
                      <a:pt x="121" y="147"/>
                      <a:pt x="118" y="147"/>
                      <a:pt x="118" y="148"/>
                    </a:cubicBezTo>
                    <a:cubicBezTo>
                      <a:pt x="117" y="150"/>
                      <a:pt x="118" y="152"/>
                      <a:pt x="116" y="153"/>
                    </a:cubicBezTo>
                    <a:cubicBezTo>
                      <a:pt x="115" y="154"/>
                      <a:pt x="113" y="153"/>
                      <a:pt x="112" y="152"/>
                    </a:cubicBezTo>
                    <a:cubicBezTo>
                      <a:pt x="111" y="152"/>
                      <a:pt x="111" y="151"/>
                      <a:pt x="111" y="150"/>
                    </a:cubicBezTo>
                    <a:cubicBezTo>
                      <a:pt x="112" y="148"/>
                      <a:pt x="113" y="146"/>
                      <a:pt x="113" y="144"/>
                    </a:cubicBezTo>
                    <a:cubicBezTo>
                      <a:pt x="113" y="143"/>
                      <a:pt x="112" y="142"/>
                      <a:pt x="113" y="142"/>
                    </a:cubicBezTo>
                    <a:cubicBezTo>
                      <a:pt x="114" y="140"/>
                      <a:pt x="117" y="141"/>
                      <a:pt x="118" y="140"/>
                    </a:cubicBezTo>
                    <a:cubicBezTo>
                      <a:pt x="118" y="138"/>
                      <a:pt x="116" y="137"/>
                      <a:pt x="116" y="136"/>
                    </a:cubicBezTo>
                    <a:cubicBezTo>
                      <a:pt x="115" y="135"/>
                      <a:pt x="116" y="134"/>
                      <a:pt x="115" y="133"/>
                    </a:cubicBezTo>
                    <a:cubicBezTo>
                      <a:pt x="115" y="131"/>
                      <a:pt x="114" y="129"/>
                      <a:pt x="113" y="127"/>
                    </a:cubicBezTo>
                    <a:cubicBezTo>
                      <a:pt x="112" y="125"/>
                      <a:pt x="111" y="121"/>
                      <a:pt x="110" y="119"/>
                    </a:cubicBezTo>
                    <a:cubicBezTo>
                      <a:pt x="109" y="118"/>
                      <a:pt x="108" y="119"/>
                      <a:pt x="108" y="119"/>
                    </a:cubicBezTo>
                    <a:cubicBezTo>
                      <a:pt x="107" y="119"/>
                      <a:pt x="105" y="119"/>
                      <a:pt x="105" y="118"/>
                    </a:cubicBezTo>
                    <a:cubicBezTo>
                      <a:pt x="103" y="117"/>
                      <a:pt x="102" y="116"/>
                      <a:pt x="101" y="115"/>
                    </a:cubicBezTo>
                    <a:cubicBezTo>
                      <a:pt x="101" y="114"/>
                      <a:pt x="103" y="114"/>
                      <a:pt x="102" y="114"/>
                    </a:cubicBezTo>
                    <a:cubicBezTo>
                      <a:pt x="102" y="112"/>
                      <a:pt x="101" y="111"/>
                      <a:pt x="100" y="110"/>
                    </a:cubicBezTo>
                    <a:cubicBezTo>
                      <a:pt x="99" y="109"/>
                      <a:pt x="97" y="110"/>
                      <a:pt x="96" y="110"/>
                    </a:cubicBezTo>
                    <a:cubicBezTo>
                      <a:pt x="94" y="109"/>
                      <a:pt x="93" y="109"/>
                      <a:pt x="91" y="108"/>
                    </a:cubicBezTo>
                    <a:cubicBezTo>
                      <a:pt x="90" y="107"/>
                      <a:pt x="89" y="105"/>
                      <a:pt x="88" y="103"/>
                    </a:cubicBezTo>
                    <a:cubicBezTo>
                      <a:pt x="87" y="101"/>
                      <a:pt x="87" y="100"/>
                      <a:pt x="85" y="99"/>
                    </a:cubicBezTo>
                    <a:cubicBezTo>
                      <a:pt x="84" y="98"/>
                      <a:pt x="82" y="99"/>
                      <a:pt x="80" y="99"/>
                    </a:cubicBezTo>
                    <a:cubicBezTo>
                      <a:pt x="78" y="99"/>
                      <a:pt x="76" y="98"/>
                      <a:pt x="75" y="96"/>
                    </a:cubicBezTo>
                    <a:cubicBezTo>
                      <a:pt x="73" y="95"/>
                      <a:pt x="72" y="93"/>
                      <a:pt x="70" y="92"/>
                    </a:cubicBezTo>
                    <a:cubicBezTo>
                      <a:pt x="69" y="91"/>
                      <a:pt x="67" y="90"/>
                      <a:pt x="66" y="88"/>
                    </a:cubicBezTo>
                    <a:cubicBezTo>
                      <a:pt x="65" y="87"/>
                      <a:pt x="63" y="85"/>
                      <a:pt x="61" y="83"/>
                    </a:cubicBezTo>
                    <a:cubicBezTo>
                      <a:pt x="59" y="82"/>
                      <a:pt x="57" y="81"/>
                      <a:pt x="55" y="79"/>
                    </a:cubicBezTo>
                    <a:cubicBezTo>
                      <a:pt x="53" y="78"/>
                      <a:pt x="53" y="76"/>
                      <a:pt x="52" y="74"/>
                    </a:cubicBezTo>
                    <a:cubicBezTo>
                      <a:pt x="50" y="73"/>
                      <a:pt x="48" y="72"/>
                      <a:pt x="47" y="71"/>
                    </a:cubicBezTo>
                    <a:cubicBezTo>
                      <a:pt x="46" y="70"/>
                      <a:pt x="47" y="69"/>
                      <a:pt x="47" y="68"/>
                    </a:cubicBezTo>
                    <a:cubicBezTo>
                      <a:pt x="46" y="66"/>
                      <a:pt x="45" y="64"/>
                      <a:pt x="44" y="62"/>
                    </a:cubicBezTo>
                    <a:cubicBezTo>
                      <a:pt x="43" y="59"/>
                      <a:pt x="43" y="56"/>
                      <a:pt x="42" y="54"/>
                    </a:cubicBezTo>
                    <a:cubicBezTo>
                      <a:pt x="42" y="53"/>
                      <a:pt x="40" y="52"/>
                      <a:pt x="39" y="52"/>
                    </a:cubicBezTo>
                    <a:cubicBezTo>
                      <a:pt x="37" y="51"/>
                      <a:pt x="36" y="51"/>
                      <a:pt x="34" y="50"/>
                    </a:cubicBezTo>
                    <a:cubicBezTo>
                      <a:pt x="32" y="49"/>
                      <a:pt x="31" y="47"/>
                      <a:pt x="29" y="47"/>
                    </a:cubicBezTo>
                    <a:cubicBezTo>
                      <a:pt x="27" y="46"/>
                      <a:pt x="26" y="46"/>
                      <a:pt x="24" y="46"/>
                    </a:cubicBezTo>
                    <a:cubicBezTo>
                      <a:pt x="22" y="47"/>
                      <a:pt x="21" y="48"/>
                      <a:pt x="19" y="49"/>
                    </a:cubicBezTo>
                    <a:cubicBezTo>
                      <a:pt x="18" y="50"/>
                      <a:pt x="18" y="52"/>
                      <a:pt x="17" y="53"/>
                    </a:cubicBezTo>
                    <a:cubicBezTo>
                      <a:pt x="16" y="54"/>
                      <a:pt x="15" y="55"/>
                      <a:pt x="13" y="55"/>
                    </a:cubicBezTo>
                    <a:cubicBezTo>
                      <a:pt x="12" y="56"/>
                      <a:pt x="11" y="56"/>
                      <a:pt x="9" y="56"/>
                    </a:cubicBezTo>
                    <a:cubicBezTo>
                      <a:pt x="9" y="57"/>
                      <a:pt x="8" y="58"/>
                      <a:pt x="8" y="58"/>
                    </a:cubicBezTo>
                    <a:cubicBezTo>
                      <a:pt x="8" y="57"/>
                      <a:pt x="7" y="56"/>
                      <a:pt x="7" y="55"/>
                    </a:cubicBezTo>
                    <a:cubicBezTo>
                      <a:pt x="8" y="54"/>
                      <a:pt x="10" y="55"/>
                      <a:pt x="11" y="54"/>
                    </a:cubicBezTo>
                    <a:cubicBezTo>
                      <a:pt x="12" y="53"/>
                      <a:pt x="12" y="52"/>
                      <a:pt x="12" y="51"/>
                    </a:cubicBezTo>
                    <a:cubicBezTo>
                      <a:pt x="11" y="50"/>
                      <a:pt x="9" y="51"/>
                      <a:pt x="8" y="51"/>
                    </a:cubicBezTo>
                    <a:cubicBezTo>
                      <a:pt x="6" y="50"/>
                      <a:pt x="4" y="49"/>
                      <a:pt x="3" y="47"/>
                    </a:cubicBezTo>
                    <a:cubicBezTo>
                      <a:pt x="2" y="46"/>
                      <a:pt x="3" y="44"/>
                      <a:pt x="3" y="42"/>
                    </a:cubicBezTo>
                    <a:cubicBezTo>
                      <a:pt x="3" y="41"/>
                      <a:pt x="4" y="40"/>
                      <a:pt x="3" y="38"/>
                    </a:cubicBezTo>
                    <a:cubicBezTo>
                      <a:pt x="3" y="37"/>
                      <a:pt x="0" y="37"/>
                      <a:pt x="0" y="36"/>
                    </a:cubicBezTo>
                    <a:cubicBezTo>
                      <a:pt x="0" y="35"/>
                      <a:pt x="1" y="34"/>
                      <a:pt x="1" y="33"/>
                    </a:cubicBezTo>
                    <a:cubicBezTo>
                      <a:pt x="2" y="32"/>
                      <a:pt x="4" y="32"/>
                      <a:pt x="5" y="31"/>
                    </a:cubicBezTo>
                    <a:cubicBezTo>
                      <a:pt x="5" y="30"/>
                      <a:pt x="4" y="28"/>
                      <a:pt x="4" y="27"/>
                    </a:cubicBezTo>
                    <a:cubicBezTo>
                      <a:pt x="3" y="26"/>
                      <a:pt x="1" y="25"/>
                      <a:pt x="0" y="23"/>
                    </a:cubicBezTo>
                    <a:cubicBezTo>
                      <a:pt x="0" y="23"/>
                      <a:pt x="0" y="22"/>
                      <a:pt x="1" y="21"/>
                    </a:cubicBezTo>
                    <a:cubicBezTo>
                      <a:pt x="1" y="21"/>
                      <a:pt x="3" y="21"/>
                      <a:pt x="4" y="20"/>
                    </a:cubicBezTo>
                    <a:cubicBezTo>
                      <a:pt x="5" y="20"/>
                      <a:pt x="6" y="21"/>
                      <a:pt x="7" y="20"/>
                    </a:cubicBezTo>
                    <a:cubicBezTo>
                      <a:pt x="8" y="20"/>
                      <a:pt x="9" y="19"/>
                      <a:pt x="10" y="19"/>
                    </a:cubicBezTo>
                    <a:cubicBezTo>
                      <a:pt x="11" y="19"/>
                      <a:pt x="12" y="20"/>
                      <a:pt x="13" y="20"/>
                    </a:cubicBezTo>
                    <a:cubicBezTo>
                      <a:pt x="15" y="19"/>
                      <a:pt x="16" y="18"/>
                      <a:pt x="17" y="16"/>
                    </a:cubicBezTo>
                    <a:cubicBezTo>
                      <a:pt x="17" y="15"/>
                      <a:pt x="17" y="14"/>
                      <a:pt x="17" y="13"/>
                    </a:cubicBezTo>
                    <a:cubicBezTo>
                      <a:pt x="18" y="12"/>
                      <a:pt x="19" y="10"/>
                      <a:pt x="20" y="10"/>
                    </a:cubicBezTo>
                    <a:cubicBezTo>
                      <a:pt x="22" y="11"/>
                      <a:pt x="20" y="14"/>
                      <a:pt x="21" y="15"/>
                    </a:cubicBezTo>
                    <a:cubicBezTo>
                      <a:pt x="22" y="16"/>
                      <a:pt x="23" y="16"/>
                      <a:pt x="24" y="17"/>
                    </a:cubicBezTo>
                    <a:cubicBezTo>
                      <a:pt x="25" y="17"/>
                      <a:pt x="25" y="19"/>
                      <a:pt x="26" y="19"/>
                    </a:cubicBezTo>
                    <a:cubicBezTo>
                      <a:pt x="27" y="19"/>
                      <a:pt x="28" y="19"/>
                      <a:pt x="29" y="18"/>
                    </a:cubicBezTo>
                    <a:cubicBezTo>
                      <a:pt x="30" y="17"/>
                      <a:pt x="30" y="15"/>
                      <a:pt x="30" y="13"/>
                    </a:cubicBezTo>
                    <a:cubicBezTo>
                      <a:pt x="30" y="12"/>
                      <a:pt x="30" y="11"/>
                      <a:pt x="31" y="11"/>
                    </a:cubicBezTo>
                    <a:cubicBezTo>
                      <a:pt x="33" y="11"/>
                      <a:pt x="33" y="13"/>
                      <a:pt x="34" y="13"/>
                    </a:cubicBezTo>
                    <a:cubicBezTo>
                      <a:pt x="35" y="14"/>
                      <a:pt x="37" y="13"/>
                      <a:pt x="38" y="13"/>
                    </a:cubicBezTo>
                    <a:cubicBezTo>
                      <a:pt x="39" y="13"/>
                      <a:pt x="40" y="14"/>
                      <a:pt x="40" y="14"/>
                    </a:cubicBezTo>
                    <a:cubicBezTo>
                      <a:pt x="41" y="12"/>
                      <a:pt x="40" y="11"/>
                      <a:pt x="40" y="9"/>
                    </a:cubicBezTo>
                    <a:cubicBezTo>
                      <a:pt x="40" y="9"/>
                      <a:pt x="40" y="8"/>
                      <a:pt x="41" y="8"/>
                    </a:cubicBezTo>
                    <a:cubicBezTo>
                      <a:pt x="42" y="8"/>
                      <a:pt x="43" y="10"/>
                      <a:pt x="44" y="10"/>
                    </a:cubicBezTo>
                    <a:cubicBezTo>
                      <a:pt x="45" y="9"/>
                      <a:pt x="44" y="7"/>
                      <a:pt x="44" y="6"/>
                    </a:cubicBezTo>
                    <a:cubicBezTo>
                      <a:pt x="44" y="5"/>
                      <a:pt x="44" y="4"/>
                      <a:pt x="45" y="4"/>
                    </a:cubicBezTo>
                    <a:cubicBezTo>
                      <a:pt x="46" y="4"/>
                      <a:pt x="47" y="5"/>
                      <a:pt x="48" y="5"/>
                    </a:cubicBezTo>
                    <a:cubicBezTo>
                      <a:pt x="50" y="5"/>
                      <a:pt x="51" y="6"/>
                      <a:pt x="52" y="6"/>
                    </a:cubicBezTo>
                    <a:cubicBezTo>
                      <a:pt x="53" y="5"/>
                      <a:pt x="52" y="3"/>
                      <a:pt x="52" y="3"/>
                    </a:cubicBezTo>
                    <a:cubicBezTo>
                      <a:pt x="54" y="2"/>
                      <a:pt x="55" y="2"/>
                      <a:pt x="57" y="2"/>
                    </a:cubicBezTo>
                    <a:cubicBezTo>
                      <a:pt x="59" y="1"/>
                      <a:pt x="60" y="2"/>
                      <a:pt x="62" y="1"/>
                    </a:cubicBezTo>
                    <a:cubicBezTo>
                      <a:pt x="63" y="1"/>
                      <a:pt x="64" y="0"/>
                      <a:pt x="66" y="0"/>
                    </a:cubicBezTo>
                    <a:cubicBezTo>
                      <a:pt x="66" y="1"/>
                      <a:pt x="65" y="2"/>
                      <a:pt x="66" y="3"/>
                    </a:cubicBezTo>
                    <a:cubicBezTo>
                      <a:pt x="66" y="5"/>
                      <a:pt x="67" y="6"/>
                      <a:pt x="69" y="7"/>
                    </a:cubicBezTo>
                    <a:cubicBezTo>
                      <a:pt x="70" y="7"/>
                      <a:pt x="73" y="7"/>
                      <a:pt x="75" y="8"/>
                    </a:cubicBezTo>
                    <a:cubicBezTo>
                      <a:pt x="77" y="8"/>
                      <a:pt x="80" y="9"/>
                      <a:pt x="83" y="9"/>
                    </a:cubicBezTo>
                    <a:cubicBezTo>
                      <a:pt x="83" y="9"/>
                      <a:pt x="83" y="10"/>
                      <a:pt x="84" y="10"/>
                    </a:cubicBezTo>
                    <a:cubicBezTo>
                      <a:pt x="83" y="11"/>
                      <a:pt x="81" y="11"/>
                      <a:pt x="81" y="12"/>
                    </a:cubicBezTo>
                    <a:cubicBezTo>
                      <a:pt x="80" y="13"/>
                      <a:pt x="82" y="14"/>
                      <a:pt x="82" y="16"/>
                    </a:cubicBezTo>
                    <a:cubicBezTo>
                      <a:pt x="83" y="17"/>
                      <a:pt x="81" y="18"/>
                      <a:pt x="82" y="20"/>
                    </a:cubicBezTo>
                    <a:cubicBezTo>
                      <a:pt x="82" y="21"/>
                      <a:pt x="83" y="22"/>
                      <a:pt x="84" y="2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4" name="Freeform 2585"/>
              <p:cNvSpPr>
                <a:spLocks noChangeAspect="1"/>
              </p:cNvSpPr>
              <p:nvPr/>
            </p:nvSpPr>
            <p:spPr bwMode="auto">
              <a:xfrm>
                <a:off x="4597464" y="2604955"/>
                <a:ext cx="104678" cy="66590"/>
              </a:xfrm>
              <a:custGeom>
                <a:avLst/>
                <a:gdLst>
                  <a:gd name="T0" fmla="*/ 64 w 54"/>
                  <a:gd name="T1" fmla="*/ 21 h 34"/>
                  <a:gd name="T2" fmla="*/ 63 w 54"/>
                  <a:gd name="T3" fmla="*/ 17 h 34"/>
                  <a:gd name="T4" fmla="*/ 58 w 54"/>
                  <a:gd name="T5" fmla="*/ 21 h 34"/>
                  <a:gd name="T6" fmla="*/ 55 w 54"/>
                  <a:gd name="T7" fmla="*/ 17 h 34"/>
                  <a:gd name="T8" fmla="*/ 51 w 54"/>
                  <a:gd name="T9" fmla="*/ 16 h 34"/>
                  <a:gd name="T10" fmla="*/ 51 w 54"/>
                  <a:gd name="T11" fmla="*/ 12 h 34"/>
                  <a:gd name="T12" fmla="*/ 51 w 54"/>
                  <a:gd name="T13" fmla="*/ 10 h 34"/>
                  <a:gd name="T14" fmla="*/ 50 w 54"/>
                  <a:gd name="T15" fmla="*/ 6 h 34"/>
                  <a:gd name="T16" fmla="*/ 46 w 54"/>
                  <a:gd name="T17" fmla="*/ 2 h 34"/>
                  <a:gd name="T18" fmla="*/ 40 w 54"/>
                  <a:gd name="T19" fmla="*/ 2 h 34"/>
                  <a:gd name="T20" fmla="*/ 36 w 54"/>
                  <a:gd name="T21" fmla="*/ 0 h 34"/>
                  <a:gd name="T22" fmla="*/ 36 w 54"/>
                  <a:gd name="T23" fmla="*/ 4 h 34"/>
                  <a:gd name="T24" fmla="*/ 32 w 54"/>
                  <a:gd name="T25" fmla="*/ 5 h 34"/>
                  <a:gd name="T26" fmla="*/ 28 w 54"/>
                  <a:gd name="T27" fmla="*/ 7 h 34"/>
                  <a:gd name="T28" fmla="*/ 23 w 54"/>
                  <a:gd name="T29" fmla="*/ 6 h 34"/>
                  <a:gd name="T30" fmla="*/ 19 w 54"/>
                  <a:gd name="T31" fmla="*/ 8 h 34"/>
                  <a:gd name="T32" fmla="*/ 14 w 54"/>
                  <a:gd name="T33" fmla="*/ 7 h 34"/>
                  <a:gd name="T34" fmla="*/ 12 w 54"/>
                  <a:gd name="T35" fmla="*/ 8 h 34"/>
                  <a:gd name="T36" fmla="*/ 14 w 54"/>
                  <a:gd name="T37" fmla="*/ 11 h 34"/>
                  <a:gd name="T38" fmla="*/ 9 w 54"/>
                  <a:gd name="T39" fmla="*/ 16 h 34"/>
                  <a:gd name="T40" fmla="*/ 6 w 54"/>
                  <a:gd name="T41" fmla="*/ 19 h 34"/>
                  <a:gd name="T42" fmla="*/ 4 w 54"/>
                  <a:gd name="T43" fmla="*/ 24 h 34"/>
                  <a:gd name="T44" fmla="*/ 2 w 54"/>
                  <a:gd name="T45" fmla="*/ 29 h 34"/>
                  <a:gd name="T46" fmla="*/ 1 w 54"/>
                  <a:gd name="T47" fmla="*/ 35 h 34"/>
                  <a:gd name="T48" fmla="*/ 6 w 54"/>
                  <a:gd name="T49" fmla="*/ 30 h 34"/>
                  <a:gd name="T50" fmla="*/ 9 w 54"/>
                  <a:gd name="T51" fmla="*/ 30 h 34"/>
                  <a:gd name="T52" fmla="*/ 12 w 54"/>
                  <a:gd name="T53" fmla="*/ 31 h 34"/>
                  <a:gd name="T54" fmla="*/ 12 w 54"/>
                  <a:gd name="T55" fmla="*/ 36 h 34"/>
                  <a:gd name="T56" fmla="*/ 15 w 54"/>
                  <a:gd name="T57" fmla="*/ 40 h 34"/>
                  <a:gd name="T58" fmla="*/ 19 w 54"/>
                  <a:gd name="T59" fmla="*/ 40 h 34"/>
                  <a:gd name="T60" fmla="*/ 23 w 54"/>
                  <a:gd name="T61" fmla="*/ 39 h 34"/>
                  <a:gd name="T62" fmla="*/ 26 w 54"/>
                  <a:gd name="T63" fmla="*/ 40 h 34"/>
                  <a:gd name="T64" fmla="*/ 31 w 54"/>
                  <a:gd name="T65" fmla="*/ 35 h 34"/>
                  <a:gd name="T66" fmla="*/ 31 w 54"/>
                  <a:gd name="T67" fmla="*/ 31 h 34"/>
                  <a:gd name="T68" fmla="*/ 34 w 54"/>
                  <a:gd name="T69" fmla="*/ 28 h 34"/>
                  <a:gd name="T70" fmla="*/ 36 w 54"/>
                  <a:gd name="T71" fmla="*/ 34 h 34"/>
                  <a:gd name="T72" fmla="*/ 39 w 54"/>
                  <a:gd name="T73" fmla="*/ 36 h 34"/>
                  <a:gd name="T74" fmla="*/ 41 w 54"/>
                  <a:gd name="T75" fmla="*/ 39 h 34"/>
                  <a:gd name="T76" fmla="*/ 45 w 54"/>
                  <a:gd name="T77" fmla="*/ 37 h 34"/>
                  <a:gd name="T78" fmla="*/ 46 w 54"/>
                  <a:gd name="T79" fmla="*/ 31 h 34"/>
                  <a:gd name="T80" fmla="*/ 47 w 54"/>
                  <a:gd name="T81" fmla="*/ 29 h 34"/>
                  <a:gd name="T82" fmla="*/ 51 w 54"/>
                  <a:gd name="T83" fmla="*/ 31 h 34"/>
                  <a:gd name="T84" fmla="*/ 56 w 54"/>
                  <a:gd name="T85" fmla="*/ 31 h 34"/>
                  <a:gd name="T86" fmla="*/ 58 w 54"/>
                  <a:gd name="T87" fmla="*/ 33 h 34"/>
                  <a:gd name="T88" fmla="*/ 58 w 54"/>
                  <a:gd name="T89" fmla="*/ 27 h 34"/>
                  <a:gd name="T90" fmla="*/ 59 w 54"/>
                  <a:gd name="T91" fmla="*/ 25 h 34"/>
                  <a:gd name="T92" fmla="*/ 63 w 54"/>
                  <a:gd name="T93" fmla="*/ 28 h 34"/>
                  <a:gd name="T94" fmla="*/ 63 w 54"/>
                  <a:gd name="T95" fmla="*/ 23 h 34"/>
                  <a:gd name="T96" fmla="*/ 64 w 54"/>
                  <a:gd name="T97" fmla="*/ 21 h 3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4"/>
                  <a:gd name="T148" fmla="*/ 0 h 34"/>
                  <a:gd name="T149" fmla="*/ 54 w 54"/>
                  <a:gd name="T150" fmla="*/ 34 h 3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4" h="34">
                    <a:moveTo>
                      <a:pt x="54" y="17"/>
                    </a:moveTo>
                    <a:cubicBezTo>
                      <a:pt x="53" y="16"/>
                      <a:pt x="54" y="14"/>
                      <a:pt x="53" y="14"/>
                    </a:cubicBezTo>
                    <a:cubicBezTo>
                      <a:pt x="51" y="14"/>
                      <a:pt x="51" y="17"/>
                      <a:pt x="49" y="17"/>
                    </a:cubicBezTo>
                    <a:cubicBezTo>
                      <a:pt x="48" y="17"/>
                      <a:pt x="47" y="15"/>
                      <a:pt x="46" y="14"/>
                    </a:cubicBezTo>
                    <a:cubicBezTo>
                      <a:pt x="45" y="13"/>
                      <a:pt x="43" y="14"/>
                      <a:pt x="43" y="13"/>
                    </a:cubicBezTo>
                    <a:cubicBezTo>
                      <a:pt x="42" y="13"/>
                      <a:pt x="43" y="11"/>
                      <a:pt x="43" y="10"/>
                    </a:cubicBezTo>
                    <a:cubicBezTo>
                      <a:pt x="43" y="10"/>
                      <a:pt x="43" y="9"/>
                      <a:pt x="43" y="8"/>
                    </a:cubicBezTo>
                    <a:cubicBezTo>
                      <a:pt x="42" y="7"/>
                      <a:pt x="42" y="6"/>
                      <a:pt x="42" y="5"/>
                    </a:cubicBezTo>
                    <a:cubicBezTo>
                      <a:pt x="41" y="4"/>
                      <a:pt x="40" y="3"/>
                      <a:pt x="39" y="2"/>
                    </a:cubicBezTo>
                    <a:cubicBezTo>
                      <a:pt x="37" y="2"/>
                      <a:pt x="36" y="2"/>
                      <a:pt x="34" y="2"/>
                    </a:cubicBezTo>
                    <a:cubicBezTo>
                      <a:pt x="33" y="2"/>
                      <a:pt x="31" y="0"/>
                      <a:pt x="30" y="0"/>
                    </a:cubicBezTo>
                    <a:cubicBezTo>
                      <a:pt x="29" y="0"/>
                      <a:pt x="31" y="2"/>
                      <a:pt x="30" y="3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4" y="6"/>
                    </a:cubicBezTo>
                    <a:cubicBezTo>
                      <a:pt x="22" y="6"/>
                      <a:pt x="20" y="5"/>
                      <a:pt x="19" y="5"/>
                    </a:cubicBezTo>
                    <a:cubicBezTo>
                      <a:pt x="18" y="6"/>
                      <a:pt x="17" y="7"/>
                      <a:pt x="16" y="7"/>
                    </a:cubicBezTo>
                    <a:cubicBezTo>
                      <a:pt x="14" y="7"/>
                      <a:pt x="13" y="5"/>
                      <a:pt x="12" y="6"/>
                    </a:cubicBezTo>
                    <a:cubicBezTo>
                      <a:pt x="11" y="6"/>
                      <a:pt x="10" y="7"/>
                      <a:pt x="10" y="7"/>
                    </a:cubicBezTo>
                    <a:cubicBezTo>
                      <a:pt x="10" y="8"/>
                      <a:pt x="12" y="8"/>
                      <a:pt x="12" y="9"/>
                    </a:cubicBezTo>
                    <a:cubicBezTo>
                      <a:pt x="11" y="10"/>
                      <a:pt x="9" y="12"/>
                      <a:pt x="8" y="13"/>
                    </a:cubicBezTo>
                    <a:cubicBezTo>
                      <a:pt x="7" y="14"/>
                      <a:pt x="5" y="15"/>
                      <a:pt x="5" y="16"/>
                    </a:cubicBezTo>
                    <a:cubicBezTo>
                      <a:pt x="4" y="17"/>
                      <a:pt x="3" y="19"/>
                      <a:pt x="3" y="20"/>
                    </a:cubicBezTo>
                    <a:cubicBezTo>
                      <a:pt x="2" y="21"/>
                      <a:pt x="2" y="23"/>
                      <a:pt x="2" y="24"/>
                    </a:cubicBezTo>
                    <a:cubicBezTo>
                      <a:pt x="1" y="26"/>
                      <a:pt x="0" y="28"/>
                      <a:pt x="1" y="29"/>
                    </a:cubicBezTo>
                    <a:cubicBezTo>
                      <a:pt x="3" y="29"/>
                      <a:pt x="4" y="26"/>
                      <a:pt x="5" y="25"/>
                    </a:cubicBezTo>
                    <a:cubicBezTo>
                      <a:pt x="6" y="25"/>
                      <a:pt x="7" y="25"/>
                      <a:pt x="8" y="25"/>
                    </a:cubicBezTo>
                    <a:cubicBezTo>
                      <a:pt x="9" y="25"/>
                      <a:pt x="9" y="26"/>
                      <a:pt x="10" y="26"/>
                    </a:cubicBezTo>
                    <a:cubicBezTo>
                      <a:pt x="10" y="27"/>
                      <a:pt x="10" y="29"/>
                      <a:pt x="10" y="30"/>
                    </a:cubicBezTo>
                    <a:cubicBezTo>
                      <a:pt x="11" y="31"/>
                      <a:pt x="12" y="32"/>
                      <a:pt x="13" y="33"/>
                    </a:cubicBezTo>
                    <a:cubicBezTo>
                      <a:pt x="14" y="33"/>
                      <a:pt x="15" y="34"/>
                      <a:pt x="16" y="33"/>
                    </a:cubicBezTo>
                    <a:cubicBezTo>
                      <a:pt x="17" y="33"/>
                      <a:pt x="18" y="32"/>
                      <a:pt x="19" y="32"/>
                    </a:cubicBezTo>
                    <a:cubicBezTo>
                      <a:pt x="20" y="32"/>
                      <a:pt x="21" y="33"/>
                      <a:pt x="22" y="33"/>
                    </a:cubicBezTo>
                    <a:cubicBezTo>
                      <a:pt x="24" y="32"/>
                      <a:pt x="25" y="31"/>
                      <a:pt x="26" y="29"/>
                    </a:cubicBezTo>
                    <a:cubicBezTo>
                      <a:pt x="26" y="28"/>
                      <a:pt x="26" y="27"/>
                      <a:pt x="26" y="26"/>
                    </a:cubicBezTo>
                    <a:cubicBezTo>
                      <a:pt x="27" y="25"/>
                      <a:pt x="28" y="23"/>
                      <a:pt x="29" y="23"/>
                    </a:cubicBezTo>
                    <a:cubicBezTo>
                      <a:pt x="31" y="24"/>
                      <a:pt x="29" y="27"/>
                      <a:pt x="30" y="28"/>
                    </a:cubicBezTo>
                    <a:cubicBezTo>
                      <a:pt x="31" y="29"/>
                      <a:pt x="32" y="29"/>
                      <a:pt x="33" y="30"/>
                    </a:cubicBezTo>
                    <a:cubicBezTo>
                      <a:pt x="34" y="30"/>
                      <a:pt x="34" y="32"/>
                      <a:pt x="35" y="32"/>
                    </a:cubicBezTo>
                    <a:cubicBezTo>
                      <a:pt x="36" y="32"/>
                      <a:pt x="37" y="32"/>
                      <a:pt x="38" y="31"/>
                    </a:cubicBezTo>
                    <a:cubicBezTo>
                      <a:pt x="39" y="30"/>
                      <a:pt x="39" y="28"/>
                      <a:pt x="39" y="26"/>
                    </a:cubicBezTo>
                    <a:cubicBezTo>
                      <a:pt x="39" y="25"/>
                      <a:pt x="39" y="24"/>
                      <a:pt x="40" y="24"/>
                    </a:cubicBezTo>
                    <a:cubicBezTo>
                      <a:pt x="42" y="24"/>
                      <a:pt x="42" y="26"/>
                      <a:pt x="43" y="26"/>
                    </a:cubicBezTo>
                    <a:cubicBezTo>
                      <a:pt x="44" y="27"/>
                      <a:pt x="46" y="26"/>
                      <a:pt x="47" y="26"/>
                    </a:cubicBezTo>
                    <a:cubicBezTo>
                      <a:pt x="48" y="26"/>
                      <a:pt x="49" y="27"/>
                      <a:pt x="49" y="27"/>
                    </a:cubicBezTo>
                    <a:cubicBezTo>
                      <a:pt x="50" y="25"/>
                      <a:pt x="49" y="24"/>
                      <a:pt x="49" y="22"/>
                    </a:cubicBezTo>
                    <a:cubicBezTo>
                      <a:pt x="49" y="22"/>
                      <a:pt x="49" y="21"/>
                      <a:pt x="50" y="21"/>
                    </a:cubicBezTo>
                    <a:cubicBezTo>
                      <a:pt x="51" y="21"/>
                      <a:pt x="52" y="23"/>
                      <a:pt x="53" y="23"/>
                    </a:cubicBezTo>
                    <a:cubicBezTo>
                      <a:pt x="54" y="22"/>
                      <a:pt x="53" y="20"/>
                      <a:pt x="53" y="19"/>
                    </a:cubicBezTo>
                    <a:cubicBezTo>
                      <a:pt x="53" y="18"/>
                      <a:pt x="53" y="17"/>
                      <a:pt x="54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5" name="Freeform 2586"/>
              <p:cNvSpPr>
                <a:spLocks noChangeAspect="1"/>
              </p:cNvSpPr>
              <p:nvPr/>
            </p:nvSpPr>
            <p:spPr bwMode="auto">
              <a:xfrm>
                <a:off x="4679243" y="2561104"/>
                <a:ext cx="178280" cy="92576"/>
              </a:xfrm>
              <a:custGeom>
                <a:avLst/>
                <a:gdLst>
                  <a:gd name="T0" fmla="*/ 97 w 91"/>
                  <a:gd name="T1" fmla="*/ 46 h 48"/>
                  <a:gd name="T2" fmla="*/ 98 w 91"/>
                  <a:gd name="T3" fmla="*/ 44 h 48"/>
                  <a:gd name="T4" fmla="*/ 101 w 91"/>
                  <a:gd name="T5" fmla="*/ 44 h 48"/>
                  <a:gd name="T6" fmla="*/ 98 w 91"/>
                  <a:gd name="T7" fmla="*/ 37 h 48"/>
                  <a:gd name="T8" fmla="*/ 103 w 91"/>
                  <a:gd name="T9" fmla="*/ 33 h 48"/>
                  <a:gd name="T10" fmla="*/ 105 w 91"/>
                  <a:gd name="T11" fmla="*/ 30 h 48"/>
                  <a:gd name="T12" fmla="*/ 108 w 91"/>
                  <a:gd name="T13" fmla="*/ 29 h 48"/>
                  <a:gd name="T14" fmla="*/ 109 w 91"/>
                  <a:gd name="T15" fmla="*/ 23 h 48"/>
                  <a:gd name="T16" fmla="*/ 105 w 91"/>
                  <a:gd name="T17" fmla="*/ 18 h 48"/>
                  <a:gd name="T18" fmla="*/ 105 w 91"/>
                  <a:gd name="T19" fmla="*/ 13 h 48"/>
                  <a:gd name="T20" fmla="*/ 105 w 91"/>
                  <a:gd name="T21" fmla="*/ 8 h 48"/>
                  <a:gd name="T22" fmla="*/ 99 w 91"/>
                  <a:gd name="T23" fmla="*/ 7 h 48"/>
                  <a:gd name="T24" fmla="*/ 95 w 91"/>
                  <a:gd name="T25" fmla="*/ 7 h 48"/>
                  <a:gd name="T26" fmla="*/ 86 w 91"/>
                  <a:gd name="T27" fmla="*/ 4 h 48"/>
                  <a:gd name="T28" fmla="*/ 79 w 91"/>
                  <a:gd name="T29" fmla="*/ 2 h 48"/>
                  <a:gd name="T30" fmla="*/ 77 w 91"/>
                  <a:gd name="T31" fmla="*/ 1 h 48"/>
                  <a:gd name="T32" fmla="*/ 77 w 91"/>
                  <a:gd name="T33" fmla="*/ 7 h 48"/>
                  <a:gd name="T34" fmla="*/ 68 w 91"/>
                  <a:gd name="T35" fmla="*/ 11 h 48"/>
                  <a:gd name="T36" fmla="*/ 61 w 91"/>
                  <a:gd name="T37" fmla="*/ 7 h 48"/>
                  <a:gd name="T38" fmla="*/ 61 w 91"/>
                  <a:gd name="T39" fmla="*/ 11 h 48"/>
                  <a:gd name="T40" fmla="*/ 55 w 91"/>
                  <a:gd name="T41" fmla="*/ 11 h 48"/>
                  <a:gd name="T42" fmla="*/ 55 w 91"/>
                  <a:gd name="T43" fmla="*/ 15 h 48"/>
                  <a:gd name="T44" fmla="*/ 47 w 91"/>
                  <a:gd name="T45" fmla="*/ 19 h 48"/>
                  <a:gd name="T46" fmla="*/ 49 w 91"/>
                  <a:gd name="T47" fmla="*/ 26 h 48"/>
                  <a:gd name="T48" fmla="*/ 40 w 91"/>
                  <a:gd name="T49" fmla="*/ 30 h 48"/>
                  <a:gd name="T50" fmla="*/ 30 w 91"/>
                  <a:gd name="T51" fmla="*/ 32 h 48"/>
                  <a:gd name="T52" fmla="*/ 25 w 91"/>
                  <a:gd name="T53" fmla="*/ 36 h 48"/>
                  <a:gd name="T54" fmla="*/ 19 w 91"/>
                  <a:gd name="T55" fmla="*/ 33 h 48"/>
                  <a:gd name="T56" fmla="*/ 13 w 91"/>
                  <a:gd name="T57" fmla="*/ 33 h 48"/>
                  <a:gd name="T58" fmla="*/ 11 w 91"/>
                  <a:gd name="T59" fmla="*/ 38 h 48"/>
                  <a:gd name="T60" fmla="*/ 4 w 91"/>
                  <a:gd name="T61" fmla="*/ 32 h 48"/>
                  <a:gd name="T62" fmla="*/ 1 w 91"/>
                  <a:gd name="T63" fmla="*/ 37 h 48"/>
                  <a:gd name="T64" fmla="*/ 1 w 91"/>
                  <a:gd name="T65" fmla="*/ 39 h 48"/>
                  <a:gd name="T66" fmla="*/ 1 w 91"/>
                  <a:gd name="T67" fmla="*/ 43 h 48"/>
                  <a:gd name="T68" fmla="*/ 5 w 91"/>
                  <a:gd name="T69" fmla="*/ 44 h 48"/>
                  <a:gd name="T70" fmla="*/ 8 w 91"/>
                  <a:gd name="T71" fmla="*/ 48 h 48"/>
                  <a:gd name="T72" fmla="*/ 13 w 91"/>
                  <a:gd name="T73" fmla="*/ 44 h 48"/>
                  <a:gd name="T74" fmla="*/ 14 w 91"/>
                  <a:gd name="T75" fmla="*/ 48 h 48"/>
                  <a:gd name="T76" fmla="*/ 18 w 91"/>
                  <a:gd name="T77" fmla="*/ 49 h 48"/>
                  <a:gd name="T78" fmla="*/ 23 w 91"/>
                  <a:gd name="T79" fmla="*/ 50 h 48"/>
                  <a:gd name="T80" fmla="*/ 23 w 91"/>
                  <a:gd name="T81" fmla="*/ 46 h 48"/>
                  <a:gd name="T82" fmla="*/ 29 w 91"/>
                  <a:gd name="T83" fmla="*/ 45 h 48"/>
                  <a:gd name="T84" fmla="*/ 35 w 91"/>
                  <a:gd name="T85" fmla="*/ 44 h 48"/>
                  <a:gd name="T86" fmla="*/ 40 w 91"/>
                  <a:gd name="T87" fmla="*/ 43 h 48"/>
                  <a:gd name="T88" fmla="*/ 40 w 91"/>
                  <a:gd name="T89" fmla="*/ 46 h 48"/>
                  <a:gd name="T90" fmla="*/ 43 w 91"/>
                  <a:gd name="T91" fmla="*/ 51 h 48"/>
                  <a:gd name="T92" fmla="*/ 50 w 91"/>
                  <a:gd name="T93" fmla="*/ 52 h 48"/>
                  <a:gd name="T94" fmla="*/ 60 w 91"/>
                  <a:gd name="T95" fmla="*/ 53 h 48"/>
                  <a:gd name="T96" fmla="*/ 61 w 91"/>
                  <a:gd name="T97" fmla="*/ 55 h 48"/>
                  <a:gd name="T98" fmla="*/ 72 w 91"/>
                  <a:gd name="T99" fmla="*/ 57 h 48"/>
                  <a:gd name="T100" fmla="*/ 78 w 91"/>
                  <a:gd name="T101" fmla="*/ 52 h 48"/>
                  <a:gd name="T102" fmla="*/ 86 w 91"/>
                  <a:gd name="T103" fmla="*/ 52 h 48"/>
                  <a:gd name="T104" fmla="*/ 92 w 91"/>
                  <a:gd name="T105" fmla="*/ 51 h 48"/>
                  <a:gd name="T106" fmla="*/ 97 w 91"/>
                  <a:gd name="T107" fmla="*/ 46 h 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91"/>
                  <a:gd name="T163" fmla="*/ 0 h 48"/>
                  <a:gd name="T164" fmla="*/ 91 w 91"/>
                  <a:gd name="T165" fmla="*/ 48 h 4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91" h="48">
                    <a:moveTo>
                      <a:pt x="81" y="39"/>
                    </a:moveTo>
                    <a:cubicBezTo>
                      <a:pt x="81" y="38"/>
                      <a:pt x="81" y="37"/>
                      <a:pt x="82" y="37"/>
                    </a:cubicBezTo>
                    <a:cubicBezTo>
                      <a:pt x="82" y="36"/>
                      <a:pt x="84" y="37"/>
                      <a:pt x="84" y="37"/>
                    </a:cubicBezTo>
                    <a:cubicBezTo>
                      <a:pt x="84" y="35"/>
                      <a:pt x="82" y="33"/>
                      <a:pt x="82" y="31"/>
                    </a:cubicBezTo>
                    <a:cubicBezTo>
                      <a:pt x="83" y="29"/>
                      <a:pt x="85" y="29"/>
                      <a:pt x="86" y="28"/>
                    </a:cubicBezTo>
                    <a:cubicBezTo>
                      <a:pt x="87" y="27"/>
                      <a:pt x="87" y="25"/>
                      <a:pt x="88" y="25"/>
                    </a:cubicBezTo>
                    <a:cubicBezTo>
                      <a:pt x="88" y="24"/>
                      <a:pt x="90" y="24"/>
                      <a:pt x="90" y="24"/>
                    </a:cubicBezTo>
                    <a:cubicBezTo>
                      <a:pt x="91" y="22"/>
                      <a:pt x="91" y="20"/>
                      <a:pt x="91" y="19"/>
                    </a:cubicBezTo>
                    <a:cubicBezTo>
                      <a:pt x="90" y="17"/>
                      <a:pt x="88" y="16"/>
                      <a:pt x="88" y="15"/>
                    </a:cubicBezTo>
                    <a:cubicBezTo>
                      <a:pt x="87" y="14"/>
                      <a:pt x="88" y="12"/>
                      <a:pt x="88" y="11"/>
                    </a:cubicBezTo>
                    <a:cubicBezTo>
                      <a:pt x="88" y="10"/>
                      <a:pt x="88" y="8"/>
                      <a:pt x="88" y="7"/>
                    </a:cubicBezTo>
                    <a:cubicBezTo>
                      <a:pt x="86" y="6"/>
                      <a:pt x="85" y="6"/>
                      <a:pt x="83" y="6"/>
                    </a:cubicBezTo>
                    <a:cubicBezTo>
                      <a:pt x="82" y="5"/>
                      <a:pt x="80" y="6"/>
                      <a:pt x="79" y="6"/>
                    </a:cubicBezTo>
                    <a:cubicBezTo>
                      <a:pt x="76" y="5"/>
                      <a:pt x="75" y="4"/>
                      <a:pt x="72" y="3"/>
                    </a:cubicBezTo>
                    <a:cubicBezTo>
                      <a:pt x="70" y="3"/>
                      <a:pt x="68" y="3"/>
                      <a:pt x="66" y="2"/>
                    </a:cubicBezTo>
                    <a:cubicBezTo>
                      <a:pt x="66" y="2"/>
                      <a:pt x="65" y="0"/>
                      <a:pt x="64" y="1"/>
                    </a:cubicBezTo>
                    <a:cubicBezTo>
                      <a:pt x="63" y="2"/>
                      <a:pt x="65" y="5"/>
                      <a:pt x="64" y="6"/>
                    </a:cubicBezTo>
                    <a:cubicBezTo>
                      <a:pt x="62" y="8"/>
                      <a:pt x="59" y="9"/>
                      <a:pt x="57" y="9"/>
                    </a:cubicBezTo>
                    <a:cubicBezTo>
                      <a:pt x="54" y="9"/>
                      <a:pt x="53" y="7"/>
                      <a:pt x="51" y="6"/>
                    </a:cubicBezTo>
                    <a:cubicBezTo>
                      <a:pt x="51" y="7"/>
                      <a:pt x="51" y="9"/>
                      <a:pt x="51" y="9"/>
                    </a:cubicBezTo>
                    <a:cubicBezTo>
                      <a:pt x="50" y="10"/>
                      <a:pt x="47" y="9"/>
                      <a:pt x="46" y="9"/>
                    </a:cubicBezTo>
                    <a:cubicBezTo>
                      <a:pt x="45" y="10"/>
                      <a:pt x="47" y="12"/>
                      <a:pt x="46" y="13"/>
                    </a:cubicBezTo>
                    <a:cubicBezTo>
                      <a:pt x="44" y="15"/>
                      <a:pt x="40" y="14"/>
                      <a:pt x="39" y="16"/>
                    </a:cubicBezTo>
                    <a:cubicBezTo>
                      <a:pt x="38" y="18"/>
                      <a:pt x="42" y="20"/>
                      <a:pt x="41" y="22"/>
                    </a:cubicBezTo>
                    <a:cubicBezTo>
                      <a:pt x="39" y="24"/>
                      <a:pt x="35" y="24"/>
                      <a:pt x="33" y="25"/>
                    </a:cubicBezTo>
                    <a:cubicBezTo>
                      <a:pt x="30" y="26"/>
                      <a:pt x="27" y="26"/>
                      <a:pt x="25" y="27"/>
                    </a:cubicBezTo>
                    <a:cubicBezTo>
                      <a:pt x="23" y="28"/>
                      <a:pt x="22" y="30"/>
                      <a:pt x="21" y="30"/>
                    </a:cubicBezTo>
                    <a:cubicBezTo>
                      <a:pt x="19" y="31"/>
                      <a:pt x="18" y="29"/>
                      <a:pt x="16" y="28"/>
                    </a:cubicBezTo>
                    <a:cubicBezTo>
                      <a:pt x="14" y="28"/>
                      <a:pt x="12" y="27"/>
                      <a:pt x="11" y="28"/>
                    </a:cubicBezTo>
                    <a:cubicBezTo>
                      <a:pt x="9" y="28"/>
                      <a:pt x="11" y="32"/>
                      <a:pt x="9" y="32"/>
                    </a:cubicBezTo>
                    <a:cubicBezTo>
                      <a:pt x="7" y="32"/>
                      <a:pt x="6" y="28"/>
                      <a:pt x="3" y="27"/>
                    </a:cubicBezTo>
                    <a:cubicBezTo>
                      <a:pt x="2" y="27"/>
                      <a:pt x="2" y="30"/>
                      <a:pt x="1" y="31"/>
                    </a:cubicBezTo>
                    <a:cubicBezTo>
                      <a:pt x="1" y="32"/>
                      <a:pt x="1" y="33"/>
                      <a:pt x="1" y="33"/>
                    </a:cubicBezTo>
                    <a:cubicBezTo>
                      <a:pt x="1" y="34"/>
                      <a:pt x="0" y="36"/>
                      <a:pt x="1" y="36"/>
                    </a:cubicBezTo>
                    <a:cubicBezTo>
                      <a:pt x="1" y="37"/>
                      <a:pt x="3" y="36"/>
                      <a:pt x="4" y="37"/>
                    </a:cubicBezTo>
                    <a:cubicBezTo>
                      <a:pt x="5" y="38"/>
                      <a:pt x="6" y="40"/>
                      <a:pt x="7" y="40"/>
                    </a:cubicBezTo>
                    <a:cubicBezTo>
                      <a:pt x="9" y="40"/>
                      <a:pt x="9" y="37"/>
                      <a:pt x="11" y="37"/>
                    </a:cubicBezTo>
                    <a:cubicBezTo>
                      <a:pt x="12" y="37"/>
                      <a:pt x="11" y="39"/>
                      <a:pt x="12" y="40"/>
                    </a:cubicBezTo>
                    <a:cubicBezTo>
                      <a:pt x="13" y="40"/>
                      <a:pt x="14" y="41"/>
                      <a:pt x="15" y="41"/>
                    </a:cubicBezTo>
                    <a:cubicBezTo>
                      <a:pt x="17" y="41"/>
                      <a:pt x="18" y="42"/>
                      <a:pt x="19" y="42"/>
                    </a:cubicBezTo>
                    <a:cubicBezTo>
                      <a:pt x="20" y="41"/>
                      <a:pt x="19" y="39"/>
                      <a:pt x="19" y="39"/>
                    </a:cubicBezTo>
                    <a:cubicBezTo>
                      <a:pt x="21" y="38"/>
                      <a:pt x="22" y="38"/>
                      <a:pt x="24" y="38"/>
                    </a:cubicBezTo>
                    <a:cubicBezTo>
                      <a:pt x="26" y="37"/>
                      <a:pt x="27" y="38"/>
                      <a:pt x="29" y="37"/>
                    </a:cubicBezTo>
                    <a:cubicBezTo>
                      <a:pt x="30" y="37"/>
                      <a:pt x="31" y="36"/>
                      <a:pt x="33" y="36"/>
                    </a:cubicBezTo>
                    <a:cubicBezTo>
                      <a:pt x="33" y="37"/>
                      <a:pt x="32" y="38"/>
                      <a:pt x="33" y="39"/>
                    </a:cubicBezTo>
                    <a:cubicBezTo>
                      <a:pt x="33" y="41"/>
                      <a:pt x="34" y="42"/>
                      <a:pt x="36" y="43"/>
                    </a:cubicBezTo>
                    <a:cubicBezTo>
                      <a:pt x="37" y="43"/>
                      <a:pt x="40" y="43"/>
                      <a:pt x="42" y="44"/>
                    </a:cubicBezTo>
                    <a:cubicBezTo>
                      <a:pt x="44" y="44"/>
                      <a:pt x="47" y="45"/>
                      <a:pt x="50" y="45"/>
                    </a:cubicBezTo>
                    <a:cubicBezTo>
                      <a:pt x="50" y="45"/>
                      <a:pt x="50" y="46"/>
                      <a:pt x="51" y="46"/>
                    </a:cubicBezTo>
                    <a:cubicBezTo>
                      <a:pt x="53" y="46"/>
                      <a:pt x="57" y="48"/>
                      <a:pt x="60" y="48"/>
                    </a:cubicBezTo>
                    <a:cubicBezTo>
                      <a:pt x="62" y="48"/>
                      <a:pt x="63" y="45"/>
                      <a:pt x="65" y="44"/>
                    </a:cubicBezTo>
                    <a:cubicBezTo>
                      <a:pt x="67" y="43"/>
                      <a:pt x="70" y="44"/>
                      <a:pt x="72" y="44"/>
                    </a:cubicBezTo>
                    <a:cubicBezTo>
                      <a:pt x="74" y="44"/>
                      <a:pt x="76" y="43"/>
                      <a:pt x="77" y="43"/>
                    </a:cubicBezTo>
                    <a:cubicBezTo>
                      <a:pt x="79" y="42"/>
                      <a:pt x="80" y="40"/>
                      <a:pt x="8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6" name="Freeform 2587"/>
              <p:cNvSpPr>
                <a:spLocks noChangeAspect="1"/>
              </p:cNvSpPr>
              <p:nvPr/>
            </p:nvSpPr>
            <p:spPr bwMode="auto">
              <a:xfrm>
                <a:off x="4736488" y="2492891"/>
                <a:ext cx="160288" cy="86079"/>
              </a:xfrm>
              <a:custGeom>
                <a:avLst/>
                <a:gdLst>
                  <a:gd name="T0" fmla="*/ 98 w 82"/>
                  <a:gd name="T1" fmla="*/ 34 h 44"/>
                  <a:gd name="T2" fmla="*/ 93 w 82"/>
                  <a:gd name="T3" fmla="*/ 30 h 44"/>
                  <a:gd name="T4" fmla="*/ 91 w 82"/>
                  <a:gd name="T5" fmla="*/ 25 h 44"/>
                  <a:gd name="T6" fmla="*/ 86 w 82"/>
                  <a:gd name="T7" fmla="*/ 23 h 44"/>
                  <a:gd name="T8" fmla="*/ 84 w 82"/>
                  <a:gd name="T9" fmla="*/ 23 h 44"/>
                  <a:gd name="T10" fmla="*/ 79 w 82"/>
                  <a:gd name="T11" fmla="*/ 20 h 44"/>
                  <a:gd name="T12" fmla="*/ 80 w 82"/>
                  <a:gd name="T13" fmla="*/ 18 h 44"/>
                  <a:gd name="T14" fmla="*/ 76 w 82"/>
                  <a:gd name="T15" fmla="*/ 18 h 44"/>
                  <a:gd name="T16" fmla="*/ 72 w 82"/>
                  <a:gd name="T17" fmla="*/ 16 h 44"/>
                  <a:gd name="T18" fmla="*/ 68 w 82"/>
                  <a:gd name="T19" fmla="*/ 14 h 44"/>
                  <a:gd name="T20" fmla="*/ 71 w 82"/>
                  <a:gd name="T21" fmla="*/ 18 h 44"/>
                  <a:gd name="T22" fmla="*/ 66 w 82"/>
                  <a:gd name="T23" fmla="*/ 22 h 44"/>
                  <a:gd name="T24" fmla="*/ 62 w 82"/>
                  <a:gd name="T25" fmla="*/ 18 h 44"/>
                  <a:gd name="T26" fmla="*/ 61 w 82"/>
                  <a:gd name="T27" fmla="*/ 10 h 44"/>
                  <a:gd name="T28" fmla="*/ 56 w 82"/>
                  <a:gd name="T29" fmla="*/ 10 h 44"/>
                  <a:gd name="T30" fmla="*/ 51 w 82"/>
                  <a:gd name="T31" fmla="*/ 6 h 44"/>
                  <a:gd name="T32" fmla="*/ 45 w 82"/>
                  <a:gd name="T33" fmla="*/ 7 h 44"/>
                  <a:gd name="T34" fmla="*/ 45 w 82"/>
                  <a:gd name="T35" fmla="*/ 4 h 44"/>
                  <a:gd name="T36" fmla="*/ 41 w 82"/>
                  <a:gd name="T37" fmla="*/ 1 h 44"/>
                  <a:gd name="T38" fmla="*/ 38 w 82"/>
                  <a:gd name="T39" fmla="*/ 6 h 44"/>
                  <a:gd name="T40" fmla="*/ 33 w 82"/>
                  <a:gd name="T41" fmla="*/ 1 h 44"/>
                  <a:gd name="T42" fmla="*/ 32 w 82"/>
                  <a:gd name="T43" fmla="*/ 5 h 44"/>
                  <a:gd name="T44" fmla="*/ 25 w 82"/>
                  <a:gd name="T45" fmla="*/ 8 h 44"/>
                  <a:gd name="T46" fmla="*/ 17 w 82"/>
                  <a:gd name="T47" fmla="*/ 12 h 44"/>
                  <a:gd name="T48" fmla="*/ 8 w 82"/>
                  <a:gd name="T49" fmla="*/ 14 h 44"/>
                  <a:gd name="T50" fmla="*/ 4 w 82"/>
                  <a:gd name="T51" fmla="*/ 16 h 44"/>
                  <a:gd name="T52" fmla="*/ 0 w 82"/>
                  <a:gd name="T53" fmla="*/ 17 h 44"/>
                  <a:gd name="T54" fmla="*/ 6 w 82"/>
                  <a:gd name="T55" fmla="*/ 23 h 44"/>
                  <a:gd name="T56" fmla="*/ 6 w 82"/>
                  <a:gd name="T57" fmla="*/ 28 h 44"/>
                  <a:gd name="T58" fmla="*/ 11 w 82"/>
                  <a:gd name="T59" fmla="*/ 36 h 44"/>
                  <a:gd name="T60" fmla="*/ 18 w 82"/>
                  <a:gd name="T61" fmla="*/ 41 h 44"/>
                  <a:gd name="T62" fmla="*/ 26 w 82"/>
                  <a:gd name="T63" fmla="*/ 49 h 44"/>
                  <a:gd name="T64" fmla="*/ 33 w 82"/>
                  <a:gd name="T65" fmla="*/ 53 h 44"/>
                  <a:gd name="T66" fmla="*/ 42 w 82"/>
                  <a:gd name="T67" fmla="*/ 49 h 44"/>
                  <a:gd name="T68" fmla="*/ 42 w 82"/>
                  <a:gd name="T69" fmla="*/ 43 h 44"/>
                  <a:gd name="T70" fmla="*/ 44 w 82"/>
                  <a:gd name="T71" fmla="*/ 45 h 44"/>
                  <a:gd name="T72" fmla="*/ 51 w 82"/>
                  <a:gd name="T73" fmla="*/ 46 h 44"/>
                  <a:gd name="T74" fmla="*/ 60 w 82"/>
                  <a:gd name="T75" fmla="*/ 49 h 44"/>
                  <a:gd name="T76" fmla="*/ 65 w 82"/>
                  <a:gd name="T77" fmla="*/ 49 h 44"/>
                  <a:gd name="T78" fmla="*/ 71 w 82"/>
                  <a:gd name="T79" fmla="*/ 51 h 44"/>
                  <a:gd name="T80" fmla="*/ 74 w 82"/>
                  <a:gd name="T81" fmla="*/ 47 h 44"/>
                  <a:gd name="T82" fmla="*/ 80 w 82"/>
                  <a:gd name="T83" fmla="*/ 47 h 44"/>
                  <a:gd name="T84" fmla="*/ 87 w 82"/>
                  <a:gd name="T85" fmla="*/ 42 h 44"/>
                  <a:gd name="T86" fmla="*/ 88 w 82"/>
                  <a:gd name="T87" fmla="*/ 37 h 44"/>
                  <a:gd name="T88" fmla="*/ 93 w 82"/>
                  <a:gd name="T89" fmla="*/ 35 h 44"/>
                  <a:gd name="T90" fmla="*/ 98 w 82"/>
                  <a:gd name="T91" fmla="*/ 34 h 4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2"/>
                  <a:gd name="T139" fmla="*/ 0 h 44"/>
                  <a:gd name="T140" fmla="*/ 82 w 82"/>
                  <a:gd name="T141" fmla="*/ 44 h 4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2" h="44">
                    <a:moveTo>
                      <a:pt x="82" y="28"/>
                    </a:moveTo>
                    <a:cubicBezTo>
                      <a:pt x="81" y="27"/>
                      <a:pt x="79" y="26"/>
                      <a:pt x="78" y="25"/>
                    </a:cubicBezTo>
                    <a:cubicBezTo>
                      <a:pt x="77" y="24"/>
                      <a:pt x="77" y="22"/>
                      <a:pt x="76" y="21"/>
                    </a:cubicBezTo>
                    <a:cubicBezTo>
                      <a:pt x="75" y="20"/>
                      <a:pt x="74" y="19"/>
                      <a:pt x="72" y="19"/>
                    </a:cubicBezTo>
                    <a:cubicBezTo>
                      <a:pt x="71" y="19"/>
                      <a:pt x="70" y="19"/>
                      <a:pt x="70" y="19"/>
                    </a:cubicBezTo>
                    <a:cubicBezTo>
                      <a:pt x="68" y="19"/>
                      <a:pt x="67" y="18"/>
                      <a:pt x="66" y="17"/>
                    </a:cubicBezTo>
                    <a:cubicBezTo>
                      <a:pt x="66" y="16"/>
                      <a:pt x="68" y="15"/>
                      <a:pt x="67" y="15"/>
                    </a:cubicBezTo>
                    <a:cubicBezTo>
                      <a:pt x="66" y="14"/>
                      <a:pt x="65" y="15"/>
                      <a:pt x="64" y="15"/>
                    </a:cubicBezTo>
                    <a:cubicBezTo>
                      <a:pt x="62" y="15"/>
                      <a:pt x="61" y="13"/>
                      <a:pt x="60" y="13"/>
                    </a:cubicBezTo>
                    <a:cubicBezTo>
                      <a:pt x="59" y="12"/>
                      <a:pt x="57" y="11"/>
                      <a:pt x="57" y="12"/>
                    </a:cubicBezTo>
                    <a:cubicBezTo>
                      <a:pt x="57" y="13"/>
                      <a:pt x="59" y="14"/>
                      <a:pt x="59" y="15"/>
                    </a:cubicBezTo>
                    <a:cubicBezTo>
                      <a:pt x="59" y="16"/>
                      <a:pt x="57" y="18"/>
                      <a:pt x="55" y="18"/>
                    </a:cubicBezTo>
                    <a:cubicBezTo>
                      <a:pt x="54" y="18"/>
                      <a:pt x="53" y="16"/>
                      <a:pt x="52" y="15"/>
                    </a:cubicBezTo>
                    <a:cubicBezTo>
                      <a:pt x="51" y="13"/>
                      <a:pt x="52" y="10"/>
                      <a:pt x="51" y="8"/>
                    </a:cubicBezTo>
                    <a:cubicBezTo>
                      <a:pt x="50" y="7"/>
                      <a:pt x="49" y="9"/>
                      <a:pt x="47" y="8"/>
                    </a:cubicBezTo>
                    <a:cubicBezTo>
                      <a:pt x="46" y="8"/>
                      <a:pt x="45" y="6"/>
                      <a:pt x="43" y="5"/>
                    </a:cubicBezTo>
                    <a:cubicBezTo>
                      <a:pt x="42" y="5"/>
                      <a:pt x="40" y="6"/>
                      <a:pt x="38" y="6"/>
                    </a:cubicBezTo>
                    <a:cubicBezTo>
                      <a:pt x="37" y="5"/>
                      <a:pt x="39" y="3"/>
                      <a:pt x="38" y="3"/>
                    </a:cubicBezTo>
                    <a:cubicBezTo>
                      <a:pt x="37" y="2"/>
                      <a:pt x="35" y="2"/>
                      <a:pt x="34" y="1"/>
                    </a:cubicBezTo>
                    <a:cubicBezTo>
                      <a:pt x="33" y="3"/>
                      <a:pt x="34" y="6"/>
                      <a:pt x="32" y="5"/>
                    </a:cubicBezTo>
                    <a:cubicBezTo>
                      <a:pt x="30" y="5"/>
                      <a:pt x="30" y="1"/>
                      <a:pt x="28" y="1"/>
                    </a:cubicBezTo>
                    <a:cubicBezTo>
                      <a:pt x="27" y="0"/>
                      <a:pt x="28" y="3"/>
                      <a:pt x="27" y="4"/>
                    </a:cubicBezTo>
                    <a:cubicBezTo>
                      <a:pt x="25" y="5"/>
                      <a:pt x="23" y="6"/>
                      <a:pt x="21" y="7"/>
                    </a:cubicBezTo>
                    <a:cubicBezTo>
                      <a:pt x="18" y="8"/>
                      <a:pt x="16" y="9"/>
                      <a:pt x="14" y="10"/>
                    </a:cubicBezTo>
                    <a:cubicBezTo>
                      <a:pt x="12" y="10"/>
                      <a:pt x="9" y="11"/>
                      <a:pt x="7" y="12"/>
                    </a:cubicBezTo>
                    <a:cubicBezTo>
                      <a:pt x="6" y="12"/>
                      <a:pt x="5" y="13"/>
                      <a:pt x="3" y="13"/>
                    </a:cubicBezTo>
                    <a:cubicBezTo>
                      <a:pt x="2" y="14"/>
                      <a:pt x="0" y="13"/>
                      <a:pt x="0" y="14"/>
                    </a:cubicBezTo>
                    <a:cubicBezTo>
                      <a:pt x="1" y="16"/>
                      <a:pt x="4" y="17"/>
                      <a:pt x="5" y="19"/>
                    </a:cubicBezTo>
                    <a:cubicBezTo>
                      <a:pt x="6" y="20"/>
                      <a:pt x="4" y="22"/>
                      <a:pt x="5" y="23"/>
                    </a:cubicBezTo>
                    <a:cubicBezTo>
                      <a:pt x="6" y="26"/>
                      <a:pt x="7" y="28"/>
                      <a:pt x="9" y="30"/>
                    </a:cubicBezTo>
                    <a:cubicBezTo>
                      <a:pt x="11" y="32"/>
                      <a:pt x="13" y="33"/>
                      <a:pt x="15" y="34"/>
                    </a:cubicBezTo>
                    <a:cubicBezTo>
                      <a:pt x="18" y="36"/>
                      <a:pt x="20" y="39"/>
                      <a:pt x="22" y="41"/>
                    </a:cubicBezTo>
                    <a:cubicBezTo>
                      <a:pt x="24" y="42"/>
                      <a:pt x="25" y="44"/>
                      <a:pt x="28" y="44"/>
                    </a:cubicBezTo>
                    <a:cubicBezTo>
                      <a:pt x="30" y="44"/>
                      <a:pt x="33" y="43"/>
                      <a:pt x="35" y="41"/>
                    </a:cubicBezTo>
                    <a:cubicBezTo>
                      <a:pt x="36" y="40"/>
                      <a:pt x="34" y="37"/>
                      <a:pt x="35" y="36"/>
                    </a:cubicBezTo>
                    <a:cubicBezTo>
                      <a:pt x="36" y="35"/>
                      <a:pt x="37" y="37"/>
                      <a:pt x="37" y="37"/>
                    </a:cubicBezTo>
                    <a:cubicBezTo>
                      <a:pt x="39" y="38"/>
                      <a:pt x="41" y="38"/>
                      <a:pt x="43" y="38"/>
                    </a:cubicBezTo>
                    <a:cubicBezTo>
                      <a:pt x="46" y="39"/>
                      <a:pt x="47" y="40"/>
                      <a:pt x="50" y="41"/>
                    </a:cubicBezTo>
                    <a:cubicBezTo>
                      <a:pt x="51" y="41"/>
                      <a:pt x="53" y="40"/>
                      <a:pt x="54" y="41"/>
                    </a:cubicBezTo>
                    <a:cubicBezTo>
                      <a:pt x="56" y="41"/>
                      <a:pt x="57" y="41"/>
                      <a:pt x="59" y="42"/>
                    </a:cubicBezTo>
                    <a:cubicBezTo>
                      <a:pt x="60" y="41"/>
                      <a:pt x="61" y="39"/>
                      <a:pt x="62" y="39"/>
                    </a:cubicBezTo>
                    <a:cubicBezTo>
                      <a:pt x="64" y="38"/>
                      <a:pt x="65" y="40"/>
                      <a:pt x="67" y="39"/>
                    </a:cubicBezTo>
                    <a:cubicBezTo>
                      <a:pt x="69" y="38"/>
                      <a:pt x="71" y="36"/>
                      <a:pt x="73" y="35"/>
                    </a:cubicBezTo>
                    <a:cubicBezTo>
                      <a:pt x="73" y="34"/>
                      <a:pt x="73" y="32"/>
                      <a:pt x="74" y="31"/>
                    </a:cubicBezTo>
                    <a:cubicBezTo>
                      <a:pt x="75" y="30"/>
                      <a:pt x="77" y="29"/>
                      <a:pt x="78" y="29"/>
                    </a:cubicBezTo>
                    <a:cubicBezTo>
                      <a:pt x="79" y="29"/>
                      <a:pt x="81" y="28"/>
                      <a:pt x="82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7" name="Freeform 2588"/>
              <p:cNvSpPr>
                <a:spLocks noChangeAspect="1"/>
              </p:cNvSpPr>
              <p:nvPr/>
            </p:nvSpPr>
            <p:spPr bwMode="auto">
              <a:xfrm>
                <a:off x="4770836" y="2637438"/>
                <a:ext cx="73602" cy="51972"/>
              </a:xfrm>
              <a:custGeom>
                <a:avLst/>
                <a:gdLst>
                  <a:gd name="T0" fmla="*/ 45 w 37"/>
                  <a:gd name="T1" fmla="*/ 8 h 27"/>
                  <a:gd name="T2" fmla="*/ 43 w 37"/>
                  <a:gd name="T3" fmla="*/ 5 h 27"/>
                  <a:gd name="T4" fmla="*/ 41 w 37"/>
                  <a:gd name="T5" fmla="*/ 0 h 27"/>
                  <a:gd name="T6" fmla="*/ 36 w 37"/>
                  <a:gd name="T7" fmla="*/ 5 h 27"/>
                  <a:gd name="T8" fmla="*/ 30 w 37"/>
                  <a:gd name="T9" fmla="*/ 6 h 27"/>
                  <a:gd name="T10" fmla="*/ 22 w 37"/>
                  <a:gd name="T11" fmla="*/ 6 h 27"/>
                  <a:gd name="T12" fmla="*/ 16 w 37"/>
                  <a:gd name="T13" fmla="*/ 11 h 27"/>
                  <a:gd name="T14" fmla="*/ 5 w 37"/>
                  <a:gd name="T15" fmla="*/ 8 h 27"/>
                  <a:gd name="T16" fmla="*/ 1 w 37"/>
                  <a:gd name="T17" fmla="*/ 11 h 27"/>
                  <a:gd name="T18" fmla="*/ 2 w 37"/>
                  <a:gd name="T19" fmla="*/ 15 h 27"/>
                  <a:gd name="T20" fmla="*/ 2 w 37"/>
                  <a:gd name="T21" fmla="*/ 20 h 27"/>
                  <a:gd name="T22" fmla="*/ 5 w 37"/>
                  <a:gd name="T23" fmla="*/ 25 h 27"/>
                  <a:gd name="T24" fmla="*/ 7 w 37"/>
                  <a:gd name="T25" fmla="*/ 27 h 27"/>
                  <a:gd name="T26" fmla="*/ 4 w 37"/>
                  <a:gd name="T27" fmla="*/ 31 h 27"/>
                  <a:gd name="T28" fmla="*/ 7 w 37"/>
                  <a:gd name="T29" fmla="*/ 31 h 27"/>
                  <a:gd name="T30" fmla="*/ 10 w 37"/>
                  <a:gd name="T31" fmla="*/ 28 h 27"/>
                  <a:gd name="T32" fmla="*/ 13 w 37"/>
                  <a:gd name="T33" fmla="*/ 30 h 27"/>
                  <a:gd name="T34" fmla="*/ 17 w 37"/>
                  <a:gd name="T35" fmla="*/ 27 h 27"/>
                  <a:gd name="T36" fmla="*/ 19 w 37"/>
                  <a:gd name="T37" fmla="*/ 30 h 27"/>
                  <a:gd name="T38" fmla="*/ 23 w 37"/>
                  <a:gd name="T39" fmla="*/ 30 h 27"/>
                  <a:gd name="T40" fmla="*/ 28 w 37"/>
                  <a:gd name="T41" fmla="*/ 31 h 27"/>
                  <a:gd name="T42" fmla="*/ 28 w 37"/>
                  <a:gd name="T43" fmla="*/ 23 h 27"/>
                  <a:gd name="T44" fmla="*/ 33 w 37"/>
                  <a:gd name="T45" fmla="*/ 23 h 27"/>
                  <a:gd name="T46" fmla="*/ 33 w 37"/>
                  <a:gd name="T47" fmla="*/ 14 h 27"/>
                  <a:gd name="T48" fmla="*/ 41 w 37"/>
                  <a:gd name="T49" fmla="*/ 11 h 27"/>
                  <a:gd name="T50" fmla="*/ 41 w 37"/>
                  <a:gd name="T51" fmla="*/ 7 h 27"/>
                  <a:gd name="T52" fmla="*/ 45 w 37"/>
                  <a:gd name="T53" fmla="*/ 8 h 2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7"/>
                  <a:gd name="T82" fmla="*/ 0 h 27"/>
                  <a:gd name="T83" fmla="*/ 37 w 37"/>
                  <a:gd name="T84" fmla="*/ 27 h 2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7" h="27">
                    <a:moveTo>
                      <a:pt x="37" y="7"/>
                    </a:moveTo>
                    <a:cubicBezTo>
                      <a:pt x="37" y="6"/>
                      <a:pt x="36" y="5"/>
                      <a:pt x="35" y="4"/>
                    </a:cubicBezTo>
                    <a:cubicBezTo>
                      <a:pt x="35" y="2"/>
                      <a:pt x="34" y="1"/>
                      <a:pt x="34" y="0"/>
                    </a:cubicBezTo>
                    <a:cubicBezTo>
                      <a:pt x="33" y="1"/>
                      <a:pt x="32" y="3"/>
                      <a:pt x="30" y="4"/>
                    </a:cubicBezTo>
                    <a:cubicBezTo>
                      <a:pt x="29" y="4"/>
                      <a:pt x="27" y="5"/>
                      <a:pt x="25" y="5"/>
                    </a:cubicBezTo>
                    <a:cubicBezTo>
                      <a:pt x="23" y="5"/>
                      <a:pt x="20" y="4"/>
                      <a:pt x="18" y="5"/>
                    </a:cubicBezTo>
                    <a:cubicBezTo>
                      <a:pt x="16" y="6"/>
                      <a:pt x="15" y="9"/>
                      <a:pt x="13" y="9"/>
                    </a:cubicBezTo>
                    <a:cubicBezTo>
                      <a:pt x="10" y="9"/>
                      <a:pt x="6" y="7"/>
                      <a:pt x="4" y="7"/>
                    </a:cubicBezTo>
                    <a:cubicBezTo>
                      <a:pt x="3" y="8"/>
                      <a:pt x="1" y="8"/>
                      <a:pt x="1" y="9"/>
                    </a:cubicBezTo>
                    <a:cubicBezTo>
                      <a:pt x="0" y="10"/>
                      <a:pt x="2" y="11"/>
                      <a:pt x="2" y="13"/>
                    </a:cubicBezTo>
                    <a:cubicBezTo>
                      <a:pt x="3" y="14"/>
                      <a:pt x="1" y="15"/>
                      <a:pt x="2" y="17"/>
                    </a:cubicBezTo>
                    <a:cubicBezTo>
                      <a:pt x="2" y="18"/>
                      <a:pt x="3" y="19"/>
                      <a:pt x="4" y="21"/>
                    </a:cubicBezTo>
                    <a:cubicBezTo>
                      <a:pt x="4" y="21"/>
                      <a:pt x="6" y="22"/>
                      <a:pt x="6" y="23"/>
                    </a:cubicBezTo>
                    <a:cubicBezTo>
                      <a:pt x="6" y="24"/>
                      <a:pt x="4" y="25"/>
                      <a:pt x="3" y="26"/>
                    </a:cubicBezTo>
                    <a:cubicBezTo>
                      <a:pt x="4" y="26"/>
                      <a:pt x="5" y="26"/>
                      <a:pt x="6" y="26"/>
                    </a:cubicBezTo>
                    <a:cubicBezTo>
                      <a:pt x="7" y="25"/>
                      <a:pt x="7" y="25"/>
                      <a:pt x="8" y="24"/>
                    </a:cubicBezTo>
                    <a:cubicBezTo>
                      <a:pt x="9" y="24"/>
                      <a:pt x="10" y="25"/>
                      <a:pt x="11" y="25"/>
                    </a:cubicBezTo>
                    <a:cubicBezTo>
                      <a:pt x="12" y="25"/>
                      <a:pt x="13" y="23"/>
                      <a:pt x="14" y="23"/>
                    </a:cubicBezTo>
                    <a:cubicBezTo>
                      <a:pt x="15" y="23"/>
                      <a:pt x="15" y="24"/>
                      <a:pt x="16" y="25"/>
                    </a:cubicBezTo>
                    <a:cubicBezTo>
                      <a:pt x="17" y="25"/>
                      <a:pt x="18" y="25"/>
                      <a:pt x="19" y="25"/>
                    </a:cubicBezTo>
                    <a:cubicBezTo>
                      <a:pt x="21" y="26"/>
                      <a:pt x="22" y="27"/>
                      <a:pt x="23" y="26"/>
                    </a:cubicBezTo>
                    <a:cubicBezTo>
                      <a:pt x="24" y="24"/>
                      <a:pt x="22" y="21"/>
                      <a:pt x="23" y="19"/>
                    </a:cubicBezTo>
                    <a:cubicBezTo>
                      <a:pt x="24" y="18"/>
                      <a:pt x="27" y="20"/>
                      <a:pt x="27" y="19"/>
                    </a:cubicBezTo>
                    <a:cubicBezTo>
                      <a:pt x="28" y="17"/>
                      <a:pt x="26" y="14"/>
                      <a:pt x="27" y="12"/>
                    </a:cubicBezTo>
                    <a:cubicBezTo>
                      <a:pt x="28" y="10"/>
                      <a:pt x="32" y="11"/>
                      <a:pt x="34" y="9"/>
                    </a:cubicBezTo>
                    <a:cubicBezTo>
                      <a:pt x="35" y="9"/>
                      <a:pt x="33" y="7"/>
                      <a:pt x="34" y="6"/>
                    </a:cubicBezTo>
                    <a:cubicBezTo>
                      <a:pt x="35" y="6"/>
                      <a:pt x="36" y="7"/>
                      <a:pt x="37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8" name="Freeform 2589"/>
              <p:cNvSpPr>
                <a:spLocks noChangeAspect="1" noEditPoints="1"/>
              </p:cNvSpPr>
              <p:nvPr/>
            </p:nvSpPr>
            <p:spPr bwMode="auto">
              <a:xfrm>
                <a:off x="4837895" y="2578969"/>
                <a:ext cx="155381" cy="97448"/>
              </a:xfrm>
              <a:custGeom>
                <a:avLst/>
                <a:gdLst>
                  <a:gd name="T0" fmla="*/ 0 w 79"/>
                  <a:gd name="T1" fmla="*/ 36 h 50"/>
                  <a:gd name="T2" fmla="*/ 1 w 79"/>
                  <a:gd name="T3" fmla="*/ 41 h 50"/>
                  <a:gd name="T4" fmla="*/ 4 w 79"/>
                  <a:gd name="T5" fmla="*/ 44 h 50"/>
                  <a:gd name="T6" fmla="*/ 4 w 79"/>
                  <a:gd name="T7" fmla="*/ 44 h 50"/>
                  <a:gd name="T8" fmla="*/ 6 w 79"/>
                  <a:gd name="T9" fmla="*/ 48 h 50"/>
                  <a:gd name="T10" fmla="*/ 10 w 79"/>
                  <a:gd name="T11" fmla="*/ 48 h 50"/>
                  <a:gd name="T12" fmla="*/ 11 w 79"/>
                  <a:gd name="T13" fmla="*/ 52 h 50"/>
                  <a:gd name="T14" fmla="*/ 12 w 79"/>
                  <a:gd name="T15" fmla="*/ 52 h 50"/>
                  <a:gd name="T16" fmla="*/ 16 w 79"/>
                  <a:gd name="T17" fmla="*/ 56 h 50"/>
                  <a:gd name="T18" fmla="*/ 24 w 79"/>
                  <a:gd name="T19" fmla="*/ 59 h 50"/>
                  <a:gd name="T20" fmla="*/ 32 w 79"/>
                  <a:gd name="T21" fmla="*/ 60 h 50"/>
                  <a:gd name="T22" fmla="*/ 36 w 79"/>
                  <a:gd name="T23" fmla="*/ 58 h 50"/>
                  <a:gd name="T24" fmla="*/ 38 w 79"/>
                  <a:gd name="T25" fmla="*/ 58 h 50"/>
                  <a:gd name="T26" fmla="*/ 42 w 79"/>
                  <a:gd name="T27" fmla="*/ 54 h 50"/>
                  <a:gd name="T28" fmla="*/ 48 w 79"/>
                  <a:gd name="T29" fmla="*/ 53 h 50"/>
                  <a:gd name="T30" fmla="*/ 52 w 79"/>
                  <a:gd name="T31" fmla="*/ 50 h 50"/>
                  <a:gd name="T32" fmla="*/ 59 w 79"/>
                  <a:gd name="T33" fmla="*/ 52 h 50"/>
                  <a:gd name="T34" fmla="*/ 67 w 79"/>
                  <a:gd name="T35" fmla="*/ 49 h 50"/>
                  <a:gd name="T36" fmla="*/ 73 w 79"/>
                  <a:gd name="T37" fmla="*/ 47 h 50"/>
                  <a:gd name="T38" fmla="*/ 73 w 79"/>
                  <a:gd name="T39" fmla="*/ 42 h 50"/>
                  <a:gd name="T40" fmla="*/ 77 w 79"/>
                  <a:gd name="T41" fmla="*/ 41 h 50"/>
                  <a:gd name="T42" fmla="*/ 78 w 79"/>
                  <a:gd name="T43" fmla="*/ 32 h 50"/>
                  <a:gd name="T44" fmla="*/ 83 w 79"/>
                  <a:gd name="T45" fmla="*/ 24 h 50"/>
                  <a:gd name="T46" fmla="*/ 88 w 79"/>
                  <a:gd name="T47" fmla="*/ 18 h 50"/>
                  <a:gd name="T48" fmla="*/ 93 w 79"/>
                  <a:gd name="T49" fmla="*/ 17 h 50"/>
                  <a:gd name="T50" fmla="*/ 95 w 79"/>
                  <a:gd name="T51" fmla="*/ 14 h 50"/>
                  <a:gd name="T52" fmla="*/ 95 w 79"/>
                  <a:gd name="T53" fmla="*/ 11 h 50"/>
                  <a:gd name="T54" fmla="*/ 90 w 79"/>
                  <a:gd name="T55" fmla="*/ 11 h 50"/>
                  <a:gd name="T56" fmla="*/ 90 w 79"/>
                  <a:gd name="T57" fmla="*/ 8 h 50"/>
                  <a:gd name="T58" fmla="*/ 88 w 79"/>
                  <a:gd name="T59" fmla="*/ 6 h 50"/>
                  <a:gd name="T60" fmla="*/ 84 w 79"/>
                  <a:gd name="T61" fmla="*/ 4 h 50"/>
                  <a:gd name="T62" fmla="*/ 78 w 79"/>
                  <a:gd name="T63" fmla="*/ 6 h 50"/>
                  <a:gd name="T64" fmla="*/ 73 w 79"/>
                  <a:gd name="T65" fmla="*/ 0 h 50"/>
                  <a:gd name="T66" fmla="*/ 69 w 79"/>
                  <a:gd name="T67" fmla="*/ 1 h 50"/>
                  <a:gd name="T68" fmla="*/ 61 w 79"/>
                  <a:gd name="T69" fmla="*/ 1 h 50"/>
                  <a:gd name="T70" fmla="*/ 58 w 79"/>
                  <a:gd name="T71" fmla="*/ 6 h 50"/>
                  <a:gd name="T72" fmla="*/ 53 w 79"/>
                  <a:gd name="T73" fmla="*/ 10 h 50"/>
                  <a:gd name="T74" fmla="*/ 47 w 79"/>
                  <a:gd name="T75" fmla="*/ 7 h 50"/>
                  <a:gd name="T76" fmla="*/ 46 w 79"/>
                  <a:gd name="T77" fmla="*/ 12 h 50"/>
                  <a:gd name="T78" fmla="*/ 38 w 79"/>
                  <a:gd name="T79" fmla="*/ 12 h 50"/>
                  <a:gd name="T80" fmla="*/ 35 w 79"/>
                  <a:gd name="T81" fmla="*/ 12 h 50"/>
                  <a:gd name="T82" fmla="*/ 36 w 79"/>
                  <a:gd name="T83" fmla="*/ 16 h 50"/>
                  <a:gd name="T84" fmla="*/ 34 w 79"/>
                  <a:gd name="T85" fmla="*/ 18 h 50"/>
                  <a:gd name="T86" fmla="*/ 18 w 79"/>
                  <a:gd name="T87" fmla="*/ 17 h 50"/>
                  <a:gd name="T88" fmla="*/ 12 w 79"/>
                  <a:gd name="T89" fmla="*/ 12 h 50"/>
                  <a:gd name="T90" fmla="*/ 11 w 79"/>
                  <a:gd name="T91" fmla="*/ 18 h 50"/>
                  <a:gd name="T92" fmla="*/ 8 w 79"/>
                  <a:gd name="T93" fmla="*/ 19 h 50"/>
                  <a:gd name="T94" fmla="*/ 6 w 79"/>
                  <a:gd name="T95" fmla="*/ 23 h 50"/>
                  <a:gd name="T96" fmla="*/ 1 w 79"/>
                  <a:gd name="T97" fmla="*/ 26 h 50"/>
                  <a:gd name="T98" fmla="*/ 4 w 79"/>
                  <a:gd name="T99" fmla="*/ 34 h 50"/>
                  <a:gd name="T100" fmla="*/ 1 w 79"/>
                  <a:gd name="T101" fmla="*/ 34 h 50"/>
                  <a:gd name="T102" fmla="*/ 0 w 79"/>
                  <a:gd name="T103" fmla="*/ 36 h 50"/>
                  <a:gd name="T104" fmla="*/ 1 w 79"/>
                  <a:gd name="T105" fmla="*/ 41 h 50"/>
                  <a:gd name="T106" fmla="*/ 4 w 79"/>
                  <a:gd name="T107" fmla="*/ 44 h 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79"/>
                  <a:gd name="T163" fmla="*/ 0 h 50"/>
                  <a:gd name="T164" fmla="*/ 79 w 79"/>
                  <a:gd name="T165" fmla="*/ 50 h 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79" h="50">
                    <a:moveTo>
                      <a:pt x="0" y="30"/>
                    </a:moveTo>
                    <a:cubicBezTo>
                      <a:pt x="0" y="31"/>
                      <a:pt x="1" y="32"/>
                      <a:pt x="1" y="34"/>
                    </a:cubicBezTo>
                    <a:cubicBezTo>
                      <a:pt x="2" y="35"/>
                      <a:pt x="3" y="36"/>
                      <a:pt x="3" y="37"/>
                    </a:cubicBezTo>
                    <a:moveTo>
                      <a:pt x="3" y="37"/>
                    </a:moveTo>
                    <a:cubicBezTo>
                      <a:pt x="4" y="38"/>
                      <a:pt x="4" y="39"/>
                      <a:pt x="5" y="40"/>
                    </a:cubicBezTo>
                    <a:cubicBezTo>
                      <a:pt x="6" y="40"/>
                      <a:pt x="7" y="39"/>
                      <a:pt x="8" y="40"/>
                    </a:cubicBezTo>
                    <a:cubicBezTo>
                      <a:pt x="9" y="40"/>
                      <a:pt x="8" y="42"/>
                      <a:pt x="9" y="43"/>
                    </a:cubicBezTo>
                    <a:cubicBezTo>
                      <a:pt x="9" y="43"/>
                      <a:pt x="10" y="43"/>
                      <a:pt x="10" y="43"/>
                    </a:cubicBezTo>
                    <a:cubicBezTo>
                      <a:pt x="12" y="44"/>
                      <a:pt x="12" y="46"/>
                      <a:pt x="13" y="47"/>
                    </a:cubicBezTo>
                    <a:cubicBezTo>
                      <a:pt x="15" y="48"/>
                      <a:pt x="18" y="49"/>
                      <a:pt x="20" y="49"/>
                    </a:cubicBezTo>
                    <a:cubicBezTo>
                      <a:pt x="22" y="50"/>
                      <a:pt x="25" y="50"/>
                      <a:pt x="27" y="50"/>
                    </a:cubicBezTo>
                    <a:cubicBezTo>
                      <a:pt x="28" y="50"/>
                      <a:pt x="29" y="48"/>
                      <a:pt x="30" y="48"/>
                    </a:cubicBezTo>
                    <a:cubicBezTo>
                      <a:pt x="30" y="47"/>
                      <a:pt x="31" y="48"/>
                      <a:pt x="32" y="48"/>
                    </a:cubicBezTo>
                    <a:cubicBezTo>
                      <a:pt x="33" y="47"/>
                      <a:pt x="34" y="46"/>
                      <a:pt x="35" y="45"/>
                    </a:cubicBezTo>
                    <a:cubicBezTo>
                      <a:pt x="37" y="44"/>
                      <a:pt x="38" y="44"/>
                      <a:pt x="40" y="44"/>
                    </a:cubicBezTo>
                    <a:cubicBezTo>
                      <a:pt x="41" y="44"/>
                      <a:pt x="42" y="42"/>
                      <a:pt x="43" y="42"/>
                    </a:cubicBezTo>
                    <a:cubicBezTo>
                      <a:pt x="46" y="42"/>
                      <a:pt x="47" y="43"/>
                      <a:pt x="49" y="43"/>
                    </a:cubicBezTo>
                    <a:cubicBezTo>
                      <a:pt x="51" y="42"/>
                      <a:pt x="54" y="42"/>
                      <a:pt x="56" y="41"/>
                    </a:cubicBezTo>
                    <a:cubicBezTo>
                      <a:pt x="57" y="41"/>
                      <a:pt x="60" y="41"/>
                      <a:pt x="61" y="39"/>
                    </a:cubicBezTo>
                    <a:cubicBezTo>
                      <a:pt x="62" y="38"/>
                      <a:pt x="60" y="36"/>
                      <a:pt x="61" y="35"/>
                    </a:cubicBezTo>
                    <a:cubicBezTo>
                      <a:pt x="61" y="34"/>
                      <a:pt x="63" y="35"/>
                      <a:pt x="64" y="34"/>
                    </a:cubicBezTo>
                    <a:cubicBezTo>
                      <a:pt x="65" y="32"/>
                      <a:pt x="64" y="29"/>
                      <a:pt x="65" y="27"/>
                    </a:cubicBezTo>
                    <a:cubicBezTo>
                      <a:pt x="66" y="24"/>
                      <a:pt x="67" y="22"/>
                      <a:pt x="69" y="20"/>
                    </a:cubicBezTo>
                    <a:cubicBezTo>
                      <a:pt x="70" y="19"/>
                      <a:pt x="71" y="17"/>
                      <a:pt x="73" y="15"/>
                    </a:cubicBezTo>
                    <a:cubicBezTo>
                      <a:pt x="74" y="14"/>
                      <a:pt x="76" y="15"/>
                      <a:pt x="77" y="14"/>
                    </a:cubicBezTo>
                    <a:cubicBezTo>
                      <a:pt x="78" y="13"/>
                      <a:pt x="78" y="12"/>
                      <a:pt x="79" y="12"/>
                    </a:cubicBezTo>
                    <a:cubicBezTo>
                      <a:pt x="79" y="11"/>
                      <a:pt x="79" y="10"/>
                      <a:pt x="79" y="9"/>
                    </a:cubicBezTo>
                    <a:cubicBezTo>
                      <a:pt x="78" y="9"/>
                      <a:pt x="76" y="9"/>
                      <a:pt x="75" y="9"/>
                    </a:cubicBezTo>
                    <a:cubicBezTo>
                      <a:pt x="75" y="8"/>
                      <a:pt x="75" y="7"/>
                      <a:pt x="75" y="7"/>
                    </a:cubicBezTo>
                    <a:cubicBezTo>
                      <a:pt x="74" y="6"/>
                      <a:pt x="73" y="6"/>
                      <a:pt x="73" y="5"/>
                    </a:cubicBezTo>
                    <a:cubicBezTo>
                      <a:pt x="72" y="5"/>
                      <a:pt x="71" y="4"/>
                      <a:pt x="70" y="3"/>
                    </a:cubicBezTo>
                    <a:cubicBezTo>
                      <a:pt x="69" y="4"/>
                      <a:pt x="67" y="5"/>
                      <a:pt x="65" y="5"/>
                    </a:cubicBezTo>
                    <a:cubicBezTo>
                      <a:pt x="63" y="4"/>
                      <a:pt x="63" y="1"/>
                      <a:pt x="61" y="0"/>
                    </a:cubicBezTo>
                    <a:cubicBezTo>
                      <a:pt x="60" y="0"/>
                      <a:pt x="59" y="1"/>
                      <a:pt x="57" y="1"/>
                    </a:cubicBezTo>
                    <a:cubicBezTo>
                      <a:pt x="55" y="1"/>
                      <a:pt x="53" y="0"/>
                      <a:pt x="51" y="1"/>
                    </a:cubicBezTo>
                    <a:cubicBezTo>
                      <a:pt x="49" y="1"/>
                      <a:pt x="49" y="4"/>
                      <a:pt x="48" y="5"/>
                    </a:cubicBezTo>
                    <a:cubicBezTo>
                      <a:pt x="47" y="6"/>
                      <a:pt x="45" y="7"/>
                      <a:pt x="44" y="8"/>
                    </a:cubicBezTo>
                    <a:cubicBezTo>
                      <a:pt x="42" y="8"/>
                      <a:pt x="41" y="6"/>
                      <a:pt x="39" y="6"/>
                    </a:cubicBezTo>
                    <a:cubicBezTo>
                      <a:pt x="38" y="6"/>
                      <a:pt x="39" y="9"/>
                      <a:pt x="38" y="10"/>
                    </a:cubicBezTo>
                    <a:cubicBezTo>
                      <a:pt x="36" y="10"/>
                      <a:pt x="34" y="9"/>
                      <a:pt x="32" y="10"/>
                    </a:cubicBezTo>
                    <a:cubicBezTo>
                      <a:pt x="31" y="10"/>
                      <a:pt x="29" y="9"/>
                      <a:pt x="29" y="10"/>
                    </a:cubicBezTo>
                    <a:cubicBezTo>
                      <a:pt x="29" y="11"/>
                      <a:pt x="31" y="12"/>
                      <a:pt x="30" y="13"/>
                    </a:cubicBezTo>
                    <a:cubicBezTo>
                      <a:pt x="30" y="14"/>
                      <a:pt x="29" y="15"/>
                      <a:pt x="28" y="15"/>
                    </a:cubicBezTo>
                    <a:cubicBezTo>
                      <a:pt x="24" y="15"/>
                      <a:pt x="19" y="15"/>
                      <a:pt x="15" y="14"/>
                    </a:cubicBezTo>
                    <a:cubicBezTo>
                      <a:pt x="13" y="13"/>
                      <a:pt x="12" y="11"/>
                      <a:pt x="10" y="10"/>
                    </a:cubicBezTo>
                    <a:cubicBezTo>
                      <a:pt x="10" y="11"/>
                      <a:pt x="10" y="13"/>
                      <a:pt x="9" y="15"/>
                    </a:cubicBezTo>
                    <a:cubicBezTo>
                      <a:pt x="9" y="15"/>
                      <a:pt x="7" y="15"/>
                      <a:pt x="7" y="16"/>
                    </a:cubicBezTo>
                    <a:cubicBezTo>
                      <a:pt x="6" y="16"/>
                      <a:pt x="6" y="18"/>
                      <a:pt x="5" y="19"/>
                    </a:cubicBezTo>
                    <a:cubicBezTo>
                      <a:pt x="4" y="20"/>
                      <a:pt x="2" y="20"/>
                      <a:pt x="1" y="22"/>
                    </a:cubicBezTo>
                    <a:cubicBezTo>
                      <a:pt x="1" y="24"/>
                      <a:pt x="3" y="26"/>
                      <a:pt x="3" y="28"/>
                    </a:cubicBezTo>
                    <a:cubicBezTo>
                      <a:pt x="3" y="28"/>
                      <a:pt x="1" y="27"/>
                      <a:pt x="1" y="28"/>
                    </a:cubicBezTo>
                    <a:cubicBezTo>
                      <a:pt x="0" y="28"/>
                      <a:pt x="0" y="29"/>
                      <a:pt x="0" y="30"/>
                    </a:cubicBezTo>
                    <a:cubicBezTo>
                      <a:pt x="0" y="31"/>
                      <a:pt x="1" y="32"/>
                      <a:pt x="1" y="34"/>
                    </a:cubicBezTo>
                    <a:cubicBezTo>
                      <a:pt x="2" y="35"/>
                      <a:pt x="3" y="36"/>
                      <a:pt x="3" y="3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79" name="Freeform 2590"/>
              <p:cNvSpPr>
                <a:spLocks noChangeAspect="1"/>
              </p:cNvSpPr>
              <p:nvPr/>
            </p:nvSpPr>
            <p:spPr bwMode="auto">
              <a:xfrm>
                <a:off x="4849345" y="2543238"/>
                <a:ext cx="135754" cy="64965"/>
              </a:xfrm>
              <a:custGeom>
                <a:avLst/>
                <a:gdLst>
                  <a:gd name="T0" fmla="*/ 77 w 69"/>
                  <a:gd name="T1" fmla="*/ 25 h 33"/>
                  <a:gd name="T2" fmla="*/ 77 w 69"/>
                  <a:gd name="T3" fmla="*/ 22 h 33"/>
                  <a:gd name="T4" fmla="*/ 79 w 69"/>
                  <a:gd name="T5" fmla="*/ 18 h 33"/>
                  <a:gd name="T6" fmla="*/ 81 w 69"/>
                  <a:gd name="T7" fmla="*/ 13 h 33"/>
                  <a:gd name="T8" fmla="*/ 83 w 69"/>
                  <a:gd name="T9" fmla="*/ 11 h 33"/>
                  <a:gd name="T10" fmla="*/ 76 w 69"/>
                  <a:gd name="T11" fmla="*/ 10 h 33"/>
                  <a:gd name="T12" fmla="*/ 71 w 69"/>
                  <a:gd name="T13" fmla="*/ 5 h 33"/>
                  <a:gd name="T14" fmla="*/ 64 w 69"/>
                  <a:gd name="T15" fmla="*/ 4 h 33"/>
                  <a:gd name="T16" fmla="*/ 59 w 69"/>
                  <a:gd name="T17" fmla="*/ 7 h 33"/>
                  <a:gd name="T18" fmla="*/ 57 w 69"/>
                  <a:gd name="T19" fmla="*/ 5 h 33"/>
                  <a:gd name="T20" fmla="*/ 49 w 69"/>
                  <a:gd name="T21" fmla="*/ 5 h 33"/>
                  <a:gd name="T22" fmla="*/ 46 w 69"/>
                  <a:gd name="T23" fmla="*/ 8 h 33"/>
                  <a:gd name="T24" fmla="*/ 42 w 69"/>
                  <a:gd name="T25" fmla="*/ 10 h 33"/>
                  <a:gd name="T26" fmla="*/ 42 w 69"/>
                  <a:gd name="T27" fmla="*/ 6 h 33"/>
                  <a:gd name="T28" fmla="*/ 37 w 69"/>
                  <a:gd name="T29" fmla="*/ 0 h 33"/>
                  <a:gd name="T30" fmla="*/ 32 w 69"/>
                  <a:gd name="T31" fmla="*/ 5 h 33"/>
                  <a:gd name="T32" fmla="*/ 29 w 69"/>
                  <a:gd name="T33" fmla="*/ 2 h 33"/>
                  <a:gd name="T34" fmla="*/ 24 w 69"/>
                  <a:gd name="T35" fmla="*/ 4 h 33"/>
                  <a:gd name="T36" fmla="*/ 19 w 69"/>
                  <a:gd name="T37" fmla="*/ 6 h 33"/>
                  <a:gd name="T38" fmla="*/ 18 w 69"/>
                  <a:gd name="T39" fmla="*/ 11 h 33"/>
                  <a:gd name="T40" fmla="*/ 11 w 69"/>
                  <a:gd name="T41" fmla="*/ 16 h 33"/>
                  <a:gd name="T42" fmla="*/ 5 w 69"/>
                  <a:gd name="T43" fmla="*/ 16 h 33"/>
                  <a:gd name="T44" fmla="*/ 1 w 69"/>
                  <a:gd name="T45" fmla="*/ 19 h 33"/>
                  <a:gd name="T46" fmla="*/ 1 w 69"/>
                  <a:gd name="T47" fmla="*/ 24 h 33"/>
                  <a:gd name="T48" fmla="*/ 1 w 69"/>
                  <a:gd name="T49" fmla="*/ 29 h 33"/>
                  <a:gd name="T50" fmla="*/ 5 w 69"/>
                  <a:gd name="T51" fmla="*/ 34 h 33"/>
                  <a:gd name="T52" fmla="*/ 11 w 69"/>
                  <a:gd name="T53" fmla="*/ 39 h 33"/>
                  <a:gd name="T54" fmla="*/ 26 w 69"/>
                  <a:gd name="T55" fmla="*/ 40 h 33"/>
                  <a:gd name="T56" fmla="*/ 29 w 69"/>
                  <a:gd name="T57" fmla="*/ 38 h 33"/>
                  <a:gd name="T58" fmla="*/ 28 w 69"/>
                  <a:gd name="T59" fmla="*/ 34 h 33"/>
                  <a:gd name="T60" fmla="*/ 31 w 69"/>
                  <a:gd name="T61" fmla="*/ 34 h 33"/>
                  <a:gd name="T62" fmla="*/ 38 w 69"/>
                  <a:gd name="T63" fmla="*/ 34 h 33"/>
                  <a:gd name="T64" fmla="*/ 40 w 69"/>
                  <a:gd name="T65" fmla="*/ 29 h 33"/>
                  <a:gd name="T66" fmla="*/ 46 w 69"/>
                  <a:gd name="T67" fmla="*/ 32 h 33"/>
                  <a:gd name="T68" fmla="*/ 51 w 69"/>
                  <a:gd name="T69" fmla="*/ 28 h 33"/>
                  <a:gd name="T70" fmla="*/ 54 w 69"/>
                  <a:gd name="T71" fmla="*/ 23 h 33"/>
                  <a:gd name="T72" fmla="*/ 61 w 69"/>
                  <a:gd name="T73" fmla="*/ 23 h 33"/>
                  <a:gd name="T74" fmla="*/ 66 w 69"/>
                  <a:gd name="T75" fmla="*/ 22 h 33"/>
                  <a:gd name="T76" fmla="*/ 71 w 69"/>
                  <a:gd name="T77" fmla="*/ 28 h 33"/>
                  <a:gd name="T78" fmla="*/ 77 w 69"/>
                  <a:gd name="T79" fmla="*/ 25 h 3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9"/>
                  <a:gd name="T121" fmla="*/ 0 h 33"/>
                  <a:gd name="T122" fmla="*/ 69 w 69"/>
                  <a:gd name="T123" fmla="*/ 33 h 3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9" h="33">
                    <a:moveTo>
                      <a:pt x="64" y="21"/>
                    </a:moveTo>
                    <a:cubicBezTo>
                      <a:pt x="64" y="20"/>
                      <a:pt x="64" y="19"/>
                      <a:pt x="64" y="18"/>
                    </a:cubicBezTo>
                    <a:cubicBezTo>
                      <a:pt x="64" y="17"/>
                      <a:pt x="65" y="16"/>
                      <a:pt x="66" y="15"/>
                    </a:cubicBezTo>
                    <a:cubicBezTo>
                      <a:pt x="66" y="14"/>
                      <a:pt x="66" y="12"/>
                      <a:pt x="67" y="11"/>
                    </a:cubicBezTo>
                    <a:cubicBezTo>
                      <a:pt x="67" y="11"/>
                      <a:pt x="68" y="10"/>
                      <a:pt x="69" y="9"/>
                    </a:cubicBezTo>
                    <a:cubicBezTo>
                      <a:pt x="67" y="9"/>
                      <a:pt x="65" y="9"/>
                      <a:pt x="63" y="8"/>
                    </a:cubicBezTo>
                    <a:cubicBezTo>
                      <a:pt x="62" y="7"/>
                      <a:pt x="61" y="5"/>
                      <a:pt x="59" y="4"/>
                    </a:cubicBezTo>
                    <a:cubicBezTo>
                      <a:pt x="57" y="3"/>
                      <a:pt x="55" y="3"/>
                      <a:pt x="53" y="3"/>
                    </a:cubicBezTo>
                    <a:cubicBezTo>
                      <a:pt x="51" y="3"/>
                      <a:pt x="51" y="5"/>
                      <a:pt x="49" y="6"/>
                    </a:cubicBezTo>
                    <a:cubicBezTo>
                      <a:pt x="49" y="6"/>
                      <a:pt x="48" y="5"/>
                      <a:pt x="47" y="4"/>
                    </a:cubicBezTo>
                    <a:cubicBezTo>
                      <a:pt x="45" y="4"/>
                      <a:pt x="43" y="3"/>
                      <a:pt x="41" y="4"/>
                    </a:cubicBezTo>
                    <a:cubicBezTo>
                      <a:pt x="40" y="4"/>
                      <a:pt x="40" y="6"/>
                      <a:pt x="38" y="7"/>
                    </a:cubicBezTo>
                    <a:cubicBezTo>
                      <a:pt x="37" y="8"/>
                      <a:pt x="36" y="8"/>
                      <a:pt x="35" y="8"/>
                    </a:cubicBezTo>
                    <a:cubicBezTo>
                      <a:pt x="34" y="7"/>
                      <a:pt x="36" y="6"/>
                      <a:pt x="35" y="5"/>
                    </a:cubicBezTo>
                    <a:cubicBezTo>
                      <a:pt x="34" y="3"/>
                      <a:pt x="33" y="1"/>
                      <a:pt x="31" y="0"/>
                    </a:cubicBezTo>
                    <a:cubicBezTo>
                      <a:pt x="29" y="0"/>
                      <a:pt x="29" y="4"/>
                      <a:pt x="27" y="4"/>
                    </a:cubicBezTo>
                    <a:cubicBezTo>
                      <a:pt x="26" y="4"/>
                      <a:pt x="25" y="3"/>
                      <a:pt x="24" y="2"/>
                    </a:cubicBezTo>
                    <a:cubicBezTo>
                      <a:pt x="23" y="2"/>
                      <a:pt x="21" y="3"/>
                      <a:pt x="20" y="3"/>
                    </a:cubicBezTo>
                    <a:cubicBezTo>
                      <a:pt x="19" y="3"/>
                      <a:pt x="17" y="4"/>
                      <a:pt x="16" y="5"/>
                    </a:cubicBezTo>
                    <a:cubicBezTo>
                      <a:pt x="15" y="6"/>
                      <a:pt x="15" y="8"/>
                      <a:pt x="15" y="9"/>
                    </a:cubicBezTo>
                    <a:cubicBezTo>
                      <a:pt x="13" y="10"/>
                      <a:pt x="11" y="12"/>
                      <a:pt x="9" y="13"/>
                    </a:cubicBezTo>
                    <a:cubicBezTo>
                      <a:pt x="7" y="14"/>
                      <a:pt x="6" y="12"/>
                      <a:pt x="4" y="13"/>
                    </a:cubicBezTo>
                    <a:cubicBezTo>
                      <a:pt x="3" y="13"/>
                      <a:pt x="2" y="15"/>
                      <a:pt x="1" y="16"/>
                    </a:cubicBezTo>
                    <a:cubicBezTo>
                      <a:pt x="1" y="17"/>
                      <a:pt x="1" y="19"/>
                      <a:pt x="1" y="20"/>
                    </a:cubicBezTo>
                    <a:cubicBezTo>
                      <a:pt x="1" y="21"/>
                      <a:pt x="0" y="23"/>
                      <a:pt x="1" y="24"/>
                    </a:cubicBezTo>
                    <a:cubicBezTo>
                      <a:pt x="1" y="25"/>
                      <a:pt x="3" y="26"/>
                      <a:pt x="4" y="28"/>
                    </a:cubicBezTo>
                    <a:cubicBezTo>
                      <a:pt x="6" y="29"/>
                      <a:pt x="7" y="31"/>
                      <a:pt x="9" y="32"/>
                    </a:cubicBezTo>
                    <a:cubicBezTo>
                      <a:pt x="13" y="33"/>
                      <a:pt x="18" y="33"/>
                      <a:pt x="22" y="33"/>
                    </a:cubicBezTo>
                    <a:cubicBezTo>
                      <a:pt x="23" y="33"/>
                      <a:pt x="24" y="32"/>
                      <a:pt x="24" y="31"/>
                    </a:cubicBezTo>
                    <a:cubicBezTo>
                      <a:pt x="25" y="30"/>
                      <a:pt x="23" y="29"/>
                      <a:pt x="23" y="28"/>
                    </a:cubicBezTo>
                    <a:cubicBezTo>
                      <a:pt x="23" y="27"/>
                      <a:pt x="25" y="28"/>
                      <a:pt x="26" y="28"/>
                    </a:cubicBezTo>
                    <a:cubicBezTo>
                      <a:pt x="28" y="27"/>
                      <a:pt x="30" y="28"/>
                      <a:pt x="32" y="28"/>
                    </a:cubicBezTo>
                    <a:cubicBezTo>
                      <a:pt x="33" y="27"/>
                      <a:pt x="32" y="24"/>
                      <a:pt x="33" y="24"/>
                    </a:cubicBezTo>
                    <a:cubicBezTo>
                      <a:pt x="35" y="24"/>
                      <a:pt x="36" y="26"/>
                      <a:pt x="38" y="26"/>
                    </a:cubicBezTo>
                    <a:cubicBezTo>
                      <a:pt x="39" y="25"/>
                      <a:pt x="41" y="24"/>
                      <a:pt x="42" y="23"/>
                    </a:cubicBezTo>
                    <a:cubicBezTo>
                      <a:pt x="43" y="22"/>
                      <a:pt x="43" y="19"/>
                      <a:pt x="45" y="19"/>
                    </a:cubicBezTo>
                    <a:cubicBezTo>
                      <a:pt x="47" y="18"/>
                      <a:pt x="49" y="19"/>
                      <a:pt x="51" y="19"/>
                    </a:cubicBezTo>
                    <a:cubicBezTo>
                      <a:pt x="53" y="19"/>
                      <a:pt x="54" y="18"/>
                      <a:pt x="55" y="18"/>
                    </a:cubicBezTo>
                    <a:cubicBezTo>
                      <a:pt x="57" y="19"/>
                      <a:pt x="57" y="22"/>
                      <a:pt x="59" y="23"/>
                    </a:cubicBezTo>
                    <a:cubicBezTo>
                      <a:pt x="61" y="23"/>
                      <a:pt x="63" y="22"/>
                      <a:pt x="64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0" name="Freeform 2591"/>
              <p:cNvSpPr>
                <a:spLocks noChangeAspect="1"/>
              </p:cNvSpPr>
              <p:nvPr/>
            </p:nvSpPr>
            <p:spPr bwMode="auto">
              <a:xfrm>
                <a:off x="4774107" y="2648807"/>
                <a:ext cx="139026" cy="118562"/>
              </a:xfrm>
              <a:custGeom>
                <a:avLst/>
                <a:gdLst>
                  <a:gd name="T0" fmla="*/ 81 w 71"/>
                  <a:gd name="T1" fmla="*/ 30 h 61"/>
                  <a:gd name="T2" fmla="*/ 81 w 71"/>
                  <a:gd name="T3" fmla="*/ 26 h 61"/>
                  <a:gd name="T4" fmla="*/ 80 w 71"/>
                  <a:gd name="T5" fmla="*/ 19 h 61"/>
                  <a:gd name="T6" fmla="*/ 75 w 71"/>
                  <a:gd name="T7" fmla="*/ 14 h 61"/>
                  <a:gd name="T8" fmla="*/ 63 w 71"/>
                  <a:gd name="T9" fmla="*/ 16 h 61"/>
                  <a:gd name="T10" fmla="*/ 51 w 71"/>
                  <a:gd name="T11" fmla="*/ 8 h 61"/>
                  <a:gd name="T12" fmla="*/ 49 w 71"/>
                  <a:gd name="T13" fmla="*/ 5 h 61"/>
                  <a:gd name="T14" fmla="*/ 43 w 71"/>
                  <a:gd name="T15" fmla="*/ 1 h 61"/>
                  <a:gd name="T16" fmla="*/ 40 w 71"/>
                  <a:gd name="T17" fmla="*/ 4 h 61"/>
                  <a:gd name="T18" fmla="*/ 31 w 71"/>
                  <a:gd name="T19" fmla="*/ 16 h 61"/>
                  <a:gd name="T20" fmla="*/ 26 w 71"/>
                  <a:gd name="T21" fmla="*/ 24 h 61"/>
                  <a:gd name="T22" fmla="*/ 18 w 71"/>
                  <a:gd name="T23" fmla="*/ 23 h 61"/>
                  <a:gd name="T24" fmla="*/ 12 w 71"/>
                  <a:gd name="T25" fmla="*/ 23 h 61"/>
                  <a:gd name="T26" fmla="*/ 6 w 71"/>
                  <a:gd name="T27" fmla="*/ 24 h 61"/>
                  <a:gd name="T28" fmla="*/ 0 w 71"/>
                  <a:gd name="T29" fmla="*/ 23 h 61"/>
                  <a:gd name="T30" fmla="*/ 7 w 71"/>
                  <a:gd name="T31" fmla="*/ 37 h 61"/>
                  <a:gd name="T32" fmla="*/ 12 w 71"/>
                  <a:gd name="T33" fmla="*/ 25 h 61"/>
                  <a:gd name="T34" fmla="*/ 20 w 71"/>
                  <a:gd name="T35" fmla="*/ 31 h 61"/>
                  <a:gd name="T36" fmla="*/ 24 w 71"/>
                  <a:gd name="T37" fmla="*/ 42 h 61"/>
                  <a:gd name="T38" fmla="*/ 28 w 71"/>
                  <a:gd name="T39" fmla="*/ 51 h 61"/>
                  <a:gd name="T40" fmla="*/ 36 w 71"/>
                  <a:gd name="T41" fmla="*/ 59 h 61"/>
                  <a:gd name="T42" fmla="*/ 45 w 71"/>
                  <a:gd name="T43" fmla="*/ 63 h 61"/>
                  <a:gd name="T44" fmla="*/ 62 w 71"/>
                  <a:gd name="T45" fmla="*/ 73 h 61"/>
                  <a:gd name="T46" fmla="*/ 53 w 71"/>
                  <a:gd name="T47" fmla="*/ 61 h 61"/>
                  <a:gd name="T48" fmla="*/ 42 w 71"/>
                  <a:gd name="T49" fmla="*/ 49 h 61"/>
                  <a:gd name="T50" fmla="*/ 36 w 71"/>
                  <a:gd name="T51" fmla="*/ 37 h 61"/>
                  <a:gd name="T52" fmla="*/ 34 w 71"/>
                  <a:gd name="T53" fmla="*/ 30 h 61"/>
                  <a:gd name="T54" fmla="*/ 42 w 71"/>
                  <a:gd name="T55" fmla="*/ 32 h 61"/>
                  <a:gd name="T56" fmla="*/ 47 w 71"/>
                  <a:gd name="T57" fmla="*/ 28 h 61"/>
                  <a:gd name="T58" fmla="*/ 55 w 71"/>
                  <a:gd name="T59" fmla="*/ 29 h 61"/>
                  <a:gd name="T60" fmla="*/ 63 w 71"/>
                  <a:gd name="T61" fmla="*/ 32 h 61"/>
                  <a:gd name="T62" fmla="*/ 74 w 71"/>
                  <a:gd name="T63" fmla="*/ 31 h 61"/>
                  <a:gd name="T64" fmla="*/ 79 w 71"/>
                  <a:gd name="T65" fmla="*/ 36 h 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1"/>
                  <a:gd name="T100" fmla="*/ 0 h 61"/>
                  <a:gd name="T101" fmla="*/ 71 w 71"/>
                  <a:gd name="T102" fmla="*/ 61 h 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1" h="61">
                    <a:moveTo>
                      <a:pt x="69" y="29"/>
                    </a:moveTo>
                    <a:cubicBezTo>
                      <a:pt x="69" y="28"/>
                      <a:pt x="68" y="27"/>
                      <a:pt x="68" y="25"/>
                    </a:cubicBezTo>
                    <a:cubicBezTo>
                      <a:pt x="69" y="24"/>
                      <a:pt x="71" y="25"/>
                      <a:pt x="71" y="23"/>
                    </a:cubicBezTo>
                    <a:cubicBezTo>
                      <a:pt x="71" y="22"/>
                      <a:pt x="69" y="23"/>
                      <a:pt x="68" y="22"/>
                    </a:cubicBezTo>
                    <a:cubicBezTo>
                      <a:pt x="67" y="21"/>
                      <a:pt x="67" y="20"/>
                      <a:pt x="67" y="19"/>
                    </a:cubicBezTo>
                    <a:cubicBezTo>
                      <a:pt x="67" y="18"/>
                      <a:pt x="67" y="17"/>
                      <a:pt x="67" y="16"/>
                    </a:cubicBezTo>
                    <a:cubicBezTo>
                      <a:pt x="67" y="14"/>
                      <a:pt x="66" y="13"/>
                      <a:pt x="65" y="12"/>
                    </a:cubicBezTo>
                    <a:cubicBezTo>
                      <a:pt x="64" y="12"/>
                      <a:pt x="63" y="11"/>
                      <a:pt x="63" y="12"/>
                    </a:cubicBezTo>
                    <a:cubicBezTo>
                      <a:pt x="62" y="12"/>
                      <a:pt x="61" y="14"/>
                      <a:pt x="60" y="14"/>
                    </a:cubicBezTo>
                    <a:cubicBezTo>
                      <a:pt x="58" y="14"/>
                      <a:pt x="55" y="14"/>
                      <a:pt x="53" y="13"/>
                    </a:cubicBezTo>
                    <a:cubicBezTo>
                      <a:pt x="51" y="13"/>
                      <a:pt x="48" y="12"/>
                      <a:pt x="46" y="11"/>
                    </a:cubicBezTo>
                    <a:cubicBezTo>
                      <a:pt x="45" y="10"/>
                      <a:pt x="45" y="8"/>
                      <a:pt x="43" y="7"/>
                    </a:cubicBezTo>
                    <a:cubicBezTo>
                      <a:pt x="43" y="7"/>
                      <a:pt x="42" y="7"/>
                      <a:pt x="42" y="7"/>
                    </a:cubicBezTo>
                    <a:cubicBezTo>
                      <a:pt x="41" y="6"/>
                      <a:pt x="42" y="4"/>
                      <a:pt x="41" y="4"/>
                    </a:cubicBezTo>
                    <a:cubicBezTo>
                      <a:pt x="40" y="3"/>
                      <a:pt x="39" y="4"/>
                      <a:pt x="38" y="4"/>
                    </a:cubicBezTo>
                    <a:cubicBezTo>
                      <a:pt x="37" y="3"/>
                      <a:pt x="37" y="2"/>
                      <a:pt x="36" y="1"/>
                    </a:cubicBezTo>
                    <a:cubicBezTo>
                      <a:pt x="35" y="1"/>
                      <a:pt x="34" y="0"/>
                      <a:pt x="33" y="0"/>
                    </a:cubicBezTo>
                    <a:cubicBezTo>
                      <a:pt x="32" y="1"/>
                      <a:pt x="34" y="3"/>
                      <a:pt x="33" y="3"/>
                    </a:cubicBezTo>
                    <a:cubicBezTo>
                      <a:pt x="31" y="5"/>
                      <a:pt x="27" y="4"/>
                      <a:pt x="26" y="6"/>
                    </a:cubicBezTo>
                    <a:cubicBezTo>
                      <a:pt x="25" y="8"/>
                      <a:pt x="27" y="11"/>
                      <a:pt x="26" y="13"/>
                    </a:cubicBezTo>
                    <a:cubicBezTo>
                      <a:pt x="26" y="14"/>
                      <a:pt x="23" y="12"/>
                      <a:pt x="22" y="13"/>
                    </a:cubicBezTo>
                    <a:cubicBezTo>
                      <a:pt x="21" y="15"/>
                      <a:pt x="23" y="18"/>
                      <a:pt x="22" y="20"/>
                    </a:cubicBezTo>
                    <a:cubicBezTo>
                      <a:pt x="21" y="21"/>
                      <a:pt x="20" y="20"/>
                      <a:pt x="18" y="19"/>
                    </a:cubicBezTo>
                    <a:cubicBezTo>
                      <a:pt x="17" y="19"/>
                      <a:pt x="16" y="19"/>
                      <a:pt x="15" y="19"/>
                    </a:cubicBezTo>
                    <a:cubicBezTo>
                      <a:pt x="14" y="18"/>
                      <a:pt x="14" y="17"/>
                      <a:pt x="13" y="17"/>
                    </a:cubicBezTo>
                    <a:cubicBezTo>
                      <a:pt x="12" y="17"/>
                      <a:pt x="11" y="19"/>
                      <a:pt x="10" y="19"/>
                    </a:cubicBezTo>
                    <a:cubicBezTo>
                      <a:pt x="9" y="19"/>
                      <a:pt x="8" y="18"/>
                      <a:pt x="7" y="18"/>
                    </a:cubicBezTo>
                    <a:cubicBezTo>
                      <a:pt x="6" y="19"/>
                      <a:pt x="6" y="19"/>
                      <a:pt x="5" y="20"/>
                    </a:cubicBezTo>
                    <a:cubicBezTo>
                      <a:pt x="4" y="20"/>
                      <a:pt x="3" y="20"/>
                      <a:pt x="2" y="20"/>
                    </a:cubicBezTo>
                    <a:cubicBezTo>
                      <a:pt x="1" y="19"/>
                      <a:pt x="0" y="18"/>
                      <a:pt x="0" y="19"/>
                    </a:cubicBezTo>
                    <a:cubicBezTo>
                      <a:pt x="0" y="21"/>
                      <a:pt x="1" y="23"/>
                      <a:pt x="2" y="26"/>
                    </a:cubicBezTo>
                    <a:cubicBezTo>
                      <a:pt x="3" y="28"/>
                      <a:pt x="3" y="31"/>
                      <a:pt x="6" y="31"/>
                    </a:cubicBezTo>
                    <a:cubicBezTo>
                      <a:pt x="7" y="31"/>
                      <a:pt x="7" y="28"/>
                      <a:pt x="8" y="26"/>
                    </a:cubicBezTo>
                    <a:cubicBezTo>
                      <a:pt x="9" y="24"/>
                      <a:pt x="9" y="22"/>
                      <a:pt x="10" y="21"/>
                    </a:cubicBezTo>
                    <a:cubicBezTo>
                      <a:pt x="11" y="21"/>
                      <a:pt x="13" y="21"/>
                      <a:pt x="13" y="22"/>
                    </a:cubicBezTo>
                    <a:cubicBezTo>
                      <a:pt x="15" y="23"/>
                      <a:pt x="16" y="24"/>
                      <a:pt x="17" y="26"/>
                    </a:cubicBezTo>
                    <a:cubicBezTo>
                      <a:pt x="17" y="28"/>
                      <a:pt x="17" y="29"/>
                      <a:pt x="17" y="31"/>
                    </a:cubicBezTo>
                    <a:cubicBezTo>
                      <a:pt x="18" y="33"/>
                      <a:pt x="19" y="34"/>
                      <a:pt x="20" y="35"/>
                    </a:cubicBezTo>
                    <a:cubicBezTo>
                      <a:pt x="21" y="37"/>
                      <a:pt x="25" y="38"/>
                      <a:pt x="25" y="39"/>
                    </a:cubicBezTo>
                    <a:cubicBezTo>
                      <a:pt x="26" y="40"/>
                      <a:pt x="22" y="42"/>
                      <a:pt x="23" y="43"/>
                    </a:cubicBezTo>
                    <a:cubicBezTo>
                      <a:pt x="24" y="44"/>
                      <a:pt x="26" y="45"/>
                      <a:pt x="27" y="47"/>
                    </a:cubicBezTo>
                    <a:cubicBezTo>
                      <a:pt x="28" y="48"/>
                      <a:pt x="29" y="48"/>
                      <a:pt x="30" y="49"/>
                    </a:cubicBezTo>
                    <a:cubicBezTo>
                      <a:pt x="31" y="50"/>
                      <a:pt x="31" y="52"/>
                      <a:pt x="33" y="53"/>
                    </a:cubicBezTo>
                    <a:cubicBezTo>
                      <a:pt x="34" y="54"/>
                      <a:pt x="37" y="52"/>
                      <a:pt x="38" y="53"/>
                    </a:cubicBezTo>
                    <a:cubicBezTo>
                      <a:pt x="41" y="53"/>
                      <a:pt x="43" y="55"/>
                      <a:pt x="44" y="56"/>
                    </a:cubicBezTo>
                    <a:cubicBezTo>
                      <a:pt x="47" y="57"/>
                      <a:pt x="50" y="59"/>
                      <a:pt x="52" y="61"/>
                    </a:cubicBezTo>
                    <a:cubicBezTo>
                      <a:pt x="51" y="60"/>
                      <a:pt x="50" y="58"/>
                      <a:pt x="49" y="57"/>
                    </a:cubicBezTo>
                    <a:cubicBezTo>
                      <a:pt x="47" y="55"/>
                      <a:pt x="45" y="53"/>
                      <a:pt x="44" y="51"/>
                    </a:cubicBezTo>
                    <a:cubicBezTo>
                      <a:pt x="42" y="49"/>
                      <a:pt x="40" y="47"/>
                      <a:pt x="39" y="45"/>
                    </a:cubicBezTo>
                    <a:cubicBezTo>
                      <a:pt x="37" y="43"/>
                      <a:pt x="36" y="43"/>
                      <a:pt x="35" y="41"/>
                    </a:cubicBezTo>
                    <a:cubicBezTo>
                      <a:pt x="34" y="40"/>
                      <a:pt x="34" y="38"/>
                      <a:pt x="33" y="36"/>
                    </a:cubicBezTo>
                    <a:cubicBezTo>
                      <a:pt x="32" y="34"/>
                      <a:pt x="31" y="33"/>
                      <a:pt x="30" y="31"/>
                    </a:cubicBezTo>
                    <a:cubicBezTo>
                      <a:pt x="29" y="31"/>
                      <a:pt x="28" y="32"/>
                      <a:pt x="28" y="31"/>
                    </a:cubicBezTo>
                    <a:cubicBezTo>
                      <a:pt x="27" y="30"/>
                      <a:pt x="27" y="27"/>
                      <a:pt x="28" y="25"/>
                    </a:cubicBezTo>
                    <a:cubicBezTo>
                      <a:pt x="28" y="25"/>
                      <a:pt x="29" y="23"/>
                      <a:pt x="30" y="24"/>
                    </a:cubicBezTo>
                    <a:cubicBezTo>
                      <a:pt x="32" y="24"/>
                      <a:pt x="33" y="27"/>
                      <a:pt x="35" y="27"/>
                    </a:cubicBezTo>
                    <a:cubicBezTo>
                      <a:pt x="36" y="28"/>
                      <a:pt x="36" y="25"/>
                      <a:pt x="37" y="25"/>
                    </a:cubicBezTo>
                    <a:cubicBezTo>
                      <a:pt x="37" y="24"/>
                      <a:pt x="38" y="23"/>
                      <a:pt x="39" y="23"/>
                    </a:cubicBezTo>
                    <a:cubicBezTo>
                      <a:pt x="40" y="23"/>
                      <a:pt x="40" y="25"/>
                      <a:pt x="41" y="25"/>
                    </a:cubicBezTo>
                    <a:cubicBezTo>
                      <a:pt x="43" y="25"/>
                      <a:pt x="44" y="24"/>
                      <a:pt x="46" y="24"/>
                    </a:cubicBezTo>
                    <a:cubicBezTo>
                      <a:pt x="48" y="24"/>
                      <a:pt x="51" y="24"/>
                      <a:pt x="53" y="25"/>
                    </a:cubicBezTo>
                    <a:cubicBezTo>
                      <a:pt x="53" y="25"/>
                      <a:pt x="53" y="27"/>
                      <a:pt x="53" y="27"/>
                    </a:cubicBezTo>
                    <a:cubicBezTo>
                      <a:pt x="54" y="27"/>
                      <a:pt x="54" y="26"/>
                      <a:pt x="55" y="26"/>
                    </a:cubicBezTo>
                    <a:cubicBezTo>
                      <a:pt x="57" y="25"/>
                      <a:pt x="60" y="26"/>
                      <a:pt x="62" y="26"/>
                    </a:cubicBezTo>
                    <a:cubicBezTo>
                      <a:pt x="63" y="26"/>
                      <a:pt x="64" y="26"/>
                      <a:pt x="65" y="27"/>
                    </a:cubicBezTo>
                    <a:cubicBezTo>
                      <a:pt x="66" y="28"/>
                      <a:pt x="65" y="29"/>
                      <a:pt x="66" y="30"/>
                    </a:cubicBezTo>
                    <a:cubicBezTo>
                      <a:pt x="67" y="31"/>
                      <a:pt x="68" y="29"/>
                      <a:pt x="6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1" name="Freeform 2592"/>
              <p:cNvSpPr>
                <a:spLocks noChangeAspect="1"/>
              </p:cNvSpPr>
              <p:nvPr/>
            </p:nvSpPr>
            <p:spPr bwMode="auto">
              <a:xfrm>
                <a:off x="4826446" y="2692658"/>
                <a:ext cx="96500" cy="90951"/>
              </a:xfrm>
              <a:custGeom>
                <a:avLst/>
                <a:gdLst>
                  <a:gd name="T0" fmla="*/ 30 w 49"/>
                  <a:gd name="T1" fmla="*/ 46 h 46"/>
                  <a:gd name="T2" fmla="*/ 26 w 49"/>
                  <a:gd name="T3" fmla="*/ 41 h 46"/>
                  <a:gd name="T4" fmla="*/ 20 w 49"/>
                  <a:gd name="T5" fmla="*/ 34 h 46"/>
                  <a:gd name="T6" fmla="*/ 14 w 49"/>
                  <a:gd name="T7" fmla="*/ 27 h 46"/>
                  <a:gd name="T8" fmla="*/ 10 w 49"/>
                  <a:gd name="T9" fmla="*/ 22 h 46"/>
                  <a:gd name="T10" fmla="*/ 7 w 49"/>
                  <a:gd name="T11" fmla="*/ 16 h 46"/>
                  <a:gd name="T12" fmla="*/ 4 w 49"/>
                  <a:gd name="T13" fmla="*/ 10 h 46"/>
                  <a:gd name="T14" fmla="*/ 1 w 49"/>
                  <a:gd name="T15" fmla="*/ 10 h 46"/>
                  <a:gd name="T16" fmla="*/ 1 w 49"/>
                  <a:gd name="T17" fmla="*/ 2 h 46"/>
                  <a:gd name="T18" fmla="*/ 4 w 49"/>
                  <a:gd name="T19" fmla="*/ 1 h 46"/>
                  <a:gd name="T20" fmla="*/ 10 w 49"/>
                  <a:gd name="T21" fmla="*/ 5 h 46"/>
                  <a:gd name="T22" fmla="*/ 12 w 49"/>
                  <a:gd name="T23" fmla="*/ 2 h 46"/>
                  <a:gd name="T24" fmla="*/ 14 w 49"/>
                  <a:gd name="T25" fmla="*/ 0 h 46"/>
                  <a:gd name="T26" fmla="*/ 17 w 49"/>
                  <a:gd name="T27" fmla="*/ 2 h 46"/>
                  <a:gd name="T28" fmla="*/ 23 w 49"/>
                  <a:gd name="T29" fmla="*/ 1 h 46"/>
                  <a:gd name="T30" fmla="*/ 31 w 49"/>
                  <a:gd name="T31" fmla="*/ 2 h 46"/>
                  <a:gd name="T32" fmla="*/ 31 w 49"/>
                  <a:gd name="T33" fmla="*/ 5 h 46"/>
                  <a:gd name="T34" fmla="*/ 34 w 49"/>
                  <a:gd name="T35" fmla="*/ 4 h 46"/>
                  <a:gd name="T36" fmla="*/ 42 w 49"/>
                  <a:gd name="T37" fmla="*/ 4 h 46"/>
                  <a:gd name="T38" fmla="*/ 46 w 49"/>
                  <a:gd name="T39" fmla="*/ 5 h 46"/>
                  <a:gd name="T40" fmla="*/ 47 w 49"/>
                  <a:gd name="T41" fmla="*/ 9 h 46"/>
                  <a:gd name="T42" fmla="*/ 51 w 49"/>
                  <a:gd name="T43" fmla="*/ 7 h 46"/>
                  <a:gd name="T44" fmla="*/ 54 w 49"/>
                  <a:gd name="T45" fmla="*/ 7 h 46"/>
                  <a:gd name="T46" fmla="*/ 51 w 49"/>
                  <a:gd name="T47" fmla="*/ 18 h 46"/>
                  <a:gd name="T48" fmla="*/ 58 w 49"/>
                  <a:gd name="T49" fmla="*/ 26 h 46"/>
                  <a:gd name="T50" fmla="*/ 53 w 49"/>
                  <a:gd name="T51" fmla="*/ 26 h 46"/>
                  <a:gd name="T52" fmla="*/ 58 w 49"/>
                  <a:gd name="T53" fmla="*/ 34 h 46"/>
                  <a:gd name="T54" fmla="*/ 53 w 49"/>
                  <a:gd name="T55" fmla="*/ 34 h 46"/>
                  <a:gd name="T56" fmla="*/ 49 w 49"/>
                  <a:gd name="T57" fmla="*/ 35 h 46"/>
                  <a:gd name="T58" fmla="*/ 49 w 49"/>
                  <a:gd name="T59" fmla="*/ 40 h 46"/>
                  <a:gd name="T60" fmla="*/ 45 w 49"/>
                  <a:gd name="T61" fmla="*/ 45 h 46"/>
                  <a:gd name="T62" fmla="*/ 41 w 49"/>
                  <a:gd name="T63" fmla="*/ 49 h 46"/>
                  <a:gd name="T64" fmla="*/ 42 w 49"/>
                  <a:gd name="T65" fmla="*/ 56 h 46"/>
                  <a:gd name="T66" fmla="*/ 34 w 49"/>
                  <a:gd name="T67" fmla="*/ 49 h 46"/>
                  <a:gd name="T68" fmla="*/ 30 w 49"/>
                  <a:gd name="T69" fmla="*/ 46 h 4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9"/>
                  <a:gd name="T106" fmla="*/ 0 h 46"/>
                  <a:gd name="T107" fmla="*/ 49 w 49"/>
                  <a:gd name="T108" fmla="*/ 46 h 4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9" h="46">
                    <a:moveTo>
                      <a:pt x="25" y="38"/>
                    </a:moveTo>
                    <a:cubicBezTo>
                      <a:pt x="24" y="37"/>
                      <a:pt x="23" y="35"/>
                      <a:pt x="22" y="34"/>
                    </a:cubicBezTo>
                    <a:cubicBezTo>
                      <a:pt x="20" y="32"/>
                      <a:pt x="18" y="30"/>
                      <a:pt x="17" y="28"/>
                    </a:cubicBezTo>
                    <a:cubicBezTo>
                      <a:pt x="15" y="26"/>
                      <a:pt x="13" y="24"/>
                      <a:pt x="12" y="22"/>
                    </a:cubicBezTo>
                    <a:cubicBezTo>
                      <a:pt x="10" y="20"/>
                      <a:pt x="9" y="20"/>
                      <a:pt x="8" y="18"/>
                    </a:cubicBezTo>
                    <a:cubicBezTo>
                      <a:pt x="7" y="17"/>
                      <a:pt x="7" y="15"/>
                      <a:pt x="6" y="13"/>
                    </a:cubicBezTo>
                    <a:cubicBezTo>
                      <a:pt x="5" y="11"/>
                      <a:pt x="4" y="10"/>
                      <a:pt x="3" y="8"/>
                    </a:cubicBezTo>
                    <a:cubicBezTo>
                      <a:pt x="2" y="8"/>
                      <a:pt x="1" y="9"/>
                      <a:pt x="1" y="8"/>
                    </a:cubicBezTo>
                    <a:cubicBezTo>
                      <a:pt x="0" y="7"/>
                      <a:pt x="0" y="4"/>
                      <a:pt x="1" y="2"/>
                    </a:cubicBezTo>
                    <a:cubicBezTo>
                      <a:pt x="1" y="2"/>
                      <a:pt x="2" y="0"/>
                      <a:pt x="3" y="1"/>
                    </a:cubicBezTo>
                    <a:cubicBezTo>
                      <a:pt x="5" y="1"/>
                      <a:pt x="6" y="4"/>
                      <a:pt x="8" y="4"/>
                    </a:cubicBezTo>
                    <a:cubicBezTo>
                      <a:pt x="9" y="5"/>
                      <a:pt x="9" y="2"/>
                      <a:pt x="10" y="2"/>
                    </a:cubicBezTo>
                    <a:cubicBezTo>
                      <a:pt x="10" y="1"/>
                      <a:pt x="11" y="0"/>
                      <a:pt x="12" y="0"/>
                    </a:cubicBezTo>
                    <a:cubicBezTo>
                      <a:pt x="13" y="0"/>
                      <a:pt x="13" y="2"/>
                      <a:pt x="14" y="2"/>
                    </a:cubicBezTo>
                    <a:cubicBezTo>
                      <a:pt x="16" y="2"/>
                      <a:pt x="17" y="1"/>
                      <a:pt x="19" y="1"/>
                    </a:cubicBezTo>
                    <a:cubicBezTo>
                      <a:pt x="21" y="1"/>
                      <a:pt x="24" y="1"/>
                      <a:pt x="26" y="2"/>
                    </a:cubicBezTo>
                    <a:cubicBezTo>
                      <a:pt x="26" y="2"/>
                      <a:pt x="26" y="4"/>
                      <a:pt x="26" y="4"/>
                    </a:cubicBezTo>
                    <a:cubicBezTo>
                      <a:pt x="27" y="4"/>
                      <a:pt x="27" y="3"/>
                      <a:pt x="28" y="3"/>
                    </a:cubicBezTo>
                    <a:cubicBezTo>
                      <a:pt x="30" y="2"/>
                      <a:pt x="33" y="3"/>
                      <a:pt x="35" y="3"/>
                    </a:cubicBezTo>
                    <a:cubicBezTo>
                      <a:pt x="36" y="3"/>
                      <a:pt x="37" y="3"/>
                      <a:pt x="38" y="4"/>
                    </a:cubicBezTo>
                    <a:cubicBezTo>
                      <a:pt x="39" y="5"/>
                      <a:pt x="38" y="6"/>
                      <a:pt x="39" y="7"/>
                    </a:cubicBezTo>
                    <a:cubicBezTo>
                      <a:pt x="40" y="8"/>
                      <a:pt x="41" y="6"/>
                      <a:pt x="42" y="6"/>
                    </a:cubicBezTo>
                    <a:cubicBezTo>
                      <a:pt x="43" y="6"/>
                      <a:pt x="45" y="5"/>
                      <a:pt x="45" y="6"/>
                    </a:cubicBezTo>
                    <a:cubicBezTo>
                      <a:pt x="45" y="9"/>
                      <a:pt x="41" y="12"/>
                      <a:pt x="42" y="15"/>
                    </a:cubicBezTo>
                    <a:cubicBezTo>
                      <a:pt x="43" y="18"/>
                      <a:pt x="47" y="18"/>
                      <a:pt x="48" y="21"/>
                    </a:cubicBezTo>
                    <a:cubicBezTo>
                      <a:pt x="49" y="22"/>
                      <a:pt x="44" y="20"/>
                      <a:pt x="44" y="21"/>
                    </a:cubicBezTo>
                    <a:cubicBezTo>
                      <a:pt x="44" y="24"/>
                      <a:pt x="48" y="25"/>
                      <a:pt x="48" y="28"/>
                    </a:cubicBezTo>
                    <a:cubicBezTo>
                      <a:pt x="48" y="30"/>
                      <a:pt x="45" y="28"/>
                      <a:pt x="44" y="28"/>
                    </a:cubicBezTo>
                    <a:cubicBezTo>
                      <a:pt x="42" y="28"/>
                      <a:pt x="41" y="29"/>
                      <a:pt x="41" y="29"/>
                    </a:cubicBezTo>
                    <a:cubicBezTo>
                      <a:pt x="40" y="30"/>
                      <a:pt x="42" y="32"/>
                      <a:pt x="41" y="33"/>
                    </a:cubicBezTo>
                    <a:cubicBezTo>
                      <a:pt x="38" y="33"/>
                      <a:pt x="37" y="35"/>
                      <a:pt x="37" y="37"/>
                    </a:cubicBezTo>
                    <a:cubicBezTo>
                      <a:pt x="37" y="38"/>
                      <a:pt x="35" y="39"/>
                      <a:pt x="34" y="40"/>
                    </a:cubicBezTo>
                    <a:cubicBezTo>
                      <a:pt x="34" y="42"/>
                      <a:pt x="35" y="44"/>
                      <a:pt x="35" y="46"/>
                    </a:cubicBezTo>
                    <a:cubicBezTo>
                      <a:pt x="33" y="44"/>
                      <a:pt x="30" y="42"/>
                      <a:pt x="28" y="40"/>
                    </a:cubicBezTo>
                    <a:cubicBezTo>
                      <a:pt x="27" y="40"/>
                      <a:pt x="26" y="39"/>
                      <a:pt x="25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2" name="Freeform 2593"/>
              <p:cNvSpPr>
                <a:spLocks noChangeAspect="1"/>
              </p:cNvSpPr>
              <p:nvPr/>
            </p:nvSpPr>
            <p:spPr bwMode="auto">
              <a:xfrm>
                <a:off x="4893505" y="2660176"/>
                <a:ext cx="107949" cy="144548"/>
              </a:xfrm>
              <a:custGeom>
                <a:avLst/>
                <a:gdLst>
                  <a:gd name="T0" fmla="*/ 25 w 55"/>
                  <a:gd name="T1" fmla="*/ 1 h 74"/>
                  <a:gd name="T2" fmla="*/ 29 w 55"/>
                  <a:gd name="T3" fmla="*/ 7 h 74"/>
                  <a:gd name="T4" fmla="*/ 32 w 55"/>
                  <a:gd name="T5" fmla="*/ 12 h 74"/>
                  <a:gd name="T6" fmla="*/ 35 w 55"/>
                  <a:gd name="T7" fmla="*/ 18 h 74"/>
                  <a:gd name="T8" fmla="*/ 43 w 55"/>
                  <a:gd name="T9" fmla="*/ 23 h 74"/>
                  <a:gd name="T10" fmla="*/ 43 w 55"/>
                  <a:gd name="T11" fmla="*/ 30 h 74"/>
                  <a:gd name="T12" fmla="*/ 50 w 55"/>
                  <a:gd name="T13" fmla="*/ 34 h 74"/>
                  <a:gd name="T14" fmla="*/ 55 w 55"/>
                  <a:gd name="T15" fmla="*/ 36 h 74"/>
                  <a:gd name="T16" fmla="*/ 56 w 55"/>
                  <a:gd name="T17" fmla="*/ 32 h 74"/>
                  <a:gd name="T18" fmla="*/ 60 w 55"/>
                  <a:gd name="T19" fmla="*/ 35 h 74"/>
                  <a:gd name="T20" fmla="*/ 58 w 55"/>
                  <a:gd name="T21" fmla="*/ 37 h 74"/>
                  <a:gd name="T22" fmla="*/ 59 w 55"/>
                  <a:gd name="T23" fmla="*/ 40 h 74"/>
                  <a:gd name="T24" fmla="*/ 55 w 55"/>
                  <a:gd name="T25" fmla="*/ 46 h 74"/>
                  <a:gd name="T26" fmla="*/ 55 w 55"/>
                  <a:gd name="T27" fmla="*/ 55 h 74"/>
                  <a:gd name="T28" fmla="*/ 61 w 55"/>
                  <a:gd name="T29" fmla="*/ 61 h 74"/>
                  <a:gd name="T30" fmla="*/ 65 w 55"/>
                  <a:gd name="T31" fmla="*/ 65 h 74"/>
                  <a:gd name="T32" fmla="*/ 58 w 55"/>
                  <a:gd name="T33" fmla="*/ 69 h 74"/>
                  <a:gd name="T34" fmla="*/ 58 w 55"/>
                  <a:gd name="T35" fmla="*/ 78 h 74"/>
                  <a:gd name="T36" fmla="*/ 54 w 55"/>
                  <a:gd name="T37" fmla="*/ 81 h 74"/>
                  <a:gd name="T38" fmla="*/ 46 w 55"/>
                  <a:gd name="T39" fmla="*/ 79 h 74"/>
                  <a:gd name="T40" fmla="*/ 42 w 55"/>
                  <a:gd name="T41" fmla="*/ 83 h 74"/>
                  <a:gd name="T42" fmla="*/ 38 w 55"/>
                  <a:gd name="T43" fmla="*/ 82 h 74"/>
                  <a:gd name="T44" fmla="*/ 35 w 55"/>
                  <a:gd name="T45" fmla="*/ 85 h 74"/>
                  <a:gd name="T46" fmla="*/ 35 w 55"/>
                  <a:gd name="T47" fmla="*/ 89 h 74"/>
                  <a:gd name="T48" fmla="*/ 32 w 55"/>
                  <a:gd name="T49" fmla="*/ 89 h 74"/>
                  <a:gd name="T50" fmla="*/ 32 w 55"/>
                  <a:gd name="T51" fmla="*/ 82 h 74"/>
                  <a:gd name="T52" fmla="*/ 28 w 55"/>
                  <a:gd name="T53" fmla="*/ 77 h 74"/>
                  <a:gd name="T54" fmla="*/ 22 w 55"/>
                  <a:gd name="T55" fmla="*/ 75 h 74"/>
                  <a:gd name="T56" fmla="*/ 18 w 55"/>
                  <a:gd name="T57" fmla="*/ 75 h 74"/>
                  <a:gd name="T58" fmla="*/ 16 w 55"/>
                  <a:gd name="T59" fmla="*/ 79 h 74"/>
                  <a:gd name="T60" fmla="*/ 11 w 55"/>
                  <a:gd name="T61" fmla="*/ 81 h 74"/>
                  <a:gd name="T62" fmla="*/ 16 w 55"/>
                  <a:gd name="T63" fmla="*/ 84 h 74"/>
                  <a:gd name="T64" fmla="*/ 16 w 55"/>
                  <a:gd name="T65" fmla="*/ 89 h 74"/>
                  <a:gd name="T66" fmla="*/ 8 w 55"/>
                  <a:gd name="T67" fmla="*/ 82 h 74"/>
                  <a:gd name="T68" fmla="*/ 4 w 55"/>
                  <a:gd name="T69" fmla="*/ 79 h 74"/>
                  <a:gd name="T70" fmla="*/ 6 w 55"/>
                  <a:gd name="T71" fmla="*/ 77 h 74"/>
                  <a:gd name="T72" fmla="*/ 5 w 55"/>
                  <a:gd name="T73" fmla="*/ 76 h 74"/>
                  <a:gd name="T74" fmla="*/ 1 w 55"/>
                  <a:gd name="T75" fmla="*/ 76 h 74"/>
                  <a:gd name="T76" fmla="*/ 0 w 55"/>
                  <a:gd name="T77" fmla="*/ 69 h 74"/>
                  <a:gd name="T78" fmla="*/ 4 w 55"/>
                  <a:gd name="T79" fmla="*/ 65 h 74"/>
                  <a:gd name="T80" fmla="*/ 8 w 55"/>
                  <a:gd name="T81" fmla="*/ 60 h 74"/>
                  <a:gd name="T82" fmla="*/ 8 w 55"/>
                  <a:gd name="T83" fmla="*/ 55 h 74"/>
                  <a:gd name="T84" fmla="*/ 12 w 55"/>
                  <a:gd name="T85" fmla="*/ 54 h 74"/>
                  <a:gd name="T86" fmla="*/ 17 w 55"/>
                  <a:gd name="T87" fmla="*/ 54 h 74"/>
                  <a:gd name="T88" fmla="*/ 12 w 55"/>
                  <a:gd name="T89" fmla="*/ 46 h 74"/>
                  <a:gd name="T90" fmla="*/ 17 w 55"/>
                  <a:gd name="T91" fmla="*/ 46 h 74"/>
                  <a:gd name="T92" fmla="*/ 10 w 55"/>
                  <a:gd name="T93" fmla="*/ 38 h 74"/>
                  <a:gd name="T94" fmla="*/ 13 w 55"/>
                  <a:gd name="T95" fmla="*/ 28 h 74"/>
                  <a:gd name="T96" fmla="*/ 10 w 55"/>
                  <a:gd name="T97" fmla="*/ 28 h 74"/>
                  <a:gd name="T98" fmla="*/ 8 w 55"/>
                  <a:gd name="T99" fmla="*/ 23 h 74"/>
                  <a:gd name="T100" fmla="*/ 12 w 55"/>
                  <a:gd name="T101" fmla="*/ 20 h 74"/>
                  <a:gd name="T102" fmla="*/ 8 w 55"/>
                  <a:gd name="T103" fmla="*/ 19 h 74"/>
                  <a:gd name="T104" fmla="*/ 7 w 55"/>
                  <a:gd name="T105" fmla="*/ 16 h 74"/>
                  <a:gd name="T106" fmla="*/ 7 w 55"/>
                  <a:gd name="T107" fmla="*/ 12 h 74"/>
                  <a:gd name="T108" fmla="*/ 5 w 55"/>
                  <a:gd name="T109" fmla="*/ 7 h 74"/>
                  <a:gd name="T110" fmla="*/ 8 w 55"/>
                  <a:gd name="T111" fmla="*/ 4 h 74"/>
                  <a:gd name="T112" fmla="*/ 14 w 55"/>
                  <a:gd name="T113" fmla="*/ 2 h 74"/>
                  <a:gd name="T114" fmla="*/ 18 w 55"/>
                  <a:gd name="T115" fmla="*/ 0 h 74"/>
                  <a:gd name="T116" fmla="*/ 25 w 55"/>
                  <a:gd name="T117" fmla="*/ 1 h 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5"/>
                  <a:gd name="T178" fmla="*/ 0 h 74"/>
                  <a:gd name="T179" fmla="*/ 55 w 55"/>
                  <a:gd name="T180" fmla="*/ 74 h 7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5" h="74">
                    <a:moveTo>
                      <a:pt x="21" y="1"/>
                    </a:moveTo>
                    <a:cubicBezTo>
                      <a:pt x="22" y="3"/>
                      <a:pt x="23" y="5"/>
                      <a:pt x="24" y="6"/>
                    </a:cubicBezTo>
                    <a:cubicBezTo>
                      <a:pt x="25" y="8"/>
                      <a:pt x="26" y="8"/>
                      <a:pt x="27" y="10"/>
                    </a:cubicBezTo>
                    <a:cubicBezTo>
                      <a:pt x="28" y="11"/>
                      <a:pt x="28" y="13"/>
                      <a:pt x="29" y="15"/>
                    </a:cubicBezTo>
                    <a:cubicBezTo>
                      <a:pt x="31" y="17"/>
                      <a:pt x="34" y="17"/>
                      <a:pt x="36" y="19"/>
                    </a:cubicBezTo>
                    <a:cubicBezTo>
                      <a:pt x="37" y="20"/>
                      <a:pt x="34" y="23"/>
                      <a:pt x="36" y="25"/>
                    </a:cubicBezTo>
                    <a:cubicBezTo>
                      <a:pt x="37" y="27"/>
                      <a:pt x="40" y="27"/>
                      <a:pt x="42" y="28"/>
                    </a:cubicBezTo>
                    <a:cubicBezTo>
                      <a:pt x="43" y="28"/>
                      <a:pt x="44" y="30"/>
                      <a:pt x="46" y="30"/>
                    </a:cubicBezTo>
                    <a:cubicBezTo>
                      <a:pt x="47" y="30"/>
                      <a:pt x="46" y="27"/>
                      <a:pt x="47" y="27"/>
                    </a:cubicBezTo>
                    <a:cubicBezTo>
                      <a:pt x="49" y="27"/>
                      <a:pt x="50" y="28"/>
                      <a:pt x="50" y="29"/>
                    </a:cubicBezTo>
                    <a:cubicBezTo>
                      <a:pt x="51" y="30"/>
                      <a:pt x="49" y="30"/>
                      <a:pt x="48" y="31"/>
                    </a:cubicBezTo>
                    <a:cubicBezTo>
                      <a:pt x="48" y="32"/>
                      <a:pt x="49" y="32"/>
                      <a:pt x="49" y="33"/>
                    </a:cubicBezTo>
                    <a:cubicBezTo>
                      <a:pt x="48" y="35"/>
                      <a:pt x="46" y="36"/>
                      <a:pt x="46" y="38"/>
                    </a:cubicBezTo>
                    <a:cubicBezTo>
                      <a:pt x="45" y="40"/>
                      <a:pt x="45" y="43"/>
                      <a:pt x="46" y="46"/>
                    </a:cubicBezTo>
                    <a:cubicBezTo>
                      <a:pt x="47" y="48"/>
                      <a:pt x="50" y="49"/>
                      <a:pt x="51" y="51"/>
                    </a:cubicBezTo>
                    <a:cubicBezTo>
                      <a:pt x="52" y="52"/>
                      <a:pt x="55" y="53"/>
                      <a:pt x="54" y="54"/>
                    </a:cubicBezTo>
                    <a:cubicBezTo>
                      <a:pt x="53" y="56"/>
                      <a:pt x="49" y="55"/>
                      <a:pt x="48" y="57"/>
                    </a:cubicBezTo>
                    <a:cubicBezTo>
                      <a:pt x="47" y="60"/>
                      <a:pt x="48" y="63"/>
                      <a:pt x="48" y="65"/>
                    </a:cubicBezTo>
                    <a:cubicBezTo>
                      <a:pt x="47" y="66"/>
                      <a:pt x="46" y="66"/>
                      <a:pt x="45" y="67"/>
                    </a:cubicBezTo>
                    <a:cubicBezTo>
                      <a:pt x="43" y="67"/>
                      <a:pt x="40" y="66"/>
                      <a:pt x="38" y="66"/>
                    </a:cubicBezTo>
                    <a:cubicBezTo>
                      <a:pt x="37" y="67"/>
                      <a:pt x="36" y="69"/>
                      <a:pt x="35" y="69"/>
                    </a:cubicBezTo>
                    <a:cubicBezTo>
                      <a:pt x="34" y="70"/>
                      <a:pt x="33" y="68"/>
                      <a:pt x="32" y="68"/>
                    </a:cubicBezTo>
                    <a:cubicBezTo>
                      <a:pt x="31" y="68"/>
                      <a:pt x="30" y="69"/>
                      <a:pt x="29" y="71"/>
                    </a:cubicBezTo>
                    <a:cubicBezTo>
                      <a:pt x="29" y="71"/>
                      <a:pt x="30" y="73"/>
                      <a:pt x="29" y="74"/>
                    </a:cubicBezTo>
                    <a:cubicBezTo>
                      <a:pt x="29" y="74"/>
                      <a:pt x="28" y="74"/>
                      <a:pt x="27" y="74"/>
                    </a:cubicBezTo>
                    <a:cubicBezTo>
                      <a:pt x="27" y="72"/>
                      <a:pt x="27" y="70"/>
                      <a:pt x="27" y="68"/>
                    </a:cubicBezTo>
                    <a:cubicBezTo>
                      <a:pt x="26" y="66"/>
                      <a:pt x="24" y="65"/>
                      <a:pt x="23" y="64"/>
                    </a:cubicBezTo>
                    <a:cubicBezTo>
                      <a:pt x="21" y="63"/>
                      <a:pt x="20" y="63"/>
                      <a:pt x="18" y="62"/>
                    </a:cubicBezTo>
                    <a:cubicBezTo>
                      <a:pt x="17" y="62"/>
                      <a:pt x="16" y="61"/>
                      <a:pt x="15" y="62"/>
                    </a:cubicBezTo>
                    <a:cubicBezTo>
                      <a:pt x="14" y="63"/>
                      <a:pt x="14" y="65"/>
                      <a:pt x="13" y="66"/>
                    </a:cubicBezTo>
                    <a:cubicBezTo>
                      <a:pt x="11" y="66"/>
                      <a:pt x="8" y="65"/>
                      <a:pt x="9" y="67"/>
                    </a:cubicBezTo>
                    <a:cubicBezTo>
                      <a:pt x="9" y="69"/>
                      <a:pt x="12" y="69"/>
                      <a:pt x="13" y="70"/>
                    </a:cubicBezTo>
                    <a:cubicBezTo>
                      <a:pt x="13" y="71"/>
                      <a:pt x="13" y="73"/>
                      <a:pt x="13" y="74"/>
                    </a:cubicBezTo>
                    <a:cubicBezTo>
                      <a:pt x="11" y="72"/>
                      <a:pt x="9" y="69"/>
                      <a:pt x="7" y="68"/>
                    </a:cubicBezTo>
                    <a:cubicBezTo>
                      <a:pt x="6" y="67"/>
                      <a:pt x="4" y="67"/>
                      <a:pt x="3" y="66"/>
                    </a:cubicBezTo>
                    <a:cubicBezTo>
                      <a:pt x="3" y="65"/>
                      <a:pt x="5" y="65"/>
                      <a:pt x="5" y="64"/>
                    </a:cubicBezTo>
                    <a:cubicBezTo>
                      <a:pt x="5" y="64"/>
                      <a:pt x="5" y="63"/>
                      <a:pt x="4" y="63"/>
                    </a:cubicBezTo>
                    <a:cubicBezTo>
                      <a:pt x="3" y="63"/>
                      <a:pt x="2" y="63"/>
                      <a:pt x="1" y="63"/>
                    </a:cubicBezTo>
                    <a:cubicBezTo>
                      <a:pt x="1" y="61"/>
                      <a:pt x="0" y="59"/>
                      <a:pt x="0" y="57"/>
                    </a:cubicBezTo>
                    <a:cubicBezTo>
                      <a:pt x="1" y="56"/>
                      <a:pt x="3" y="55"/>
                      <a:pt x="3" y="54"/>
                    </a:cubicBezTo>
                    <a:cubicBezTo>
                      <a:pt x="3" y="52"/>
                      <a:pt x="4" y="50"/>
                      <a:pt x="7" y="50"/>
                    </a:cubicBezTo>
                    <a:cubicBezTo>
                      <a:pt x="8" y="49"/>
                      <a:pt x="6" y="47"/>
                      <a:pt x="7" y="46"/>
                    </a:cubicBezTo>
                    <a:cubicBezTo>
                      <a:pt x="7" y="46"/>
                      <a:pt x="8" y="45"/>
                      <a:pt x="10" y="45"/>
                    </a:cubicBezTo>
                    <a:cubicBezTo>
                      <a:pt x="11" y="45"/>
                      <a:pt x="14" y="47"/>
                      <a:pt x="14" y="45"/>
                    </a:cubicBezTo>
                    <a:cubicBezTo>
                      <a:pt x="14" y="42"/>
                      <a:pt x="10" y="41"/>
                      <a:pt x="10" y="38"/>
                    </a:cubicBezTo>
                    <a:cubicBezTo>
                      <a:pt x="10" y="37"/>
                      <a:pt x="15" y="39"/>
                      <a:pt x="14" y="38"/>
                    </a:cubicBezTo>
                    <a:cubicBezTo>
                      <a:pt x="13" y="35"/>
                      <a:pt x="9" y="35"/>
                      <a:pt x="8" y="32"/>
                    </a:cubicBezTo>
                    <a:cubicBezTo>
                      <a:pt x="7" y="29"/>
                      <a:pt x="11" y="26"/>
                      <a:pt x="11" y="23"/>
                    </a:cubicBezTo>
                    <a:cubicBezTo>
                      <a:pt x="11" y="22"/>
                      <a:pt x="9" y="23"/>
                      <a:pt x="8" y="23"/>
                    </a:cubicBezTo>
                    <a:cubicBezTo>
                      <a:pt x="8" y="22"/>
                      <a:pt x="7" y="21"/>
                      <a:pt x="7" y="19"/>
                    </a:cubicBezTo>
                    <a:cubicBezTo>
                      <a:pt x="8" y="18"/>
                      <a:pt x="10" y="19"/>
                      <a:pt x="10" y="17"/>
                    </a:cubicBezTo>
                    <a:cubicBezTo>
                      <a:pt x="10" y="16"/>
                      <a:pt x="8" y="17"/>
                      <a:pt x="7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6" y="8"/>
                      <a:pt x="5" y="7"/>
                      <a:pt x="4" y="6"/>
                    </a:cubicBezTo>
                    <a:cubicBezTo>
                      <a:pt x="5" y="5"/>
                      <a:pt x="6" y="4"/>
                      <a:pt x="7" y="3"/>
                    </a:cubicBezTo>
                    <a:cubicBezTo>
                      <a:pt x="9" y="2"/>
                      <a:pt x="10" y="2"/>
                      <a:pt x="12" y="2"/>
                    </a:cubicBezTo>
                    <a:cubicBezTo>
                      <a:pt x="13" y="2"/>
                      <a:pt x="14" y="0"/>
                      <a:pt x="15" y="0"/>
                    </a:cubicBezTo>
                    <a:cubicBezTo>
                      <a:pt x="18" y="0"/>
                      <a:pt x="19" y="1"/>
                      <a:pt x="2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3" name="Freeform 2594"/>
              <p:cNvSpPr>
                <a:spLocks noChangeAspect="1"/>
              </p:cNvSpPr>
              <p:nvPr/>
            </p:nvSpPr>
            <p:spPr bwMode="auto">
              <a:xfrm>
                <a:off x="4944209" y="2786858"/>
                <a:ext cx="58881" cy="50349"/>
              </a:xfrm>
              <a:custGeom>
                <a:avLst/>
                <a:gdLst>
                  <a:gd name="T0" fmla="*/ 35 w 30"/>
                  <a:gd name="T1" fmla="*/ 19 h 26"/>
                  <a:gd name="T2" fmla="*/ 31 w 30"/>
                  <a:gd name="T3" fmla="*/ 20 h 26"/>
                  <a:gd name="T4" fmla="*/ 22 w 30"/>
                  <a:gd name="T5" fmla="*/ 24 h 26"/>
                  <a:gd name="T6" fmla="*/ 17 w 30"/>
                  <a:gd name="T7" fmla="*/ 30 h 26"/>
                  <a:gd name="T8" fmla="*/ 8 w 30"/>
                  <a:gd name="T9" fmla="*/ 31 h 26"/>
                  <a:gd name="T10" fmla="*/ 5 w 30"/>
                  <a:gd name="T11" fmla="*/ 29 h 26"/>
                  <a:gd name="T12" fmla="*/ 1 w 30"/>
                  <a:gd name="T13" fmla="*/ 24 h 26"/>
                  <a:gd name="T14" fmla="*/ 1 w 30"/>
                  <a:gd name="T15" fmla="*/ 17 h 26"/>
                  <a:gd name="T16" fmla="*/ 1 w 30"/>
                  <a:gd name="T17" fmla="*/ 11 h 26"/>
                  <a:gd name="T18" fmla="*/ 4 w 30"/>
                  <a:gd name="T19" fmla="*/ 11 h 26"/>
                  <a:gd name="T20" fmla="*/ 4 w 30"/>
                  <a:gd name="T21" fmla="*/ 7 h 26"/>
                  <a:gd name="T22" fmla="*/ 7 w 30"/>
                  <a:gd name="T23" fmla="*/ 4 h 26"/>
                  <a:gd name="T24" fmla="*/ 11 w 30"/>
                  <a:gd name="T25" fmla="*/ 5 h 26"/>
                  <a:gd name="T26" fmla="*/ 14 w 30"/>
                  <a:gd name="T27" fmla="*/ 1 h 26"/>
                  <a:gd name="T28" fmla="*/ 23 w 30"/>
                  <a:gd name="T29" fmla="*/ 2 h 26"/>
                  <a:gd name="T30" fmla="*/ 26 w 30"/>
                  <a:gd name="T31" fmla="*/ 0 h 26"/>
                  <a:gd name="T32" fmla="*/ 28 w 30"/>
                  <a:gd name="T33" fmla="*/ 5 h 26"/>
                  <a:gd name="T34" fmla="*/ 34 w 30"/>
                  <a:gd name="T35" fmla="*/ 7 h 26"/>
                  <a:gd name="T36" fmla="*/ 35 w 30"/>
                  <a:gd name="T37" fmla="*/ 13 h 26"/>
                  <a:gd name="T38" fmla="*/ 35 w 30"/>
                  <a:gd name="T39" fmla="*/ 19 h 2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0"/>
                  <a:gd name="T61" fmla="*/ 0 h 26"/>
                  <a:gd name="T62" fmla="*/ 30 w 30"/>
                  <a:gd name="T63" fmla="*/ 26 h 2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0" h="26">
                    <a:moveTo>
                      <a:pt x="29" y="16"/>
                    </a:moveTo>
                    <a:cubicBezTo>
                      <a:pt x="28" y="17"/>
                      <a:pt x="27" y="17"/>
                      <a:pt x="26" y="17"/>
                    </a:cubicBezTo>
                    <a:cubicBezTo>
                      <a:pt x="23" y="18"/>
                      <a:pt x="21" y="19"/>
                      <a:pt x="18" y="20"/>
                    </a:cubicBezTo>
                    <a:cubicBezTo>
                      <a:pt x="17" y="21"/>
                      <a:pt x="16" y="24"/>
                      <a:pt x="14" y="25"/>
                    </a:cubicBezTo>
                    <a:cubicBezTo>
                      <a:pt x="12" y="26"/>
                      <a:pt x="10" y="25"/>
                      <a:pt x="7" y="26"/>
                    </a:cubicBezTo>
                    <a:cubicBezTo>
                      <a:pt x="6" y="25"/>
                      <a:pt x="5" y="25"/>
                      <a:pt x="4" y="24"/>
                    </a:cubicBezTo>
                    <a:cubicBezTo>
                      <a:pt x="3" y="22"/>
                      <a:pt x="2" y="21"/>
                      <a:pt x="1" y="20"/>
                    </a:cubicBezTo>
                    <a:cubicBezTo>
                      <a:pt x="0" y="18"/>
                      <a:pt x="1" y="16"/>
                      <a:pt x="1" y="14"/>
                    </a:cubicBezTo>
                    <a:cubicBezTo>
                      <a:pt x="0" y="12"/>
                      <a:pt x="1" y="11"/>
                      <a:pt x="1" y="9"/>
                    </a:cubicBezTo>
                    <a:cubicBezTo>
                      <a:pt x="2" y="9"/>
                      <a:pt x="3" y="9"/>
                      <a:pt x="3" y="9"/>
                    </a:cubicBezTo>
                    <a:cubicBezTo>
                      <a:pt x="4" y="8"/>
                      <a:pt x="3" y="6"/>
                      <a:pt x="3" y="6"/>
                    </a:cubicBezTo>
                    <a:cubicBezTo>
                      <a:pt x="4" y="4"/>
                      <a:pt x="5" y="3"/>
                      <a:pt x="6" y="3"/>
                    </a:cubicBezTo>
                    <a:cubicBezTo>
                      <a:pt x="7" y="3"/>
                      <a:pt x="8" y="5"/>
                      <a:pt x="9" y="4"/>
                    </a:cubicBezTo>
                    <a:cubicBezTo>
                      <a:pt x="10" y="4"/>
                      <a:pt x="11" y="2"/>
                      <a:pt x="12" y="1"/>
                    </a:cubicBezTo>
                    <a:cubicBezTo>
                      <a:pt x="14" y="1"/>
                      <a:pt x="17" y="2"/>
                      <a:pt x="19" y="2"/>
                    </a:cubicBezTo>
                    <a:cubicBezTo>
                      <a:pt x="20" y="1"/>
                      <a:pt x="21" y="1"/>
                      <a:pt x="22" y="0"/>
                    </a:cubicBezTo>
                    <a:cubicBezTo>
                      <a:pt x="22" y="2"/>
                      <a:pt x="22" y="3"/>
                      <a:pt x="23" y="4"/>
                    </a:cubicBezTo>
                    <a:cubicBezTo>
                      <a:pt x="24" y="5"/>
                      <a:pt x="27" y="4"/>
                      <a:pt x="28" y="6"/>
                    </a:cubicBezTo>
                    <a:cubicBezTo>
                      <a:pt x="29" y="7"/>
                      <a:pt x="29" y="9"/>
                      <a:pt x="29" y="11"/>
                    </a:cubicBezTo>
                    <a:cubicBezTo>
                      <a:pt x="30" y="12"/>
                      <a:pt x="29" y="15"/>
                      <a:pt x="29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4" name="Freeform 2595"/>
              <p:cNvSpPr>
                <a:spLocks noChangeAspect="1"/>
              </p:cNvSpPr>
              <p:nvPr/>
            </p:nvSpPr>
            <p:spPr bwMode="auto">
              <a:xfrm>
                <a:off x="4916403" y="2778738"/>
                <a:ext cx="44161" cy="97448"/>
              </a:xfrm>
              <a:custGeom>
                <a:avLst/>
                <a:gdLst>
                  <a:gd name="T0" fmla="*/ 14 w 22"/>
                  <a:gd name="T1" fmla="*/ 60 h 50"/>
                  <a:gd name="T2" fmla="*/ 9 w 22"/>
                  <a:gd name="T3" fmla="*/ 52 h 50"/>
                  <a:gd name="T4" fmla="*/ 1 w 22"/>
                  <a:gd name="T5" fmla="*/ 46 h 50"/>
                  <a:gd name="T6" fmla="*/ 2 w 22"/>
                  <a:gd name="T7" fmla="*/ 43 h 50"/>
                  <a:gd name="T8" fmla="*/ 0 w 22"/>
                  <a:gd name="T9" fmla="*/ 40 h 50"/>
                  <a:gd name="T10" fmla="*/ 1 w 22"/>
                  <a:gd name="T11" fmla="*/ 38 h 50"/>
                  <a:gd name="T12" fmla="*/ 1 w 22"/>
                  <a:gd name="T13" fmla="*/ 32 h 50"/>
                  <a:gd name="T14" fmla="*/ 2 w 22"/>
                  <a:gd name="T15" fmla="*/ 24 h 50"/>
                  <a:gd name="T16" fmla="*/ 1 w 22"/>
                  <a:gd name="T17" fmla="*/ 17 h 50"/>
                  <a:gd name="T18" fmla="*/ 1 w 22"/>
                  <a:gd name="T19" fmla="*/ 12 h 50"/>
                  <a:gd name="T20" fmla="*/ 1 w 22"/>
                  <a:gd name="T21" fmla="*/ 6 h 50"/>
                  <a:gd name="T22" fmla="*/ 4 w 22"/>
                  <a:gd name="T23" fmla="*/ 1 h 50"/>
                  <a:gd name="T24" fmla="*/ 7 w 22"/>
                  <a:gd name="T25" fmla="*/ 1 h 50"/>
                  <a:gd name="T26" fmla="*/ 14 w 22"/>
                  <a:gd name="T27" fmla="*/ 4 h 50"/>
                  <a:gd name="T28" fmla="*/ 18 w 22"/>
                  <a:gd name="T29" fmla="*/ 8 h 50"/>
                  <a:gd name="T30" fmla="*/ 18 w 22"/>
                  <a:gd name="T31" fmla="*/ 16 h 50"/>
                  <a:gd name="T32" fmla="*/ 18 w 22"/>
                  <a:gd name="T33" fmla="*/ 22 h 50"/>
                  <a:gd name="T34" fmla="*/ 18 w 22"/>
                  <a:gd name="T35" fmla="*/ 29 h 50"/>
                  <a:gd name="T36" fmla="*/ 22 w 22"/>
                  <a:gd name="T37" fmla="*/ 34 h 50"/>
                  <a:gd name="T38" fmla="*/ 26 w 22"/>
                  <a:gd name="T39" fmla="*/ 36 h 50"/>
                  <a:gd name="T40" fmla="*/ 27 w 22"/>
                  <a:gd name="T41" fmla="*/ 41 h 50"/>
                  <a:gd name="T42" fmla="*/ 23 w 22"/>
                  <a:gd name="T43" fmla="*/ 43 h 50"/>
                  <a:gd name="T44" fmla="*/ 22 w 22"/>
                  <a:gd name="T45" fmla="*/ 50 h 50"/>
                  <a:gd name="T46" fmla="*/ 17 w 22"/>
                  <a:gd name="T47" fmla="*/ 52 h 50"/>
                  <a:gd name="T48" fmla="*/ 17 w 22"/>
                  <a:gd name="T49" fmla="*/ 56 h 50"/>
                  <a:gd name="T50" fmla="*/ 14 w 22"/>
                  <a:gd name="T51" fmla="*/ 60 h 5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2"/>
                  <a:gd name="T79" fmla="*/ 0 h 50"/>
                  <a:gd name="T80" fmla="*/ 22 w 22"/>
                  <a:gd name="T81" fmla="*/ 50 h 5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2" h="50">
                    <a:moveTo>
                      <a:pt x="11" y="50"/>
                    </a:moveTo>
                    <a:cubicBezTo>
                      <a:pt x="10" y="48"/>
                      <a:pt x="8" y="44"/>
                      <a:pt x="7" y="43"/>
                    </a:cubicBezTo>
                    <a:cubicBezTo>
                      <a:pt x="5" y="41"/>
                      <a:pt x="2" y="40"/>
                      <a:pt x="1" y="38"/>
                    </a:cubicBezTo>
                    <a:cubicBezTo>
                      <a:pt x="0" y="37"/>
                      <a:pt x="3" y="37"/>
                      <a:pt x="2" y="36"/>
                    </a:cubicBezTo>
                    <a:cubicBezTo>
                      <a:pt x="2" y="35"/>
                      <a:pt x="0" y="35"/>
                      <a:pt x="0" y="33"/>
                    </a:cubicBezTo>
                    <a:cubicBezTo>
                      <a:pt x="0" y="33"/>
                      <a:pt x="1" y="33"/>
                      <a:pt x="1" y="32"/>
                    </a:cubicBezTo>
                    <a:cubicBezTo>
                      <a:pt x="2" y="30"/>
                      <a:pt x="1" y="28"/>
                      <a:pt x="1" y="27"/>
                    </a:cubicBezTo>
                    <a:cubicBezTo>
                      <a:pt x="1" y="24"/>
                      <a:pt x="2" y="22"/>
                      <a:pt x="2" y="20"/>
                    </a:cubicBezTo>
                    <a:cubicBezTo>
                      <a:pt x="2" y="18"/>
                      <a:pt x="1" y="16"/>
                      <a:pt x="1" y="14"/>
                    </a:cubicBezTo>
                    <a:lnTo>
                      <a:pt x="1" y="10"/>
                    </a:lnTo>
                    <a:cubicBezTo>
                      <a:pt x="2" y="8"/>
                      <a:pt x="1" y="7"/>
                      <a:pt x="1" y="5"/>
                    </a:cubicBezTo>
                    <a:cubicBezTo>
                      <a:pt x="2" y="4"/>
                      <a:pt x="2" y="2"/>
                      <a:pt x="3" y="1"/>
                    </a:cubicBezTo>
                    <a:cubicBezTo>
                      <a:pt x="4" y="0"/>
                      <a:pt x="5" y="1"/>
                      <a:pt x="6" y="1"/>
                    </a:cubicBezTo>
                    <a:cubicBezTo>
                      <a:pt x="8" y="2"/>
                      <a:pt x="9" y="2"/>
                      <a:pt x="11" y="3"/>
                    </a:cubicBezTo>
                    <a:cubicBezTo>
                      <a:pt x="12" y="4"/>
                      <a:pt x="14" y="5"/>
                      <a:pt x="15" y="7"/>
                    </a:cubicBezTo>
                    <a:cubicBezTo>
                      <a:pt x="15" y="9"/>
                      <a:pt x="15" y="11"/>
                      <a:pt x="15" y="13"/>
                    </a:cubicBezTo>
                    <a:cubicBezTo>
                      <a:pt x="15" y="15"/>
                      <a:pt x="14" y="16"/>
                      <a:pt x="15" y="18"/>
                    </a:cubicBezTo>
                    <a:cubicBezTo>
                      <a:pt x="15" y="20"/>
                      <a:pt x="14" y="22"/>
                      <a:pt x="15" y="24"/>
                    </a:cubicBezTo>
                    <a:cubicBezTo>
                      <a:pt x="16" y="25"/>
                      <a:pt x="17" y="26"/>
                      <a:pt x="18" y="28"/>
                    </a:cubicBezTo>
                    <a:cubicBezTo>
                      <a:pt x="19" y="29"/>
                      <a:pt x="20" y="29"/>
                      <a:pt x="21" y="30"/>
                    </a:cubicBezTo>
                    <a:cubicBezTo>
                      <a:pt x="22" y="31"/>
                      <a:pt x="22" y="32"/>
                      <a:pt x="22" y="34"/>
                    </a:cubicBezTo>
                    <a:cubicBezTo>
                      <a:pt x="21" y="35"/>
                      <a:pt x="19" y="35"/>
                      <a:pt x="19" y="36"/>
                    </a:cubicBezTo>
                    <a:cubicBezTo>
                      <a:pt x="18" y="38"/>
                      <a:pt x="19" y="40"/>
                      <a:pt x="18" y="42"/>
                    </a:cubicBezTo>
                    <a:cubicBezTo>
                      <a:pt x="17" y="43"/>
                      <a:pt x="15" y="42"/>
                      <a:pt x="14" y="43"/>
                    </a:cubicBezTo>
                    <a:cubicBezTo>
                      <a:pt x="14" y="44"/>
                      <a:pt x="15" y="46"/>
                      <a:pt x="14" y="47"/>
                    </a:cubicBezTo>
                    <a:cubicBezTo>
                      <a:pt x="13" y="48"/>
                      <a:pt x="13" y="49"/>
                      <a:pt x="11" y="5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5" name="Freeform 2596"/>
              <p:cNvSpPr>
                <a:spLocks noChangeAspect="1"/>
              </p:cNvSpPr>
              <p:nvPr/>
            </p:nvSpPr>
            <p:spPr bwMode="auto">
              <a:xfrm>
                <a:off x="4937666" y="2809596"/>
                <a:ext cx="150474" cy="168910"/>
              </a:xfrm>
              <a:custGeom>
                <a:avLst/>
                <a:gdLst>
                  <a:gd name="T0" fmla="*/ 87 w 76"/>
                  <a:gd name="T1" fmla="*/ 15 h 86"/>
                  <a:gd name="T2" fmla="*/ 92 w 76"/>
                  <a:gd name="T3" fmla="*/ 6 h 86"/>
                  <a:gd name="T4" fmla="*/ 87 w 76"/>
                  <a:gd name="T5" fmla="*/ 0 h 86"/>
                  <a:gd name="T6" fmla="*/ 76 w 76"/>
                  <a:gd name="T7" fmla="*/ 7 h 86"/>
                  <a:gd name="T8" fmla="*/ 64 w 76"/>
                  <a:gd name="T9" fmla="*/ 5 h 86"/>
                  <a:gd name="T10" fmla="*/ 56 w 76"/>
                  <a:gd name="T11" fmla="*/ 2 h 86"/>
                  <a:gd name="T12" fmla="*/ 44 w 76"/>
                  <a:gd name="T13" fmla="*/ 5 h 86"/>
                  <a:gd name="T14" fmla="*/ 35 w 76"/>
                  <a:gd name="T15" fmla="*/ 6 h 86"/>
                  <a:gd name="T16" fmla="*/ 21 w 76"/>
                  <a:gd name="T17" fmla="*/ 16 h 86"/>
                  <a:gd name="T18" fmla="*/ 13 w 76"/>
                  <a:gd name="T19" fmla="*/ 22 h 86"/>
                  <a:gd name="T20" fmla="*/ 8 w 76"/>
                  <a:gd name="T21" fmla="*/ 31 h 86"/>
                  <a:gd name="T22" fmla="*/ 4 w 76"/>
                  <a:gd name="T23" fmla="*/ 37 h 86"/>
                  <a:gd name="T24" fmla="*/ 4 w 76"/>
                  <a:gd name="T25" fmla="*/ 47 h 86"/>
                  <a:gd name="T26" fmla="*/ 15 w 76"/>
                  <a:gd name="T27" fmla="*/ 53 h 86"/>
                  <a:gd name="T28" fmla="*/ 12 w 76"/>
                  <a:gd name="T29" fmla="*/ 59 h 86"/>
                  <a:gd name="T30" fmla="*/ 16 w 76"/>
                  <a:gd name="T31" fmla="*/ 67 h 86"/>
                  <a:gd name="T32" fmla="*/ 22 w 76"/>
                  <a:gd name="T33" fmla="*/ 67 h 86"/>
                  <a:gd name="T34" fmla="*/ 34 w 76"/>
                  <a:gd name="T35" fmla="*/ 65 h 86"/>
                  <a:gd name="T36" fmla="*/ 47 w 76"/>
                  <a:gd name="T37" fmla="*/ 70 h 86"/>
                  <a:gd name="T38" fmla="*/ 40 w 76"/>
                  <a:gd name="T39" fmla="*/ 73 h 86"/>
                  <a:gd name="T40" fmla="*/ 24 w 76"/>
                  <a:gd name="T41" fmla="*/ 70 h 86"/>
                  <a:gd name="T42" fmla="*/ 16 w 76"/>
                  <a:gd name="T43" fmla="*/ 75 h 86"/>
                  <a:gd name="T44" fmla="*/ 24 w 76"/>
                  <a:gd name="T45" fmla="*/ 87 h 86"/>
                  <a:gd name="T46" fmla="*/ 28 w 76"/>
                  <a:gd name="T47" fmla="*/ 98 h 86"/>
                  <a:gd name="T48" fmla="*/ 35 w 76"/>
                  <a:gd name="T49" fmla="*/ 98 h 86"/>
                  <a:gd name="T50" fmla="*/ 38 w 76"/>
                  <a:gd name="T51" fmla="*/ 104 h 86"/>
                  <a:gd name="T52" fmla="*/ 41 w 76"/>
                  <a:gd name="T53" fmla="*/ 97 h 86"/>
                  <a:gd name="T54" fmla="*/ 47 w 76"/>
                  <a:gd name="T55" fmla="*/ 103 h 86"/>
                  <a:gd name="T56" fmla="*/ 45 w 76"/>
                  <a:gd name="T57" fmla="*/ 94 h 86"/>
                  <a:gd name="T58" fmla="*/ 45 w 76"/>
                  <a:gd name="T59" fmla="*/ 83 h 86"/>
                  <a:gd name="T60" fmla="*/ 51 w 76"/>
                  <a:gd name="T61" fmla="*/ 83 h 86"/>
                  <a:gd name="T62" fmla="*/ 46 w 76"/>
                  <a:gd name="T63" fmla="*/ 75 h 86"/>
                  <a:gd name="T64" fmla="*/ 56 w 76"/>
                  <a:gd name="T65" fmla="*/ 75 h 86"/>
                  <a:gd name="T66" fmla="*/ 59 w 76"/>
                  <a:gd name="T67" fmla="*/ 76 h 86"/>
                  <a:gd name="T68" fmla="*/ 51 w 76"/>
                  <a:gd name="T69" fmla="*/ 65 h 86"/>
                  <a:gd name="T70" fmla="*/ 36 w 76"/>
                  <a:gd name="T71" fmla="*/ 56 h 86"/>
                  <a:gd name="T72" fmla="*/ 40 w 76"/>
                  <a:gd name="T73" fmla="*/ 47 h 86"/>
                  <a:gd name="T74" fmla="*/ 46 w 76"/>
                  <a:gd name="T75" fmla="*/ 50 h 86"/>
                  <a:gd name="T76" fmla="*/ 41 w 76"/>
                  <a:gd name="T77" fmla="*/ 40 h 86"/>
                  <a:gd name="T78" fmla="*/ 35 w 76"/>
                  <a:gd name="T79" fmla="*/ 25 h 86"/>
                  <a:gd name="T80" fmla="*/ 45 w 76"/>
                  <a:gd name="T81" fmla="*/ 28 h 86"/>
                  <a:gd name="T82" fmla="*/ 52 w 76"/>
                  <a:gd name="T83" fmla="*/ 34 h 86"/>
                  <a:gd name="T84" fmla="*/ 51 w 76"/>
                  <a:gd name="T85" fmla="*/ 29 h 86"/>
                  <a:gd name="T86" fmla="*/ 57 w 76"/>
                  <a:gd name="T87" fmla="*/ 33 h 86"/>
                  <a:gd name="T88" fmla="*/ 56 w 76"/>
                  <a:gd name="T89" fmla="*/ 27 h 86"/>
                  <a:gd name="T90" fmla="*/ 62 w 76"/>
                  <a:gd name="T91" fmla="*/ 28 h 86"/>
                  <a:gd name="T92" fmla="*/ 52 w 76"/>
                  <a:gd name="T93" fmla="*/ 18 h 86"/>
                  <a:gd name="T94" fmla="*/ 57 w 76"/>
                  <a:gd name="T95" fmla="*/ 19 h 86"/>
                  <a:gd name="T96" fmla="*/ 68 w 76"/>
                  <a:gd name="T97" fmla="*/ 17 h 86"/>
                  <a:gd name="T98" fmla="*/ 80 w 76"/>
                  <a:gd name="T99" fmla="*/ 16 h 8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76"/>
                  <a:gd name="T151" fmla="*/ 0 h 86"/>
                  <a:gd name="T152" fmla="*/ 76 w 76"/>
                  <a:gd name="T153" fmla="*/ 86 h 8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76" h="86">
                    <a:moveTo>
                      <a:pt x="71" y="15"/>
                    </a:moveTo>
                    <a:cubicBezTo>
                      <a:pt x="71" y="14"/>
                      <a:pt x="72" y="13"/>
                      <a:pt x="72" y="12"/>
                    </a:cubicBezTo>
                    <a:cubicBezTo>
                      <a:pt x="72" y="10"/>
                      <a:pt x="71" y="9"/>
                      <a:pt x="72" y="7"/>
                    </a:cubicBezTo>
                    <a:cubicBezTo>
                      <a:pt x="73" y="6"/>
                      <a:pt x="75" y="7"/>
                      <a:pt x="76" y="5"/>
                    </a:cubicBezTo>
                    <a:cubicBezTo>
                      <a:pt x="76" y="4"/>
                      <a:pt x="76" y="3"/>
                      <a:pt x="76" y="2"/>
                    </a:cubicBezTo>
                    <a:cubicBezTo>
                      <a:pt x="75" y="0"/>
                      <a:pt x="73" y="0"/>
                      <a:pt x="72" y="0"/>
                    </a:cubicBezTo>
                    <a:cubicBezTo>
                      <a:pt x="72" y="1"/>
                      <a:pt x="72" y="3"/>
                      <a:pt x="71" y="3"/>
                    </a:cubicBezTo>
                    <a:cubicBezTo>
                      <a:pt x="69" y="5"/>
                      <a:pt x="66" y="6"/>
                      <a:pt x="63" y="6"/>
                    </a:cubicBezTo>
                    <a:cubicBezTo>
                      <a:pt x="62" y="7"/>
                      <a:pt x="60" y="6"/>
                      <a:pt x="58" y="5"/>
                    </a:cubicBezTo>
                    <a:cubicBezTo>
                      <a:pt x="57" y="5"/>
                      <a:pt x="55" y="5"/>
                      <a:pt x="53" y="4"/>
                    </a:cubicBezTo>
                    <a:cubicBezTo>
                      <a:pt x="52" y="4"/>
                      <a:pt x="52" y="2"/>
                      <a:pt x="51" y="2"/>
                    </a:cubicBezTo>
                    <a:cubicBezTo>
                      <a:pt x="50" y="1"/>
                      <a:pt x="48" y="1"/>
                      <a:pt x="46" y="2"/>
                    </a:cubicBezTo>
                    <a:cubicBezTo>
                      <a:pt x="44" y="2"/>
                      <a:pt x="44" y="4"/>
                      <a:pt x="43" y="4"/>
                    </a:cubicBezTo>
                    <a:cubicBezTo>
                      <a:pt x="41" y="5"/>
                      <a:pt x="39" y="4"/>
                      <a:pt x="36" y="4"/>
                    </a:cubicBezTo>
                    <a:cubicBezTo>
                      <a:pt x="35" y="4"/>
                      <a:pt x="33" y="4"/>
                      <a:pt x="32" y="4"/>
                    </a:cubicBezTo>
                    <a:cubicBezTo>
                      <a:pt x="31" y="5"/>
                      <a:pt x="30" y="5"/>
                      <a:pt x="29" y="5"/>
                    </a:cubicBezTo>
                    <a:cubicBezTo>
                      <a:pt x="26" y="6"/>
                      <a:pt x="24" y="7"/>
                      <a:pt x="21" y="8"/>
                    </a:cubicBezTo>
                    <a:cubicBezTo>
                      <a:pt x="20" y="9"/>
                      <a:pt x="19" y="12"/>
                      <a:pt x="17" y="13"/>
                    </a:cubicBezTo>
                    <a:cubicBezTo>
                      <a:pt x="15" y="14"/>
                      <a:pt x="13" y="13"/>
                      <a:pt x="10" y="14"/>
                    </a:cubicBezTo>
                    <a:cubicBezTo>
                      <a:pt x="11" y="15"/>
                      <a:pt x="11" y="16"/>
                      <a:pt x="11" y="18"/>
                    </a:cubicBezTo>
                    <a:cubicBezTo>
                      <a:pt x="10" y="19"/>
                      <a:pt x="8" y="19"/>
                      <a:pt x="8" y="20"/>
                    </a:cubicBezTo>
                    <a:cubicBezTo>
                      <a:pt x="7" y="22"/>
                      <a:pt x="8" y="24"/>
                      <a:pt x="7" y="26"/>
                    </a:cubicBezTo>
                    <a:cubicBezTo>
                      <a:pt x="6" y="27"/>
                      <a:pt x="4" y="26"/>
                      <a:pt x="3" y="27"/>
                    </a:cubicBezTo>
                    <a:cubicBezTo>
                      <a:pt x="3" y="28"/>
                      <a:pt x="4" y="30"/>
                      <a:pt x="3" y="31"/>
                    </a:cubicBezTo>
                    <a:cubicBezTo>
                      <a:pt x="2" y="32"/>
                      <a:pt x="2" y="33"/>
                      <a:pt x="0" y="34"/>
                    </a:cubicBezTo>
                    <a:cubicBezTo>
                      <a:pt x="1" y="35"/>
                      <a:pt x="2" y="37"/>
                      <a:pt x="3" y="39"/>
                    </a:cubicBezTo>
                    <a:cubicBezTo>
                      <a:pt x="4" y="40"/>
                      <a:pt x="5" y="41"/>
                      <a:pt x="7" y="42"/>
                    </a:cubicBezTo>
                    <a:cubicBezTo>
                      <a:pt x="8" y="43"/>
                      <a:pt x="11" y="42"/>
                      <a:pt x="12" y="44"/>
                    </a:cubicBezTo>
                    <a:cubicBezTo>
                      <a:pt x="13" y="45"/>
                      <a:pt x="9" y="44"/>
                      <a:pt x="9" y="45"/>
                    </a:cubicBezTo>
                    <a:cubicBezTo>
                      <a:pt x="8" y="47"/>
                      <a:pt x="9" y="48"/>
                      <a:pt x="10" y="49"/>
                    </a:cubicBezTo>
                    <a:cubicBezTo>
                      <a:pt x="10" y="50"/>
                      <a:pt x="11" y="51"/>
                      <a:pt x="12" y="52"/>
                    </a:cubicBezTo>
                    <a:cubicBezTo>
                      <a:pt x="13" y="53"/>
                      <a:pt x="12" y="55"/>
                      <a:pt x="13" y="55"/>
                    </a:cubicBezTo>
                    <a:cubicBezTo>
                      <a:pt x="14" y="55"/>
                      <a:pt x="15" y="54"/>
                      <a:pt x="16" y="54"/>
                    </a:cubicBezTo>
                    <a:cubicBezTo>
                      <a:pt x="17" y="54"/>
                      <a:pt x="17" y="55"/>
                      <a:pt x="18" y="55"/>
                    </a:cubicBezTo>
                    <a:cubicBezTo>
                      <a:pt x="20" y="55"/>
                      <a:pt x="21" y="54"/>
                      <a:pt x="23" y="54"/>
                    </a:cubicBezTo>
                    <a:cubicBezTo>
                      <a:pt x="25" y="54"/>
                      <a:pt x="26" y="54"/>
                      <a:pt x="28" y="54"/>
                    </a:cubicBezTo>
                    <a:cubicBezTo>
                      <a:pt x="29" y="54"/>
                      <a:pt x="30" y="55"/>
                      <a:pt x="32" y="55"/>
                    </a:cubicBezTo>
                    <a:cubicBezTo>
                      <a:pt x="34" y="56"/>
                      <a:pt x="37" y="56"/>
                      <a:pt x="39" y="58"/>
                    </a:cubicBezTo>
                    <a:cubicBezTo>
                      <a:pt x="40" y="60"/>
                      <a:pt x="36" y="60"/>
                      <a:pt x="35" y="60"/>
                    </a:cubicBezTo>
                    <a:cubicBezTo>
                      <a:pt x="34" y="60"/>
                      <a:pt x="33" y="60"/>
                      <a:pt x="33" y="60"/>
                    </a:cubicBezTo>
                    <a:cubicBezTo>
                      <a:pt x="29" y="59"/>
                      <a:pt x="27" y="57"/>
                      <a:pt x="23" y="56"/>
                    </a:cubicBezTo>
                    <a:cubicBezTo>
                      <a:pt x="22" y="56"/>
                      <a:pt x="21" y="58"/>
                      <a:pt x="20" y="58"/>
                    </a:cubicBezTo>
                    <a:cubicBezTo>
                      <a:pt x="19" y="58"/>
                      <a:pt x="17" y="57"/>
                      <a:pt x="16" y="58"/>
                    </a:cubicBezTo>
                    <a:cubicBezTo>
                      <a:pt x="15" y="59"/>
                      <a:pt x="13" y="60"/>
                      <a:pt x="13" y="62"/>
                    </a:cubicBezTo>
                    <a:cubicBezTo>
                      <a:pt x="13" y="64"/>
                      <a:pt x="16" y="66"/>
                      <a:pt x="18" y="68"/>
                    </a:cubicBezTo>
                    <a:cubicBezTo>
                      <a:pt x="19" y="69"/>
                      <a:pt x="20" y="71"/>
                      <a:pt x="20" y="72"/>
                    </a:cubicBezTo>
                    <a:cubicBezTo>
                      <a:pt x="20" y="74"/>
                      <a:pt x="19" y="75"/>
                      <a:pt x="19" y="77"/>
                    </a:cubicBezTo>
                    <a:cubicBezTo>
                      <a:pt x="20" y="79"/>
                      <a:pt x="21" y="82"/>
                      <a:pt x="23" y="81"/>
                    </a:cubicBezTo>
                    <a:cubicBezTo>
                      <a:pt x="25" y="81"/>
                      <a:pt x="23" y="77"/>
                      <a:pt x="25" y="76"/>
                    </a:cubicBezTo>
                    <a:cubicBezTo>
                      <a:pt x="27" y="76"/>
                      <a:pt x="28" y="79"/>
                      <a:pt x="29" y="81"/>
                    </a:cubicBezTo>
                    <a:cubicBezTo>
                      <a:pt x="29" y="81"/>
                      <a:pt x="28" y="83"/>
                      <a:pt x="29" y="84"/>
                    </a:cubicBezTo>
                    <a:cubicBezTo>
                      <a:pt x="29" y="84"/>
                      <a:pt x="30" y="86"/>
                      <a:pt x="31" y="86"/>
                    </a:cubicBezTo>
                    <a:cubicBezTo>
                      <a:pt x="32" y="84"/>
                      <a:pt x="30" y="81"/>
                      <a:pt x="31" y="80"/>
                    </a:cubicBezTo>
                    <a:cubicBezTo>
                      <a:pt x="32" y="79"/>
                      <a:pt x="33" y="80"/>
                      <a:pt x="34" y="80"/>
                    </a:cubicBezTo>
                    <a:cubicBezTo>
                      <a:pt x="35" y="82"/>
                      <a:pt x="36" y="84"/>
                      <a:pt x="37" y="86"/>
                    </a:cubicBezTo>
                    <a:cubicBezTo>
                      <a:pt x="38" y="86"/>
                      <a:pt x="39" y="86"/>
                      <a:pt x="39" y="85"/>
                    </a:cubicBezTo>
                    <a:cubicBezTo>
                      <a:pt x="39" y="84"/>
                      <a:pt x="38" y="82"/>
                      <a:pt x="37" y="81"/>
                    </a:cubicBezTo>
                    <a:cubicBezTo>
                      <a:pt x="37" y="80"/>
                      <a:pt x="38" y="79"/>
                      <a:pt x="37" y="78"/>
                    </a:cubicBezTo>
                    <a:cubicBezTo>
                      <a:pt x="36" y="75"/>
                      <a:pt x="33" y="72"/>
                      <a:pt x="33" y="69"/>
                    </a:cubicBezTo>
                    <a:cubicBezTo>
                      <a:pt x="33" y="67"/>
                      <a:pt x="36" y="68"/>
                      <a:pt x="37" y="69"/>
                    </a:cubicBezTo>
                    <a:cubicBezTo>
                      <a:pt x="38" y="69"/>
                      <a:pt x="37" y="72"/>
                      <a:pt x="38" y="72"/>
                    </a:cubicBezTo>
                    <a:cubicBezTo>
                      <a:pt x="40" y="72"/>
                      <a:pt x="42" y="71"/>
                      <a:pt x="42" y="69"/>
                    </a:cubicBezTo>
                    <a:cubicBezTo>
                      <a:pt x="42" y="67"/>
                      <a:pt x="39" y="68"/>
                      <a:pt x="38" y="66"/>
                    </a:cubicBezTo>
                    <a:cubicBezTo>
                      <a:pt x="37" y="65"/>
                      <a:pt x="38" y="63"/>
                      <a:pt x="38" y="62"/>
                    </a:cubicBezTo>
                    <a:cubicBezTo>
                      <a:pt x="38" y="61"/>
                      <a:pt x="39" y="60"/>
                      <a:pt x="41" y="60"/>
                    </a:cubicBezTo>
                    <a:cubicBezTo>
                      <a:pt x="42" y="60"/>
                      <a:pt x="44" y="61"/>
                      <a:pt x="46" y="62"/>
                    </a:cubicBezTo>
                    <a:cubicBezTo>
                      <a:pt x="47" y="63"/>
                      <a:pt x="47" y="65"/>
                      <a:pt x="48" y="65"/>
                    </a:cubicBezTo>
                    <a:cubicBezTo>
                      <a:pt x="49" y="66"/>
                      <a:pt x="49" y="64"/>
                      <a:pt x="49" y="63"/>
                    </a:cubicBezTo>
                    <a:cubicBezTo>
                      <a:pt x="49" y="62"/>
                      <a:pt x="49" y="59"/>
                      <a:pt x="48" y="58"/>
                    </a:cubicBezTo>
                    <a:cubicBezTo>
                      <a:pt x="47" y="56"/>
                      <a:pt x="44" y="55"/>
                      <a:pt x="42" y="54"/>
                    </a:cubicBezTo>
                    <a:cubicBezTo>
                      <a:pt x="40" y="52"/>
                      <a:pt x="39" y="51"/>
                      <a:pt x="37" y="50"/>
                    </a:cubicBezTo>
                    <a:cubicBezTo>
                      <a:pt x="35" y="48"/>
                      <a:pt x="31" y="49"/>
                      <a:pt x="30" y="46"/>
                    </a:cubicBezTo>
                    <a:cubicBezTo>
                      <a:pt x="29" y="45"/>
                      <a:pt x="34" y="46"/>
                      <a:pt x="35" y="44"/>
                    </a:cubicBezTo>
                    <a:cubicBezTo>
                      <a:pt x="35" y="42"/>
                      <a:pt x="33" y="41"/>
                      <a:pt x="33" y="39"/>
                    </a:cubicBezTo>
                    <a:cubicBezTo>
                      <a:pt x="33" y="38"/>
                      <a:pt x="35" y="38"/>
                      <a:pt x="36" y="38"/>
                    </a:cubicBezTo>
                    <a:cubicBezTo>
                      <a:pt x="37" y="39"/>
                      <a:pt x="37" y="40"/>
                      <a:pt x="38" y="41"/>
                    </a:cubicBezTo>
                    <a:cubicBezTo>
                      <a:pt x="38" y="41"/>
                      <a:pt x="39" y="40"/>
                      <a:pt x="39" y="40"/>
                    </a:cubicBezTo>
                    <a:cubicBezTo>
                      <a:pt x="37" y="37"/>
                      <a:pt x="35" y="35"/>
                      <a:pt x="34" y="33"/>
                    </a:cubicBezTo>
                    <a:cubicBezTo>
                      <a:pt x="33" y="31"/>
                      <a:pt x="31" y="29"/>
                      <a:pt x="30" y="27"/>
                    </a:cubicBezTo>
                    <a:cubicBezTo>
                      <a:pt x="29" y="25"/>
                      <a:pt x="29" y="23"/>
                      <a:pt x="29" y="21"/>
                    </a:cubicBezTo>
                    <a:cubicBezTo>
                      <a:pt x="29" y="21"/>
                      <a:pt x="30" y="19"/>
                      <a:pt x="31" y="19"/>
                    </a:cubicBezTo>
                    <a:cubicBezTo>
                      <a:pt x="33" y="20"/>
                      <a:pt x="35" y="22"/>
                      <a:pt x="37" y="23"/>
                    </a:cubicBezTo>
                    <a:cubicBezTo>
                      <a:pt x="39" y="25"/>
                      <a:pt x="40" y="28"/>
                      <a:pt x="42" y="29"/>
                    </a:cubicBezTo>
                    <a:cubicBezTo>
                      <a:pt x="42" y="30"/>
                      <a:pt x="43" y="29"/>
                      <a:pt x="43" y="28"/>
                    </a:cubicBezTo>
                    <a:cubicBezTo>
                      <a:pt x="43" y="26"/>
                      <a:pt x="40" y="25"/>
                      <a:pt x="40" y="23"/>
                    </a:cubicBezTo>
                    <a:cubicBezTo>
                      <a:pt x="40" y="23"/>
                      <a:pt x="42" y="23"/>
                      <a:pt x="42" y="24"/>
                    </a:cubicBezTo>
                    <a:cubicBezTo>
                      <a:pt x="44" y="25"/>
                      <a:pt x="44" y="27"/>
                      <a:pt x="46" y="28"/>
                    </a:cubicBezTo>
                    <a:cubicBezTo>
                      <a:pt x="46" y="29"/>
                      <a:pt x="47" y="27"/>
                      <a:pt x="47" y="27"/>
                    </a:cubicBezTo>
                    <a:cubicBezTo>
                      <a:pt x="46" y="25"/>
                      <a:pt x="44" y="24"/>
                      <a:pt x="43" y="22"/>
                    </a:cubicBezTo>
                    <a:cubicBezTo>
                      <a:pt x="43" y="22"/>
                      <a:pt x="45" y="22"/>
                      <a:pt x="46" y="22"/>
                    </a:cubicBezTo>
                    <a:cubicBezTo>
                      <a:pt x="48" y="23"/>
                      <a:pt x="49" y="25"/>
                      <a:pt x="51" y="25"/>
                    </a:cubicBezTo>
                    <a:cubicBezTo>
                      <a:pt x="52" y="25"/>
                      <a:pt x="51" y="24"/>
                      <a:pt x="51" y="23"/>
                    </a:cubicBezTo>
                    <a:cubicBezTo>
                      <a:pt x="49" y="22"/>
                      <a:pt x="47" y="21"/>
                      <a:pt x="45" y="20"/>
                    </a:cubicBezTo>
                    <a:cubicBezTo>
                      <a:pt x="44" y="18"/>
                      <a:pt x="43" y="17"/>
                      <a:pt x="43" y="15"/>
                    </a:cubicBezTo>
                    <a:cubicBezTo>
                      <a:pt x="43" y="14"/>
                      <a:pt x="44" y="14"/>
                      <a:pt x="45" y="14"/>
                    </a:cubicBezTo>
                    <a:cubicBezTo>
                      <a:pt x="46" y="15"/>
                      <a:pt x="47" y="16"/>
                      <a:pt x="47" y="16"/>
                    </a:cubicBezTo>
                    <a:cubicBezTo>
                      <a:pt x="49" y="15"/>
                      <a:pt x="49" y="12"/>
                      <a:pt x="51" y="12"/>
                    </a:cubicBezTo>
                    <a:cubicBezTo>
                      <a:pt x="52" y="11"/>
                      <a:pt x="54" y="14"/>
                      <a:pt x="56" y="14"/>
                    </a:cubicBezTo>
                    <a:cubicBezTo>
                      <a:pt x="57" y="14"/>
                      <a:pt x="58" y="11"/>
                      <a:pt x="59" y="11"/>
                    </a:cubicBezTo>
                    <a:cubicBezTo>
                      <a:pt x="61" y="11"/>
                      <a:pt x="64" y="12"/>
                      <a:pt x="66" y="13"/>
                    </a:cubicBezTo>
                    <a:cubicBezTo>
                      <a:pt x="67" y="14"/>
                      <a:pt x="69" y="14"/>
                      <a:pt x="71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6" name="Freeform 2597"/>
              <p:cNvSpPr>
                <a:spLocks noChangeAspect="1"/>
              </p:cNvSpPr>
              <p:nvPr/>
            </p:nvSpPr>
            <p:spPr bwMode="auto">
              <a:xfrm>
                <a:off x="5075056" y="2794979"/>
                <a:ext cx="68695" cy="51972"/>
              </a:xfrm>
              <a:custGeom>
                <a:avLst/>
                <a:gdLst>
                  <a:gd name="T0" fmla="*/ 26 w 35"/>
                  <a:gd name="T1" fmla="*/ 2 h 27"/>
                  <a:gd name="T2" fmla="*/ 30 w 35"/>
                  <a:gd name="T3" fmla="*/ 2 h 27"/>
                  <a:gd name="T4" fmla="*/ 30 w 35"/>
                  <a:gd name="T5" fmla="*/ 6 h 27"/>
                  <a:gd name="T6" fmla="*/ 32 w 35"/>
                  <a:gd name="T7" fmla="*/ 14 h 27"/>
                  <a:gd name="T8" fmla="*/ 41 w 35"/>
                  <a:gd name="T9" fmla="*/ 17 h 27"/>
                  <a:gd name="T10" fmla="*/ 38 w 35"/>
                  <a:gd name="T11" fmla="*/ 21 h 27"/>
                  <a:gd name="T12" fmla="*/ 34 w 35"/>
                  <a:gd name="T13" fmla="*/ 20 h 27"/>
                  <a:gd name="T14" fmla="*/ 29 w 35"/>
                  <a:gd name="T15" fmla="*/ 21 h 27"/>
                  <a:gd name="T16" fmla="*/ 23 w 35"/>
                  <a:gd name="T17" fmla="*/ 21 h 27"/>
                  <a:gd name="T18" fmla="*/ 18 w 35"/>
                  <a:gd name="T19" fmla="*/ 27 h 27"/>
                  <a:gd name="T20" fmla="*/ 12 w 35"/>
                  <a:gd name="T21" fmla="*/ 32 h 27"/>
                  <a:gd name="T22" fmla="*/ 12 w 35"/>
                  <a:gd name="T23" fmla="*/ 28 h 27"/>
                  <a:gd name="T24" fmla="*/ 1 w 35"/>
                  <a:gd name="T25" fmla="*/ 30 h 27"/>
                  <a:gd name="T26" fmla="*/ 1 w 35"/>
                  <a:gd name="T27" fmla="*/ 27 h 27"/>
                  <a:gd name="T28" fmla="*/ 2 w 35"/>
                  <a:gd name="T29" fmla="*/ 24 h 27"/>
                  <a:gd name="T30" fmla="*/ 2 w 35"/>
                  <a:gd name="T31" fmla="*/ 18 h 27"/>
                  <a:gd name="T32" fmla="*/ 7 w 35"/>
                  <a:gd name="T33" fmla="*/ 15 h 27"/>
                  <a:gd name="T34" fmla="*/ 7 w 35"/>
                  <a:gd name="T35" fmla="*/ 12 h 27"/>
                  <a:gd name="T36" fmla="*/ 2 w 35"/>
                  <a:gd name="T37" fmla="*/ 9 h 27"/>
                  <a:gd name="T38" fmla="*/ 2 w 35"/>
                  <a:gd name="T39" fmla="*/ 5 h 27"/>
                  <a:gd name="T40" fmla="*/ 7 w 35"/>
                  <a:gd name="T41" fmla="*/ 4 h 27"/>
                  <a:gd name="T42" fmla="*/ 13 w 35"/>
                  <a:gd name="T43" fmla="*/ 5 h 27"/>
                  <a:gd name="T44" fmla="*/ 17 w 35"/>
                  <a:gd name="T45" fmla="*/ 1 h 27"/>
                  <a:gd name="T46" fmla="*/ 22 w 35"/>
                  <a:gd name="T47" fmla="*/ 1 h 27"/>
                  <a:gd name="T48" fmla="*/ 25 w 35"/>
                  <a:gd name="T49" fmla="*/ 4 h 27"/>
                  <a:gd name="T50" fmla="*/ 26 w 35"/>
                  <a:gd name="T51" fmla="*/ 2 h 2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35"/>
                  <a:gd name="T79" fmla="*/ 0 h 27"/>
                  <a:gd name="T80" fmla="*/ 35 w 35"/>
                  <a:gd name="T81" fmla="*/ 27 h 2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35" h="27">
                    <a:moveTo>
                      <a:pt x="22" y="2"/>
                    </a:moveTo>
                    <a:cubicBezTo>
                      <a:pt x="23" y="2"/>
                      <a:pt x="24" y="1"/>
                      <a:pt x="25" y="2"/>
                    </a:cubicBezTo>
                    <a:cubicBezTo>
                      <a:pt x="26" y="2"/>
                      <a:pt x="25" y="4"/>
                      <a:pt x="25" y="5"/>
                    </a:cubicBezTo>
                    <a:cubicBezTo>
                      <a:pt x="25" y="7"/>
                      <a:pt x="25" y="10"/>
                      <a:pt x="27" y="12"/>
                    </a:cubicBezTo>
                    <a:cubicBezTo>
                      <a:pt x="29" y="14"/>
                      <a:pt x="32" y="12"/>
                      <a:pt x="34" y="14"/>
                    </a:cubicBezTo>
                    <a:cubicBezTo>
                      <a:pt x="35" y="15"/>
                      <a:pt x="33" y="17"/>
                      <a:pt x="32" y="18"/>
                    </a:cubicBezTo>
                    <a:cubicBezTo>
                      <a:pt x="31" y="18"/>
                      <a:pt x="29" y="17"/>
                      <a:pt x="28" y="17"/>
                    </a:cubicBezTo>
                    <a:cubicBezTo>
                      <a:pt x="27" y="17"/>
                      <a:pt x="25" y="18"/>
                      <a:pt x="24" y="18"/>
                    </a:cubicBezTo>
                    <a:cubicBezTo>
                      <a:pt x="22" y="18"/>
                      <a:pt x="21" y="18"/>
                      <a:pt x="19" y="18"/>
                    </a:cubicBezTo>
                    <a:cubicBezTo>
                      <a:pt x="17" y="19"/>
                      <a:pt x="16" y="21"/>
                      <a:pt x="15" y="23"/>
                    </a:cubicBezTo>
                    <a:cubicBezTo>
                      <a:pt x="13" y="24"/>
                      <a:pt x="12" y="26"/>
                      <a:pt x="10" y="27"/>
                    </a:cubicBezTo>
                    <a:cubicBezTo>
                      <a:pt x="9" y="27"/>
                      <a:pt x="11" y="24"/>
                      <a:pt x="10" y="24"/>
                    </a:cubicBezTo>
                    <a:cubicBezTo>
                      <a:pt x="7" y="23"/>
                      <a:pt x="4" y="25"/>
                      <a:pt x="1" y="25"/>
                    </a:cubicBezTo>
                    <a:cubicBezTo>
                      <a:pt x="0" y="25"/>
                      <a:pt x="0" y="23"/>
                      <a:pt x="1" y="23"/>
                    </a:cubicBezTo>
                    <a:cubicBezTo>
                      <a:pt x="1" y="22"/>
                      <a:pt x="2" y="21"/>
                      <a:pt x="2" y="20"/>
                    </a:cubicBezTo>
                    <a:cubicBezTo>
                      <a:pt x="2" y="18"/>
                      <a:pt x="1" y="17"/>
                      <a:pt x="2" y="15"/>
                    </a:cubicBezTo>
                    <a:cubicBezTo>
                      <a:pt x="3" y="14"/>
                      <a:pt x="5" y="15"/>
                      <a:pt x="6" y="13"/>
                    </a:cubicBezTo>
                    <a:cubicBezTo>
                      <a:pt x="6" y="12"/>
                      <a:pt x="6" y="11"/>
                      <a:pt x="6" y="10"/>
                    </a:cubicBezTo>
                    <a:cubicBezTo>
                      <a:pt x="5" y="8"/>
                      <a:pt x="3" y="8"/>
                      <a:pt x="2" y="8"/>
                    </a:cubicBezTo>
                    <a:cubicBezTo>
                      <a:pt x="2" y="7"/>
                      <a:pt x="1" y="5"/>
                      <a:pt x="2" y="4"/>
                    </a:cubicBezTo>
                    <a:cubicBezTo>
                      <a:pt x="3" y="3"/>
                      <a:pt x="5" y="3"/>
                      <a:pt x="6" y="3"/>
                    </a:cubicBezTo>
                    <a:cubicBezTo>
                      <a:pt x="8" y="3"/>
                      <a:pt x="9" y="4"/>
                      <a:pt x="11" y="4"/>
                    </a:cubicBezTo>
                    <a:cubicBezTo>
                      <a:pt x="12" y="3"/>
                      <a:pt x="12" y="1"/>
                      <a:pt x="14" y="1"/>
                    </a:cubicBezTo>
                    <a:cubicBezTo>
                      <a:pt x="15" y="0"/>
                      <a:pt x="17" y="1"/>
                      <a:pt x="18" y="1"/>
                    </a:cubicBezTo>
                    <a:cubicBezTo>
                      <a:pt x="19" y="2"/>
                      <a:pt x="20" y="3"/>
                      <a:pt x="21" y="3"/>
                    </a:cubicBezTo>
                    <a:cubicBezTo>
                      <a:pt x="21" y="3"/>
                      <a:pt x="22" y="2"/>
                      <a:pt x="2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7" name="Freeform 2598"/>
              <p:cNvSpPr>
                <a:spLocks noChangeAspect="1"/>
              </p:cNvSpPr>
              <p:nvPr/>
            </p:nvSpPr>
            <p:spPr bwMode="auto">
              <a:xfrm>
                <a:off x="4981827" y="2725141"/>
                <a:ext cx="152110" cy="99073"/>
              </a:xfrm>
              <a:custGeom>
                <a:avLst/>
                <a:gdLst>
                  <a:gd name="T0" fmla="*/ 83 w 78"/>
                  <a:gd name="T1" fmla="*/ 45 h 51"/>
                  <a:gd name="T2" fmla="*/ 81 w 78"/>
                  <a:gd name="T3" fmla="*/ 39 h 51"/>
                  <a:gd name="T4" fmla="*/ 76 w 78"/>
                  <a:gd name="T5" fmla="*/ 36 h 51"/>
                  <a:gd name="T6" fmla="*/ 82 w 78"/>
                  <a:gd name="T7" fmla="*/ 31 h 51"/>
                  <a:gd name="T8" fmla="*/ 82 w 78"/>
                  <a:gd name="T9" fmla="*/ 24 h 51"/>
                  <a:gd name="T10" fmla="*/ 86 w 78"/>
                  <a:gd name="T11" fmla="*/ 17 h 51"/>
                  <a:gd name="T12" fmla="*/ 89 w 78"/>
                  <a:gd name="T13" fmla="*/ 17 h 51"/>
                  <a:gd name="T14" fmla="*/ 92 w 78"/>
                  <a:gd name="T15" fmla="*/ 17 h 51"/>
                  <a:gd name="T16" fmla="*/ 93 w 78"/>
                  <a:gd name="T17" fmla="*/ 10 h 51"/>
                  <a:gd name="T18" fmla="*/ 89 w 78"/>
                  <a:gd name="T19" fmla="*/ 10 h 51"/>
                  <a:gd name="T20" fmla="*/ 86 w 78"/>
                  <a:gd name="T21" fmla="*/ 7 h 51"/>
                  <a:gd name="T22" fmla="*/ 79 w 78"/>
                  <a:gd name="T23" fmla="*/ 6 h 51"/>
                  <a:gd name="T24" fmla="*/ 73 w 78"/>
                  <a:gd name="T25" fmla="*/ 4 h 51"/>
                  <a:gd name="T26" fmla="*/ 67 w 78"/>
                  <a:gd name="T27" fmla="*/ 4 h 51"/>
                  <a:gd name="T28" fmla="*/ 60 w 78"/>
                  <a:gd name="T29" fmla="*/ 5 h 51"/>
                  <a:gd name="T30" fmla="*/ 55 w 78"/>
                  <a:gd name="T31" fmla="*/ 8 h 51"/>
                  <a:gd name="T32" fmla="*/ 41 w 78"/>
                  <a:gd name="T33" fmla="*/ 11 h 51"/>
                  <a:gd name="T34" fmla="*/ 31 w 78"/>
                  <a:gd name="T35" fmla="*/ 10 h 51"/>
                  <a:gd name="T36" fmla="*/ 15 w 78"/>
                  <a:gd name="T37" fmla="*/ 8 h 51"/>
                  <a:gd name="T38" fmla="*/ 7 w 78"/>
                  <a:gd name="T39" fmla="*/ 10 h 51"/>
                  <a:gd name="T40" fmla="*/ 10 w 78"/>
                  <a:gd name="T41" fmla="*/ 5 h 51"/>
                  <a:gd name="T42" fmla="*/ 5 w 78"/>
                  <a:gd name="T43" fmla="*/ 0 h 51"/>
                  <a:gd name="T44" fmla="*/ 1 w 78"/>
                  <a:gd name="T45" fmla="*/ 6 h 51"/>
                  <a:gd name="T46" fmla="*/ 1 w 78"/>
                  <a:gd name="T47" fmla="*/ 16 h 51"/>
                  <a:gd name="T48" fmla="*/ 7 w 78"/>
                  <a:gd name="T49" fmla="*/ 22 h 51"/>
                  <a:gd name="T50" fmla="*/ 11 w 78"/>
                  <a:gd name="T51" fmla="*/ 25 h 51"/>
                  <a:gd name="T52" fmla="*/ 4 w 78"/>
                  <a:gd name="T53" fmla="*/ 29 h 51"/>
                  <a:gd name="T54" fmla="*/ 4 w 78"/>
                  <a:gd name="T55" fmla="*/ 38 h 51"/>
                  <a:gd name="T56" fmla="*/ 5 w 78"/>
                  <a:gd name="T57" fmla="*/ 43 h 51"/>
                  <a:gd name="T58" fmla="*/ 11 w 78"/>
                  <a:gd name="T59" fmla="*/ 45 h 51"/>
                  <a:gd name="T60" fmla="*/ 12 w 78"/>
                  <a:gd name="T61" fmla="*/ 51 h 51"/>
                  <a:gd name="T62" fmla="*/ 12 w 78"/>
                  <a:gd name="T63" fmla="*/ 57 h 51"/>
                  <a:gd name="T64" fmla="*/ 17 w 78"/>
                  <a:gd name="T65" fmla="*/ 57 h 51"/>
                  <a:gd name="T66" fmla="*/ 25 w 78"/>
                  <a:gd name="T67" fmla="*/ 57 h 51"/>
                  <a:gd name="T68" fmla="*/ 29 w 78"/>
                  <a:gd name="T69" fmla="*/ 55 h 51"/>
                  <a:gd name="T70" fmla="*/ 35 w 78"/>
                  <a:gd name="T71" fmla="*/ 55 h 51"/>
                  <a:gd name="T72" fmla="*/ 37 w 78"/>
                  <a:gd name="T73" fmla="*/ 57 h 51"/>
                  <a:gd name="T74" fmla="*/ 43 w 78"/>
                  <a:gd name="T75" fmla="*/ 59 h 51"/>
                  <a:gd name="T76" fmla="*/ 49 w 78"/>
                  <a:gd name="T77" fmla="*/ 60 h 51"/>
                  <a:gd name="T78" fmla="*/ 58 w 78"/>
                  <a:gd name="T79" fmla="*/ 56 h 51"/>
                  <a:gd name="T80" fmla="*/ 60 w 78"/>
                  <a:gd name="T81" fmla="*/ 53 h 51"/>
                  <a:gd name="T82" fmla="*/ 60 w 78"/>
                  <a:gd name="T83" fmla="*/ 48 h 51"/>
                  <a:gd name="T84" fmla="*/ 64 w 78"/>
                  <a:gd name="T85" fmla="*/ 47 h 51"/>
                  <a:gd name="T86" fmla="*/ 70 w 78"/>
                  <a:gd name="T87" fmla="*/ 48 h 51"/>
                  <a:gd name="T88" fmla="*/ 74 w 78"/>
                  <a:gd name="T89" fmla="*/ 44 h 51"/>
                  <a:gd name="T90" fmla="*/ 79 w 78"/>
                  <a:gd name="T91" fmla="*/ 44 h 51"/>
                  <a:gd name="T92" fmla="*/ 82 w 78"/>
                  <a:gd name="T93" fmla="*/ 47 h 51"/>
                  <a:gd name="T94" fmla="*/ 83 w 78"/>
                  <a:gd name="T95" fmla="*/ 45 h 5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8"/>
                  <a:gd name="T145" fmla="*/ 0 h 51"/>
                  <a:gd name="T146" fmla="*/ 78 w 78"/>
                  <a:gd name="T147" fmla="*/ 51 h 5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8" h="51">
                    <a:moveTo>
                      <a:pt x="70" y="38"/>
                    </a:moveTo>
                    <a:cubicBezTo>
                      <a:pt x="70" y="36"/>
                      <a:pt x="69" y="34"/>
                      <a:pt x="68" y="33"/>
                    </a:cubicBezTo>
                    <a:cubicBezTo>
                      <a:pt x="67" y="32"/>
                      <a:pt x="63" y="32"/>
                      <a:pt x="64" y="30"/>
                    </a:cubicBezTo>
                    <a:cubicBezTo>
                      <a:pt x="64" y="28"/>
                      <a:pt x="68" y="28"/>
                      <a:pt x="69" y="26"/>
                    </a:cubicBezTo>
                    <a:cubicBezTo>
                      <a:pt x="70" y="24"/>
                      <a:pt x="68" y="22"/>
                      <a:pt x="69" y="20"/>
                    </a:cubicBezTo>
                    <a:cubicBezTo>
                      <a:pt x="69" y="18"/>
                      <a:pt x="70" y="16"/>
                      <a:pt x="72" y="14"/>
                    </a:cubicBezTo>
                    <a:cubicBezTo>
                      <a:pt x="72" y="13"/>
                      <a:pt x="74" y="14"/>
                      <a:pt x="75" y="14"/>
                    </a:cubicBezTo>
                    <a:cubicBezTo>
                      <a:pt x="75" y="14"/>
                      <a:pt x="76" y="14"/>
                      <a:pt x="77" y="14"/>
                    </a:cubicBezTo>
                    <a:cubicBezTo>
                      <a:pt x="78" y="12"/>
                      <a:pt x="78" y="10"/>
                      <a:pt x="78" y="8"/>
                    </a:cubicBezTo>
                    <a:cubicBezTo>
                      <a:pt x="77" y="8"/>
                      <a:pt x="76" y="8"/>
                      <a:pt x="75" y="8"/>
                    </a:cubicBezTo>
                    <a:cubicBezTo>
                      <a:pt x="74" y="7"/>
                      <a:pt x="73" y="6"/>
                      <a:pt x="72" y="6"/>
                    </a:cubicBezTo>
                    <a:cubicBezTo>
                      <a:pt x="70" y="5"/>
                      <a:pt x="68" y="5"/>
                      <a:pt x="66" y="5"/>
                    </a:cubicBezTo>
                    <a:cubicBezTo>
                      <a:pt x="64" y="4"/>
                      <a:pt x="63" y="3"/>
                      <a:pt x="61" y="3"/>
                    </a:cubicBezTo>
                    <a:cubicBezTo>
                      <a:pt x="60" y="3"/>
                      <a:pt x="58" y="3"/>
                      <a:pt x="56" y="3"/>
                    </a:cubicBezTo>
                    <a:cubicBezTo>
                      <a:pt x="54" y="3"/>
                      <a:pt x="52" y="3"/>
                      <a:pt x="50" y="4"/>
                    </a:cubicBezTo>
                    <a:cubicBezTo>
                      <a:pt x="48" y="4"/>
                      <a:pt x="48" y="6"/>
                      <a:pt x="46" y="7"/>
                    </a:cubicBezTo>
                    <a:cubicBezTo>
                      <a:pt x="42" y="8"/>
                      <a:pt x="38" y="9"/>
                      <a:pt x="34" y="9"/>
                    </a:cubicBezTo>
                    <a:cubicBezTo>
                      <a:pt x="31" y="9"/>
                      <a:pt x="28" y="9"/>
                      <a:pt x="26" y="8"/>
                    </a:cubicBezTo>
                    <a:cubicBezTo>
                      <a:pt x="22" y="8"/>
                      <a:pt x="18" y="7"/>
                      <a:pt x="13" y="7"/>
                    </a:cubicBezTo>
                    <a:cubicBezTo>
                      <a:pt x="11" y="7"/>
                      <a:pt x="8" y="9"/>
                      <a:pt x="6" y="8"/>
                    </a:cubicBezTo>
                    <a:cubicBezTo>
                      <a:pt x="5" y="7"/>
                      <a:pt x="8" y="5"/>
                      <a:pt x="8" y="4"/>
                    </a:cubicBezTo>
                    <a:cubicBezTo>
                      <a:pt x="7" y="2"/>
                      <a:pt x="6" y="2"/>
                      <a:pt x="4" y="0"/>
                    </a:cubicBezTo>
                    <a:cubicBezTo>
                      <a:pt x="3" y="2"/>
                      <a:pt x="1" y="3"/>
                      <a:pt x="1" y="5"/>
                    </a:cubicBezTo>
                    <a:cubicBezTo>
                      <a:pt x="0" y="7"/>
                      <a:pt x="0" y="10"/>
                      <a:pt x="1" y="13"/>
                    </a:cubicBezTo>
                    <a:cubicBezTo>
                      <a:pt x="2" y="15"/>
                      <a:pt x="5" y="16"/>
                      <a:pt x="6" y="18"/>
                    </a:cubicBezTo>
                    <a:cubicBezTo>
                      <a:pt x="7" y="19"/>
                      <a:pt x="10" y="20"/>
                      <a:pt x="9" y="21"/>
                    </a:cubicBezTo>
                    <a:cubicBezTo>
                      <a:pt x="8" y="23"/>
                      <a:pt x="4" y="22"/>
                      <a:pt x="3" y="24"/>
                    </a:cubicBezTo>
                    <a:cubicBezTo>
                      <a:pt x="2" y="27"/>
                      <a:pt x="3" y="30"/>
                      <a:pt x="3" y="32"/>
                    </a:cubicBezTo>
                    <a:cubicBezTo>
                      <a:pt x="3" y="34"/>
                      <a:pt x="3" y="35"/>
                      <a:pt x="4" y="36"/>
                    </a:cubicBezTo>
                    <a:cubicBezTo>
                      <a:pt x="5" y="37"/>
                      <a:pt x="8" y="36"/>
                      <a:pt x="9" y="38"/>
                    </a:cubicBezTo>
                    <a:cubicBezTo>
                      <a:pt x="10" y="39"/>
                      <a:pt x="10" y="41"/>
                      <a:pt x="10" y="43"/>
                    </a:cubicBezTo>
                    <a:cubicBezTo>
                      <a:pt x="11" y="44"/>
                      <a:pt x="10" y="47"/>
                      <a:pt x="10" y="48"/>
                    </a:cubicBezTo>
                    <a:cubicBezTo>
                      <a:pt x="11" y="48"/>
                      <a:pt x="13" y="48"/>
                      <a:pt x="14" y="48"/>
                    </a:cubicBezTo>
                    <a:cubicBezTo>
                      <a:pt x="17" y="48"/>
                      <a:pt x="19" y="49"/>
                      <a:pt x="21" y="48"/>
                    </a:cubicBezTo>
                    <a:cubicBezTo>
                      <a:pt x="22" y="48"/>
                      <a:pt x="22" y="46"/>
                      <a:pt x="24" y="46"/>
                    </a:cubicBezTo>
                    <a:cubicBezTo>
                      <a:pt x="26" y="45"/>
                      <a:pt x="28" y="45"/>
                      <a:pt x="29" y="46"/>
                    </a:cubicBezTo>
                    <a:cubicBezTo>
                      <a:pt x="30" y="46"/>
                      <a:pt x="30" y="48"/>
                      <a:pt x="31" y="48"/>
                    </a:cubicBezTo>
                    <a:cubicBezTo>
                      <a:pt x="33" y="49"/>
                      <a:pt x="35" y="49"/>
                      <a:pt x="36" y="49"/>
                    </a:cubicBezTo>
                    <a:cubicBezTo>
                      <a:pt x="38" y="50"/>
                      <a:pt x="40" y="51"/>
                      <a:pt x="41" y="50"/>
                    </a:cubicBezTo>
                    <a:cubicBezTo>
                      <a:pt x="44" y="50"/>
                      <a:pt x="47" y="49"/>
                      <a:pt x="49" y="47"/>
                    </a:cubicBezTo>
                    <a:cubicBezTo>
                      <a:pt x="50" y="47"/>
                      <a:pt x="50" y="45"/>
                      <a:pt x="50" y="44"/>
                    </a:cubicBezTo>
                    <a:cubicBezTo>
                      <a:pt x="50" y="43"/>
                      <a:pt x="49" y="41"/>
                      <a:pt x="50" y="40"/>
                    </a:cubicBezTo>
                    <a:cubicBezTo>
                      <a:pt x="51" y="39"/>
                      <a:pt x="53" y="39"/>
                      <a:pt x="54" y="39"/>
                    </a:cubicBezTo>
                    <a:cubicBezTo>
                      <a:pt x="56" y="39"/>
                      <a:pt x="57" y="40"/>
                      <a:pt x="59" y="40"/>
                    </a:cubicBezTo>
                    <a:cubicBezTo>
                      <a:pt x="60" y="39"/>
                      <a:pt x="60" y="37"/>
                      <a:pt x="62" y="37"/>
                    </a:cubicBezTo>
                    <a:cubicBezTo>
                      <a:pt x="63" y="36"/>
                      <a:pt x="65" y="37"/>
                      <a:pt x="66" y="37"/>
                    </a:cubicBezTo>
                    <a:cubicBezTo>
                      <a:pt x="67" y="38"/>
                      <a:pt x="68" y="39"/>
                      <a:pt x="69" y="39"/>
                    </a:cubicBezTo>
                    <a:cubicBezTo>
                      <a:pt x="69" y="39"/>
                      <a:pt x="70" y="38"/>
                      <a:pt x="70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8" name="Freeform 2599"/>
              <p:cNvSpPr>
                <a:spLocks noChangeAspect="1"/>
              </p:cNvSpPr>
              <p:nvPr/>
            </p:nvSpPr>
            <p:spPr bwMode="auto">
              <a:xfrm>
                <a:off x="4934395" y="2593587"/>
                <a:ext cx="227347" cy="147796"/>
              </a:xfrm>
              <a:custGeom>
                <a:avLst/>
                <a:gdLst>
                  <a:gd name="T0" fmla="*/ 137 w 116"/>
                  <a:gd name="T1" fmla="*/ 63 h 76"/>
                  <a:gd name="T2" fmla="*/ 129 w 116"/>
                  <a:gd name="T3" fmla="*/ 59 h 76"/>
                  <a:gd name="T4" fmla="*/ 125 w 116"/>
                  <a:gd name="T5" fmla="*/ 62 h 76"/>
                  <a:gd name="T6" fmla="*/ 119 w 116"/>
                  <a:gd name="T7" fmla="*/ 63 h 76"/>
                  <a:gd name="T8" fmla="*/ 114 w 116"/>
                  <a:gd name="T9" fmla="*/ 61 h 76"/>
                  <a:gd name="T10" fmla="*/ 111 w 116"/>
                  <a:gd name="T11" fmla="*/ 47 h 76"/>
                  <a:gd name="T12" fmla="*/ 116 w 116"/>
                  <a:gd name="T13" fmla="*/ 36 h 76"/>
                  <a:gd name="T14" fmla="*/ 109 w 116"/>
                  <a:gd name="T15" fmla="*/ 25 h 76"/>
                  <a:gd name="T16" fmla="*/ 99 w 116"/>
                  <a:gd name="T17" fmla="*/ 14 h 76"/>
                  <a:gd name="T18" fmla="*/ 95 w 116"/>
                  <a:gd name="T19" fmla="*/ 2 h 76"/>
                  <a:gd name="T20" fmla="*/ 89 w 116"/>
                  <a:gd name="T21" fmla="*/ 0 h 76"/>
                  <a:gd name="T22" fmla="*/ 84 w 116"/>
                  <a:gd name="T23" fmla="*/ 1 h 76"/>
                  <a:gd name="T24" fmla="*/ 79 w 116"/>
                  <a:gd name="T25" fmla="*/ 2 h 76"/>
                  <a:gd name="T26" fmla="*/ 70 w 116"/>
                  <a:gd name="T27" fmla="*/ 4 h 76"/>
                  <a:gd name="T28" fmla="*/ 65 w 116"/>
                  <a:gd name="T29" fmla="*/ 10 h 76"/>
                  <a:gd name="T30" fmla="*/ 60 w 116"/>
                  <a:gd name="T31" fmla="*/ 5 h 76"/>
                  <a:gd name="T32" fmla="*/ 55 w 116"/>
                  <a:gd name="T33" fmla="*/ 5 h 76"/>
                  <a:gd name="T34" fmla="*/ 46 w 116"/>
                  <a:gd name="T35" fmla="*/ 4 h 76"/>
                  <a:gd name="T36" fmla="*/ 40 w 116"/>
                  <a:gd name="T37" fmla="*/ 0 h 76"/>
                  <a:gd name="T38" fmla="*/ 36 w 116"/>
                  <a:gd name="T39" fmla="*/ 5 h 76"/>
                  <a:gd name="T40" fmla="*/ 34 w 116"/>
                  <a:gd name="T41" fmla="*/ 7 h 76"/>
                  <a:gd name="T42" fmla="*/ 29 w 116"/>
                  <a:gd name="T43" fmla="*/ 8 h 76"/>
                  <a:gd name="T44" fmla="*/ 24 w 116"/>
                  <a:gd name="T45" fmla="*/ 14 h 76"/>
                  <a:gd name="T46" fmla="*/ 19 w 116"/>
                  <a:gd name="T47" fmla="*/ 23 h 76"/>
                  <a:gd name="T48" fmla="*/ 18 w 116"/>
                  <a:gd name="T49" fmla="*/ 31 h 76"/>
                  <a:gd name="T50" fmla="*/ 14 w 116"/>
                  <a:gd name="T51" fmla="*/ 32 h 76"/>
                  <a:gd name="T52" fmla="*/ 14 w 116"/>
                  <a:gd name="T53" fmla="*/ 37 h 76"/>
                  <a:gd name="T54" fmla="*/ 8 w 116"/>
                  <a:gd name="T55" fmla="*/ 40 h 76"/>
                  <a:gd name="T56" fmla="*/ 0 w 116"/>
                  <a:gd name="T57" fmla="*/ 42 h 76"/>
                  <a:gd name="T58" fmla="*/ 4 w 116"/>
                  <a:gd name="T59" fmla="*/ 48 h 76"/>
                  <a:gd name="T60" fmla="*/ 7 w 116"/>
                  <a:gd name="T61" fmla="*/ 53 h 76"/>
                  <a:gd name="T62" fmla="*/ 10 w 116"/>
                  <a:gd name="T63" fmla="*/ 59 h 76"/>
                  <a:gd name="T64" fmla="*/ 18 w 116"/>
                  <a:gd name="T65" fmla="*/ 63 h 76"/>
                  <a:gd name="T66" fmla="*/ 18 w 116"/>
                  <a:gd name="T67" fmla="*/ 71 h 76"/>
                  <a:gd name="T68" fmla="*/ 25 w 116"/>
                  <a:gd name="T69" fmla="*/ 74 h 76"/>
                  <a:gd name="T70" fmla="*/ 30 w 116"/>
                  <a:gd name="T71" fmla="*/ 77 h 76"/>
                  <a:gd name="T72" fmla="*/ 31 w 116"/>
                  <a:gd name="T73" fmla="*/ 73 h 76"/>
                  <a:gd name="T74" fmla="*/ 35 w 116"/>
                  <a:gd name="T75" fmla="*/ 75 h 76"/>
                  <a:gd name="T76" fmla="*/ 32 w 116"/>
                  <a:gd name="T77" fmla="*/ 78 h 76"/>
                  <a:gd name="T78" fmla="*/ 34 w 116"/>
                  <a:gd name="T79" fmla="*/ 80 h 76"/>
                  <a:gd name="T80" fmla="*/ 38 w 116"/>
                  <a:gd name="T81" fmla="*/ 85 h 76"/>
                  <a:gd name="T82" fmla="*/ 36 w 116"/>
                  <a:gd name="T83" fmla="*/ 90 h 76"/>
                  <a:gd name="T84" fmla="*/ 44 w 116"/>
                  <a:gd name="T85" fmla="*/ 89 h 76"/>
                  <a:gd name="T86" fmla="*/ 60 w 116"/>
                  <a:gd name="T87" fmla="*/ 90 h 76"/>
                  <a:gd name="T88" fmla="*/ 70 w 116"/>
                  <a:gd name="T89" fmla="*/ 91 h 76"/>
                  <a:gd name="T90" fmla="*/ 84 w 116"/>
                  <a:gd name="T91" fmla="*/ 89 h 76"/>
                  <a:gd name="T92" fmla="*/ 89 w 116"/>
                  <a:gd name="T93" fmla="*/ 85 h 76"/>
                  <a:gd name="T94" fmla="*/ 96 w 116"/>
                  <a:gd name="T95" fmla="*/ 84 h 76"/>
                  <a:gd name="T96" fmla="*/ 102 w 116"/>
                  <a:gd name="T97" fmla="*/ 84 h 76"/>
                  <a:gd name="T98" fmla="*/ 108 w 116"/>
                  <a:gd name="T99" fmla="*/ 86 h 76"/>
                  <a:gd name="T100" fmla="*/ 115 w 116"/>
                  <a:gd name="T101" fmla="*/ 87 h 76"/>
                  <a:gd name="T102" fmla="*/ 119 w 116"/>
                  <a:gd name="T103" fmla="*/ 90 h 76"/>
                  <a:gd name="T104" fmla="*/ 122 w 116"/>
                  <a:gd name="T105" fmla="*/ 90 h 76"/>
                  <a:gd name="T106" fmla="*/ 122 w 116"/>
                  <a:gd name="T107" fmla="*/ 81 h 76"/>
                  <a:gd name="T108" fmla="*/ 125 w 116"/>
                  <a:gd name="T109" fmla="*/ 77 h 76"/>
                  <a:gd name="T110" fmla="*/ 121 w 116"/>
                  <a:gd name="T111" fmla="*/ 72 h 76"/>
                  <a:gd name="T112" fmla="*/ 126 w 116"/>
                  <a:gd name="T113" fmla="*/ 66 h 76"/>
                  <a:gd name="T114" fmla="*/ 129 w 116"/>
                  <a:gd name="T115" fmla="*/ 67 h 76"/>
                  <a:gd name="T116" fmla="*/ 128 w 116"/>
                  <a:gd name="T117" fmla="*/ 74 h 76"/>
                  <a:gd name="T118" fmla="*/ 137 w 116"/>
                  <a:gd name="T119" fmla="*/ 72 h 76"/>
                  <a:gd name="T120" fmla="*/ 137 w 116"/>
                  <a:gd name="T121" fmla="*/ 63 h 7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6"/>
                  <a:gd name="T184" fmla="*/ 0 h 76"/>
                  <a:gd name="T185" fmla="*/ 116 w 116"/>
                  <a:gd name="T186" fmla="*/ 76 h 7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6" h="76">
                    <a:moveTo>
                      <a:pt x="114" y="53"/>
                    </a:moveTo>
                    <a:cubicBezTo>
                      <a:pt x="112" y="52"/>
                      <a:pt x="111" y="49"/>
                      <a:pt x="108" y="49"/>
                    </a:cubicBezTo>
                    <a:cubicBezTo>
                      <a:pt x="106" y="49"/>
                      <a:pt x="106" y="52"/>
                      <a:pt x="104" y="52"/>
                    </a:cubicBezTo>
                    <a:cubicBezTo>
                      <a:pt x="102" y="53"/>
                      <a:pt x="101" y="53"/>
                      <a:pt x="99" y="53"/>
                    </a:cubicBezTo>
                    <a:cubicBezTo>
                      <a:pt x="97" y="53"/>
                      <a:pt x="96" y="51"/>
                      <a:pt x="95" y="51"/>
                    </a:cubicBezTo>
                    <a:cubicBezTo>
                      <a:pt x="94" y="46"/>
                      <a:pt x="93" y="43"/>
                      <a:pt x="93" y="39"/>
                    </a:cubicBezTo>
                    <a:cubicBezTo>
                      <a:pt x="94" y="36"/>
                      <a:pt x="97" y="33"/>
                      <a:pt x="97" y="30"/>
                    </a:cubicBezTo>
                    <a:cubicBezTo>
                      <a:pt x="96" y="27"/>
                      <a:pt x="93" y="24"/>
                      <a:pt x="91" y="21"/>
                    </a:cubicBezTo>
                    <a:cubicBezTo>
                      <a:pt x="89" y="18"/>
                      <a:pt x="85" y="15"/>
                      <a:pt x="83" y="12"/>
                    </a:cubicBezTo>
                    <a:cubicBezTo>
                      <a:pt x="81" y="9"/>
                      <a:pt x="81" y="5"/>
                      <a:pt x="79" y="2"/>
                    </a:cubicBezTo>
                    <a:cubicBezTo>
                      <a:pt x="78" y="0"/>
                      <a:pt x="76" y="0"/>
                      <a:pt x="74" y="0"/>
                    </a:cubicBezTo>
                    <a:cubicBezTo>
                      <a:pt x="73" y="0"/>
                      <a:pt x="71" y="0"/>
                      <a:pt x="70" y="1"/>
                    </a:cubicBezTo>
                    <a:cubicBezTo>
                      <a:pt x="68" y="1"/>
                      <a:pt x="67" y="2"/>
                      <a:pt x="66" y="2"/>
                    </a:cubicBezTo>
                    <a:cubicBezTo>
                      <a:pt x="63" y="3"/>
                      <a:pt x="60" y="2"/>
                      <a:pt x="58" y="3"/>
                    </a:cubicBezTo>
                    <a:cubicBezTo>
                      <a:pt x="56" y="4"/>
                      <a:pt x="56" y="7"/>
                      <a:pt x="54" y="8"/>
                    </a:cubicBezTo>
                    <a:cubicBezTo>
                      <a:pt x="53" y="8"/>
                      <a:pt x="52" y="5"/>
                      <a:pt x="50" y="4"/>
                    </a:cubicBezTo>
                    <a:cubicBezTo>
                      <a:pt x="49" y="3"/>
                      <a:pt x="47" y="4"/>
                      <a:pt x="46" y="4"/>
                    </a:cubicBezTo>
                    <a:cubicBezTo>
                      <a:pt x="43" y="4"/>
                      <a:pt x="41" y="3"/>
                      <a:pt x="38" y="3"/>
                    </a:cubicBezTo>
                    <a:cubicBezTo>
                      <a:pt x="36" y="2"/>
                      <a:pt x="35" y="0"/>
                      <a:pt x="33" y="0"/>
                    </a:cubicBezTo>
                    <a:cubicBezTo>
                      <a:pt x="31" y="0"/>
                      <a:pt x="31" y="3"/>
                      <a:pt x="30" y="4"/>
                    </a:cubicBezTo>
                    <a:cubicBezTo>
                      <a:pt x="29" y="4"/>
                      <a:pt x="29" y="5"/>
                      <a:pt x="28" y="6"/>
                    </a:cubicBezTo>
                    <a:cubicBezTo>
                      <a:pt x="27" y="7"/>
                      <a:pt x="25" y="6"/>
                      <a:pt x="24" y="7"/>
                    </a:cubicBezTo>
                    <a:cubicBezTo>
                      <a:pt x="22" y="9"/>
                      <a:pt x="21" y="11"/>
                      <a:pt x="20" y="12"/>
                    </a:cubicBezTo>
                    <a:cubicBezTo>
                      <a:pt x="18" y="14"/>
                      <a:pt x="17" y="16"/>
                      <a:pt x="16" y="19"/>
                    </a:cubicBezTo>
                    <a:cubicBezTo>
                      <a:pt x="15" y="21"/>
                      <a:pt x="16" y="24"/>
                      <a:pt x="15" y="26"/>
                    </a:cubicBezTo>
                    <a:cubicBezTo>
                      <a:pt x="14" y="27"/>
                      <a:pt x="12" y="26"/>
                      <a:pt x="12" y="27"/>
                    </a:cubicBezTo>
                    <a:cubicBezTo>
                      <a:pt x="11" y="28"/>
                      <a:pt x="13" y="30"/>
                      <a:pt x="12" y="31"/>
                    </a:cubicBezTo>
                    <a:cubicBezTo>
                      <a:pt x="11" y="33"/>
                      <a:pt x="8" y="33"/>
                      <a:pt x="7" y="33"/>
                    </a:cubicBezTo>
                    <a:cubicBezTo>
                      <a:pt x="5" y="34"/>
                      <a:pt x="2" y="34"/>
                      <a:pt x="0" y="35"/>
                    </a:cubicBezTo>
                    <a:cubicBezTo>
                      <a:pt x="1" y="37"/>
                      <a:pt x="2" y="39"/>
                      <a:pt x="3" y="40"/>
                    </a:cubicBezTo>
                    <a:cubicBezTo>
                      <a:pt x="4" y="42"/>
                      <a:pt x="5" y="42"/>
                      <a:pt x="6" y="44"/>
                    </a:cubicBezTo>
                    <a:cubicBezTo>
                      <a:pt x="7" y="45"/>
                      <a:pt x="7" y="47"/>
                      <a:pt x="8" y="49"/>
                    </a:cubicBezTo>
                    <a:cubicBezTo>
                      <a:pt x="10" y="51"/>
                      <a:pt x="13" y="51"/>
                      <a:pt x="15" y="53"/>
                    </a:cubicBezTo>
                    <a:cubicBezTo>
                      <a:pt x="16" y="54"/>
                      <a:pt x="13" y="57"/>
                      <a:pt x="15" y="59"/>
                    </a:cubicBezTo>
                    <a:cubicBezTo>
                      <a:pt x="16" y="61"/>
                      <a:pt x="19" y="61"/>
                      <a:pt x="21" y="62"/>
                    </a:cubicBezTo>
                    <a:cubicBezTo>
                      <a:pt x="22" y="62"/>
                      <a:pt x="23" y="64"/>
                      <a:pt x="25" y="64"/>
                    </a:cubicBezTo>
                    <a:cubicBezTo>
                      <a:pt x="26" y="64"/>
                      <a:pt x="25" y="61"/>
                      <a:pt x="26" y="61"/>
                    </a:cubicBezTo>
                    <a:cubicBezTo>
                      <a:pt x="28" y="61"/>
                      <a:pt x="29" y="62"/>
                      <a:pt x="29" y="63"/>
                    </a:cubicBezTo>
                    <a:cubicBezTo>
                      <a:pt x="30" y="64"/>
                      <a:pt x="28" y="64"/>
                      <a:pt x="27" y="65"/>
                    </a:cubicBezTo>
                    <a:cubicBezTo>
                      <a:pt x="27" y="66"/>
                      <a:pt x="28" y="66"/>
                      <a:pt x="28" y="67"/>
                    </a:cubicBezTo>
                    <a:cubicBezTo>
                      <a:pt x="30" y="69"/>
                      <a:pt x="31" y="69"/>
                      <a:pt x="32" y="71"/>
                    </a:cubicBezTo>
                    <a:cubicBezTo>
                      <a:pt x="32" y="72"/>
                      <a:pt x="29" y="74"/>
                      <a:pt x="30" y="75"/>
                    </a:cubicBezTo>
                    <a:cubicBezTo>
                      <a:pt x="32" y="76"/>
                      <a:pt x="35" y="74"/>
                      <a:pt x="37" y="74"/>
                    </a:cubicBezTo>
                    <a:cubicBezTo>
                      <a:pt x="42" y="74"/>
                      <a:pt x="46" y="75"/>
                      <a:pt x="50" y="75"/>
                    </a:cubicBezTo>
                    <a:cubicBezTo>
                      <a:pt x="52" y="76"/>
                      <a:pt x="55" y="76"/>
                      <a:pt x="58" y="76"/>
                    </a:cubicBezTo>
                    <a:cubicBezTo>
                      <a:pt x="62" y="76"/>
                      <a:pt x="66" y="75"/>
                      <a:pt x="70" y="74"/>
                    </a:cubicBezTo>
                    <a:cubicBezTo>
                      <a:pt x="72" y="73"/>
                      <a:pt x="72" y="71"/>
                      <a:pt x="74" y="71"/>
                    </a:cubicBezTo>
                    <a:cubicBezTo>
                      <a:pt x="76" y="70"/>
                      <a:pt x="78" y="70"/>
                      <a:pt x="80" y="70"/>
                    </a:cubicBezTo>
                    <a:cubicBezTo>
                      <a:pt x="82" y="70"/>
                      <a:pt x="84" y="70"/>
                      <a:pt x="85" y="70"/>
                    </a:cubicBezTo>
                    <a:cubicBezTo>
                      <a:pt x="87" y="70"/>
                      <a:pt x="88" y="71"/>
                      <a:pt x="90" y="72"/>
                    </a:cubicBezTo>
                    <a:cubicBezTo>
                      <a:pt x="92" y="72"/>
                      <a:pt x="94" y="72"/>
                      <a:pt x="96" y="73"/>
                    </a:cubicBezTo>
                    <a:cubicBezTo>
                      <a:pt x="97" y="73"/>
                      <a:pt x="98" y="74"/>
                      <a:pt x="99" y="75"/>
                    </a:cubicBezTo>
                    <a:cubicBezTo>
                      <a:pt x="100" y="75"/>
                      <a:pt x="101" y="75"/>
                      <a:pt x="102" y="75"/>
                    </a:cubicBezTo>
                    <a:cubicBezTo>
                      <a:pt x="102" y="72"/>
                      <a:pt x="102" y="70"/>
                      <a:pt x="102" y="68"/>
                    </a:cubicBezTo>
                    <a:cubicBezTo>
                      <a:pt x="102" y="66"/>
                      <a:pt x="105" y="65"/>
                      <a:pt x="104" y="64"/>
                    </a:cubicBezTo>
                    <a:cubicBezTo>
                      <a:pt x="104" y="62"/>
                      <a:pt x="101" y="62"/>
                      <a:pt x="101" y="60"/>
                    </a:cubicBezTo>
                    <a:cubicBezTo>
                      <a:pt x="101" y="58"/>
                      <a:pt x="103" y="56"/>
                      <a:pt x="105" y="55"/>
                    </a:cubicBezTo>
                    <a:cubicBezTo>
                      <a:pt x="106" y="55"/>
                      <a:pt x="108" y="55"/>
                      <a:pt x="108" y="56"/>
                    </a:cubicBezTo>
                    <a:cubicBezTo>
                      <a:pt x="109" y="58"/>
                      <a:pt x="105" y="61"/>
                      <a:pt x="107" y="62"/>
                    </a:cubicBezTo>
                    <a:cubicBezTo>
                      <a:pt x="109" y="63"/>
                      <a:pt x="113" y="62"/>
                      <a:pt x="114" y="60"/>
                    </a:cubicBezTo>
                    <a:cubicBezTo>
                      <a:pt x="116" y="58"/>
                      <a:pt x="114" y="55"/>
                      <a:pt x="114" y="5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89" name="Freeform 2600"/>
              <p:cNvSpPr>
                <a:spLocks noChangeAspect="1"/>
              </p:cNvSpPr>
              <p:nvPr/>
            </p:nvSpPr>
            <p:spPr bwMode="auto">
              <a:xfrm>
                <a:off x="5079962" y="2580594"/>
                <a:ext cx="83416" cy="112066"/>
              </a:xfrm>
              <a:custGeom>
                <a:avLst/>
                <a:gdLst>
                  <a:gd name="T0" fmla="*/ 25 w 43"/>
                  <a:gd name="T1" fmla="*/ 69 h 58"/>
                  <a:gd name="T2" fmla="*/ 31 w 43"/>
                  <a:gd name="T3" fmla="*/ 62 h 58"/>
                  <a:gd name="T4" fmla="*/ 36 w 43"/>
                  <a:gd name="T5" fmla="*/ 52 h 58"/>
                  <a:gd name="T6" fmla="*/ 37 w 43"/>
                  <a:gd name="T7" fmla="*/ 44 h 58"/>
                  <a:gd name="T8" fmla="*/ 43 w 43"/>
                  <a:gd name="T9" fmla="*/ 45 h 58"/>
                  <a:gd name="T10" fmla="*/ 50 w 43"/>
                  <a:gd name="T11" fmla="*/ 45 h 58"/>
                  <a:gd name="T12" fmla="*/ 50 w 43"/>
                  <a:gd name="T13" fmla="*/ 37 h 58"/>
                  <a:gd name="T14" fmla="*/ 44 w 43"/>
                  <a:gd name="T15" fmla="*/ 35 h 58"/>
                  <a:gd name="T16" fmla="*/ 43 w 43"/>
                  <a:gd name="T17" fmla="*/ 26 h 58"/>
                  <a:gd name="T18" fmla="*/ 38 w 43"/>
                  <a:gd name="T19" fmla="*/ 20 h 58"/>
                  <a:gd name="T20" fmla="*/ 37 w 43"/>
                  <a:gd name="T21" fmla="*/ 12 h 58"/>
                  <a:gd name="T22" fmla="*/ 28 w 43"/>
                  <a:gd name="T23" fmla="*/ 10 h 58"/>
                  <a:gd name="T24" fmla="*/ 25 w 43"/>
                  <a:gd name="T25" fmla="*/ 10 h 58"/>
                  <a:gd name="T26" fmla="*/ 13 w 43"/>
                  <a:gd name="T27" fmla="*/ 1 h 58"/>
                  <a:gd name="T28" fmla="*/ 6 w 43"/>
                  <a:gd name="T29" fmla="*/ 2 h 58"/>
                  <a:gd name="T30" fmla="*/ 1 w 43"/>
                  <a:gd name="T31" fmla="*/ 2 h 58"/>
                  <a:gd name="T32" fmla="*/ 0 w 43"/>
                  <a:gd name="T33" fmla="*/ 8 h 58"/>
                  <a:gd name="T34" fmla="*/ 6 w 43"/>
                  <a:gd name="T35" fmla="*/ 11 h 58"/>
                  <a:gd name="T36" fmla="*/ 11 w 43"/>
                  <a:gd name="T37" fmla="*/ 23 h 58"/>
                  <a:gd name="T38" fmla="*/ 20 w 43"/>
                  <a:gd name="T39" fmla="*/ 33 h 58"/>
                  <a:gd name="T40" fmla="*/ 27 w 43"/>
                  <a:gd name="T41" fmla="*/ 44 h 58"/>
                  <a:gd name="T42" fmla="*/ 23 w 43"/>
                  <a:gd name="T43" fmla="*/ 55 h 58"/>
                  <a:gd name="T44" fmla="*/ 25 w 43"/>
                  <a:gd name="T45" fmla="*/ 6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3"/>
                  <a:gd name="T70" fmla="*/ 0 h 58"/>
                  <a:gd name="T71" fmla="*/ 43 w 43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3" h="58">
                    <a:moveTo>
                      <a:pt x="21" y="58"/>
                    </a:moveTo>
                    <a:cubicBezTo>
                      <a:pt x="23" y="56"/>
                      <a:pt x="25" y="54"/>
                      <a:pt x="26" y="52"/>
                    </a:cubicBezTo>
                    <a:cubicBezTo>
                      <a:pt x="28" y="49"/>
                      <a:pt x="29" y="47"/>
                      <a:pt x="30" y="44"/>
                    </a:cubicBezTo>
                    <a:cubicBezTo>
                      <a:pt x="31" y="41"/>
                      <a:pt x="29" y="38"/>
                      <a:pt x="31" y="37"/>
                    </a:cubicBezTo>
                    <a:cubicBezTo>
                      <a:pt x="32" y="35"/>
                      <a:pt x="35" y="38"/>
                      <a:pt x="36" y="38"/>
                    </a:cubicBezTo>
                    <a:cubicBezTo>
                      <a:pt x="38" y="38"/>
                      <a:pt x="41" y="39"/>
                      <a:pt x="42" y="38"/>
                    </a:cubicBezTo>
                    <a:cubicBezTo>
                      <a:pt x="43" y="36"/>
                      <a:pt x="43" y="33"/>
                      <a:pt x="42" y="31"/>
                    </a:cubicBezTo>
                    <a:cubicBezTo>
                      <a:pt x="41" y="30"/>
                      <a:pt x="38" y="30"/>
                      <a:pt x="37" y="29"/>
                    </a:cubicBezTo>
                    <a:cubicBezTo>
                      <a:pt x="36" y="27"/>
                      <a:pt x="37" y="24"/>
                      <a:pt x="36" y="22"/>
                    </a:cubicBezTo>
                    <a:cubicBezTo>
                      <a:pt x="35" y="20"/>
                      <a:pt x="33" y="19"/>
                      <a:pt x="32" y="17"/>
                    </a:cubicBezTo>
                    <a:cubicBezTo>
                      <a:pt x="31" y="15"/>
                      <a:pt x="32" y="12"/>
                      <a:pt x="31" y="10"/>
                    </a:cubicBezTo>
                    <a:cubicBezTo>
                      <a:pt x="29" y="8"/>
                      <a:pt x="26" y="8"/>
                      <a:pt x="24" y="8"/>
                    </a:cubicBezTo>
                    <a:cubicBezTo>
                      <a:pt x="23" y="7"/>
                      <a:pt x="22" y="8"/>
                      <a:pt x="21" y="8"/>
                    </a:cubicBezTo>
                    <a:cubicBezTo>
                      <a:pt x="17" y="6"/>
                      <a:pt x="15" y="2"/>
                      <a:pt x="11" y="1"/>
                    </a:cubicBezTo>
                    <a:cubicBezTo>
                      <a:pt x="9" y="0"/>
                      <a:pt x="7" y="2"/>
                      <a:pt x="5" y="2"/>
                    </a:cubicBezTo>
                    <a:cubicBezTo>
                      <a:pt x="3" y="3"/>
                      <a:pt x="2" y="2"/>
                      <a:pt x="1" y="2"/>
                    </a:cubicBezTo>
                    <a:cubicBezTo>
                      <a:pt x="0" y="3"/>
                      <a:pt x="1" y="5"/>
                      <a:pt x="0" y="7"/>
                    </a:cubicBezTo>
                    <a:cubicBezTo>
                      <a:pt x="2" y="7"/>
                      <a:pt x="4" y="7"/>
                      <a:pt x="5" y="9"/>
                    </a:cubicBezTo>
                    <a:cubicBezTo>
                      <a:pt x="7" y="12"/>
                      <a:pt x="7" y="16"/>
                      <a:pt x="9" y="19"/>
                    </a:cubicBezTo>
                    <a:cubicBezTo>
                      <a:pt x="11" y="22"/>
                      <a:pt x="15" y="25"/>
                      <a:pt x="17" y="28"/>
                    </a:cubicBezTo>
                    <a:cubicBezTo>
                      <a:pt x="19" y="31"/>
                      <a:pt x="22" y="34"/>
                      <a:pt x="23" y="37"/>
                    </a:cubicBezTo>
                    <a:cubicBezTo>
                      <a:pt x="23" y="40"/>
                      <a:pt x="20" y="43"/>
                      <a:pt x="19" y="46"/>
                    </a:cubicBezTo>
                    <a:cubicBezTo>
                      <a:pt x="19" y="50"/>
                      <a:pt x="20" y="53"/>
                      <a:pt x="21" y="5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0" name="Freeform 2601"/>
              <p:cNvSpPr>
                <a:spLocks noChangeAspect="1"/>
              </p:cNvSpPr>
              <p:nvPr/>
            </p:nvSpPr>
            <p:spPr bwMode="auto">
              <a:xfrm>
                <a:off x="4975284" y="2447415"/>
                <a:ext cx="420347" cy="272854"/>
              </a:xfrm>
              <a:custGeom>
                <a:avLst/>
                <a:gdLst>
                  <a:gd name="T0" fmla="*/ 223 w 214"/>
                  <a:gd name="T1" fmla="*/ 113 h 140"/>
                  <a:gd name="T2" fmla="*/ 197 w 214"/>
                  <a:gd name="T3" fmla="*/ 122 h 140"/>
                  <a:gd name="T4" fmla="*/ 185 w 214"/>
                  <a:gd name="T5" fmla="*/ 130 h 140"/>
                  <a:gd name="T6" fmla="*/ 169 w 214"/>
                  <a:gd name="T7" fmla="*/ 128 h 140"/>
                  <a:gd name="T8" fmla="*/ 189 w 214"/>
                  <a:gd name="T9" fmla="*/ 145 h 140"/>
                  <a:gd name="T10" fmla="*/ 207 w 214"/>
                  <a:gd name="T11" fmla="*/ 148 h 140"/>
                  <a:gd name="T12" fmla="*/ 201 w 214"/>
                  <a:gd name="T13" fmla="*/ 157 h 140"/>
                  <a:gd name="T14" fmla="*/ 184 w 214"/>
                  <a:gd name="T15" fmla="*/ 161 h 140"/>
                  <a:gd name="T16" fmla="*/ 166 w 214"/>
                  <a:gd name="T17" fmla="*/ 152 h 140"/>
                  <a:gd name="T18" fmla="*/ 168 w 214"/>
                  <a:gd name="T19" fmla="*/ 134 h 140"/>
                  <a:gd name="T20" fmla="*/ 147 w 214"/>
                  <a:gd name="T21" fmla="*/ 131 h 140"/>
                  <a:gd name="T22" fmla="*/ 138 w 214"/>
                  <a:gd name="T23" fmla="*/ 125 h 140"/>
                  <a:gd name="T24" fmla="*/ 145 w 214"/>
                  <a:gd name="T25" fmla="*/ 125 h 140"/>
                  <a:gd name="T26" fmla="*/ 130 w 214"/>
                  <a:gd name="T27" fmla="*/ 119 h 140"/>
                  <a:gd name="T28" fmla="*/ 116 w 214"/>
                  <a:gd name="T29" fmla="*/ 127 h 140"/>
                  <a:gd name="T30" fmla="*/ 118 w 214"/>
                  <a:gd name="T31" fmla="*/ 134 h 140"/>
                  <a:gd name="T32" fmla="*/ 109 w 214"/>
                  <a:gd name="T33" fmla="*/ 140 h 140"/>
                  <a:gd name="T34" fmla="*/ 104 w 214"/>
                  <a:gd name="T35" fmla="*/ 149 h 140"/>
                  <a:gd name="T36" fmla="*/ 89 w 214"/>
                  <a:gd name="T37" fmla="*/ 151 h 140"/>
                  <a:gd name="T38" fmla="*/ 101 w 214"/>
                  <a:gd name="T39" fmla="*/ 126 h 140"/>
                  <a:gd name="T40" fmla="*/ 114 w 214"/>
                  <a:gd name="T41" fmla="*/ 119 h 140"/>
                  <a:gd name="T42" fmla="*/ 102 w 214"/>
                  <a:gd name="T43" fmla="*/ 102 h 140"/>
                  <a:gd name="T44" fmla="*/ 89 w 214"/>
                  <a:gd name="T45" fmla="*/ 91 h 140"/>
                  <a:gd name="T46" fmla="*/ 65 w 214"/>
                  <a:gd name="T47" fmla="*/ 84 h 140"/>
                  <a:gd name="T48" fmla="*/ 54 w 214"/>
                  <a:gd name="T49" fmla="*/ 92 h 140"/>
                  <a:gd name="T50" fmla="*/ 35 w 214"/>
                  <a:gd name="T51" fmla="*/ 95 h 140"/>
                  <a:gd name="T52" fmla="*/ 14 w 214"/>
                  <a:gd name="T53" fmla="*/ 90 h 140"/>
                  <a:gd name="T54" fmla="*/ 6 w 214"/>
                  <a:gd name="T55" fmla="*/ 91 h 140"/>
                  <a:gd name="T56" fmla="*/ 0 w 214"/>
                  <a:gd name="T57" fmla="*/ 84 h 140"/>
                  <a:gd name="T58" fmla="*/ 4 w 214"/>
                  <a:gd name="T59" fmla="*/ 72 h 140"/>
                  <a:gd name="T60" fmla="*/ 10 w 214"/>
                  <a:gd name="T61" fmla="*/ 68 h 140"/>
                  <a:gd name="T62" fmla="*/ 6 w 214"/>
                  <a:gd name="T63" fmla="*/ 59 h 140"/>
                  <a:gd name="T64" fmla="*/ 24 w 214"/>
                  <a:gd name="T65" fmla="*/ 44 h 140"/>
                  <a:gd name="T66" fmla="*/ 25 w 214"/>
                  <a:gd name="T67" fmla="*/ 35 h 140"/>
                  <a:gd name="T68" fmla="*/ 26 w 214"/>
                  <a:gd name="T69" fmla="*/ 20 h 140"/>
                  <a:gd name="T70" fmla="*/ 49 w 214"/>
                  <a:gd name="T71" fmla="*/ 13 h 140"/>
                  <a:gd name="T72" fmla="*/ 73 w 214"/>
                  <a:gd name="T73" fmla="*/ 20 h 140"/>
                  <a:gd name="T74" fmla="*/ 90 w 214"/>
                  <a:gd name="T75" fmla="*/ 22 h 140"/>
                  <a:gd name="T76" fmla="*/ 108 w 214"/>
                  <a:gd name="T77" fmla="*/ 22 h 140"/>
                  <a:gd name="T78" fmla="*/ 121 w 214"/>
                  <a:gd name="T79" fmla="*/ 10 h 140"/>
                  <a:gd name="T80" fmla="*/ 142 w 214"/>
                  <a:gd name="T81" fmla="*/ 4 h 140"/>
                  <a:gd name="T82" fmla="*/ 167 w 214"/>
                  <a:gd name="T83" fmla="*/ 10 h 140"/>
                  <a:gd name="T84" fmla="*/ 168 w 214"/>
                  <a:gd name="T85" fmla="*/ 25 h 140"/>
                  <a:gd name="T86" fmla="*/ 201 w 214"/>
                  <a:gd name="T87" fmla="*/ 44 h 140"/>
                  <a:gd name="T88" fmla="*/ 221 w 214"/>
                  <a:gd name="T89" fmla="*/ 48 h 140"/>
                  <a:gd name="T90" fmla="*/ 244 w 214"/>
                  <a:gd name="T91" fmla="*/ 56 h 140"/>
                  <a:gd name="T92" fmla="*/ 256 w 214"/>
                  <a:gd name="T93" fmla="*/ 70 h 140"/>
                  <a:gd name="T94" fmla="*/ 250 w 214"/>
                  <a:gd name="T95" fmla="*/ 78 h 140"/>
                  <a:gd name="T96" fmla="*/ 255 w 214"/>
                  <a:gd name="T97" fmla="*/ 92 h 140"/>
                  <a:gd name="T98" fmla="*/ 232 w 214"/>
                  <a:gd name="T99" fmla="*/ 106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14"/>
                  <a:gd name="T151" fmla="*/ 0 h 140"/>
                  <a:gd name="T152" fmla="*/ 214 w 214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14" h="140">
                    <a:moveTo>
                      <a:pt x="195" y="95"/>
                    </a:moveTo>
                    <a:cubicBezTo>
                      <a:pt x="194" y="94"/>
                      <a:pt x="193" y="93"/>
                      <a:pt x="191" y="92"/>
                    </a:cubicBezTo>
                    <a:cubicBezTo>
                      <a:pt x="190" y="92"/>
                      <a:pt x="188" y="93"/>
                      <a:pt x="186" y="94"/>
                    </a:cubicBezTo>
                    <a:cubicBezTo>
                      <a:pt x="184" y="95"/>
                      <a:pt x="183" y="96"/>
                      <a:pt x="181" y="97"/>
                    </a:cubicBezTo>
                    <a:cubicBezTo>
                      <a:pt x="178" y="99"/>
                      <a:pt x="176" y="100"/>
                      <a:pt x="173" y="101"/>
                    </a:cubicBezTo>
                    <a:cubicBezTo>
                      <a:pt x="170" y="102"/>
                      <a:pt x="167" y="101"/>
                      <a:pt x="164" y="102"/>
                    </a:cubicBezTo>
                    <a:cubicBezTo>
                      <a:pt x="163" y="102"/>
                      <a:pt x="162" y="105"/>
                      <a:pt x="160" y="106"/>
                    </a:cubicBezTo>
                    <a:cubicBezTo>
                      <a:pt x="159" y="106"/>
                      <a:pt x="159" y="103"/>
                      <a:pt x="158" y="103"/>
                    </a:cubicBezTo>
                    <a:cubicBezTo>
                      <a:pt x="156" y="104"/>
                      <a:pt x="154" y="106"/>
                      <a:pt x="154" y="108"/>
                    </a:cubicBezTo>
                    <a:cubicBezTo>
                      <a:pt x="153" y="110"/>
                      <a:pt x="156" y="112"/>
                      <a:pt x="155" y="114"/>
                    </a:cubicBezTo>
                    <a:cubicBezTo>
                      <a:pt x="154" y="116"/>
                      <a:pt x="153" y="111"/>
                      <a:pt x="152" y="111"/>
                    </a:cubicBezTo>
                    <a:cubicBezTo>
                      <a:pt x="148" y="109"/>
                      <a:pt x="145" y="107"/>
                      <a:pt x="141" y="107"/>
                    </a:cubicBezTo>
                    <a:cubicBezTo>
                      <a:pt x="140" y="107"/>
                      <a:pt x="142" y="110"/>
                      <a:pt x="143" y="111"/>
                    </a:cubicBezTo>
                    <a:cubicBezTo>
                      <a:pt x="145" y="113"/>
                      <a:pt x="148" y="114"/>
                      <a:pt x="151" y="116"/>
                    </a:cubicBezTo>
                    <a:cubicBezTo>
                      <a:pt x="153" y="117"/>
                      <a:pt x="155" y="119"/>
                      <a:pt x="157" y="121"/>
                    </a:cubicBezTo>
                    <a:cubicBezTo>
                      <a:pt x="158" y="123"/>
                      <a:pt x="160" y="125"/>
                      <a:pt x="162" y="126"/>
                    </a:cubicBezTo>
                    <a:cubicBezTo>
                      <a:pt x="164" y="126"/>
                      <a:pt x="166" y="124"/>
                      <a:pt x="167" y="123"/>
                    </a:cubicBezTo>
                    <a:cubicBezTo>
                      <a:pt x="169" y="123"/>
                      <a:pt x="171" y="123"/>
                      <a:pt x="172" y="123"/>
                    </a:cubicBezTo>
                    <a:cubicBezTo>
                      <a:pt x="174" y="123"/>
                      <a:pt x="176" y="123"/>
                      <a:pt x="176" y="125"/>
                    </a:cubicBezTo>
                    <a:cubicBezTo>
                      <a:pt x="177" y="126"/>
                      <a:pt x="176" y="127"/>
                      <a:pt x="175" y="128"/>
                    </a:cubicBezTo>
                    <a:cubicBezTo>
                      <a:pt x="172" y="130"/>
                      <a:pt x="170" y="131"/>
                      <a:pt x="167" y="131"/>
                    </a:cubicBezTo>
                    <a:cubicBezTo>
                      <a:pt x="166" y="131"/>
                      <a:pt x="164" y="128"/>
                      <a:pt x="163" y="128"/>
                    </a:cubicBezTo>
                    <a:cubicBezTo>
                      <a:pt x="161" y="129"/>
                      <a:pt x="161" y="131"/>
                      <a:pt x="160" y="132"/>
                    </a:cubicBezTo>
                    <a:cubicBezTo>
                      <a:pt x="158" y="133"/>
                      <a:pt x="155" y="133"/>
                      <a:pt x="153" y="134"/>
                    </a:cubicBezTo>
                    <a:cubicBezTo>
                      <a:pt x="150" y="135"/>
                      <a:pt x="149" y="139"/>
                      <a:pt x="146" y="139"/>
                    </a:cubicBezTo>
                    <a:cubicBezTo>
                      <a:pt x="144" y="140"/>
                      <a:pt x="140" y="139"/>
                      <a:pt x="139" y="137"/>
                    </a:cubicBezTo>
                    <a:cubicBezTo>
                      <a:pt x="137" y="134"/>
                      <a:pt x="140" y="130"/>
                      <a:pt x="138" y="127"/>
                    </a:cubicBezTo>
                    <a:cubicBezTo>
                      <a:pt x="135" y="124"/>
                      <a:pt x="126" y="128"/>
                      <a:pt x="126" y="123"/>
                    </a:cubicBezTo>
                    <a:cubicBezTo>
                      <a:pt x="127" y="118"/>
                      <a:pt x="136" y="119"/>
                      <a:pt x="140" y="115"/>
                    </a:cubicBezTo>
                    <a:cubicBezTo>
                      <a:pt x="141" y="115"/>
                      <a:pt x="141" y="113"/>
                      <a:pt x="140" y="112"/>
                    </a:cubicBezTo>
                    <a:cubicBezTo>
                      <a:pt x="139" y="111"/>
                      <a:pt x="137" y="110"/>
                      <a:pt x="135" y="110"/>
                    </a:cubicBezTo>
                    <a:cubicBezTo>
                      <a:pt x="133" y="110"/>
                      <a:pt x="130" y="111"/>
                      <a:pt x="127" y="111"/>
                    </a:cubicBezTo>
                    <a:cubicBezTo>
                      <a:pt x="126" y="111"/>
                      <a:pt x="124" y="110"/>
                      <a:pt x="122" y="109"/>
                    </a:cubicBezTo>
                    <a:cubicBezTo>
                      <a:pt x="120" y="109"/>
                      <a:pt x="117" y="110"/>
                      <a:pt x="116" y="108"/>
                    </a:cubicBezTo>
                    <a:cubicBezTo>
                      <a:pt x="115" y="106"/>
                      <a:pt x="120" y="106"/>
                      <a:pt x="120" y="105"/>
                    </a:cubicBezTo>
                    <a:cubicBezTo>
                      <a:pt x="119" y="103"/>
                      <a:pt x="117" y="105"/>
                      <a:pt x="115" y="104"/>
                    </a:cubicBezTo>
                    <a:cubicBezTo>
                      <a:pt x="114" y="104"/>
                      <a:pt x="111" y="103"/>
                      <a:pt x="112" y="102"/>
                    </a:cubicBezTo>
                    <a:cubicBezTo>
                      <a:pt x="113" y="101"/>
                      <a:pt x="115" y="102"/>
                      <a:pt x="117" y="102"/>
                    </a:cubicBezTo>
                    <a:cubicBezTo>
                      <a:pt x="118" y="102"/>
                      <a:pt x="119" y="104"/>
                      <a:pt x="121" y="104"/>
                    </a:cubicBezTo>
                    <a:cubicBezTo>
                      <a:pt x="122" y="104"/>
                      <a:pt x="124" y="103"/>
                      <a:pt x="124" y="102"/>
                    </a:cubicBezTo>
                    <a:cubicBezTo>
                      <a:pt x="123" y="100"/>
                      <a:pt x="121" y="100"/>
                      <a:pt x="119" y="100"/>
                    </a:cubicBezTo>
                    <a:cubicBezTo>
                      <a:pt x="115" y="99"/>
                      <a:pt x="112" y="99"/>
                      <a:pt x="108" y="99"/>
                    </a:cubicBezTo>
                    <a:cubicBezTo>
                      <a:pt x="106" y="99"/>
                      <a:pt x="104" y="100"/>
                      <a:pt x="103" y="101"/>
                    </a:cubicBezTo>
                    <a:cubicBezTo>
                      <a:pt x="101" y="102"/>
                      <a:pt x="102" y="105"/>
                      <a:pt x="101" y="106"/>
                    </a:cubicBezTo>
                    <a:cubicBezTo>
                      <a:pt x="100" y="107"/>
                      <a:pt x="98" y="105"/>
                      <a:pt x="97" y="106"/>
                    </a:cubicBezTo>
                    <a:cubicBezTo>
                      <a:pt x="96" y="106"/>
                      <a:pt x="96" y="107"/>
                      <a:pt x="96" y="107"/>
                    </a:cubicBezTo>
                    <a:cubicBezTo>
                      <a:pt x="97" y="108"/>
                      <a:pt x="98" y="108"/>
                      <a:pt x="98" y="109"/>
                    </a:cubicBezTo>
                    <a:cubicBezTo>
                      <a:pt x="99" y="110"/>
                      <a:pt x="98" y="111"/>
                      <a:pt x="98" y="112"/>
                    </a:cubicBezTo>
                    <a:cubicBezTo>
                      <a:pt x="97" y="114"/>
                      <a:pt x="96" y="115"/>
                      <a:pt x="95" y="117"/>
                    </a:cubicBezTo>
                    <a:cubicBezTo>
                      <a:pt x="94" y="118"/>
                      <a:pt x="95" y="121"/>
                      <a:pt x="93" y="121"/>
                    </a:cubicBezTo>
                    <a:cubicBezTo>
                      <a:pt x="92" y="121"/>
                      <a:pt x="93" y="117"/>
                      <a:pt x="91" y="117"/>
                    </a:cubicBezTo>
                    <a:cubicBezTo>
                      <a:pt x="90" y="117"/>
                      <a:pt x="91" y="120"/>
                      <a:pt x="91" y="122"/>
                    </a:cubicBezTo>
                    <a:cubicBezTo>
                      <a:pt x="91" y="124"/>
                      <a:pt x="92" y="126"/>
                      <a:pt x="93" y="128"/>
                    </a:cubicBezTo>
                    <a:cubicBezTo>
                      <a:pt x="91" y="127"/>
                      <a:pt x="90" y="124"/>
                      <a:pt x="87" y="124"/>
                    </a:cubicBezTo>
                    <a:cubicBezTo>
                      <a:pt x="85" y="124"/>
                      <a:pt x="85" y="127"/>
                      <a:pt x="83" y="127"/>
                    </a:cubicBezTo>
                    <a:cubicBezTo>
                      <a:pt x="81" y="128"/>
                      <a:pt x="80" y="128"/>
                      <a:pt x="78" y="128"/>
                    </a:cubicBezTo>
                    <a:cubicBezTo>
                      <a:pt x="76" y="128"/>
                      <a:pt x="75" y="126"/>
                      <a:pt x="74" y="126"/>
                    </a:cubicBezTo>
                    <a:cubicBezTo>
                      <a:pt x="76" y="124"/>
                      <a:pt x="78" y="122"/>
                      <a:pt x="79" y="120"/>
                    </a:cubicBezTo>
                    <a:cubicBezTo>
                      <a:pt x="81" y="117"/>
                      <a:pt x="82" y="115"/>
                      <a:pt x="83" y="112"/>
                    </a:cubicBezTo>
                    <a:cubicBezTo>
                      <a:pt x="84" y="109"/>
                      <a:pt x="82" y="106"/>
                      <a:pt x="84" y="105"/>
                    </a:cubicBezTo>
                    <a:cubicBezTo>
                      <a:pt x="85" y="103"/>
                      <a:pt x="88" y="106"/>
                      <a:pt x="89" y="106"/>
                    </a:cubicBezTo>
                    <a:cubicBezTo>
                      <a:pt x="91" y="106"/>
                      <a:pt x="94" y="107"/>
                      <a:pt x="95" y="106"/>
                    </a:cubicBezTo>
                    <a:cubicBezTo>
                      <a:pt x="96" y="104"/>
                      <a:pt x="96" y="101"/>
                      <a:pt x="95" y="99"/>
                    </a:cubicBezTo>
                    <a:cubicBezTo>
                      <a:pt x="94" y="98"/>
                      <a:pt x="91" y="98"/>
                      <a:pt x="90" y="97"/>
                    </a:cubicBezTo>
                    <a:cubicBezTo>
                      <a:pt x="89" y="95"/>
                      <a:pt x="90" y="92"/>
                      <a:pt x="89" y="90"/>
                    </a:cubicBezTo>
                    <a:cubicBezTo>
                      <a:pt x="88" y="88"/>
                      <a:pt x="86" y="87"/>
                      <a:pt x="85" y="85"/>
                    </a:cubicBezTo>
                    <a:cubicBezTo>
                      <a:pt x="84" y="83"/>
                      <a:pt x="85" y="80"/>
                      <a:pt x="84" y="78"/>
                    </a:cubicBezTo>
                    <a:cubicBezTo>
                      <a:pt x="82" y="76"/>
                      <a:pt x="79" y="76"/>
                      <a:pt x="77" y="76"/>
                    </a:cubicBezTo>
                    <a:cubicBezTo>
                      <a:pt x="76" y="75"/>
                      <a:pt x="75" y="76"/>
                      <a:pt x="74" y="76"/>
                    </a:cubicBezTo>
                    <a:cubicBezTo>
                      <a:pt x="70" y="74"/>
                      <a:pt x="68" y="70"/>
                      <a:pt x="64" y="69"/>
                    </a:cubicBezTo>
                    <a:cubicBezTo>
                      <a:pt x="62" y="68"/>
                      <a:pt x="60" y="70"/>
                      <a:pt x="58" y="70"/>
                    </a:cubicBezTo>
                    <a:cubicBezTo>
                      <a:pt x="56" y="71"/>
                      <a:pt x="55" y="70"/>
                      <a:pt x="54" y="70"/>
                    </a:cubicBezTo>
                    <a:cubicBezTo>
                      <a:pt x="53" y="71"/>
                      <a:pt x="54" y="73"/>
                      <a:pt x="53" y="75"/>
                    </a:cubicBezTo>
                    <a:cubicBezTo>
                      <a:pt x="52" y="75"/>
                      <a:pt x="50" y="75"/>
                      <a:pt x="49" y="76"/>
                    </a:cubicBezTo>
                    <a:cubicBezTo>
                      <a:pt x="47" y="76"/>
                      <a:pt x="46" y="77"/>
                      <a:pt x="45" y="77"/>
                    </a:cubicBezTo>
                    <a:cubicBezTo>
                      <a:pt x="42" y="78"/>
                      <a:pt x="39" y="77"/>
                      <a:pt x="37" y="78"/>
                    </a:cubicBezTo>
                    <a:cubicBezTo>
                      <a:pt x="35" y="79"/>
                      <a:pt x="35" y="82"/>
                      <a:pt x="33" y="83"/>
                    </a:cubicBezTo>
                    <a:cubicBezTo>
                      <a:pt x="32" y="83"/>
                      <a:pt x="31" y="80"/>
                      <a:pt x="29" y="79"/>
                    </a:cubicBezTo>
                    <a:cubicBezTo>
                      <a:pt x="28" y="78"/>
                      <a:pt x="26" y="79"/>
                      <a:pt x="25" y="79"/>
                    </a:cubicBezTo>
                    <a:cubicBezTo>
                      <a:pt x="22" y="79"/>
                      <a:pt x="20" y="78"/>
                      <a:pt x="17" y="78"/>
                    </a:cubicBezTo>
                    <a:cubicBezTo>
                      <a:pt x="15" y="77"/>
                      <a:pt x="14" y="75"/>
                      <a:pt x="12" y="75"/>
                    </a:cubicBezTo>
                    <a:cubicBezTo>
                      <a:pt x="10" y="75"/>
                      <a:pt x="10" y="78"/>
                      <a:pt x="9" y="79"/>
                    </a:cubicBezTo>
                    <a:cubicBezTo>
                      <a:pt x="9" y="78"/>
                      <a:pt x="9" y="77"/>
                      <a:pt x="9" y="76"/>
                    </a:cubicBezTo>
                    <a:cubicBezTo>
                      <a:pt x="8" y="76"/>
                      <a:pt x="6" y="76"/>
                      <a:pt x="5" y="76"/>
                    </a:cubicBezTo>
                    <a:cubicBezTo>
                      <a:pt x="5" y="75"/>
                      <a:pt x="5" y="74"/>
                      <a:pt x="5" y="74"/>
                    </a:cubicBezTo>
                    <a:cubicBezTo>
                      <a:pt x="4" y="73"/>
                      <a:pt x="3" y="73"/>
                      <a:pt x="3" y="72"/>
                    </a:cubicBezTo>
                    <a:cubicBezTo>
                      <a:pt x="2" y="72"/>
                      <a:pt x="1" y="71"/>
                      <a:pt x="0" y="70"/>
                    </a:cubicBezTo>
                    <a:cubicBezTo>
                      <a:pt x="0" y="69"/>
                      <a:pt x="0" y="68"/>
                      <a:pt x="0" y="67"/>
                    </a:cubicBezTo>
                    <a:cubicBezTo>
                      <a:pt x="0" y="66"/>
                      <a:pt x="1" y="65"/>
                      <a:pt x="2" y="64"/>
                    </a:cubicBezTo>
                    <a:cubicBezTo>
                      <a:pt x="2" y="63"/>
                      <a:pt x="2" y="61"/>
                      <a:pt x="3" y="60"/>
                    </a:cubicBezTo>
                    <a:cubicBezTo>
                      <a:pt x="3" y="60"/>
                      <a:pt x="4" y="59"/>
                      <a:pt x="5" y="58"/>
                    </a:cubicBezTo>
                    <a:cubicBezTo>
                      <a:pt x="6" y="59"/>
                      <a:pt x="7" y="60"/>
                      <a:pt x="8" y="59"/>
                    </a:cubicBezTo>
                    <a:cubicBezTo>
                      <a:pt x="9" y="59"/>
                      <a:pt x="9" y="58"/>
                      <a:pt x="8" y="57"/>
                    </a:cubicBezTo>
                    <a:cubicBezTo>
                      <a:pt x="8" y="57"/>
                      <a:pt x="6" y="57"/>
                      <a:pt x="6" y="56"/>
                    </a:cubicBezTo>
                    <a:cubicBezTo>
                      <a:pt x="5" y="55"/>
                      <a:pt x="7" y="53"/>
                      <a:pt x="6" y="52"/>
                    </a:cubicBezTo>
                    <a:cubicBezTo>
                      <a:pt x="6" y="51"/>
                      <a:pt x="5" y="50"/>
                      <a:pt x="5" y="49"/>
                    </a:cubicBezTo>
                    <a:cubicBezTo>
                      <a:pt x="7" y="46"/>
                      <a:pt x="9" y="43"/>
                      <a:pt x="11" y="41"/>
                    </a:cubicBezTo>
                    <a:cubicBezTo>
                      <a:pt x="13" y="39"/>
                      <a:pt x="15" y="40"/>
                      <a:pt x="17" y="39"/>
                    </a:cubicBezTo>
                    <a:cubicBezTo>
                      <a:pt x="18" y="38"/>
                      <a:pt x="19" y="38"/>
                      <a:pt x="20" y="37"/>
                    </a:cubicBezTo>
                    <a:cubicBezTo>
                      <a:pt x="21" y="36"/>
                      <a:pt x="22" y="35"/>
                      <a:pt x="22" y="34"/>
                    </a:cubicBezTo>
                    <a:cubicBezTo>
                      <a:pt x="22" y="32"/>
                      <a:pt x="19" y="31"/>
                      <a:pt x="18" y="29"/>
                    </a:cubicBezTo>
                    <a:cubicBezTo>
                      <a:pt x="18" y="29"/>
                      <a:pt x="22" y="30"/>
                      <a:pt x="21" y="29"/>
                    </a:cubicBezTo>
                    <a:cubicBezTo>
                      <a:pt x="20" y="27"/>
                      <a:pt x="17" y="26"/>
                      <a:pt x="16" y="24"/>
                    </a:cubicBezTo>
                    <a:cubicBezTo>
                      <a:pt x="15" y="22"/>
                      <a:pt x="16" y="19"/>
                      <a:pt x="16" y="16"/>
                    </a:cubicBezTo>
                    <a:cubicBezTo>
                      <a:pt x="18" y="16"/>
                      <a:pt x="21" y="18"/>
                      <a:pt x="22" y="17"/>
                    </a:cubicBezTo>
                    <a:cubicBezTo>
                      <a:pt x="24" y="16"/>
                      <a:pt x="22" y="12"/>
                      <a:pt x="24" y="11"/>
                    </a:cubicBezTo>
                    <a:cubicBezTo>
                      <a:pt x="26" y="9"/>
                      <a:pt x="28" y="10"/>
                      <a:pt x="31" y="11"/>
                    </a:cubicBezTo>
                    <a:cubicBezTo>
                      <a:pt x="34" y="11"/>
                      <a:pt x="38" y="11"/>
                      <a:pt x="41" y="11"/>
                    </a:cubicBezTo>
                    <a:cubicBezTo>
                      <a:pt x="43" y="12"/>
                      <a:pt x="45" y="13"/>
                      <a:pt x="47" y="13"/>
                    </a:cubicBezTo>
                    <a:cubicBezTo>
                      <a:pt x="49" y="13"/>
                      <a:pt x="51" y="12"/>
                      <a:pt x="53" y="13"/>
                    </a:cubicBezTo>
                    <a:cubicBezTo>
                      <a:pt x="56" y="14"/>
                      <a:pt x="59" y="15"/>
                      <a:pt x="61" y="17"/>
                    </a:cubicBezTo>
                    <a:cubicBezTo>
                      <a:pt x="62" y="17"/>
                      <a:pt x="63" y="19"/>
                      <a:pt x="64" y="19"/>
                    </a:cubicBezTo>
                    <a:cubicBezTo>
                      <a:pt x="66" y="19"/>
                      <a:pt x="68" y="17"/>
                      <a:pt x="70" y="17"/>
                    </a:cubicBezTo>
                    <a:cubicBezTo>
                      <a:pt x="72" y="17"/>
                      <a:pt x="73" y="18"/>
                      <a:pt x="75" y="18"/>
                    </a:cubicBezTo>
                    <a:cubicBezTo>
                      <a:pt x="77" y="18"/>
                      <a:pt x="78" y="17"/>
                      <a:pt x="80" y="17"/>
                    </a:cubicBezTo>
                    <a:cubicBezTo>
                      <a:pt x="82" y="17"/>
                      <a:pt x="83" y="18"/>
                      <a:pt x="85" y="18"/>
                    </a:cubicBezTo>
                    <a:cubicBezTo>
                      <a:pt x="87" y="18"/>
                      <a:pt x="88" y="17"/>
                      <a:pt x="90" y="18"/>
                    </a:cubicBezTo>
                    <a:cubicBezTo>
                      <a:pt x="92" y="18"/>
                      <a:pt x="94" y="21"/>
                      <a:pt x="95" y="20"/>
                    </a:cubicBezTo>
                    <a:cubicBezTo>
                      <a:pt x="97" y="19"/>
                      <a:pt x="97" y="16"/>
                      <a:pt x="98" y="14"/>
                    </a:cubicBezTo>
                    <a:cubicBezTo>
                      <a:pt x="99" y="12"/>
                      <a:pt x="99" y="10"/>
                      <a:pt x="101" y="8"/>
                    </a:cubicBezTo>
                    <a:cubicBezTo>
                      <a:pt x="103" y="6"/>
                      <a:pt x="107" y="6"/>
                      <a:pt x="109" y="5"/>
                    </a:cubicBezTo>
                    <a:cubicBezTo>
                      <a:pt x="112" y="6"/>
                      <a:pt x="113" y="8"/>
                      <a:pt x="116" y="7"/>
                    </a:cubicBezTo>
                    <a:cubicBezTo>
                      <a:pt x="117" y="7"/>
                      <a:pt x="117" y="4"/>
                      <a:pt x="118" y="3"/>
                    </a:cubicBezTo>
                    <a:cubicBezTo>
                      <a:pt x="122" y="2"/>
                      <a:pt x="125" y="2"/>
                      <a:pt x="129" y="2"/>
                    </a:cubicBezTo>
                    <a:cubicBezTo>
                      <a:pt x="132" y="2"/>
                      <a:pt x="136" y="0"/>
                      <a:pt x="138" y="2"/>
                    </a:cubicBezTo>
                    <a:cubicBezTo>
                      <a:pt x="140" y="3"/>
                      <a:pt x="138" y="6"/>
                      <a:pt x="139" y="8"/>
                    </a:cubicBezTo>
                    <a:cubicBezTo>
                      <a:pt x="140" y="10"/>
                      <a:pt x="144" y="12"/>
                      <a:pt x="144" y="14"/>
                    </a:cubicBezTo>
                    <a:cubicBezTo>
                      <a:pt x="144" y="16"/>
                      <a:pt x="141" y="16"/>
                      <a:pt x="140" y="17"/>
                    </a:cubicBezTo>
                    <a:cubicBezTo>
                      <a:pt x="140" y="18"/>
                      <a:pt x="139" y="21"/>
                      <a:pt x="140" y="21"/>
                    </a:cubicBezTo>
                    <a:cubicBezTo>
                      <a:pt x="144" y="23"/>
                      <a:pt x="150" y="20"/>
                      <a:pt x="154" y="23"/>
                    </a:cubicBezTo>
                    <a:cubicBezTo>
                      <a:pt x="157" y="26"/>
                      <a:pt x="155" y="33"/>
                      <a:pt x="158" y="37"/>
                    </a:cubicBezTo>
                    <a:cubicBezTo>
                      <a:pt x="160" y="39"/>
                      <a:pt x="164" y="37"/>
                      <a:pt x="167" y="37"/>
                    </a:cubicBezTo>
                    <a:cubicBezTo>
                      <a:pt x="170" y="37"/>
                      <a:pt x="174" y="37"/>
                      <a:pt x="177" y="36"/>
                    </a:cubicBezTo>
                    <a:cubicBezTo>
                      <a:pt x="178" y="35"/>
                      <a:pt x="178" y="31"/>
                      <a:pt x="179" y="32"/>
                    </a:cubicBezTo>
                    <a:cubicBezTo>
                      <a:pt x="182" y="34"/>
                      <a:pt x="182" y="38"/>
                      <a:pt x="184" y="40"/>
                    </a:cubicBezTo>
                    <a:cubicBezTo>
                      <a:pt x="186" y="42"/>
                      <a:pt x="188" y="44"/>
                      <a:pt x="191" y="44"/>
                    </a:cubicBezTo>
                    <a:cubicBezTo>
                      <a:pt x="192" y="44"/>
                      <a:pt x="192" y="41"/>
                      <a:pt x="193" y="42"/>
                    </a:cubicBezTo>
                    <a:cubicBezTo>
                      <a:pt x="197" y="43"/>
                      <a:pt x="199" y="45"/>
                      <a:pt x="203" y="47"/>
                    </a:cubicBezTo>
                    <a:cubicBezTo>
                      <a:pt x="205" y="48"/>
                      <a:pt x="207" y="51"/>
                      <a:pt x="210" y="51"/>
                    </a:cubicBezTo>
                    <a:cubicBezTo>
                      <a:pt x="211" y="52"/>
                      <a:pt x="213" y="49"/>
                      <a:pt x="213" y="50"/>
                    </a:cubicBezTo>
                    <a:cubicBezTo>
                      <a:pt x="214" y="53"/>
                      <a:pt x="214" y="56"/>
                      <a:pt x="213" y="58"/>
                    </a:cubicBezTo>
                    <a:cubicBezTo>
                      <a:pt x="212" y="60"/>
                      <a:pt x="209" y="59"/>
                      <a:pt x="208" y="61"/>
                    </a:cubicBezTo>
                    <a:cubicBezTo>
                      <a:pt x="208" y="63"/>
                      <a:pt x="212" y="63"/>
                      <a:pt x="212" y="64"/>
                    </a:cubicBezTo>
                    <a:cubicBezTo>
                      <a:pt x="212" y="66"/>
                      <a:pt x="209" y="64"/>
                      <a:pt x="208" y="65"/>
                    </a:cubicBezTo>
                    <a:cubicBezTo>
                      <a:pt x="207" y="66"/>
                      <a:pt x="207" y="69"/>
                      <a:pt x="208" y="70"/>
                    </a:cubicBezTo>
                    <a:cubicBezTo>
                      <a:pt x="209" y="71"/>
                      <a:pt x="211" y="69"/>
                      <a:pt x="211" y="70"/>
                    </a:cubicBezTo>
                    <a:cubicBezTo>
                      <a:pt x="213" y="72"/>
                      <a:pt x="213" y="75"/>
                      <a:pt x="212" y="77"/>
                    </a:cubicBezTo>
                    <a:cubicBezTo>
                      <a:pt x="212" y="79"/>
                      <a:pt x="211" y="81"/>
                      <a:pt x="209" y="81"/>
                    </a:cubicBezTo>
                    <a:cubicBezTo>
                      <a:pt x="205" y="82"/>
                      <a:pt x="201" y="80"/>
                      <a:pt x="198" y="81"/>
                    </a:cubicBezTo>
                    <a:cubicBezTo>
                      <a:pt x="195" y="82"/>
                      <a:pt x="193" y="85"/>
                      <a:pt x="193" y="88"/>
                    </a:cubicBezTo>
                    <a:cubicBezTo>
                      <a:pt x="192" y="90"/>
                      <a:pt x="194" y="91"/>
                      <a:pt x="195" y="93"/>
                    </a:cubicBezTo>
                    <a:cubicBezTo>
                      <a:pt x="195" y="94"/>
                      <a:pt x="195" y="95"/>
                      <a:pt x="195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1" name="Freeform 2602"/>
              <p:cNvSpPr>
                <a:spLocks noChangeAspect="1"/>
              </p:cNvSpPr>
              <p:nvPr/>
            </p:nvSpPr>
            <p:spPr bwMode="auto">
              <a:xfrm>
                <a:off x="5541198" y="2341846"/>
                <a:ext cx="958455" cy="500232"/>
              </a:xfrm>
              <a:custGeom>
                <a:avLst/>
                <a:gdLst>
                  <a:gd name="T0" fmla="*/ 579 w 488"/>
                  <a:gd name="T1" fmla="*/ 153 h 256"/>
                  <a:gd name="T2" fmla="*/ 564 w 488"/>
                  <a:gd name="T3" fmla="*/ 183 h 256"/>
                  <a:gd name="T4" fmla="*/ 528 w 488"/>
                  <a:gd name="T5" fmla="*/ 213 h 256"/>
                  <a:gd name="T6" fmla="*/ 509 w 488"/>
                  <a:gd name="T7" fmla="*/ 221 h 256"/>
                  <a:gd name="T8" fmla="*/ 500 w 488"/>
                  <a:gd name="T9" fmla="*/ 232 h 256"/>
                  <a:gd name="T10" fmla="*/ 504 w 488"/>
                  <a:gd name="T11" fmla="*/ 277 h 256"/>
                  <a:gd name="T12" fmla="*/ 488 w 488"/>
                  <a:gd name="T13" fmla="*/ 268 h 256"/>
                  <a:gd name="T14" fmla="*/ 444 w 488"/>
                  <a:gd name="T15" fmla="*/ 265 h 256"/>
                  <a:gd name="T16" fmla="*/ 409 w 488"/>
                  <a:gd name="T17" fmla="*/ 260 h 256"/>
                  <a:gd name="T18" fmla="*/ 382 w 488"/>
                  <a:gd name="T19" fmla="*/ 269 h 256"/>
                  <a:gd name="T20" fmla="*/ 358 w 488"/>
                  <a:gd name="T21" fmla="*/ 283 h 256"/>
                  <a:gd name="T22" fmla="*/ 330 w 488"/>
                  <a:gd name="T23" fmla="*/ 298 h 256"/>
                  <a:gd name="T24" fmla="*/ 303 w 488"/>
                  <a:gd name="T25" fmla="*/ 291 h 256"/>
                  <a:gd name="T26" fmla="*/ 295 w 488"/>
                  <a:gd name="T27" fmla="*/ 268 h 256"/>
                  <a:gd name="T28" fmla="*/ 271 w 488"/>
                  <a:gd name="T29" fmla="*/ 254 h 256"/>
                  <a:gd name="T30" fmla="*/ 184 w 488"/>
                  <a:gd name="T31" fmla="*/ 208 h 256"/>
                  <a:gd name="T32" fmla="*/ 148 w 488"/>
                  <a:gd name="T33" fmla="*/ 297 h 256"/>
                  <a:gd name="T34" fmla="*/ 121 w 488"/>
                  <a:gd name="T35" fmla="*/ 276 h 256"/>
                  <a:gd name="T36" fmla="*/ 98 w 488"/>
                  <a:gd name="T37" fmla="*/ 278 h 256"/>
                  <a:gd name="T38" fmla="*/ 86 w 488"/>
                  <a:gd name="T39" fmla="*/ 260 h 256"/>
                  <a:gd name="T40" fmla="*/ 64 w 488"/>
                  <a:gd name="T41" fmla="*/ 233 h 256"/>
                  <a:gd name="T42" fmla="*/ 73 w 488"/>
                  <a:gd name="T43" fmla="*/ 224 h 256"/>
                  <a:gd name="T44" fmla="*/ 98 w 488"/>
                  <a:gd name="T45" fmla="*/ 208 h 256"/>
                  <a:gd name="T46" fmla="*/ 89 w 488"/>
                  <a:gd name="T47" fmla="*/ 185 h 256"/>
                  <a:gd name="T48" fmla="*/ 42 w 488"/>
                  <a:gd name="T49" fmla="*/ 195 h 256"/>
                  <a:gd name="T50" fmla="*/ 38 w 488"/>
                  <a:gd name="T51" fmla="*/ 184 h 256"/>
                  <a:gd name="T52" fmla="*/ 11 w 488"/>
                  <a:gd name="T53" fmla="*/ 164 h 256"/>
                  <a:gd name="T54" fmla="*/ 8 w 488"/>
                  <a:gd name="T55" fmla="*/ 136 h 256"/>
                  <a:gd name="T56" fmla="*/ 11 w 488"/>
                  <a:gd name="T57" fmla="*/ 106 h 256"/>
                  <a:gd name="T58" fmla="*/ 31 w 488"/>
                  <a:gd name="T59" fmla="*/ 114 h 256"/>
                  <a:gd name="T60" fmla="*/ 38 w 488"/>
                  <a:gd name="T61" fmla="*/ 93 h 256"/>
                  <a:gd name="T62" fmla="*/ 64 w 488"/>
                  <a:gd name="T63" fmla="*/ 85 h 256"/>
                  <a:gd name="T64" fmla="*/ 92 w 488"/>
                  <a:gd name="T65" fmla="*/ 84 h 256"/>
                  <a:gd name="T66" fmla="*/ 115 w 488"/>
                  <a:gd name="T67" fmla="*/ 105 h 256"/>
                  <a:gd name="T68" fmla="*/ 148 w 488"/>
                  <a:gd name="T69" fmla="*/ 94 h 256"/>
                  <a:gd name="T70" fmla="*/ 169 w 488"/>
                  <a:gd name="T71" fmla="*/ 101 h 256"/>
                  <a:gd name="T72" fmla="*/ 209 w 488"/>
                  <a:gd name="T73" fmla="*/ 95 h 256"/>
                  <a:gd name="T74" fmla="*/ 199 w 488"/>
                  <a:gd name="T75" fmla="*/ 69 h 256"/>
                  <a:gd name="T76" fmla="*/ 208 w 488"/>
                  <a:gd name="T77" fmla="*/ 51 h 256"/>
                  <a:gd name="T78" fmla="*/ 197 w 488"/>
                  <a:gd name="T79" fmla="*/ 35 h 256"/>
                  <a:gd name="T80" fmla="*/ 257 w 488"/>
                  <a:gd name="T81" fmla="*/ 26 h 256"/>
                  <a:gd name="T82" fmla="*/ 298 w 488"/>
                  <a:gd name="T83" fmla="*/ 4 h 256"/>
                  <a:gd name="T84" fmla="*/ 337 w 488"/>
                  <a:gd name="T85" fmla="*/ 17 h 256"/>
                  <a:gd name="T86" fmla="*/ 351 w 488"/>
                  <a:gd name="T87" fmla="*/ 26 h 256"/>
                  <a:gd name="T88" fmla="*/ 364 w 488"/>
                  <a:gd name="T89" fmla="*/ 34 h 256"/>
                  <a:gd name="T90" fmla="*/ 377 w 488"/>
                  <a:gd name="T91" fmla="*/ 42 h 256"/>
                  <a:gd name="T92" fmla="*/ 420 w 488"/>
                  <a:gd name="T93" fmla="*/ 25 h 256"/>
                  <a:gd name="T94" fmla="*/ 478 w 488"/>
                  <a:gd name="T95" fmla="*/ 101 h 256"/>
                  <a:gd name="T96" fmla="*/ 494 w 488"/>
                  <a:gd name="T97" fmla="*/ 97 h 256"/>
                  <a:gd name="T98" fmla="*/ 515 w 488"/>
                  <a:gd name="T99" fmla="*/ 103 h 256"/>
                  <a:gd name="T100" fmla="*/ 551 w 488"/>
                  <a:gd name="T101" fmla="*/ 115 h 256"/>
                  <a:gd name="T102" fmla="*/ 575 w 488"/>
                  <a:gd name="T103" fmla="*/ 122 h 2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88"/>
                  <a:gd name="T157" fmla="*/ 0 h 256"/>
                  <a:gd name="T158" fmla="*/ 488 w 488"/>
                  <a:gd name="T159" fmla="*/ 256 h 25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88" h="256">
                    <a:moveTo>
                      <a:pt x="488" y="114"/>
                    </a:moveTo>
                    <a:cubicBezTo>
                      <a:pt x="486" y="115"/>
                      <a:pt x="484" y="115"/>
                      <a:pt x="483" y="117"/>
                    </a:cubicBezTo>
                    <a:cubicBezTo>
                      <a:pt x="482" y="119"/>
                      <a:pt x="483" y="120"/>
                      <a:pt x="483" y="122"/>
                    </a:cubicBezTo>
                    <a:cubicBezTo>
                      <a:pt x="483" y="124"/>
                      <a:pt x="484" y="126"/>
                      <a:pt x="482" y="127"/>
                    </a:cubicBezTo>
                    <a:cubicBezTo>
                      <a:pt x="480" y="128"/>
                      <a:pt x="475" y="125"/>
                      <a:pt x="473" y="127"/>
                    </a:cubicBezTo>
                    <a:cubicBezTo>
                      <a:pt x="471" y="130"/>
                      <a:pt x="471" y="135"/>
                      <a:pt x="472" y="138"/>
                    </a:cubicBezTo>
                    <a:cubicBezTo>
                      <a:pt x="472" y="142"/>
                      <a:pt x="475" y="145"/>
                      <a:pt x="475" y="149"/>
                    </a:cubicBezTo>
                    <a:cubicBezTo>
                      <a:pt x="474" y="151"/>
                      <a:pt x="472" y="151"/>
                      <a:pt x="470" y="152"/>
                    </a:cubicBezTo>
                    <a:cubicBezTo>
                      <a:pt x="466" y="153"/>
                      <a:pt x="461" y="154"/>
                      <a:pt x="457" y="153"/>
                    </a:cubicBezTo>
                    <a:cubicBezTo>
                      <a:pt x="453" y="153"/>
                      <a:pt x="448" y="148"/>
                      <a:pt x="444" y="150"/>
                    </a:cubicBezTo>
                    <a:cubicBezTo>
                      <a:pt x="440" y="152"/>
                      <a:pt x="441" y="158"/>
                      <a:pt x="441" y="162"/>
                    </a:cubicBezTo>
                    <a:cubicBezTo>
                      <a:pt x="440" y="167"/>
                      <a:pt x="439" y="172"/>
                      <a:pt x="440" y="177"/>
                    </a:cubicBezTo>
                    <a:cubicBezTo>
                      <a:pt x="440" y="180"/>
                      <a:pt x="443" y="181"/>
                      <a:pt x="443" y="183"/>
                    </a:cubicBezTo>
                    <a:cubicBezTo>
                      <a:pt x="442" y="184"/>
                      <a:pt x="440" y="184"/>
                      <a:pt x="439" y="184"/>
                    </a:cubicBezTo>
                    <a:cubicBezTo>
                      <a:pt x="437" y="183"/>
                      <a:pt x="435" y="181"/>
                      <a:pt x="432" y="181"/>
                    </a:cubicBezTo>
                    <a:cubicBezTo>
                      <a:pt x="429" y="181"/>
                      <a:pt x="427" y="184"/>
                      <a:pt x="424" y="184"/>
                    </a:cubicBezTo>
                    <a:cubicBezTo>
                      <a:pt x="420" y="185"/>
                      <a:pt x="416" y="185"/>
                      <a:pt x="413" y="186"/>
                    </a:cubicBezTo>
                    <a:cubicBezTo>
                      <a:pt x="412" y="186"/>
                      <a:pt x="409" y="187"/>
                      <a:pt x="410" y="188"/>
                    </a:cubicBezTo>
                    <a:cubicBezTo>
                      <a:pt x="412" y="190"/>
                      <a:pt x="415" y="188"/>
                      <a:pt x="416" y="190"/>
                    </a:cubicBezTo>
                    <a:cubicBezTo>
                      <a:pt x="417" y="190"/>
                      <a:pt x="416" y="192"/>
                      <a:pt x="416" y="193"/>
                    </a:cubicBezTo>
                    <a:cubicBezTo>
                      <a:pt x="416" y="196"/>
                      <a:pt x="416" y="200"/>
                      <a:pt x="417" y="203"/>
                    </a:cubicBezTo>
                    <a:cubicBezTo>
                      <a:pt x="419" y="208"/>
                      <a:pt x="423" y="211"/>
                      <a:pt x="424" y="216"/>
                    </a:cubicBezTo>
                    <a:cubicBezTo>
                      <a:pt x="424" y="219"/>
                      <a:pt x="420" y="221"/>
                      <a:pt x="419" y="223"/>
                    </a:cubicBezTo>
                    <a:cubicBezTo>
                      <a:pt x="419" y="225"/>
                      <a:pt x="419" y="228"/>
                      <a:pt x="420" y="230"/>
                    </a:cubicBezTo>
                    <a:cubicBezTo>
                      <a:pt x="419" y="230"/>
                      <a:pt x="418" y="230"/>
                      <a:pt x="417" y="229"/>
                    </a:cubicBezTo>
                    <a:cubicBezTo>
                      <a:pt x="415" y="229"/>
                      <a:pt x="412" y="229"/>
                      <a:pt x="410" y="227"/>
                    </a:cubicBezTo>
                    <a:cubicBezTo>
                      <a:pt x="409" y="226"/>
                      <a:pt x="410" y="224"/>
                      <a:pt x="409" y="223"/>
                    </a:cubicBezTo>
                    <a:cubicBezTo>
                      <a:pt x="408" y="222"/>
                      <a:pt x="407" y="223"/>
                      <a:pt x="406" y="223"/>
                    </a:cubicBezTo>
                    <a:cubicBezTo>
                      <a:pt x="404" y="223"/>
                      <a:pt x="402" y="221"/>
                      <a:pt x="400" y="221"/>
                    </a:cubicBezTo>
                    <a:cubicBezTo>
                      <a:pt x="397" y="220"/>
                      <a:pt x="394" y="221"/>
                      <a:pt x="390" y="221"/>
                    </a:cubicBezTo>
                    <a:cubicBezTo>
                      <a:pt x="386" y="221"/>
                      <a:pt x="383" y="221"/>
                      <a:pt x="379" y="220"/>
                    </a:cubicBezTo>
                    <a:cubicBezTo>
                      <a:pt x="376" y="220"/>
                      <a:pt x="373" y="220"/>
                      <a:pt x="370" y="220"/>
                    </a:cubicBezTo>
                    <a:cubicBezTo>
                      <a:pt x="369" y="220"/>
                      <a:pt x="369" y="222"/>
                      <a:pt x="369" y="222"/>
                    </a:cubicBezTo>
                    <a:cubicBezTo>
                      <a:pt x="365" y="222"/>
                      <a:pt x="361" y="221"/>
                      <a:pt x="358" y="220"/>
                    </a:cubicBezTo>
                    <a:cubicBezTo>
                      <a:pt x="354" y="219"/>
                      <a:pt x="351" y="216"/>
                      <a:pt x="348" y="215"/>
                    </a:cubicBezTo>
                    <a:cubicBezTo>
                      <a:pt x="346" y="214"/>
                      <a:pt x="343" y="215"/>
                      <a:pt x="341" y="216"/>
                    </a:cubicBezTo>
                    <a:cubicBezTo>
                      <a:pt x="339" y="216"/>
                      <a:pt x="337" y="217"/>
                      <a:pt x="337" y="219"/>
                    </a:cubicBezTo>
                    <a:cubicBezTo>
                      <a:pt x="336" y="221"/>
                      <a:pt x="338" y="224"/>
                      <a:pt x="337" y="227"/>
                    </a:cubicBezTo>
                    <a:cubicBezTo>
                      <a:pt x="336" y="228"/>
                      <a:pt x="334" y="228"/>
                      <a:pt x="332" y="228"/>
                    </a:cubicBezTo>
                    <a:cubicBezTo>
                      <a:pt x="327" y="227"/>
                      <a:pt x="323" y="225"/>
                      <a:pt x="318" y="224"/>
                    </a:cubicBezTo>
                    <a:cubicBezTo>
                      <a:pt x="317" y="224"/>
                      <a:pt x="315" y="224"/>
                      <a:pt x="313" y="225"/>
                    </a:cubicBezTo>
                    <a:cubicBezTo>
                      <a:pt x="311" y="226"/>
                      <a:pt x="309" y="228"/>
                      <a:pt x="307" y="230"/>
                    </a:cubicBezTo>
                    <a:cubicBezTo>
                      <a:pt x="305" y="233"/>
                      <a:pt x="304" y="236"/>
                      <a:pt x="301" y="238"/>
                    </a:cubicBezTo>
                    <a:cubicBezTo>
                      <a:pt x="300" y="239"/>
                      <a:pt x="299" y="235"/>
                      <a:pt x="298" y="235"/>
                    </a:cubicBezTo>
                    <a:cubicBezTo>
                      <a:pt x="295" y="236"/>
                      <a:pt x="294" y="239"/>
                      <a:pt x="292" y="241"/>
                    </a:cubicBezTo>
                    <a:cubicBezTo>
                      <a:pt x="289" y="246"/>
                      <a:pt x="287" y="252"/>
                      <a:pt x="282" y="255"/>
                    </a:cubicBezTo>
                    <a:cubicBezTo>
                      <a:pt x="280" y="256"/>
                      <a:pt x="277" y="255"/>
                      <a:pt x="275" y="253"/>
                    </a:cubicBezTo>
                    <a:cubicBezTo>
                      <a:pt x="274" y="252"/>
                      <a:pt x="277" y="249"/>
                      <a:pt x="275" y="248"/>
                    </a:cubicBezTo>
                    <a:cubicBezTo>
                      <a:pt x="274" y="247"/>
                      <a:pt x="271" y="249"/>
                      <a:pt x="269" y="249"/>
                    </a:cubicBezTo>
                    <a:cubicBezTo>
                      <a:pt x="266" y="250"/>
                      <a:pt x="262" y="251"/>
                      <a:pt x="258" y="250"/>
                    </a:cubicBezTo>
                    <a:cubicBezTo>
                      <a:pt x="257" y="250"/>
                      <a:pt x="255" y="249"/>
                      <a:pt x="254" y="248"/>
                    </a:cubicBezTo>
                    <a:cubicBezTo>
                      <a:pt x="253" y="246"/>
                      <a:pt x="254" y="243"/>
                      <a:pt x="252" y="242"/>
                    </a:cubicBezTo>
                    <a:cubicBezTo>
                      <a:pt x="251" y="241"/>
                      <a:pt x="248" y="243"/>
                      <a:pt x="247" y="242"/>
                    </a:cubicBezTo>
                    <a:cubicBezTo>
                      <a:pt x="245" y="240"/>
                      <a:pt x="245" y="236"/>
                      <a:pt x="245" y="233"/>
                    </a:cubicBezTo>
                    <a:cubicBezTo>
                      <a:pt x="245" y="232"/>
                      <a:pt x="247" y="231"/>
                      <a:pt x="247" y="229"/>
                    </a:cubicBezTo>
                    <a:cubicBezTo>
                      <a:pt x="247" y="227"/>
                      <a:pt x="247" y="225"/>
                      <a:pt x="246" y="223"/>
                    </a:cubicBezTo>
                    <a:cubicBezTo>
                      <a:pt x="244" y="220"/>
                      <a:pt x="243" y="216"/>
                      <a:pt x="240" y="213"/>
                    </a:cubicBezTo>
                    <a:cubicBezTo>
                      <a:pt x="239" y="212"/>
                      <a:pt x="237" y="214"/>
                      <a:pt x="236" y="213"/>
                    </a:cubicBezTo>
                    <a:cubicBezTo>
                      <a:pt x="234" y="212"/>
                      <a:pt x="236" y="208"/>
                      <a:pt x="234" y="207"/>
                    </a:cubicBezTo>
                    <a:cubicBezTo>
                      <a:pt x="231" y="207"/>
                      <a:pt x="229" y="212"/>
                      <a:pt x="226" y="211"/>
                    </a:cubicBezTo>
                    <a:lnTo>
                      <a:pt x="204" y="209"/>
                    </a:lnTo>
                    <a:cubicBezTo>
                      <a:pt x="200" y="210"/>
                      <a:pt x="196" y="211"/>
                      <a:pt x="193" y="212"/>
                    </a:cubicBezTo>
                    <a:cubicBezTo>
                      <a:pt x="190" y="207"/>
                      <a:pt x="188" y="202"/>
                      <a:pt x="185" y="197"/>
                    </a:cubicBezTo>
                    <a:cubicBezTo>
                      <a:pt x="175" y="189"/>
                      <a:pt x="164" y="181"/>
                      <a:pt x="153" y="173"/>
                    </a:cubicBezTo>
                    <a:cubicBezTo>
                      <a:pt x="148" y="174"/>
                      <a:pt x="143" y="175"/>
                      <a:pt x="138" y="176"/>
                    </a:cubicBezTo>
                    <a:cubicBezTo>
                      <a:pt x="133" y="178"/>
                      <a:pt x="128" y="180"/>
                      <a:pt x="123" y="182"/>
                    </a:cubicBezTo>
                    <a:cubicBezTo>
                      <a:pt x="124" y="203"/>
                      <a:pt x="126" y="225"/>
                      <a:pt x="127" y="246"/>
                    </a:cubicBezTo>
                    <a:cubicBezTo>
                      <a:pt x="126" y="247"/>
                      <a:pt x="125" y="247"/>
                      <a:pt x="123" y="247"/>
                    </a:cubicBezTo>
                    <a:cubicBezTo>
                      <a:pt x="122" y="247"/>
                      <a:pt x="120" y="248"/>
                      <a:pt x="119" y="247"/>
                    </a:cubicBezTo>
                    <a:cubicBezTo>
                      <a:pt x="116" y="245"/>
                      <a:pt x="115" y="242"/>
                      <a:pt x="114" y="240"/>
                    </a:cubicBezTo>
                    <a:cubicBezTo>
                      <a:pt x="112" y="237"/>
                      <a:pt x="112" y="234"/>
                      <a:pt x="110" y="232"/>
                    </a:cubicBezTo>
                    <a:cubicBezTo>
                      <a:pt x="108" y="230"/>
                      <a:pt x="104" y="230"/>
                      <a:pt x="101" y="229"/>
                    </a:cubicBezTo>
                    <a:cubicBezTo>
                      <a:pt x="99" y="229"/>
                      <a:pt x="96" y="229"/>
                      <a:pt x="94" y="229"/>
                    </a:cubicBezTo>
                    <a:cubicBezTo>
                      <a:pt x="91" y="230"/>
                      <a:pt x="89" y="232"/>
                      <a:pt x="88" y="234"/>
                    </a:cubicBezTo>
                    <a:cubicBezTo>
                      <a:pt x="86" y="235"/>
                      <a:pt x="86" y="237"/>
                      <a:pt x="85" y="239"/>
                    </a:cubicBezTo>
                    <a:cubicBezTo>
                      <a:pt x="84" y="236"/>
                      <a:pt x="81" y="234"/>
                      <a:pt x="82" y="231"/>
                    </a:cubicBezTo>
                    <a:cubicBezTo>
                      <a:pt x="82" y="228"/>
                      <a:pt x="86" y="227"/>
                      <a:pt x="86" y="224"/>
                    </a:cubicBezTo>
                    <a:cubicBezTo>
                      <a:pt x="86" y="222"/>
                      <a:pt x="84" y="222"/>
                      <a:pt x="82" y="221"/>
                    </a:cubicBezTo>
                    <a:cubicBezTo>
                      <a:pt x="80" y="221"/>
                      <a:pt x="77" y="221"/>
                      <a:pt x="75" y="220"/>
                    </a:cubicBezTo>
                    <a:cubicBezTo>
                      <a:pt x="73" y="219"/>
                      <a:pt x="74" y="217"/>
                      <a:pt x="72" y="216"/>
                    </a:cubicBezTo>
                    <a:cubicBezTo>
                      <a:pt x="71" y="215"/>
                      <a:pt x="69" y="216"/>
                      <a:pt x="68" y="215"/>
                    </a:cubicBezTo>
                    <a:cubicBezTo>
                      <a:pt x="66" y="213"/>
                      <a:pt x="68" y="211"/>
                      <a:pt x="68" y="209"/>
                    </a:cubicBezTo>
                    <a:cubicBezTo>
                      <a:pt x="66" y="205"/>
                      <a:pt x="64" y="201"/>
                      <a:pt x="61" y="198"/>
                    </a:cubicBezTo>
                    <a:cubicBezTo>
                      <a:pt x="59" y="195"/>
                      <a:pt x="55" y="196"/>
                      <a:pt x="53" y="194"/>
                    </a:cubicBezTo>
                    <a:cubicBezTo>
                      <a:pt x="52" y="192"/>
                      <a:pt x="55" y="190"/>
                      <a:pt x="56" y="190"/>
                    </a:cubicBezTo>
                    <a:cubicBezTo>
                      <a:pt x="59" y="189"/>
                      <a:pt x="62" y="191"/>
                      <a:pt x="65" y="192"/>
                    </a:cubicBezTo>
                    <a:cubicBezTo>
                      <a:pt x="66" y="192"/>
                      <a:pt x="69" y="193"/>
                      <a:pt x="68" y="192"/>
                    </a:cubicBezTo>
                    <a:cubicBezTo>
                      <a:pt x="67" y="189"/>
                      <a:pt x="62" y="189"/>
                      <a:pt x="61" y="186"/>
                    </a:cubicBezTo>
                    <a:cubicBezTo>
                      <a:pt x="61" y="183"/>
                      <a:pt x="63" y="179"/>
                      <a:pt x="66" y="178"/>
                    </a:cubicBezTo>
                    <a:cubicBezTo>
                      <a:pt x="70" y="176"/>
                      <a:pt x="75" y="176"/>
                      <a:pt x="80" y="176"/>
                    </a:cubicBezTo>
                    <a:cubicBezTo>
                      <a:pt x="83" y="176"/>
                      <a:pt x="88" y="180"/>
                      <a:pt x="88" y="177"/>
                    </a:cubicBezTo>
                    <a:cubicBezTo>
                      <a:pt x="89" y="175"/>
                      <a:pt x="82" y="175"/>
                      <a:pt x="82" y="173"/>
                    </a:cubicBezTo>
                    <a:cubicBezTo>
                      <a:pt x="81" y="169"/>
                      <a:pt x="85" y="167"/>
                      <a:pt x="86" y="164"/>
                    </a:cubicBezTo>
                    <a:cubicBezTo>
                      <a:pt x="86" y="160"/>
                      <a:pt x="88" y="156"/>
                      <a:pt x="86" y="153"/>
                    </a:cubicBezTo>
                    <a:cubicBezTo>
                      <a:pt x="84" y="150"/>
                      <a:pt x="79" y="151"/>
                      <a:pt x="75" y="151"/>
                    </a:cubicBezTo>
                    <a:cubicBezTo>
                      <a:pt x="74" y="151"/>
                      <a:pt x="75" y="154"/>
                      <a:pt x="74" y="154"/>
                    </a:cubicBezTo>
                    <a:cubicBezTo>
                      <a:pt x="71" y="155"/>
                      <a:pt x="69" y="153"/>
                      <a:pt x="66" y="152"/>
                    </a:cubicBezTo>
                    <a:cubicBezTo>
                      <a:pt x="64" y="151"/>
                      <a:pt x="62" y="149"/>
                      <a:pt x="60" y="149"/>
                    </a:cubicBezTo>
                    <a:cubicBezTo>
                      <a:pt x="56" y="150"/>
                      <a:pt x="52" y="153"/>
                      <a:pt x="49" y="155"/>
                    </a:cubicBezTo>
                    <a:cubicBezTo>
                      <a:pt x="44" y="157"/>
                      <a:pt x="40" y="160"/>
                      <a:pt x="35" y="162"/>
                    </a:cubicBezTo>
                    <a:cubicBezTo>
                      <a:pt x="34" y="161"/>
                      <a:pt x="33" y="160"/>
                      <a:pt x="32" y="160"/>
                    </a:cubicBezTo>
                    <a:cubicBezTo>
                      <a:pt x="30" y="160"/>
                      <a:pt x="27" y="160"/>
                      <a:pt x="26" y="158"/>
                    </a:cubicBezTo>
                    <a:cubicBezTo>
                      <a:pt x="27" y="157"/>
                      <a:pt x="26" y="155"/>
                      <a:pt x="27" y="155"/>
                    </a:cubicBezTo>
                    <a:cubicBezTo>
                      <a:pt x="28" y="153"/>
                      <a:pt x="33" y="155"/>
                      <a:pt x="32" y="153"/>
                    </a:cubicBezTo>
                    <a:cubicBezTo>
                      <a:pt x="31" y="147"/>
                      <a:pt x="26" y="142"/>
                      <a:pt x="21" y="138"/>
                    </a:cubicBezTo>
                    <a:cubicBezTo>
                      <a:pt x="20" y="137"/>
                      <a:pt x="17" y="137"/>
                      <a:pt x="15" y="137"/>
                    </a:cubicBezTo>
                    <a:cubicBezTo>
                      <a:pt x="14" y="137"/>
                      <a:pt x="15" y="139"/>
                      <a:pt x="15" y="139"/>
                    </a:cubicBezTo>
                    <a:cubicBezTo>
                      <a:pt x="13" y="138"/>
                      <a:pt x="10" y="137"/>
                      <a:pt x="9" y="136"/>
                    </a:cubicBezTo>
                    <a:cubicBezTo>
                      <a:pt x="8" y="134"/>
                      <a:pt x="10" y="130"/>
                      <a:pt x="9" y="129"/>
                    </a:cubicBezTo>
                    <a:cubicBezTo>
                      <a:pt x="7" y="127"/>
                      <a:pt x="2" y="129"/>
                      <a:pt x="1" y="127"/>
                    </a:cubicBezTo>
                    <a:cubicBezTo>
                      <a:pt x="0" y="123"/>
                      <a:pt x="3" y="119"/>
                      <a:pt x="4" y="115"/>
                    </a:cubicBezTo>
                    <a:cubicBezTo>
                      <a:pt x="5" y="114"/>
                      <a:pt x="7" y="114"/>
                      <a:pt x="7" y="113"/>
                    </a:cubicBezTo>
                    <a:cubicBezTo>
                      <a:pt x="7" y="111"/>
                      <a:pt x="4" y="110"/>
                      <a:pt x="3" y="107"/>
                    </a:cubicBezTo>
                    <a:cubicBezTo>
                      <a:pt x="2" y="105"/>
                      <a:pt x="3" y="102"/>
                      <a:pt x="4" y="99"/>
                    </a:cubicBezTo>
                    <a:cubicBezTo>
                      <a:pt x="5" y="97"/>
                      <a:pt x="8" y="96"/>
                      <a:pt x="9" y="94"/>
                    </a:cubicBezTo>
                    <a:cubicBezTo>
                      <a:pt x="10" y="92"/>
                      <a:pt x="8" y="90"/>
                      <a:pt x="9" y="88"/>
                    </a:cubicBezTo>
                    <a:cubicBezTo>
                      <a:pt x="10" y="87"/>
                      <a:pt x="13" y="87"/>
                      <a:pt x="14" y="88"/>
                    </a:cubicBezTo>
                    <a:cubicBezTo>
                      <a:pt x="18" y="91"/>
                      <a:pt x="18" y="96"/>
                      <a:pt x="22" y="99"/>
                    </a:cubicBezTo>
                    <a:cubicBezTo>
                      <a:pt x="23" y="101"/>
                      <a:pt x="25" y="101"/>
                      <a:pt x="26" y="99"/>
                    </a:cubicBezTo>
                    <a:cubicBezTo>
                      <a:pt x="27" y="98"/>
                      <a:pt x="27" y="96"/>
                      <a:pt x="26" y="95"/>
                    </a:cubicBezTo>
                    <a:cubicBezTo>
                      <a:pt x="25" y="91"/>
                      <a:pt x="21" y="89"/>
                      <a:pt x="22" y="85"/>
                    </a:cubicBezTo>
                    <a:cubicBezTo>
                      <a:pt x="22" y="83"/>
                      <a:pt x="25" y="86"/>
                      <a:pt x="27" y="85"/>
                    </a:cubicBezTo>
                    <a:cubicBezTo>
                      <a:pt x="29" y="85"/>
                      <a:pt x="31" y="84"/>
                      <a:pt x="32" y="82"/>
                    </a:cubicBezTo>
                    <a:cubicBezTo>
                      <a:pt x="33" y="81"/>
                      <a:pt x="30" y="78"/>
                      <a:pt x="32" y="77"/>
                    </a:cubicBezTo>
                    <a:cubicBezTo>
                      <a:pt x="35" y="75"/>
                      <a:pt x="39" y="76"/>
                      <a:pt x="43" y="73"/>
                    </a:cubicBezTo>
                    <a:cubicBezTo>
                      <a:pt x="45" y="72"/>
                      <a:pt x="45" y="68"/>
                      <a:pt x="47" y="67"/>
                    </a:cubicBezTo>
                    <a:cubicBezTo>
                      <a:pt x="49" y="66"/>
                      <a:pt x="52" y="67"/>
                      <a:pt x="54" y="68"/>
                    </a:cubicBezTo>
                    <a:cubicBezTo>
                      <a:pt x="55" y="69"/>
                      <a:pt x="53" y="70"/>
                      <a:pt x="53" y="71"/>
                    </a:cubicBezTo>
                    <a:cubicBezTo>
                      <a:pt x="55" y="72"/>
                      <a:pt x="57" y="72"/>
                      <a:pt x="58" y="71"/>
                    </a:cubicBezTo>
                    <a:cubicBezTo>
                      <a:pt x="60" y="70"/>
                      <a:pt x="61" y="68"/>
                      <a:pt x="64" y="67"/>
                    </a:cubicBezTo>
                    <a:cubicBezTo>
                      <a:pt x="65" y="67"/>
                      <a:pt x="66" y="69"/>
                      <a:pt x="67" y="70"/>
                    </a:cubicBezTo>
                    <a:cubicBezTo>
                      <a:pt x="70" y="70"/>
                      <a:pt x="74" y="69"/>
                      <a:pt x="77" y="70"/>
                    </a:cubicBezTo>
                    <a:cubicBezTo>
                      <a:pt x="79" y="70"/>
                      <a:pt x="80" y="73"/>
                      <a:pt x="82" y="75"/>
                    </a:cubicBezTo>
                    <a:cubicBezTo>
                      <a:pt x="85" y="77"/>
                      <a:pt x="89" y="77"/>
                      <a:pt x="91" y="80"/>
                    </a:cubicBezTo>
                    <a:cubicBezTo>
                      <a:pt x="93" y="82"/>
                      <a:pt x="91" y="85"/>
                      <a:pt x="93" y="87"/>
                    </a:cubicBezTo>
                    <a:cubicBezTo>
                      <a:pt x="93" y="88"/>
                      <a:pt x="96" y="88"/>
                      <a:pt x="96" y="87"/>
                    </a:cubicBezTo>
                    <a:cubicBezTo>
                      <a:pt x="97" y="85"/>
                      <a:pt x="94" y="80"/>
                      <a:pt x="96" y="80"/>
                    </a:cubicBezTo>
                    <a:cubicBezTo>
                      <a:pt x="101" y="80"/>
                      <a:pt x="103" y="87"/>
                      <a:pt x="108" y="87"/>
                    </a:cubicBezTo>
                    <a:cubicBezTo>
                      <a:pt x="111" y="87"/>
                      <a:pt x="112" y="81"/>
                      <a:pt x="115" y="80"/>
                    </a:cubicBezTo>
                    <a:cubicBezTo>
                      <a:pt x="117" y="78"/>
                      <a:pt x="120" y="78"/>
                      <a:pt x="123" y="78"/>
                    </a:cubicBezTo>
                    <a:cubicBezTo>
                      <a:pt x="125" y="78"/>
                      <a:pt x="127" y="81"/>
                      <a:pt x="129" y="80"/>
                    </a:cubicBezTo>
                    <a:cubicBezTo>
                      <a:pt x="130" y="80"/>
                      <a:pt x="129" y="77"/>
                      <a:pt x="131" y="76"/>
                    </a:cubicBezTo>
                    <a:cubicBezTo>
                      <a:pt x="133" y="75"/>
                      <a:pt x="136" y="76"/>
                      <a:pt x="138" y="77"/>
                    </a:cubicBezTo>
                    <a:cubicBezTo>
                      <a:pt x="140" y="78"/>
                      <a:pt x="139" y="82"/>
                      <a:pt x="141" y="84"/>
                    </a:cubicBezTo>
                    <a:cubicBezTo>
                      <a:pt x="145" y="86"/>
                      <a:pt x="150" y="87"/>
                      <a:pt x="155" y="87"/>
                    </a:cubicBezTo>
                    <a:cubicBezTo>
                      <a:pt x="157" y="86"/>
                      <a:pt x="156" y="81"/>
                      <a:pt x="158" y="81"/>
                    </a:cubicBezTo>
                    <a:cubicBezTo>
                      <a:pt x="162" y="81"/>
                      <a:pt x="165" y="86"/>
                      <a:pt x="169" y="85"/>
                    </a:cubicBezTo>
                    <a:cubicBezTo>
                      <a:pt x="172" y="85"/>
                      <a:pt x="173" y="81"/>
                      <a:pt x="174" y="79"/>
                    </a:cubicBezTo>
                    <a:cubicBezTo>
                      <a:pt x="175" y="76"/>
                      <a:pt x="176" y="73"/>
                      <a:pt x="174" y="71"/>
                    </a:cubicBezTo>
                    <a:cubicBezTo>
                      <a:pt x="173" y="69"/>
                      <a:pt x="169" y="71"/>
                      <a:pt x="167" y="70"/>
                    </a:cubicBezTo>
                    <a:cubicBezTo>
                      <a:pt x="163" y="68"/>
                      <a:pt x="159" y="64"/>
                      <a:pt x="157" y="61"/>
                    </a:cubicBezTo>
                    <a:cubicBezTo>
                      <a:pt x="160" y="59"/>
                      <a:pt x="164" y="60"/>
                      <a:pt x="166" y="57"/>
                    </a:cubicBezTo>
                    <a:cubicBezTo>
                      <a:pt x="167" y="55"/>
                      <a:pt x="163" y="54"/>
                      <a:pt x="163" y="51"/>
                    </a:cubicBezTo>
                    <a:cubicBezTo>
                      <a:pt x="163" y="48"/>
                      <a:pt x="165" y="45"/>
                      <a:pt x="168" y="44"/>
                    </a:cubicBezTo>
                    <a:cubicBezTo>
                      <a:pt x="171" y="43"/>
                      <a:pt x="174" y="47"/>
                      <a:pt x="177" y="46"/>
                    </a:cubicBezTo>
                    <a:cubicBezTo>
                      <a:pt x="179" y="45"/>
                      <a:pt x="175" y="43"/>
                      <a:pt x="173" y="42"/>
                    </a:cubicBezTo>
                    <a:cubicBezTo>
                      <a:pt x="172" y="41"/>
                      <a:pt x="169" y="42"/>
                      <a:pt x="168" y="40"/>
                    </a:cubicBezTo>
                    <a:cubicBezTo>
                      <a:pt x="167" y="39"/>
                      <a:pt x="170" y="38"/>
                      <a:pt x="169" y="37"/>
                    </a:cubicBezTo>
                    <a:cubicBezTo>
                      <a:pt x="168" y="36"/>
                      <a:pt x="165" y="38"/>
                      <a:pt x="164" y="37"/>
                    </a:cubicBezTo>
                    <a:cubicBezTo>
                      <a:pt x="162" y="35"/>
                      <a:pt x="162" y="31"/>
                      <a:pt x="164" y="29"/>
                    </a:cubicBezTo>
                    <a:cubicBezTo>
                      <a:pt x="166" y="27"/>
                      <a:pt x="171" y="30"/>
                      <a:pt x="175" y="28"/>
                    </a:cubicBezTo>
                    <a:cubicBezTo>
                      <a:pt x="177" y="28"/>
                      <a:pt x="179" y="26"/>
                      <a:pt x="182" y="28"/>
                    </a:cubicBezTo>
                    <a:cubicBezTo>
                      <a:pt x="188" y="28"/>
                      <a:pt x="193" y="26"/>
                      <a:pt x="198" y="25"/>
                    </a:cubicBezTo>
                    <a:cubicBezTo>
                      <a:pt x="202" y="21"/>
                      <a:pt x="208" y="21"/>
                      <a:pt x="214" y="22"/>
                    </a:cubicBezTo>
                    <a:cubicBezTo>
                      <a:pt x="214" y="19"/>
                      <a:pt x="216" y="16"/>
                      <a:pt x="218" y="14"/>
                    </a:cubicBezTo>
                    <a:cubicBezTo>
                      <a:pt x="219" y="13"/>
                      <a:pt x="221" y="15"/>
                      <a:pt x="222" y="15"/>
                    </a:cubicBezTo>
                    <a:cubicBezTo>
                      <a:pt x="231" y="13"/>
                      <a:pt x="239" y="12"/>
                      <a:pt x="247" y="9"/>
                    </a:cubicBezTo>
                    <a:cubicBezTo>
                      <a:pt x="249" y="8"/>
                      <a:pt x="246" y="4"/>
                      <a:pt x="248" y="3"/>
                    </a:cubicBezTo>
                    <a:cubicBezTo>
                      <a:pt x="249" y="1"/>
                      <a:pt x="252" y="0"/>
                      <a:pt x="255" y="0"/>
                    </a:cubicBezTo>
                    <a:cubicBezTo>
                      <a:pt x="261" y="1"/>
                      <a:pt x="266" y="4"/>
                      <a:pt x="272" y="5"/>
                    </a:cubicBezTo>
                    <a:cubicBezTo>
                      <a:pt x="274" y="6"/>
                      <a:pt x="276" y="3"/>
                      <a:pt x="278" y="4"/>
                    </a:cubicBezTo>
                    <a:cubicBezTo>
                      <a:pt x="280" y="7"/>
                      <a:pt x="280" y="11"/>
                      <a:pt x="281" y="14"/>
                    </a:cubicBezTo>
                    <a:cubicBezTo>
                      <a:pt x="282" y="15"/>
                      <a:pt x="284" y="16"/>
                      <a:pt x="284" y="17"/>
                    </a:cubicBezTo>
                    <a:cubicBezTo>
                      <a:pt x="285" y="19"/>
                      <a:pt x="282" y="22"/>
                      <a:pt x="283" y="24"/>
                    </a:cubicBezTo>
                    <a:cubicBezTo>
                      <a:pt x="285" y="23"/>
                      <a:pt x="287" y="24"/>
                      <a:pt x="289" y="24"/>
                    </a:cubicBezTo>
                    <a:cubicBezTo>
                      <a:pt x="290" y="24"/>
                      <a:pt x="291" y="22"/>
                      <a:pt x="292" y="22"/>
                    </a:cubicBezTo>
                    <a:cubicBezTo>
                      <a:pt x="293" y="22"/>
                      <a:pt x="294" y="23"/>
                      <a:pt x="295" y="23"/>
                    </a:cubicBezTo>
                    <a:cubicBezTo>
                      <a:pt x="296" y="22"/>
                      <a:pt x="296" y="18"/>
                      <a:pt x="297" y="19"/>
                    </a:cubicBezTo>
                    <a:cubicBezTo>
                      <a:pt x="299" y="22"/>
                      <a:pt x="298" y="26"/>
                      <a:pt x="300" y="29"/>
                    </a:cubicBezTo>
                    <a:cubicBezTo>
                      <a:pt x="301" y="30"/>
                      <a:pt x="303" y="29"/>
                      <a:pt x="303" y="28"/>
                    </a:cubicBezTo>
                    <a:cubicBezTo>
                      <a:pt x="304" y="27"/>
                      <a:pt x="302" y="25"/>
                      <a:pt x="303" y="25"/>
                    </a:cubicBezTo>
                    <a:cubicBezTo>
                      <a:pt x="306" y="24"/>
                      <a:pt x="310" y="27"/>
                      <a:pt x="313" y="27"/>
                    </a:cubicBezTo>
                    <a:cubicBezTo>
                      <a:pt x="315" y="28"/>
                      <a:pt x="311" y="31"/>
                      <a:pt x="312" y="33"/>
                    </a:cubicBezTo>
                    <a:cubicBezTo>
                      <a:pt x="312" y="34"/>
                      <a:pt x="313" y="35"/>
                      <a:pt x="314" y="35"/>
                    </a:cubicBezTo>
                    <a:cubicBezTo>
                      <a:pt x="316" y="34"/>
                      <a:pt x="318" y="31"/>
                      <a:pt x="320" y="31"/>
                    </a:cubicBezTo>
                    <a:cubicBezTo>
                      <a:pt x="322" y="31"/>
                      <a:pt x="323" y="34"/>
                      <a:pt x="324" y="34"/>
                    </a:cubicBezTo>
                    <a:cubicBezTo>
                      <a:pt x="324" y="29"/>
                      <a:pt x="333" y="29"/>
                      <a:pt x="335" y="26"/>
                    </a:cubicBezTo>
                    <a:cubicBezTo>
                      <a:pt x="342" y="25"/>
                      <a:pt x="344" y="20"/>
                      <a:pt x="350" y="21"/>
                    </a:cubicBezTo>
                    <a:cubicBezTo>
                      <a:pt x="352" y="21"/>
                      <a:pt x="347" y="25"/>
                      <a:pt x="348" y="27"/>
                    </a:cubicBezTo>
                    <a:cubicBezTo>
                      <a:pt x="349" y="29"/>
                      <a:pt x="351" y="31"/>
                      <a:pt x="354" y="33"/>
                    </a:cubicBezTo>
                    <a:cubicBezTo>
                      <a:pt x="357" y="35"/>
                      <a:pt x="361" y="35"/>
                      <a:pt x="363" y="38"/>
                    </a:cubicBezTo>
                    <a:cubicBezTo>
                      <a:pt x="376" y="53"/>
                      <a:pt x="385" y="70"/>
                      <a:pt x="398" y="84"/>
                    </a:cubicBezTo>
                    <a:cubicBezTo>
                      <a:pt x="399" y="86"/>
                      <a:pt x="401" y="82"/>
                      <a:pt x="402" y="80"/>
                    </a:cubicBezTo>
                    <a:cubicBezTo>
                      <a:pt x="402" y="79"/>
                      <a:pt x="400" y="78"/>
                      <a:pt x="401" y="77"/>
                    </a:cubicBezTo>
                    <a:cubicBezTo>
                      <a:pt x="403" y="76"/>
                      <a:pt x="405" y="76"/>
                      <a:pt x="406" y="77"/>
                    </a:cubicBezTo>
                    <a:cubicBezTo>
                      <a:pt x="408" y="77"/>
                      <a:pt x="410" y="79"/>
                      <a:pt x="411" y="81"/>
                    </a:cubicBezTo>
                    <a:cubicBezTo>
                      <a:pt x="412" y="82"/>
                      <a:pt x="409" y="83"/>
                      <a:pt x="410" y="84"/>
                    </a:cubicBezTo>
                    <a:cubicBezTo>
                      <a:pt x="411" y="84"/>
                      <a:pt x="413" y="83"/>
                      <a:pt x="414" y="84"/>
                    </a:cubicBezTo>
                    <a:cubicBezTo>
                      <a:pt x="415" y="84"/>
                      <a:pt x="414" y="86"/>
                      <a:pt x="414" y="86"/>
                    </a:cubicBezTo>
                    <a:cubicBezTo>
                      <a:pt x="419" y="87"/>
                      <a:pt x="424" y="86"/>
                      <a:pt x="429" y="86"/>
                    </a:cubicBezTo>
                    <a:cubicBezTo>
                      <a:pt x="432" y="85"/>
                      <a:pt x="432" y="80"/>
                      <a:pt x="435" y="80"/>
                    </a:cubicBezTo>
                    <a:cubicBezTo>
                      <a:pt x="440" y="81"/>
                      <a:pt x="444" y="85"/>
                      <a:pt x="447" y="89"/>
                    </a:cubicBezTo>
                    <a:cubicBezTo>
                      <a:pt x="449" y="91"/>
                      <a:pt x="448" y="95"/>
                      <a:pt x="450" y="96"/>
                    </a:cubicBezTo>
                    <a:cubicBezTo>
                      <a:pt x="452" y="98"/>
                      <a:pt x="456" y="95"/>
                      <a:pt x="459" y="96"/>
                    </a:cubicBezTo>
                    <a:cubicBezTo>
                      <a:pt x="460" y="96"/>
                      <a:pt x="460" y="99"/>
                      <a:pt x="461" y="100"/>
                    </a:cubicBezTo>
                    <a:cubicBezTo>
                      <a:pt x="462" y="102"/>
                      <a:pt x="464" y="104"/>
                      <a:pt x="467" y="105"/>
                    </a:cubicBezTo>
                    <a:cubicBezTo>
                      <a:pt x="470" y="104"/>
                      <a:pt x="472" y="107"/>
                      <a:pt x="475" y="106"/>
                    </a:cubicBezTo>
                    <a:cubicBezTo>
                      <a:pt x="477" y="105"/>
                      <a:pt x="477" y="101"/>
                      <a:pt x="479" y="101"/>
                    </a:cubicBezTo>
                    <a:cubicBezTo>
                      <a:pt x="481" y="101"/>
                      <a:pt x="478" y="104"/>
                      <a:pt x="478" y="106"/>
                    </a:cubicBezTo>
                    <a:cubicBezTo>
                      <a:pt x="481" y="109"/>
                      <a:pt x="485" y="111"/>
                      <a:pt x="488" y="11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2" name="Freeform 2603"/>
              <p:cNvSpPr>
                <a:spLocks noChangeAspect="1"/>
              </p:cNvSpPr>
              <p:nvPr/>
            </p:nvSpPr>
            <p:spPr bwMode="auto">
              <a:xfrm>
                <a:off x="5078327" y="2793354"/>
                <a:ext cx="454693" cy="203017"/>
              </a:xfrm>
              <a:custGeom>
                <a:avLst/>
                <a:gdLst>
                  <a:gd name="T0" fmla="*/ 155 w 232"/>
                  <a:gd name="T1" fmla="*/ 124 h 104"/>
                  <a:gd name="T2" fmla="*/ 161 w 232"/>
                  <a:gd name="T3" fmla="*/ 109 h 104"/>
                  <a:gd name="T4" fmla="*/ 185 w 232"/>
                  <a:gd name="T5" fmla="*/ 108 h 104"/>
                  <a:gd name="T6" fmla="*/ 212 w 232"/>
                  <a:gd name="T7" fmla="*/ 106 h 104"/>
                  <a:gd name="T8" fmla="*/ 240 w 232"/>
                  <a:gd name="T9" fmla="*/ 97 h 104"/>
                  <a:gd name="T10" fmla="*/ 249 w 232"/>
                  <a:gd name="T11" fmla="*/ 95 h 104"/>
                  <a:gd name="T12" fmla="*/ 264 w 232"/>
                  <a:gd name="T13" fmla="*/ 101 h 104"/>
                  <a:gd name="T14" fmla="*/ 271 w 232"/>
                  <a:gd name="T15" fmla="*/ 103 h 104"/>
                  <a:gd name="T16" fmla="*/ 277 w 232"/>
                  <a:gd name="T17" fmla="*/ 94 h 104"/>
                  <a:gd name="T18" fmla="*/ 270 w 232"/>
                  <a:gd name="T19" fmla="*/ 81 h 104"/>
                  <a:gd name="T20" fmla="*/ 265 w 232"/>
                  <a:gd name="T21" fmla="*/ 58 h 104"/>
                  <a:gd name="T22" fmla="*/ 270 w 232"/>
                  <a:gd name="T23" fmla="*/ 44 h 104"/>
                  <a:gd name="T24" fmla="*/ 256 w 232"/>
                  <a:gd name="T25" fmla="*/ 38 h 104"/>
                  <a:gd name="T26" fmla="*/ 254 w 232"/>
                  <a:gd name="T27" fmla="*/ 22 h 104"/>
                  <a:gd name="T28" fmla="*/ 240 w 232"/>
                  <a:gd name="T29" fmla="*/ 14 h 104"/>
                  <a:gd name="T30" fmla="*/ 225 w 232"/>
                  <a:gd name="T31" fmla="*/ 17 h 104"/>
                  <a:gd name="T32" fmla="*/ 216 w 232"/>
                  <a:gd name="T33" fmla="*/ 22 h 104"/>
                  <a:gd name="T34" fmla="*/ 195 w 232"/>
                  <a:gd name="T35" fmla="*/ 24 h 104"/>
                  <a:gd name="T36" fmla="*/ 183 w 232"/>
                  <a:gd name="T37" fmla="*/ 26 h 104"/>
                  <a:gd name="T38" fmla="*/ 167 w 232"/>
                  <a:gd name="T39" fmla="*/ 22 h 104"/>
                  <a:gd name="T40" fmla="*/ 155 w 232"/>
                  <a:gd name="T41" fmla="*/ 18 h 104"/>
                  <a:gd name="T42" fmla="*/ 146 w 232"/>
                  <a:gd name="T43" fmla="*/ 19 h 104"/>
                  <a:gd name="T44" fmla="*/ 138 w 232"/>
                  <a:gd name="T45" fmla="*/ 12 h 104"/>
                  <a:gd name="T46" fmla="*/ 132 w 232"/>
                  <a:gd name="T47" fmla="*/ 2 h 104"/>
                  <a:gd name="T48" fmla="*/ 123 w 232"/>
                  <a:gd name="T49" fmla="*/ 5 h 104"/>
                  <a:gd name="T50" fmla="*/ 104 w 232"/>
                  <a:gd name="T51" fmla="*/ 4 h 104"/>
                  <a:gd name="T52" fmla="*/ 79 w 232"/>
                  <a:gd name="T53" fmla="*/ 18 h 104"/>
                  <a:gd name="T54" fmla="*/ 64 w 232"/>
                  <a:gd name="T55" fmla="*/ 22 h 104"/>
                  <a:gd name="T56" fmla="*/ 52 w 232"/>
                  <a:gd name="T57" fmla="*/ 18 h 104"/>
                  <a:gd name="T58" fmla="*/ 41 w 232"/>
                  <a:gd name="T59" fmla="*/ 23 h 104"/>
                  <a:gd name="T60" fmla="*/ 58 w 232"/>
                  <a:gd name="T61" fmla="*/ 28 h 104"/>
                  <a:gd name="T62" fmla="*/ 47 w 232"/>
                  <a:gd name="T63" fmla="*/ 30 h 104"/>
                  <a:gd name="T64" fmla="*/ 46 w 232"/>
                  <a:gd name="T65" fmla="*/ 34 h 104"/>
                  <a:gd name="T66" fmla="*/ 53 w 232"/>
                  <a:gd name="T67" fmla="*/ 36 h 104"/>
                  <a:gd name="T68" fmla="*/ 43 w 232"/>
                  <a:gd name="T69" fmla="*/ 40 h 104"/>
                  <a:gd name="T70" fmla="*/ 38 w 232"/>
                  <a:gd name="T71" fmla="*/ 36 h 104"/>
                  <a:gd name="T72" fmla="*/ 32 w 232"/>
                  <a:gd name="T73" fmla="*/ 41 h 104"/>
                  <a:gd name="T74" fmla="*/ 29 w 232"/>
                  <a:gd name="T75" fmla="*/ 38 h 104"/>
                  <a:gd name="T76" fmla="*/ 25 w 232"/>
                  <a:gd name="T77" fmla="*/ 37 h 104"/>
                  <a:gd name="T78" fmla="*/ 11 w 232"/>
                  <a:gd name="T79" fmla="*/ 38 h 104"/>
                  <a:gd name="T80" fmla="*/ 2 w 232"/>
                  <a:gd name="T81" fmla="*/ 53 h 104"/>
                  <a:gd name="T82" fmla="*/ 11 w 232"/>
                  <a:gd name="T83" fmla="*/ 58 h 104"/>
                  <a:gd name="T84" fmla="*/ 12 w 232"/>
                  <a:gd name="T85" fmla="*/ 65 h 104"/>
                  <a:gd name="T86" fmla="*/ 12 w 232"/>
                  <a:gd name="T87" fmla="*/ 70 h 104"/>
                  <a:gd name="T88" fmla="*/ 11 w 232"/>
                  <a:gd name="T89" fmla="*/ 76 h 104"/>
                  <a:gd name="T90" fmla="*/ 7 w 232"/>
                  <a:gd name="T91" fmla="*/ 79 h 104"/>
                  <a:gd name="T92" fmla="*/ 20 w 232"/>
                  <a:gd name="T93" fmla="*/ 84 h 104"/>
                  <a:gd name="T94" fmla="*/ 25 w 232"/>
                  <a:gd name="T95" fmla="*/ 99 h 104"/>
                  <a:gd name="T96" fmla="*/ 34 w 232"/>
                  <a:gd name="T97" fmla="*/ 105 h 104"/>
                  <a:gd name="T98" fmla="*/ 32 w 232"/>
                  <a:gd name="T99" fmla="*/ 109 h 104"/>
                  <a:gd name="T100" fmla="*/ 37 w 232"/>
                  <a:gd name="T101" fmla="*/ 109 h 104"/>
                  <a:gd name="T102" fmla="*/ 48 w 232"/>
                  <a:gd name="T103" fmla="*/ 111 h 104"/>
                  <a:gd name="T104" fmla="*/ 68 w 232"/>
                  <a:gd name="T105" fmla="*/ 117 h 104"/>
                  <a:gd name="T106" fmla="*/ 73 w 232"/>
                  <a:gd name="T107" fmla="*/ 106 h 104"/>
                  <a:gd name="T108" fmla="*/ 97 w 232"/>
                  <a:gd name="T109" fmla="*/ 119 h 104"/>
                  <a:gd name="T110" fmla="*/ 121 w 232"/>
                  <a:gd name="T111" fmla="*/ 117 h 104"/>
                  <a:gd name="T112" fmla="*/ 140 w 232"/>
                  <a:gd name="T113" fmla="*/ 113 h 104"/>
                  <a:gd name="T114" fmla="*/ 151 w 232"/>
                  <a:gd name="T115" fmla="*/ 106 h 104"/>
                  <a:gd name="T116" fmla="*/ 149 w 232"/>
                  <a:gd name="T117" fmla="*/ 118 h 10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32"/>
                  <a:gd name="T178" fmla="*/ 0 h 104"/>
                  <a:gd name="T179" fmla="*/ 232 w 232"/>
                  <a:gd name="T180" fmla="*/ 104 h 10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32" h="104">
                    <a:moveTo>
                      <a:pt x="125" y="104"/>
                    </a:moveTo>
                    <a:cubicBezTo>
                      <a:pt x="126" y="104"/>
                      <a:pt x="128" y="104"/>
                      <a:pt x="129" y="103"/>
                    </a:cubicBezTo>
                    <a:cubicBezTo>
                      <a:pt x="131" y="101"/>
                      <a:pt x="133" y="99"/>
                      <a:pt x="134" y="97"/>
                    </a:cubicBezTo>
                    <a:cubicBezTo>
                      <a:pt x="134" y="95"/>
                      <a:pt x="132" y="92"/>
                      <a:pt x="134" y="91"/>
                    </a:cubicBezTo>
                    <a:cubicBezTo>
                      <a:pt x="137" y="90"/>
                      <a:pt x="140" y="94"/>
                      <a:pt x="144" y="94"/>
                    </a:cubicBezTo>
                    <a:cubicBezTo>
                      <a:pt x="147" y="94"/>
                      <a:pt x="150" y="90"/>
                      <a:pt x="154" y="90"/>
                    </a:cubicBezTo>
                    <a:cubicBezTo>
                      <a:pt x="157" y="90"/>
                      <a:pt x="160" y="94"/>
                      <a:pt x="164" y="94"/>
                    </a:cubicBezTo>
                    <a:cubicBezTo>
                      <a:pt x="169" y="93"/>
                      <a:pt x="173" y="90"/>
                      <a:pt x="177" y="88"/>
                    </a:cubicBezTo>
                    <a:cubicBezTo>
                      <a:pt x="182" y="86"/>
                      <a:pt x="187" y="85"/>
                      <a:pt x="192" y="83"/>
                    </a:cubicBezTo>
                    <a:cubicBezTo>
                      <a:pt x="195" y="82"/>
                      <a:pt x="198" y="81"/>
                      <a:pt x="200" y="81"/>
                    </a:cubicBezTo>
                    <a:cubicBezTo>
                      <a:pt x="202" y="81"/>
                      <a:pt x="202" y="82"/>
                      <a:pt x="203" y="83"/>
                    </a:cubicBezTo>
                    <a:cubicBezTo>
                      <a:pt x="205" y="82"/>
                      <a:pt x="205" y="80"/>
                      <a:pt x="208" y="79"/>
                    </a:cubicBezTo>
                    <a:cubicBezTo>
                      <a:pt x="210" y="79"/>
                      <a:pt x="212" y="81"/>
                      <a:pt x="215" y="82"/>
                    </a:cubicBezTo>
                    <a:cubicBezTo>
                      <a:pt x="217" y="82"/>
                      <a:pt x="218" y="84"/>
                      <a:pt x="220" y="84"/>
                    </a:cubicBezTo>
                    <a:cubicBezTo>
                      <a:pt x="222" y="84"/>
                      <a:pt x="223" y="80"/>
                      <a:pt x="224" y="81"/>
                    </a:cubicBezTo>
                    <a:cubicBezTo>
                      <a:pt x="226" y="82"/>
                      <a:pt x="224" y="86"/>
                      <a:pt x="226" y="86"/>
                    </a:cubicBezTo>
                    <a:cubicBezTo>
                      <a:pt x="228" y="87"/>
                      <a:pt x="229" y="85"/>
                      <a:pt x="231" y="84"/>
                    </a:cubicBezTo>
                    <a:cubicBezTo>
                      <a:pt x="231" y="82"/>
                      <a:pt x="232" y="80"/>
                      <a:pt x="231" y="78"/>
                    </a:cubicBezTo>
                    <a:cubicBezTo>
                      <a:pt x="230" y="76"/>
                      <a:pt x="226" y="76"/>
                      <a:pt x="225" y="74"/>
                    </a:cubicBezTo>
                    <a:cubicBezTo>
                      <a:pt x="224" y="72"/>
                      <a:pt x="225" y="69"/>
                      <a:pt x="225" y="67"/>
                    </a:cubicBezTo>
                    <a:cubicBezTo>
                      <a:pt x="225" y="64"/>
                      <a:pt x="227" y="62"/>
                      <a:pt x="226" y="60"/>
                    </a:cubicBezTo>
                    <a:cubicBezTo>
                      <a:pt x="225" y="56"/>
                      <a:pt x="220" y="52"/>
                      <a:pt x="221" y="48"/>
                    </a:cubicBezTo>
                    <a:cubicBezTo>
                      <a:pt x="222" y="45"/>
                      <a:pt x="227" y="44"/>
                      <a:pt x="230" y="42"/>
                    </a:cubicBezTo>
                    <a:cubicBezTo>
                      <a:pt x="229" y="41"/>
                      <a:pt x="227" y="38"/>
                      <a:pt x="225" y="37"/>
                    </a:cubicBezTo>
                    <a:cubicBezTo>
                      <a:pt x="223" y="36"/>
                      <a:pt x="220" y="37"/>
                      <a:pt x="217" y="36"/>
                    </a:cubicBezTo>
                    <a:cubicBezTo>
                      <a:pt x="216" y="35"/>
                      <a:pt x="214" y="33"/>
                      <a:pt x="214" y="32"/>
                    </a:cubicBezTo>
                    <a:cubicBezTo>
                      <a:pt x="213" y="30"/>
                      <a:pt x="214" y="27"/>
                      <a:pt x="214" y="25"/>
                    </a:cubicBezTo>
                    <a:cubicBezTo>
                      <a:pt x="214" y="23"/>
                      <a:pt x="213" y="21"/>
                      <a:pt x="212" y="18"/>
                    </a:cubicBezTo>
                    <a:cubicBezTo>
                      <a:pt x="210" y="17"/>
                      <a:pt x="209" y="16"/>
                      <a:pt x="207" y="15"/>
                    </a:cubicBezTo>
                    <a:cubicBezTo>
                      <a:pt x="205" y="14"/>
                      <a:pt x="202" y="12"/>
                      <a:pt x="200" y="12"/>
                    </a:cubicBezTo>
                    <a:cubicBezTo>
                      <a:pt x="197" y="11"/>
                      <a:pt x="195" y="13"/>
                      <a:pt x="193" y="14"/>
                    </a:cubicBezTo>
                    <a:cubicBezTo>
                      <a:pt x="191" y="14"/>
                      <a:pt x="189" y="14"/>
                      <a:pt x="188" y="14"/>
                    </a:cubicBezTo>
                    <a:cubicBezTo>
                      <a:pt x="186" y="15"/>
                      <a:pt x="185" y="15"/>
                      <a:pt x="183" y="16"/>
                    </a:cubicBezTo>
                    <a:cubicBezTo>
                      <a:pt x="182" y="17"/>
                      <a:pt x="181" y="17"/>
                      <a:pt x="180" y="18"/>
                    </a:cubicBezTo>
                    <a:cubicBezTo>
                      <a:pt x="176" y="19"/>
                      <a:pt x="173" y="20"/>
                      <a:pt x="170" y="21"/>
                    </a:cubicBezTo>
                    <a:cubicBezTo>
                      <a:pt x="168" y="21"/>
                      <a:pt x="165" y="21"/>
                      <a:pt x="163" y="20"/>
                    </a:cubicBezTo>
                    <a:cubicBezTo>
                      <a:pt x="161" y="20"/>
                      <a:pt x="160" y="19"/>
                      <a:pt x="158" y="19"/>
                    </a:cubicBezTo>
                    <a:cubicBezTo>
                      <a:pt x="156" y="19"/>
                      <a:pt x="155" y="22"/>
                      <a:pt x="153" y="22"/>
                    </a:cubicBezTo>
                    <a:cubicBezTo>
                      <a:pt x="149" y="23"/>
                      <a:pt x="146" y="22"/>
                      <a:pt x="143" y="21"/>
                    </a:cubicBezTo>
                    <a:cubicBezTo>
                      <a:pt x="141" y="21"/>
                      <a:pt x="141" y="18"/>
                      <a:pt x="139" y="18"/>
                    </a:cubicBezTo>
                    <a:cubicBezTo>
                      <a:pt x="138" y="17"/>
                      <a:pt x="138" y="20"/>
                      <a:pt x="137" y="20"/>
                    </a:cubicBezTo>
                    <a:cubicBezTo>
                      <a:pt x="134" y="19"/>
                      <a:pt x="132" y="15"/>
                      <a:pt x="129" y="15"/>
                    </a:cubicBezTo>
                    <a:cubicBezTo>
                      <a:pt x="127" y="15"/>
                      <a:pt x="127" y="18"/>
                      <a:pt x="126" y="18"/>
                    </a:cubicBezTo>
                    <a:cubicBezTo>
                      <a:pt x="124" y="19"/>
                      <a:pt x="123" y="18"/>
                      <a:pt x="122" y="16"/>
                    </a:cubicBezTo>
                    <a:cubicBezTo>
                      <a:pt x="121" y="14"/>
                      <a:pt x="123" y="10"/>
                      <a:pt x="121" y="8"/>
                    </a:cubicBezTo>
                    <a:cubicBezTo>
                      <a:pt x="120" y="7"/>
                      <a:pt x="117" y="10"/>
                      <a:pt x="115" y="10"/>
                    </a:cubicBezTo>
                    <a:cubicBezTo>
                      <a:pt x="113" y="9"/>
                      <a:pt x="111" y="8"/>
                      <a:pt x="110" y="6"/>
                    </a:cubicBezTo>
                    <a:cubicBezTo>
                      <a:pt x="109" y="5"/>
                      <a:pt x="111" y="3"/>
                      <a:pt x="110" y="2"/>
                    </a:cubicBezTo>
                    <a:cubicBezTo>
                      <a:pt x="109" y="1"/>
                      <a:pt x="108" y="0"/>
                      <a:pt x="107" y="0"/>
                    </a:cubicBezTo>
                    <a:cubicBezTo>
                      <a:pt x="105" y="1"/>
                      <a:pt x="105" y="4"/>
                      <a:pt x="103" y="4"/>
                    </a:cubicBezTo>
                    <a:cubicBezTo>
                      <a:pt x="101" y="5"/>
                      <a:pt x="98" y="3"/>
                      <a:pt x="95" y="3"/>
                    </a:cubicBezTo>
                    <a:cubicBezTo>
                      <a:pt x="93" y="3"/>
                      <a:pt x="90" y="2"/>
                      <a:pt x="87" y="3"/>
                    </a:cubicBezTo>
                    <a:cubicBezTo>
                      <a:pt x="83" y="4"/>
                      <a:pt x="79" y="5"/>
                      <a:pt x="75" y="7"/>
                    </a:cubicBezTo>
                    <a:cubicBezTo>
                      <a:pt x="71" y="9"/>
                      <a:pt x="70" y="13"/>
                      <a:pt x="66" y="15"/>
                    </a:cubicBezTo>
                    <a:cubicBezTo>
                      <a:pt x="65" y="16"/>
                      <a:pt x="62" y="17"/>
                      <a:pt x="60" y="17"/>
                    </a:cubicBezTo>
                    <a:cubicBezTo>
                      <a:pt x="58" y="18"/>
                      <a:pt x="56" y="18"/>
                      <a:pt x="53" y="18"/>
                    </a:cubicBezTo>
                    <a:cubicBezTo>
                      <a:pt x="51" y="18"/>
                      <a:pt x="49" y="16"/>
                      <a:pt x="48" y="16"/>
                    </a:cubicBezTo>
                    <a:cubicBezTo>
                      <a:pt x="46" y="16"/>
                      <a:pt x="44" y="15"/>
                      <a:pt x="43" y="15"/>
                    </a:cubicBezTo>
                    <a:cubicBezTo>
                      <a:pt x="40" y="15"/>
                      <a:pt x="38" y="15"/>
                      <a:pt x="36" y="16"/>
                    </a:cubicBezTo>
                    <a:cubicBezTo>
                      <a:pt x="35" y="16"/>
                      <a:pt x="34" y="18"/>
                      <a:pt x="34" y="19"/>
                    </a:cubicBezTo>
                    <a:cubicBezTo>
                      <a:pt x="36" y="21"/>
                      <a:pt x="39" y="22"/>
                      <a:pt x="41" y="23"/>
                    </a:cubicBezTo>
                    <a:cubicBezTo>
                      <a:pt x="43" y="24"/>
                      <a:pt x="46" y="23"/>
                      <a:pt x="48" y="23"/>
                    </a:cubicBezTo>
                    <a:cubicBezTo>
                      <a:pt x="48" y="23"/>
                      <a:pt x="48" y="25"/>
                      <a:pt x="48" y="25"/>
                    </a:cubicBezTo>
                    <a:cubicBezTo>
                      <a:pt x="45" y="25"/>
                      <a:pt x="42" y="25"/>
                      <a:pt x="39" y="25"/>
                    </a:cubicBezTo>
                    <a:cubicBezTo>
                      <a:pt x="37" y="26"/>
                      <a:pt x="35" y="26"/>
                      <a:pt x="34" y="28"/>
                    </a:cubicBezTo>
                    <a:cubicBezTo>
                      <a:pt x="33" y="30"/>
                      <a:pt x="37" y="28"/>
                      <a:pt x="38" y="28"/>
                    </a:cubicBezTo>
                    <a:cubicBezTo>
                      <a:pt x="40" y="28"/>
                      <a:pt x="43" y="28"/>
                      <a:pt x="45" y="28"/>
                    </a:cubicBezTo>
                    <a:cubicBezTo>
                      <a:pt x="45" y="28"/>
                      <a:pt x="45" y="30"/>
                      <a:pt x="44" y="30"/>
                    </a:cubicBezTo>
                    <a:cubicBezTo>
                      <a:pt x="42" y="30"/>
                      <a:pt x="40" y="29"/>
                      <a:pt x="39" y="29"/>
                    </a:cubicBezTo>
                    <a:cubicBezTo>
                      <a:pt x="37" y="30"/>
                      <a:pt x="37" y="33"/>
                      <a:pt x="36" y="33"/>
                    </a:cubicBezTo>
                    <a:cubicBezTo>
                      <a:pt x="35" y="34"/>
                      <a:pt x="33" y="34"/>
                      <a:pt x="32" y="33"/>
                    </a:cubicBezTo>
                    <a:cubicBezTo>
                      <a:pt x="31" y="33"/>
                      <a:pt x="33" y="31"/>
                      <a:pt x="32" y="30"/>
                    </a:cubicBezTo>
                    <a:cubicBezTo>
                      <a:pt x="31" y="29"/>
                      <a:pt x="28" y="29"/>
                      <a:pt x="27" y="30"/>
                    </a:cubicBezTo>
                    <a:cubicBezTo>
                      <a:pt x="26" y="31"/>
                      <a:pt x="28" y="33"/>
                      <a:pt x="27" y="34"/>
                    </a:cubicBezTo>
                    <a:cubicBezTo>
                      <a:pt x="26" y="35"/>
                      <a:pt x="24" y="35"/>
                      <a:pt x="24" y="34"/>
                    </a:cubicBezTo>
                    <a:cubicBezTo>
                      <a:pt x="23" y="34"/>
                      <a:pt x="24" y="33"/>
                      <a:pt x="24" y="32"/>
                    </a:cubicBezTo>
                    <a:cubicBezTo>
                      <a:pt x="24" y="31"/>
                      <a:pt x="25" y="29"/>
                      <a:pt x="24" y="29"/>
                    </a:cubicBezTo>
                    <a:cubicBezTo>
                      <a:pt x="22" y="28"/>
                      <a:pt x="22" y="31"/>
                      <a:pt x="21" y="31"/>
                    </a:cubicBezTo>
                    <a:cubicBezTo>
                      <a:pt x="19" y="31"/>
                      <a:pt x="19" y="30"/>
                      <a:pt x="17" y="30"/>
                    </a:cubicBezTo>
                    <a:cubicBezTo>
                      <a:pt x="15" y="30"/>
                      <a:pt x="11" y="30"/>
                      <a:pt x="9" y="32"/>
                    </a:cubicBezTo>
                    <a:cubicBezTo>
                      <a:pt x="6" y="33"/>
                      <a:pt x="4" y="35"/>
                      <a:pt x="3" y="38"/>
                    </a:cubicBezTo>
                    <a:cubicBezTo>
                      <a:pt x="2" y="40"/>
                      <a:pt x="0" y="43"/>
                      <a:pt x="2" y="44"/>
                    </a:cubicBezTo>
                    <a:cubicBezTo>
                      <a:pt x="5" y="46"/>
                      <a:pt x="9" y="41"/>
                      <a:pt x="12" y="43"/>
                    </a:cubicBezTo>
                    <a:cubicBezTo>
                      <a:pt x="14" y="44"/>
                      <a:pt x="9" y="46"/>
                      <a:pt x="9" y="48"/>
                    </a:cubicBezTo>
                    <a:cubicBezTo>
                      <a:pt x="9" y="49"/>
                      <a:pt x="11" y="49"/>
                      <a:pt x="11" y="50"/>
                    </a:cubicBezTo>
                    <a:cubicBezTo>
                      <a:pt x="11" y="51"/>
                      <a:pt x="9" y="53"/>
                      <a:pt x="10" y="54"/>
                    </a:cubicBezTo>
                    <a:cubicBezTo>
                      <a:pt x="11" y="55"/>
                      <a:pt x="14" y="54"/>
                      <a:pt x="14" y="55"/>
                    </a:cubicBezTo>
                    <a:cubicBezTo>
                      <a:pt x="14" y="57"/>
                      <a:pt x="10" y="56"/>
                      <a:pt x="10" y="58"/>
                    </a:cubicBezTo>
                    <a:cubicBezTo>
                      <a:pt x="9" y="60"/>
                      <a:pt x="13" y="61"/>
                      <a:pt x="13" y="63"/>
                    </a:cubicBezTo>
                    <a:cubicBezTo>
                      <a:pt x="13" y="64"/>
                      <a:pt x="10" y="64"/>
                      <a:pt x="9" y="63"/>
                    </a:cubicBezTo>
                    <a:cubicBezTo>
                      <a:pt x="8" y="63"/>
                      <a:pt x="8" y="58"/>
                      <a:pt x="7" y="59"/>
                    </a:cubicBezTo>
                    <a:cubicBezTo>
                      <a:pt x="5" y="60"/>
                      <a:pt x="5" y="64"/>
                      <a:pt x="6" y="66"/>
                    </a:cubicBezTo>
                    <a:cubicBezTo>
                      <a:pt x="7" y="67"/>
                      <a:pt x="10" y="68"/>
                      <a:pt x="12" y="68"/>
                    </a:cubicBezTo>
                    <a:cubicBezTo>
                      <a:pt x="13" y="69"/>
                      <a:pt x="16" y="69"/>
                      <a:pt x="17" y="70"/>
                    </a:cubicBezTo>
                    <a:cubicBezTo>
                      <a:pt x="18" y="72"/>
                      <a:pt x="15" y="75"/>
                      <a:pt x="16" y="77"/>
                    </a:cubicBezTo>
                    <a:cubicBezTo>
                      <a:pt x="17" y="79"/>
                      <a:pt x="21" y="79"/>
                      <a:pt x="21" y="82"/>
                    </a:cubicBezTo>
                    <a:cubicBezTo>
                      <a:pt x="21" y="83"/>
                      <a:pt x="15" y="83"/>
                      <a:pt x="17" y="84"/>
                    </a:cubicBezTo>
                    <a:cubicBezTo>
                      <a:pt x="20" y="87"/>
                      <a:pt x="27" y="83"/>
                      <a:pt x="28" y="87"/>
                    </a:cubicBezTo>
                    <a:cubicBezTo>
                      <a:pt x="29" y="90"/>
                      <a:pt x="21" y="89"/>
                      <a:pt x="20" y="92"/>
                    </a:cubicBezTo>
                    <a:cubicBezTo>
                      <a:pt x="19" y="94"/>
                      <a:pt x="25" y="90"/>
                      <a:pt x="27" y="91"/>
                    </a:cubicBezTo>
                    <a:cubicBezTo>
                      <a:pt x="28" y="91"/>
                      <a:pt x="25" y="95"/>
                      <a:pt x="27" y="95"/>
                    </a:cubicBezTo>
                    <a:cubicBezTo>
                      <a:pt x="29" y="95"/>
                      <a:pt x="29" y="92"/>
                      <a:pt x="31" y="91"/>
                    </a:cubicBezTo>
                    <a:cubicBezTo>
                      <a:pt x="33" y="91"/>
                      <a:pt x="34" y="92"/>
                      <a:pt x="35" y="92"/>
                    </a:cubicBezTo>
                    <a:cubicBezTo>
                      <a:pt x="37" y="92"/>
                      <a:pt x="39" y="91"/>
                      <a:pt x="40" y="92"/>
                    </a:cubicBezTo>
                    <a:cubicBezTo>
                      <a:pt x="43" y="94"/>
                      <a:pt x="43" y="100"/>
                      <a:pt x="46" y="99"/>
                    </a:cubicBezTo>
                    <a:cubicBezTo>
                      <a:pt x="49" y="99"/>
                      <a:pt x="53" y="97"/>
                      <a:pt x="57" y="97"/>
                    </a:cubicBezTo>
                    <a:cubicBezTo>
                      <a:pt x="59" y="97"/>
                      <a:pt x="57" y="92"/>
                      <a:pt x="58" y="90"/>
                    </a:cubicBezTo>
                    <a:cubicBezTo>
                      <a:pt x="58" y="88"/>
                      <a:pt x="60" y="88"/>
                      <a:pt x="61" y="88"/>
                    </a:cubicBezTo>
                    <a:cubicBezTo>
                      <a:pt x="65" y="88"/>
                      <a:pt x="68" y="88"/>
                      <a:pt x="71" y="90"/>
                    </a:cubicBezTo>
                    <a:cubicBezTo>
                      <a:pt x="75" y="92"/>
                      <a:pt x="77" y="97"/>
                      <a:pt x="81" y="99"/>
                    </a:cubicBezTo>
                    <a:cubicBezTo>
                      <a:pt x="84" y="100"/>
                      <a:pt x="87" y="99"/>
                      <a:pt x="90" y="100"/>
                    </a:cubicBezTo>
                    <a:cubicBezTo>
                      <a:pt x="94" y="100"/>
                      <a:pt x="98" y="100"/>
                      <a:pt x="101" y="97"/>
                    </a:cubicBezTo>
                    <a:cubicBezTo>
                      <a:pt x="103" y="95"/>
                      <a:pt x="104" y="91"/>
                      <a:pt x="107" y="91"/>
                    </a:cubicBezTo>
                    <a:cubicBezTo>
                      <a:pt x="110" y="90"/>
                      <a:pt x="113" y="94"/>
                      <a:pt x="117" y="94"/>
                    </a:cubicBezTo>
                    <a:cubicBezTo>
                      <a:pt x="118" y="94"/>
                      <a:pt x="119" y="93"/>
                      <a:pt x="120" y="92"/>
                    </a:cubicBezTo>
                    <a:cubicBezTo>
                      <a:pt x="122" y="90"/>
                      <a:pt x="124" y="87"/>
                      <a:pt x="126" y="88"/>
                    </a:cubicBezTo>
                    <a:cubicBezTo>
                      <a:pt x="128" y="88"/>
                      <a:pt x="127" y="91"/>
                      <a:pt x="127" y="93"/>
                    </a:cubicBezTo>
                    <a:cubicBezTo>
                      <a:pt x="127" y="95"/>
                      <a:pt x="124" y="96"/>
                      <a:pt x="124" y="98"/>
                    </a:cubicBezTo>
                    <a:cubicBezTo>
                      <a:pt x="123" y="100"/>
                      <a:pt x="124" y="102"/>
                      <a:pt x="125" y="10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3" name="Freeform 2604"/>
              <p:cNvSpPr>
                <a:spLocks noChangeAspect="1"/>
              </p:cNvSpPr>
              <p:nvPr/>
            </p:nvSpPr>
            <p:spPr bwMode="auto">
              <a:xfrm>
                <a:off x="5058700" y="3123054"/>
                <a:ext cx="281321" cy="305337"/>
              </a:xfrm>
              <a:custGeom>
                <a:avLst/>
                <a:gdLst>
                  <a:gd name="T0" fmla="*/ 167 w 144"/>
                  <a:gd name="T1" fmla="*/ 160 h 157"/>
                  <a:gd name="T2" fmla="*/ 165 w 144"/>
                  <a:gd name="T3" fmla="*/ 147 h 157"/>
                  <a:gd name="T4" fmla="*/ 171 w 144"/>
                  <a:gd name="T5" fmla="*/ 147 h 157"/>
                  <a:gd name="T6" fmla="*/ 161 w 144"/>
                  <a:gd name="T7" fmla="*/ 135 h 157"/>
                  <a:gd name="T8" fmla="*/ 150 w 144"/>
                  <a:gd name="T9" fmla="*/ 119 h 157"/>
                  <a:gd name="T10" fmla="*/ 141 w 144"/>
                  <a:gd name="T11" fmla="*/ 99 h 157"/>
                  <a:gd name="T12" fmla="*/ 136 w 144"/>
                  <a:gd name="T13" fmla="*/ 84 h 157"/>
                  <a:gd name="T14" fmla="*/ 131 w 144"/>
                  <a:gd name="T15" fmla="*/ 72 h 157"/>
                  <a:gd name="T16" fmla="*/ 119 w 144"/>
                  <a:gd name="T17" fmla="*/ 59 h 157"/>
                  <a:gd name="T18" fmla="*/ 113 w 144"/>
                  <a:gd name="T19" fmla="*/ 43 h 157"/>
                  <a:gd name="T20" fmla="*/ 115 w 144"/>
                  <a:gd name="T21" fmla="*/ 31 h 157"/>
                  <a:gd name="T22" fmla="*/ 110 w 144"/>
                  <a:gd name="T23" fmla="*/ 23 h 157"/>
                  <a:gd name="T24" fmla="*/ 111 w 144"/>
                  <a:gd name="T25" fmla="*/ 12 h 157"/>
                  <a:gd name="T26" fmla="*/ 104 w 144"/>
                  <a:gd name="T27" fmla="*/ 10 h 157"/>
                  <a:gd name="T28" fmla="*/ 96 w 144"/>
                  <a:gd name="T29" fmla="*/ 6 h 157"/>
                  <a:gd name="T30" fmla="*/ 91 w 144"/>
                  <a:gd name="T31" fmla="*/ 7 h 157"/>
                  <a:gd name="T32" fmla="*/ 84 w 144"/>
                  <a:gd name="T33" fmla="*/ 7 h 157"/>
                  <a:gd name="T34" fmla="*/ 78 w 144"/>
                  <a:gd name="T35" fmla="*/ 12 h 157"/>
                  <a:gd name="T36" fmla="*/ 67 w 144"/>
                  <a:gd name="T37" fmla="*/ 18 h 157"/>
                  <a:gd name="T38" fmla="*/ 56 w 144"/>
                  <a:gd name="T39" fmla="*/ 12 h 157"/>
                  <a:gd name="T40" fmla="*/ 47 w 144"/>
                  <a:gd name="T41" fmla="*/ 10 h 157"/>
                  <a:gd name="T42" fmla="*/ 37 w 144"/>
                  <a:gd name="T43" fmla="*/ 6 h 157"/>
                  <a:gd name="T44" fmla="*/ 24 w 144"/>
                  <a:gd name="T45" fmla="*/ 2 h 157"/>
                  <a:gd name="T46" fmla="*/ 13 w 144"/>
                  <a:gd name="T47" fmla="*/ 2 h 157"/>
                  <a:gd name="T48" fmla="*/ 7 w 144"/>
                  <a:gd name="T49" fmla="*/ 0 h 157"/>
                  <a:gd name="T50" fmla="*/ 4 w 144"/>
                  <a:gd name="T51" fmla="*/ 6 h 157"/>
                  <a:gd name="T52" fmla="*/ 4 w 144"/>
                  <a:gd name="T53" fmla="*/ 19 h 157"/>
                  <a:gd name="T54" fmla="*/ 0 w 144"/>
                  <a:gd name="T55" fmla="*/ 29 h 157"/>
                  <a:gd name="T56" fmla="*/ 5 w 144"/>
                  <a:gd name="T57" fmla="*/ 48 h 157"/>
                  <a:gd name="T58" fmla="*/ 8 w 144"/>
                  <a:gd name="T59" fmla="*/ 180 h 157"/>
                  <a:gd name="T60" fmla="*/ 133 w 144"/>
                  <a:gd name="T61" fmla="*/ 180 h 157"/>
                  <a:gd name="T62" fmla="*/ 137 w 144"/>
                  <a:gd name="T63" fmla="*/ 187 h 157"/>
                  <a:gd name="T64" fmla="*/ 145 w 144"/>
                  <a:gd name="T65" fmla="*/ 183 h 157"/>
                  <a:gd name="T66" fmla="*/ 146 w 144"/>
                  <a:gd name="T67" fmla="*/ 176 h 157"/>
                  <a:gd name="T68" fmla="*/ 152 w 144"/>
                  <a:gd name="T69" fmla="*/ 174 h 157"/>
                  <a:gd name="T70" fmla="*/ 154 w 144"/>
                  <a:gd name="T71" fmla="*/ 168 h 157"/>
                  <a:gd name="T72" fmla="*/ 161 w 144"/>
                  <a:gd name="T73" fmla="*/ 168 h 157"/>
                  <a:gd name="T74" fmla="*/ 167 w 144"/>
                  <a:gd name="T75" fmla="*/ 160 h 15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4"/>
                  <a:gd name="T115" fmla="*/ 0 h 157"/>
                  <a:gd name="T116" fmla="*/ 144 w 144"/>
                  <a:gd name="T117" fmla="*/ 157 h 15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4" h="157">
                    <a:moveTo>
                      <a:pt x="140" y="134"/>
                    </a:moveTo>
                    <a:cubicBezTo>
                      <a:pt x="140" y="131"/>
                      <a:pt x="137" y="126"/>
                      <a:pt x="138" y="123"/>
                    </a:cubicBezTo>
                    <a:cubicBezTo>
                      <a:pt x="138" y="121"/>
                      <a:pt x="144" y="124"/>
                      <a:pt x="143" y="123"/>
                    </a:cubicBezTo>
                    <a:cubicBezTo>
                      <a:pt x="142" y="118"/>
                      <a:pt x="137" y="117"/>
                      <a:pt x="135" y="113"/>
                    </a:cubicBezTo>
                    <a:cubicBezTo>
                      <a:pt x="132" y="109"/>
                      <a:pt x="129" y="104"/>
                      <a:pt x="126" y="99"/>
                    </a:cubicBezTo>
                    <a:cubicBezTo>
                      <a:pt x="123" y="94"/>
                      <a:pt x="121" y="89"/>
                      <a:pt x="118" y="83"/>
                    </a:cubicBezTo>
                    <a:cubicBezTo>
                      <a:pt x="116" y="79"/>
                      <a:pt x="115" y="74"/>
                      <a:pt x="114" y="70"/>
                    </a:cubicBezTo>
                    <a:cubicBezTo>
                      <a:pt x="113" y="66"/>
                      <a:pt x="112" y="63"/>
                      <a:pt x="110" y="60"/>
                    </a:cubicBezTo>
                    <a:cubicBezTo>
                      <a:pt x="108" y="56"/>
                      <a:pt x="103" y="53"/>
                      <a:pt x="100" y="49"/>
                    </a:cubicBezTo>
                    <a:cubicBezTo>
                      <a:pt x="98" y="45"/>
                      <a:pt x="96" y="41"/>
                      <a:pt x="95" y="36"/>
                    </a:cubicBezTo>
                    <a:cubicBezTo>
                      <a:pt x="94" y="33"/>
                      <a:pt x="96" y="30"/>
                      <a:pt x="96" y="26"/>
                    </a:cubicBezTo>
                    <a:cubicBezTo>
                      <a:pt x="95" y="24"/>
                      <a:pt x="93" y="22"/>
                      <a:pt x="92" y="19"/>
                    </a:cubicBezTo>
                    <a:cubicBezTo>
                      <a:pt x="92" y="16"/>
                      <a:pt x="95" y="13"/>
                      <a:pt x="93" y="10"/>
                    </a:cubicBezTo>
                    <a:cubicBezTo>
                      <a:pt x="92" y="8"/>
                      <a:pt x="89" y="9"/>
                      <a:pt x="87" y="8"/>
                    </a:cubicBezTo>
                    <a:cubicBezTo>
                      <a:pt x="84" y="7"/>
                      <a:pt x="82" y="5"/>
                      <a:pt x="80" y="5"/>
                    </a:cubicBezTo>
                    <a:cubicBezTo>
                      <a:pt x="78" y="5"/>
                      <a:pt x="77" y="6"/>
                      <a:pt x="76" y="6"/>
                    </a:cubicBezTo>
                    <a:cubicBezTo>
                      <a:pt x="74" y="7"/>
                      <a:pt x="72" y="5"/>
                      <a:pt x="70" y="6"/>
                    </a:cubicBezTo>
                    <a:cubicBezTo>
                      <a:pt x="68" y="6"/>
                      <a:pt x="67" y="9"/>
                      <a:pt x="65" y="10"/>
                    </a:cubicBezTo>
                    <a:cubicBezTo>
                      <a:pt x="62" y="12"/>
                      <a:pt x="59" y="15"/>
                      <a:pt x="56" y="15"/>
                    </a:cubicBezTo>
                    <a:cubicBezTo>
                      <a:pt x="53" y="15"/>
                      <a:pt x="50" y="11"/>
                      <a:pt x="47" y="10"/>
                    </a:cubicBezTo>
                    <a:cubicBezTo>
                      <a:pt x="45" y="9"/>
                      <a:pt x="42" y="9"/>
                      <a:pt x="39" y="8"/>
                    </a:cubicBezTo>
                    <a:cubicBezTo>
                      <a:pt x="36" y="7"/>
                      <a:pt x="34" y="6"/>
                      <a:pt x="31" y="5"/>
                    </a:cubicBezTo>
                    <a:cubicBezTo>
                      <a:pt x="28" y="4"/>
                      <a:pt x="24" y="2"/>
                      <a:pt x="20" y="2"/>
                    </a:cubicBezTo>
                    <a:cubicBezTo>
                      <a:pt x="17" y="1"/>
                      <a:pt x="14" y="3"/>
                      <a:pt x="11" y="2"/>
                    </a:cubicBezTo>
                    <a:cubicBezTo>
                      <a:pt x="9" y="2"/>
                      <a:pt x="7" y="1"/>
                      <a:pt x="6" y="0"/>
                    </a:cubicBezTo>
                    <a:cubicBezTo>
                      <a:pt x="5" y="1"/>
                      <a:pt x="3" y="3"/>
                      <a:pt x="3" y="5"/>
                    </a:cubicBezTo>
                    <a:cubicBezTo>
                      <a:pt x="2" y="9"/>
                      <a:pt x="4" y="13"/>
                      <a:pt x="3" y="16"/>
                    </a:cubicBezTo>
                    <a:cubicBezTo>
                      <a:pt x="3" y="19"/>
                      <a:pt x="0" y="21"/>
                      <a:pt x="0" y="24"/>
                    </a:cubicBezTo>
                    <a:cubicBezTo>
                      <a:pt x="0" y="29"/>
                      <a:pt x="3" y="34"/>
                      <a:pt x="4" y="40"/>
                    </a:cubicBezTo>
                    <a:cubicBezTo>
                      <a:pt x="6" y="77"/>
                      <a:pt x="6" y="113"/>
                      <a:pt x="7" y="150"/>
                    </a:cubicBezTo>
                    <a:cubicBezTo>
                      <a:pt x="42" y="150"/>
                      <a:pt x="76" y="148"/>
                      <a:pt x="111" y="150"/>
                    </a:cubicBezTo>
                    <a:cubicBezTo>
                      <a:pt x="114" y="150"/>
                      <a:pt x="113" y="155"/>
                      <a:pt x="115" y="156"/>
                    </a:cubicBezTo>
                    <a:cubicBezTo>
                      <a:pt x="117" y="157"/>
                      <a:pt x="120" y="155"/>
                      <a:pt x="121" y="153"/>
                    </a:cubicBezTo>
                    <a:cubicBezTo>
                      <a:pt x="122" y="151"/>
                      <a:pt x="121" y="149"/>
                      <a:pt x="122" y="147"/>
                    </a:cubicBezTo>
                    <a:cubicBezTo>
                      <a:pt x="123" y="145"/>
                      <a:pt x="125" y="146"/>
                      <a:pt x="127" y="145"/>
                    </a:cubicBezTo>
                    <a:cubicBezTo>
                      <a:pt x="128" y="143"/>
                      <a:pt x="128" y="141"/>
                      <a:pt x="129" y="140"/>
                    </a:cubicBezTo>
                    <a:cubicBezTo>
                      <a:pt x="131" y="139"/>
                      <a:pt x="133" y="141"/>
                      <a:pt x="135" y="140"/>
                    </a:cubicBezTo>
                    <a:cubicBezTo>
                      <a:pt x="137" y="138"/>
                      <a:pt x="139" y="136"/>
                      <a:pt x="140" y="134"/>
                    </a:cubicBezTo>
                    <a:close/>
                  </a:path>
                </a:pathLst>
              </a:custGeom>
              <a:pattFill prst="wdUpDiag">
                <a:fgClr>
                  <a:srgbClr val="FFFF66"/>
                </a:fgClr>
                <a:bgClr>
                  <a:srgbClr val="6CF834"/>
                </a:bgClr>
              </a:patt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4" name="Freeform 2605"/>
              <p:cNvSpPr>
                <a:spLocks noChangeAspect="1"/>
              </p:cNvSpPr>
              <p:nvPr/>
            </p:nvSpPr>
            <p:spPr bwMode="auto">
              <a:xfrm>
                <a:off x="5287682" y="3077578"/>
                <a:ext cx="35983" cy="113689"/>
              </a:xfrm>
              <a:custGeom>
                <a:avLst/>
                <a:gdLst>
                  <a:gd name="T0" fmla="*/ 0 w 18"/>
                  <a:gd name="T1" fmla="*/ 40 h 58"/>
                  <a:gd name="T2" fmla="*/ 13 w 18"/>
                  <a:gd name="T3" fmla="*/ 70 h 58"/>
                  <a:gd name="T4" fmla="*/ 13 w 18"/>
                  <a:gd name="T5" fmla="*/ 60 h 58"/>
                  <a:gd name="T6" fmla="*/ 16 w 18"/>
                  <a:gd name="T7" fmla="*/ 46 h 58"/>
                  <a:gd name="T8" fmla="*/ 17 w 18"/>
                  <a:gd name="T9" fmla="*/ 39 h 58"/>
                  <a:gd name="T10" fmla="*/ 13 w 18"/>
                  <a:gd name="T11" fmla="*/ 39 h 58"/>
                  <a:gd name="T12" fmla="*/ 12 w 18"/>
                  <a:gd name="T13" fmla="*/ 35 h 58"/>
                  <a:gd name="T14" fmla="*/ 13 w 18"/>
                  <a:gd name="T15" fmla="*/ 28 h 58"/>
                  <a:gd name="T16" fmla="*/ 12 w 18"/>
                  <a:gd name="T17" fmla="*/ 22 h 58"/>
                  <a:gd name="T18" fmla="*/ 15 w 18"/>
                  <a:gd name="T19" fmla="*/ 17 h 58"/>
                  <a:gd name="T20" fmla="*/ 20 w 18"/>
                  <a:gd name="T21" fmla="*/ 14 h 58"/>
                  <a:gd name="T22" fmla="*/ 21 w 18"/>
                  <a:gd name="T23" fmla="*/ 8 h 58"/>
                  <a:gd name="T24" fmla="*/ 22 w 18"/>
                  <a:gd name="T25" fmla="*/ 0 h 58"/>
                  <a:gd name="T26" fmla="*/ 18 w 18"/>
                  <a:gd name="T27" fmla="*/ 1 h 58"/>
                  <a:gd name="T28" fmla="*/ 15 w 18"/>
                  <a:gd name="T29" fmla="*/ 2 h 58"/>
                  <a:gd name="T30" fmla="*/ 12 w 18"/>
                  <a:gd name="T31" fmla="*/ 10 h 58"/>
                  <a:gd name="T32" fmla="*/ 10 w 18"/>
                  <a:gd name="T33" fmla="*/ 18 h 58"/>
                  <a:gd name="T34" fmla="*/ 7 w 18"/>
                  <a:gd name="T35" fmla="*/ 29 h 58"/>
                  <a:gd name="T36" fmla="*/ 5 w 18"/>
                  <a:gd name="T37" fmla="*/ 35 h 58"/>
                  <a:gd name="T38" fmla="*/ 0 w 18"/>
                  <a:gd name="T39" fmla="*/ 40 h 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8"/>
                  <a:gd name="T61" fmla="*/ 0 h 58"/>
                  <a:gd name="T62" fmla="*/ 18 w 18"/>
                  <a:gd name="T63" fmla="*/ 58 h 5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8" h="58">
                    <a:moveTo>
                      <a:pt x="0" y="33"/>
                    </a:moveTo>
                    <a:lnTo>
                      <a:pt x="11" y="58"/>
                    </a:lnTo>
                    <a:cubicBezTo>
                      <a:pt x="11" y="56"/>
                      <a:pt x="11" y="53"/>
                      <a:pt x="11" y="50"/>
                    </a:cubicBezTo>
                    <a:cubicBezTo>
                      <a:pt x="12" y="46"/>
                      <a:pt x="12" y="42"/>
                      <a:pt x="13" y="38"/>
                    </a:cubicBezTo>
                    <a:cubicBezTo>
                      <a:pt x="13" y="36"/>
                      <a:pt x="14" y="34"/>
                      <a:pt x="14" y="32"/>
                    </a:cubicBezTo>
                    <a:cubicBezTo>
                      <a:pt x="13" y="32"/>
                      <a:pt x="11" y="33"/>
                      <a:pt x="11" y="32"/>
                    </a:cubicBezTo>
                    <a:cubicBezTo>
                      <a:pt x="10" y="31"/>
                      <a:pt x="10" y="30"/>
                      <a:pt x="10" y="29"/>
                    </a:cubicBezTo>
                    <a:cubicBezTo>
                      <a:pt x="10" y="27"/>
                      <a:pt x="11" y="25"/>
                      <a:pt x="11" y="23"/>
                    </a:cubicBezTo>
                    <a:cubicBezTo>
                      <a:pt x="11" y="21"/>
                      <a:pt x="10" y="19"/>
                      <a:pt x="10" y="18"/>
                    </a:cubicBezTo>
                    <a:cubicBezTo>
                      <a:pt x="10" y="16"/>
                      <a:pt x="11" y="15"/>
                      <a:pt x="12" y="14"/>
                    </a:cubicBezTo>
                    <a:cubicBezTo>
                      <a:pt x="13" y="13"/>
                      <a:pt x="14" y="13"/>
                      <a:pt x="16" y="12"/>
                    </a:cubicBezTo>
                    <a:cubicBezTo>
                      <a:pt x="16" y="10"/>
                      <a:pt x="16" y="8"/>
                      <a:pt x="17" y="7"/>
                    </a:cubicBezTo>
                    <a:cubicBezTo>
                      <a:pt x="17" y="5"/>
                      <a:pt x="17" y="2"/>
                      <a:pt x="18" y="0"/>
                    </a:cubicBezTo>
                    <a:cubicBezTo>
                      <a:pt x="17" y="0"/>
                      <a:pt x="16" y="0"/>
                      <a:pt x="15" y="1"/>
                    </a:cubicBezTo>
                    <a:cubicBezTo>
                      <a:pt x="14" y="1"/>
                      <a:pt x="13" y="2"/>
                      <a:pt x="12" y="2"/>
                    </a:cubicBezTo>
                    <a:cubicBezTo>
                      <a:pt x="11" y="4"/>
                      <a:pt x="10" y="6"/>
                      <a:pt x="10" y="8"/>
                    </a:cubicBezTo>
                    <a:cubicBezTo>
                      <a:pt x="9" y="10"/>
                      <a:pt x="8" y="13"/>
                      <a:pt x="8" y="15"/>
                    </a:cubicBezTo>
                    <a:cubicBezTo>
                      <a:pt x="7" y="18"/>
                      <a:pt x="7" y="21"/>
                      <a:pt x="6" y="24"/>
                    </a:cubicBezTo>
                    <a:cubicBezTo>
                      <a:pt x="5" y="26"/>
                      <a:pt x="5" y="28"/>
                      <a:pt x="4" y="29"/>
                    </a:cubicBezTo>
                    <a:cubicBezTo>
                      <a:pt x="3" y="31"/>
                      <a:pt x="1" y="32"/>
                      <a:pt x="0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5" name="Freeform 2606"/>
              <p:cNvSpPr>
                <a:spLocks noChangeAspect="1"/>
              </p:cNvSpPr>
              <p:nvPr/>
            </p:nvSpPr>
            <p:spPr bwMode="auto">
              <a:xfrm>
                <a:off x="5307309" y="3100316"/>
                <a:ext cx="11450" cy="42227"/>
              </a:xfrm>
              <a:custGeom>
                <a:avLst/>
                <a:gdLst>
                  <a:gd name="T0" fmla="*/ 5 w 6"/>
                  <a:gd name="T1" fmla="*/ 25 h 21"/>
                  <a:gd name="T2" fmla="*/ 6 w 6"/>
                  <a:gd name="T3" fmla="*/ 10 h 21"/>
                  <a:gd name="T4" fmla="*/ 7 w 6"/>
                  <a:gd name="T5" fmla="*/ 0 h 21"/>
                  <a:gd name="T6" fmla="*/ 2 w 6"/>
                  <a:gd name="T7" fmla="*/ 2 h 21"/>
                  <a:gd name="T8" fmla="*/ 0 w 6"/>
                  <a:gd name="T9" fmla="*/ 7 h 21"/>
                  <a:gd name="T10" fmla="*/ 1 w 6"/>
                  <a:gd name="T11" fmla="*/ 14 h 21"/>
                  <a:gd name="T12" fmla="*/ 0 w 6"/>
                  <a:gd name="T13" fmla="*/ 21 h 21"/>
                  <a:gd name="T14" fmla="*/ 1 w 6"/>
                  <a:gd name="T15" fmla="*/ 25 h 21"/>
                  <a:gd name="T16" fmla="*/ 5 w 6"/>
                  <a:gd name="T17" fmla="*/ 25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21"/>
                  <a:gd name="T29" fmla="*/ 6 w 6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21">
                    <a:moveTo>
                      <a:pt x="4" y="20"/>
                    </a:moveTo>
                    <a:cubicBezTo>
                      <a:pt x="4" y="16"/>
                      <a:pt x="4" y="12"/>
                      <a:pt x="5" y="8"/>
                    </a:cubicBezTo>
                    <a:cubicBezTo>
                      <a:pt x="5" y="6"/>
                      <a:pt x="5" y="3"/>
                      <a:pt x="6" y="0"/>
                    </a:cubicBezTo>
                    <a:cubicBezTo>
                      <a:pt x="4" y="1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1" y="9"/>
                      <a:pt x="1" y="11"/>
                    </a:cubicBezTo>
                    <a:cubicBezTo>
                      <a:pt x="1" y="13"/>
                      <a:pt x="0" y="15"/>
                      <a:pt x="0" y="17"/>
                    </a:cubicBezTo>
                    <a:cubicBezTo>
                      <a:pt x="0" y="18"/>
                      <a:pt x="0" y="19"/>
                      <a:pt x="1" y="20"/>
                    </a:cubicBezTo>
                    <a:cubicBezTo>
                      <a:pt x="1" y="21"/>
                      <a:pt x="3" y="20"/>
                      <a:pt x="4" y="2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6" name="Freeform 2607"/>
              <p:cNvSpPr>
                <a:spLocks noChangeAspect="1"/>
              </p:cNvSpPr>
              <p:nvPr/>
            </p:nvSpPr>
            <p:spPr bwMode="auto">
              <a:xfrm>
                <a:off x="5318758" y="2950896"/>
                <a:ext cx="157016" cy="162413"/>
              </a:xfrm>
              <a:custGeom>
                <a:avLst/>
                <a:gdLst>
                  <a:gd name="T0" fmla="*/ 2 w 80"/>
                  <a:gd name="T1" fmla="*/ 78 h 83"/>
                  <a:gd name="T2" fmla="*/ 5 w 80"/>
                  <a:gd name="T3" fmla="*/ 78 h 83"/>
                  <a:gd name="T4" fmla="*/ 7 w 80"/>
                  <a:gd name="T5" fmla="*/ 70 h 83"/>
                  <a:gd name="T6" fmla="*/ 13 w 80"/>
                  <a:gd name="T7" fmla="*/ 70 h 83"/>
                  <a:gd name="T8" fmla="*/ 17 w 80"/>
                  <a:gd name="T9" fmla="*/ 63 h 83"/>
                  <a:gd name="T10" fmla="*/ 12 w 80"/>
                  <a:gd name="T11" fmla="*/ 54 h 83"/>
                  <a:gd name="T12" fmla="*/ 6 w 80"/>
                  <a:gd name="T13" fmla="*/ 53 h 83"/>
                  <a:gd name="T14" fmla="*/ 5 w 80"/>
                  <a:gd name="T15" fmla="*/ 42 h 83"/>
                  <a:gd name="T16" fmla="*/ 6 w 80"/>
                  <a:gd name="T17" fmla="*/ 36 h 83"/>
                  <a:gd name="T18" fmla="*/ 2 w 80"/>
                  <a:gd name="T19" fmla="*/ 34 h 83"/>
                  <a:gd name="T20" fmla="*/ 2 w 80"/>
                  <a:gd name="T21" fmla="*/ 28 h 83"/>
                  <a:gd name="T22" fmla="*/ 7 w 80"/>
                  <a:gd name="T23" fmla="*/ 27 h 83"/>
                  <a:gd name="T24" fmla="*/ 13 w 80"/>
                  <a:gd name="T25" fmla="*/ 19 h 83"/>
                  <a:gd name="T26" fmla="*/ 13 w 80"/>
                  <a:gd name="T27" fmla="*/ 12 h 83"/>
                  <a:gd name="T28" fmla="*/ 25 w 80"/>
                  <a:gd name="T29" fmla="*/ 16 h 83"/>
                  <a:gd name="T30" fmla="*/ 37 w 80"/>
                  <a:gd name="T31" fmla="*/ 11 h 83"/>
                  <a:gd name="T32" fmla="*/ 49 w 80"/>
                  <a:gd name="T33" fmla="*/ 16 h 83"/>
                  <a:gd name="T34" fmla="*/ 65 w 80"/>
                  <a:gd name="T35" fmla="*/ 8 h 83"/>
                  <a:gd name="T36" fmla="*/ 83 w 80"/>
                  <a:gd name="T37" fmla="*/ 2 h 83"/>
                  <a:gd name="T38" fmla="*/ 92 w 80"/>
                  <a:gd name="T39" fmla="*/ 0 h 83"/>
                  <a:gd name="T40" fmla="*/ 96 w 80"/>
                  <a:gd name="T41" fmla="*/ 2 h 83"/>
                  <a:gd name="T42" fmla="*/ 91 w 80"/>
                  <a:gd name="T43" fmla="*/ 11 h 83"/>
                  <a:gd name="T44" fmla="*/ 83 w 80"/>
                  <a:gd name="T45" fmla="*/ 16 h 83"/>
                  <a:gd name="T46" fmla="*/ 79 w 80"/>
                  <a:gd name="T47" fmla="*/ 22 h 83"/>
                  <a:gd name="T48" fmla="*/ 82 w 80"/>
                  <a:gd name="T49" fmla="*/ 33 h 83"/>
                  <a:gd name="T50" fmla="*/ 80 w 80"/>
                  <a:gd name="T51" fmla="*/ 40 h 83"/>
                  <a:gd name="T52" fmla="*/ 78 w 80"/>
                  <a:gd name="T53" fmla="*/ 52 h 83"/>
                  <a:gd name="T54" fmla="*/ 68 w 80"/>
                  <a:gd name="T55" fmla="*/ 58 h 83"/>
                  <a:gd name="T56" fmla="*/ 66 w 80"/>
                  <a:gd name="T57" fmla="*/ 63 h 83"/>
                  <a:gd name="T58" fmla="*/ 50 w 80"/>
                  <a:gd name="T59" fmla="*/ 75 h 83"/>
                  <a:gd name="T60" fmla="*/ 19 w 80"/>
                  <a:gd name="T61" fmla="*/ 96 h 83"/>
                  <a:gd name="T62" fmla="*/ 16 w 80"/>
                  <a:gd name="T63" fmla="*/ 100 h 83"/>
                  <a:gd name="T64" fmla="*/ 16 w 80"/>
                  <a:gd name="T65" fmla="*/ 96 h 83"/>
                  <a:gd name="T66" fmla="*/ 0 w 80"/>
                  <a:gd name="T67" fmla="*/ 93 h 83"/>
                  <a:gd name="T68" fmla="*/ 1 w 80"/>
                  <a:gd name="T69" fmla="*/ 87 h 83"/>
                  <a:gd name="T70" fmla="*/ 2 w 80"/>
                  <a:gd name="T71" fmla="*/ 78 h 8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80"/>
                  <a:gd name="T109" fmla="*/ 0 h 83"/>
                  <a:gd name="T110" fmla="*/ 80 w 80"/>
                  <a:gd name="T111" fmla="*/ 83 h 8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80" h="83">
                    <a:moveTo>
                      <a:pt x="2" y="65"/>
                    </a:moveTo>
                    <a:cubicBezTo>
                      <a:pt x="2" y="65"/>
                      <a:pt x="3" y="66"/>
                      <a:pt x="4" y="65"/>
                    </a:cubicBezTo>
                    <a:cubicBezTo>
                      <a:pt x="5" y="63"/>
                      <a:pt x="4" y="60"/>
                      <a:pt x="6" y="58"/>
                    </a:cubicBezTo>
                    <a:cubicBezTo>
                      <a:pt x="7" y="57"/>
                      <a:pt x="9" y="59"/>
                      <a:pt x="11" y="58"/>
                    </a:cubicBezTo>
                    <a:cubicBezTo>
                      <a:pt x="12" y="56"/>
                      <a:pt x="14" y="54"/>
                      <a:pt x="14" y="52"/>
                    </a:cubicBezTo>
                    <a:cubicBezTo>
                      <a:pt x="14" y="49"/>
                      <a:pt x="12" y="47"/>
                      <a:pt x="10" y="45"/>
                    </a:cubicBezTo>
                    <a:cubicBezTo>
                      <a:pt x="9" y="44"/>
                      <a:pt x="7" y="44"/>
                      <a:pt x="5" y="44"/>
                    </a:cubicBezTo>
                    <a:cubicBezTo>
                      <a:pt x="5" y="41"/>
                      <a:pt x="4" y="38"/>
                      <a:pt x="4" y="35"/>
                    </a:cubicBezTo>
                    <a:cubicBezTo>
                      <a:pt x="4" y="34"/>
                      <a:pt x="5" y="32"/>
                      <a:pt x="5" y="30"/>
                    </a:cubicBezTo>
                    <a:cubicBezTo>
                      <a:pt x="4" y="29"/>
                      <a:pt x="2" y="29"/>
                      <a:pt x="2" y="28"/>
                    </a:cubicBezTo>
                    <a:cubicBezTo>
                      <a:pt x="1" y="27"/>
                      <a:pt x="2" y="24"/>
                      <a:pt x="2" y="23"/>
                    </a:cubicBezTo>
                    <a:cubicBezTo>
                      <a:pt x="3" y="23"/>
                      <a:pt x="5" y="23"/>
                      <a:pt x="6" y="22"/>
                    </a:cubicBezTo>
                    <a:cubicBezTo>
                      <a:pt x="8" y="20"/>
                      <a:pt x="10" y="18"/>
                      <a:pt x="11" y="16"/>
                    </a:cubicBezTo>
                    <a:cubicBezTo>
                      <a:pt x="11" y="14"/>
                      <a:pt x="9" y="11"/>
                      <a:pt x="11" y="10"/>
                    </a:cubicBezTo>
                    <a:cubicBezTo>
                      <a:pt x="14" y="9"/>
                      <a:pt x="17" y="13"/>
                      <a:pt x="21" y="13"/>
                    </a:cubicBezTo>
                    <a:cubicBezTo>
                      <a:pt x="24" y="13"/>
                      <a:pt x="27" y="9"/>
                      <a:pt x="31" y="9"/>
                    </a:cubicBezTo>
                    <a:cubicBezTo>
                      <a:pt x="34" y="9"/>
                      <a:pt x="37" y="13"/>
                      <a:pt x="41" y="13"/>
                    </a:cubicBezTo>
                    <a:cubicBezTo>
                      <a:pt x="46" y="12"/>
                      <a:pt x="50" y="9"/>
                      <a:pt x="54" y="7"/>
                    </a:cubicBezTo>
                    <a:cubicBezTo>
                      <a:pt x="59" y="5"/>
                      <a:pt x="64" y="4"/>
                      <a:pt x="69" y="2"/>
                    </a:cubicBezTo>
                    <a:cubicBezTo>
                      <a:pt x="72" y="1"/>
                      <a:pt x="75" y="0"/>
                      <a:pt x="77" y="0"/>
                    </a:cubicBezTo>
                    <a:cubicBezTo>
                      <a:pt x="79" y="0"/>
                      <a:pt x="79" y="1"/>
                      <a:pt x="80" y="2"/>
                    </a:cubicBezTo>
                    <a:cubicBezTo>
                      <a:pt x="79" y="4"/>
                      <a:pt x="78" y="8"/>
                      <a:pt x="76" y="9"/>
                    </a:cubicBezTo>
                    <a:cubicBezTo>
                      <a:pt x="74" y="11"/>
                      <a:pt x="71" y="11"/>
                      <a:pt x="69" y="13"/>
                    </a:cubicBezTo>
                    <a:cubicBezTo>
                      <a:pt x="68" y="14"/>
                      <a:pt x="67" y="16"/>
                      <a:pt x="66" y="18"/>
                    </a:cubicBezTo>
                    <a:cubicBezTo>
                      <a:pt x="66" y="21"/>
                      <a:pt x="68" y="24"/>
                      <a:pt x="68" y="27"/>
                    </a:cubicBezTo>
                    <a:cubicBezTo>
                      <a:pt x="68" y="29"/>
                      <a:pt x="67" y="31"/>
                      <a:pt x="67" y="33"/>
                    </a:cubicBezTo>
                    <a:cubicBezTo>
                      <a:pt x="66" y="36"/>
                      <a:pt x="67" y="40"/>
                      <a:pt x="65" y="43"/>
                    </a:cubicBezTo>
                    <a:cubicBezTo>
                      <a:pt x="63" y="46"/>
                      <a:pt x="59" y="46"/>
                      <a:pt x="57" y="48"/>
                    </a:cubicBezTo>
                    <a:cubicBezTo>
                      <a:pt x="56" y="49"/>
                      <a:pt x="56" y="51"/>
                      <a:pt x="55" y="52"/>
                    </a:cubicBezTo>
                    <a:cubicBezTo>
                      <a:pt x="51" y="56"/>
                      <a:pt x="46" y="59"/>
                      <a:pt x="42" y="62"/>
                    </a:cubicBezTo>
                    <a:cubicBezTo>
                      <a:pt x="33" y="68"/>
                      <a:pt x="24" y="74"/>
                      <a:pt x="16" y="80"/>
                    </a:cubicBezTo>
                    <a:cubicBezTo>
                      <a:pt x="15" y="81"/>
                      <a:pt x="14" y="83"/>
                      <a:pt x="13" y="83"/>
                    </a:cubicBezTo>
                    <a:cubicBezTo>
                      <a:pt x="12" y="83"/>
                      <a:pt x="14" y="80"/>
                      <a:pt x="13" y="80"/>
                    </a:cubicBezTo>
                    <a:cubicBezTo>
                      <a:pt x="9" y="78"/>
                      <a:pt x="4" y="78"/>
                      <a:pt x="0" y="77"/>
                    </a:cubicBezTo>
                    <a:cubicBezTo>
                      <a:pt x="0" y="75"/>
                      <a:pt x="0" y="73"/>
                      <a:pt x="1" y="72"/>
                    </a:cubicBezTo>
                    <a:cubicBezTo>
                      <a:pt x="1" y="70"/>
                      <a:pt x="1" y="67"/>
                      <a:pt x="2" y="65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7" name="Freeform 2608"/>
              <p:cNvSpPr>
                <a:spLocks noChangeAspect="1"/>
              </p:cNvSpPr>
              <p:nvPr/>
            </p:nvSpPr>
            <p:spPr bwMode="auto">
              <a:xfrm>
                <a:off x="5310580" y="3036974"/>
                <a:ext cx="35983" cy="43852"/>
              </a:xfrm>
              <a:custGeom>
                <a:avLst/>
                <a:gdLst>
                  <a:gd name="T0" fmla="*/ 0 w 18"/>
                  <a:gd name="T1" fmla="*/ 27 h 23"/>
                  <a:gd name="T2" fmla="*/ 1 w 18"/>
                  <a:gd name="T3" fmla="*/ 18 h 23"/>
                  <a:gd name="T4" fmla="*/ 7 w 18"/>
                  <a:gd name="T5" fmla="*/ 8 h 23"/>
                  <a:gd name="T6" fmla="*/ 11 w 18"/>
                  <a:gd name="T7" fmla="*/ 0 h 23"/>
                  <a:gd name="T8" fmla="*/ 17 w 18"/>
                  <a:gd name="T9" fmla="*/ 1 h 23"/>
                  <a:gd name="T10" fmla="*/ 22 w 18"/>
                  <a:gd name="T11" fmla="*/ 9 h 23"/>
                  <a:gd name="T12" fmla="*/ 18 w 18"/>
                  <a:gd name="T13" fmla="*/ 16 h 23"/>
                  <a:gd name="T14" fmla="*/ 12 w 18"/>
                  <a:gd name="T15" fmla="*/ 16 h 23"/>
                  <a:gd name="T16" fmla="*/ 10 w 18"/>
                  <a:gd name="T17" fmla="*/ 25 h 23"/>
                  <a:gd name="T18" fmla="*/ 7 w 18"/>
                  <a:gd name="T19" fmla="*/ 25 h 23"/>
                  <a:gd name="T20" fmla="*/ 4 w 18"/>
                  <a:gd name="T21" fmla="*/ 26 h 23"/>
                  <a:gd name="T22" fmla="*/ 0 w 18"/>
                  <a:gd name="T23" fmla="*/ 27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"/>
                  <a:gd name="T37" fmla="*/ 0 h 23"/>
                  <a:gd name="T38" fmla="*/ 18 w 18"/>
                  <a:gd name="T39" fmla="*/ 23 h 2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" h="23">
                    <a:moveTo>
                      <a:pt x="0" y="23"/>
                    </a:moveTo>
                    <a:cubicBezTo>
                      <a:pt x="0" y="21"/>
                      <a:pt x="0" y="18"/>
                      <a:pt x="1" y="15"/>
                    </a:cubicBezTo>
                    <a:cubicBezTo>
                      <a:pt x="2" y="12"/>
                      <a:pt x="4" y="10"/>
                      <a:pt x="6" y="7"/>
                    </a:cubicBezTo>
                    <a:cubicBezTo>
                      <a:pt x="7" y="5"/>
                      <a:pt x="8" y="2"/>
                      <a:pt x="9" y="0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3"/>
                      <a:pt x="18" y="5"/>
                      <a:pt x="18" y="8"/>
                    </a:cubicBezTo>
                    <a:cubicBezTo>
                      <a:pt x="18" y="10"/>
                      <a:pt x="16" y="12"/>
                      <a:pt x="15" y="14"/>
                    </a:cubicBezTo>
                    <a:cubicBezTo>
                      <a:pt x="13" y="15"/>
                      <a:pt x="11" y="13"/>
                      <a:pt x="10" y="14"/>
                    </a:cubicBezTo>
                    <a:cubicBezTo>
                      <a:pt x="8" y="16"/>
                      <a:pt x="9" y="19"/>
                      <a:pt x="8" y="21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5" y="21"/>
                      <a:pt x="4" y="21"/>
                      <a:pt x="3" y="22"/>
                    </a:cubicBezTo>
                    <a:cubicBezTo>
                      <a:pt x="2" y="22"/>
                      <a:pt x="1" y="23"/>
                      <a:pt x="0" y="23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8" name="Freeform 2609"/>
              <p:cNvSpPr>
                <a:spLocks noChangeAspect="1"/>
              </p:cNvSpPr>
              <p:nvPr/>
            </p:nvSpPr>
            <p:spPr bwMode="auto">
              <a:xfrm>
                <a:off x="5300767" y="3106812"/>
                <a:ext cx="525024" cy="470998"/>
              </a:xfrm>
              <a:custGeom>
                <a:avLst/>
                <a:gdLst>
                  <a:gd name="T0" fmla="*/ 249 w 267"/>
                  <a:gd name="T1" fmla="*/ 145 h 242"/>
                  <a:gd name="T2" fmla="*/ 243 w 267"/>
                  <a:gd name="T3" fmla="*/ 132 h 242"/>
                  <a:gd name="T4" fmla="*/ 232 w 267"/>
                  <a:gd name="T5" fmla="*/ 117 h 242"/>
                  <a:gd name="T6" fmla="*/ 233 w 267"/>
                  <a:gd name="T7" fmla="*/ 103 h 242"/>
                  <a:gd name="T8" fmla="*/ 220 w 267"/>
                  <a:gd name="T9" fmla="*/ 91 h 242"/>
                  <a:gd name="T10" fmla="*/ 214 w 267"/>
                  <a:gd name="T11" fmla="*/ 84 h 242"/>
                  <a:gd name="T12" fmla="*/ 195 w 267"/>
                  <a:gd name="T13" fmla="*/ 72 h 242"/>
                  <a:gd name="T14" fmla="*/ 176 w 267"/>
                  <a:gd name="T15" fmla="*/ 59 h 242"/>
                  <a:gd name="T16" fmla="*/ 113 w 267"/>
                  <a:gd name="T17" fmla="*/ 24 h 242"/>
                  <a:gd name="T18" fmla="*/ 89 w 267"/>
                  <a:gd name="T19" fmla="*/ 7 h 242"/>
                  <a:gd name="T20" fmla="*/ 63 w 267"/>
                  <a:gd name="T21" fmla="*/ 6 h 242"/>
                  <a:gd name="T22" fmla="*/ 35 w 267"/>
                  <a:gd name="T23" fmla="*/ 16 h 242"/>
                  <a:gd name="T24" fmla="*/ 43 w 267"/>
                  <a:gd name="T25" fmla="*/ 37 h 242"/>
                  <a:gd name="T26" fmla="*/ 28 w 267"/>
                  <a:gd name="T27" fmla="*/ 47 h 242"/>
                  <a:gd name="T28" fmla="*/ 5 w 267"/>
                  <a:gd name="T29" fmla="*/ 56 h 242"/>
                  <a:gd name="T30" fmla="*/ 1 w 267"/>
                  <a:gd name="T31" fmla="*/ 79 h 242"/>
                  <a:gd name="T32" fmla="*/ 13 w 267"/>
                  <a:gd name="T33" fmla="*/ 79 h 242"/>
                  <a:gd name="T34" fmla="*/ 31 w 267"/>
                  <a:gd name="T35" fmla="*/ 114 h 242"/>
                  <a:gd name="T36" fmla="*/ 44 w 267"/>
                  <a:gd name="T37" fmla="*/ 132 h 242"/>
                  <a:gd name="T38" fmla="*/ 52 w 267"/>
                  <a:gd name="T39" fmla="*/ 149 h 242"/>
                  <a:gd name="T40" fmla="*/ 66 w 267"/>
                  <a:gd name="T41" fmla="*/ 165 h 242"/>
                  <a:gd name="T42" fmla="*/ 71 w 267"/>
                  <a:gd name="T43" fmla="*/ 191 h 242"/>
                  <a:gd name="T44" fmla="*/ 81 w 267"/>
                  <a:gd name="T45" fmla="*/ 217 h 242"/>
                  <a:gd name="T46" fmla="*/ 96 w 267"/>
                  <a:gd name="T47" fmla="*/ 231 h 242"/>
                  <a:gd name="T48" fmla="*/ 107 w 267"/>
                  <a:gd name="T49" fmla="*/ 249 h 242"/>
                  <a:gd name="T50" fmla="*/ 120 w 267"/>
                  <a:gd name="T51" fmla="*/ 276 h 242"/>
                  <a:gd name="T52" fmla="*/ 126 w 267"/>
                  <a:gd name="T53" fmla="*/ 280 h 242"/>
                  <a:gd name="T54" fmla="*/ 136 w 267"/>
                  <a:gd name="T55" fmla="*/ 284 h 242"/>
                  <a:gd name="T56" fmla="*/ 139 w 267"/>
                  <a:gd name="T57" fmla="*/ 271 h 242"/>
                  <a:gd name="T58" fmla="*/ 186 w 267"/>
                  <a:gd name="T59" fmla="*/ 271 h 242"/>
                  <a:gd name="T60" fmla="*/ 203 w 267"/>
                  <a:gd name="T61" fmla="*/ 276 h 242"/>
                  <a:gd name="T62" fmla="*/ 267 w 267"/>
                  <a:gd name="T63" fmla="*/ 242 h 242"/>
                  <a:gd name="T64" fmla="*/ 321 w 267"/>
                  <a:gd name="T65" fmla="*/ 189 h 242"/>
                  <a:gd name="T66" fmla="*/ 309 w 267"/>
                  <a:gd name="T67" fmla="*/ 180 h 242"/>
                  <a:gd name="T68" fmla="*/ 257 w 267"/>
                  <a:gd name="T69" fmla="*/ 156 h 242"/>
                  <a:gd name="T70" fmla="*/ 258 w 267"/>
                  <a:gd name="T71" fmla="*/ 149 h 242"/>
                  <a:gd name="T72" fmla="*/ 257 w 267"/>
                  <a:gd name="T73" fmla="*/ 145 h 2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7"/>
                  <a:gd name="T112" fmla="*/ 0 h 242"/>
                  <a:gd name="T113" fmla="*/ 267 w 267"/>
                  <a:gd name="T114" fmla="*/ 242 h 24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7" h="242">
                    <a:moveTo>
                      <a:pt x="210" y="119"/>
                    </a:moveTo>
                    <a:cubicBezTo>
                      <a:pt x="209" y="120"/>
                      <a:pt x="208" y="121"/>
                      <a:pt x="207" y="121"/>
                    </a:cubicBezTo>
                    <a:cubicBezTo>
                      <a:pt x="206" y="120"/>
                      <a:pt x="205" y="118"/>
                      <a:pt x="205" y="117"/>
                    </a:cubicBezTo>
                    <a:cubicBezTo>
                      <a:pt x="204" y="115"/>
                      <a:pt x="204" y="112"/>
                      <a:pt x="202" y="110"/>
                    </a:cubicBezTo>
                    <a:cubicBezTo>
                      <a:pt x="201" y="108"/>
                      <a:pt x="199" y="106"/>
                      <a:pt x="197" y="104"/>
                    </a:cubicBezTo>
                    <a:cubicBezTo>
                      <a:pt x="196" y="102"/>
                      <a:pt x="193" y="101"/>
                      <a:pt x="193" y="98"/>
                    </a:cubicBezTo>
                    <a:cubicBezTo>
                      <a:pt x="192" y="96"/>
                      <a:pt x="194" y="94"/>
                      <a:pt x="194" y="92"/>
                    </a:cubicBezTo>
                    <a:cubicBezTo>
                      <a:pt x="195" y="90"/>
                      <a:pt x="195" y="87"/>
                      <a:pt x="194" y="86"/>
                    </a:cubicBezTo>
                    <a:cubicBezTo>
                      <a:pt x="192" y="83"/>
                      <a:pt x="188" y="82"/>
                      <a:pt x="186" y="80"/>
                    </a:cubicBezTo>
                    <a:cubicBezTo>
                      <a:pt x="184" y="79"/>
                      <a:pt x="184" y="77"/>
                      <a:pt x="183" y="76"/>
                    </a:cubicBezTo>
                    <a:cubicBezTo>
                      <a:pt x="182" y="74"/>
                      <a:pt x="179" y="75"/>
                      <a:pt x="178" y="74"/>
                    </a:cubicBezTo>
                    <a:cubicBezTo>
                      <a:pt x="177" y="73"/>
                      <a:pt x="178" y="71"/>
                      <a:pt x="178" y="70"/>
                    </a:cubicBezTo>
                    <a:cubicBezTo>
                      <a:pt x="176" y="67"/>
                      <a:pt x="175" y="63"/>
                      <a:pt x="173" y="60"/>
                    </a:cubicBezTo>
                    <a:cubicBezTo>
                      <a:pt x="169" y="60"/>
                      <a:pt x="165" y="60"/>
                      <a:pt x="162" y="60"/>
                    </a:cubicBezTo>
                    <a:cubicBezTo>
                      <a:pt x="160" y="58"/>
                      <a:pt x="160" y="54"/>
                      <a:pt x="158" y="52"/>
                    </a:cubicBezTo>
                    <a:cubicBezTo>
                      <a:pt x="154" y="51"/>
                      <a:pt x="150" y="50"/>
                      <a:pt x="146" y="49"/>
                    </a:cubicBezTo>
                    <a:cubicBezTo>
                      <a:pt x="139" y="48"/>
                      <a:pt x="131" y="48"/>
                      <a:pt x="124" y="48"/>
                    </a:cubicBezTo>
                    <a:cubicBezTo>
                      <a:pt x="114" y="38"/>
                      <a:pt x="104" y="29"/>
                      <a:pt x="94" y="20"/>
                    </a:cubicBezTo>
                    <a:cubicBezTo>
                      <a:pt x="91" y="18"/>
                      <a:pt x="87" y="16"/>
                      <a:pt x="84" y="14"/>
                    </a:cubicBezTo>
                    <a:cubicBezTo>
                      <a:pt x="80" y="11"/>
                      <a:pt x="77" y="9"/>
                      <a:pt x="74" y="6"/>
                    </a:cubicBezTo>
                    <a:cubicBezTo>
                      <a:pt x="68" y="4"/>
                      <a:pt x="63" y="2"/>
                      <a:pt x="58" y="0"/>
                    </a:cubicBezTo>
                    <a:cubicBezTo>
                      <a:pt x="56" y="1"/>
                      <a:pt x="54" y="4"/>
                      <a:pt x="52" y="5"/>
                    </a:cubicBezTo>
                    <a:cubicBezTo>
                      <a:pt x="45" y="8"/>
                      <a:pt x="38" y="9"/>
                      <a:pt x="29" y="11"/>
                    </a:cubicBezTo>
                    <a:cubicBezTo>
                      <a:pt x="29" y="11"/>
                      <a:pt x="28" y="12"/>
                      <a:pt x="29" y="13"/>
                    </a:cubicBezTo>
                    <a:cubicBezTo>
                      <a:pt x="32" y="19"/>
                      <a:pt x="38" y="23"/>
                      <a:pt x="40" y="29"/>
                    </a:cubicBezTo>
                    <a:cubicBezTo>
                      <a:pt x="41" y="30"/>
                      <a:pt x="37" y="29"/>
                      <a:pt x="36" y="31"/>
                    </a:cubicBezTo>
                    <a:cubicBezTo>
                      <a:pt x="35" y="32"/>
                      <a:pt x="36" y="35"/>
                      <a:pt x="34" y="36"/>
                    </a:cubicBezTo>
                    <a:cubicBezTo>
                      <a:pt x="31" y="37"/>
                      <a:pt x="26" y="37"/>
                      <a:pt x="23" y="39"/>
                    </a:cubicBezTo>
                    <a:cubicBezTo>
                      <a:pt x="21" y="41"/>
                      <a:pt x="20" y="45"/>
                      <a:pt x="18" y="49"/>
                    </a:cubicBezTo>
                    <a:cubicBezTo>
                      <a:pt x="13" y="49"/>
                      <a:pt x="9" y="47"/>
                      <a:pt x="4" y="47"/>
                    </a:cubicBezTo>
                    <a:cubicBezTo>
                      <a:pt x="3" y="50"/>
                      <a:pt x="3" y="55"/>
                      <a:pt x="2" y="58"/>
                    </a:cubicBezTo>
                    <a:cubicBezTo>
                      <a:pt x="1" y="61"/>
                      <a:pt x="0" y="64"/>
                      <a:pt x="1" y="66"/>
                    </a:cubicBezTo>
                    <a:cubicBezTo>
                      <a:pt x="1" y="67"/>
                      <a:pt x="4" y="66"/>
                      <a:pt x="5" y="66"/>
                    </a:cubicBezTo>
                    <a:cubicBezTo>
                      <a:pt x="7" y="66"/>
                      <a:pt x="10" y="65"/>
                      <a:pt x="11" y="66"/>
                    </a:cubicBezTo>
                    <a:cubicBezTo>
                      <a:pt x="15" y="72"/>
                      <a:pt x="16" y="80"/>
                      <a:pt x="19" y="86"/>
                    </a:cubicBezTo>
                    <a:cubicBezTo>
                      <a:pt x="21" y="89"/>
                      <a:pt x="24" y="92"/>
                      <a:pt x="26" y="95"/>
                    </a:cubicBezTo>
                    <a:cubicBezTo>
                      <a:pt x="28" y="98"/>
                      <a:pt x="30" y="100"/>
                      <a:pt x="32" y="103"/>
                    </a:cubicBezTo>
                    <a:cubicBezTo>
                      <a:pt x="34" y="105"/>
                      <a:pt x="37" y="107"/>
                      <a:pt x="37" y="110"/>
                    </a:cubicBezTo>
                    <a:cubicBezTo>
                      <a:pt x="38" y="112"/>
                      <a:pt x="35" y="115"/>
                      <a:pt x="36" y="117"/>
                    </a:cubicBezTo>
                    <a:cubicBezTo>
                      <a:pt x="37" y="120"/>
                      <a:pt x="41" y="123"/>
                      <a:pt x="43" y="124"/>
                    </a:cubicBezTo>
                    <a:cubicBezTo>
                      <a:pt x="46" y="126"/>
                      <a:pt x="48" y="129"/>
                      <a:pt x="51" y="132"/>
                    </a:cubicBezTo>
                    <a:cubicBezTo>
                      <a:pt x="52" y="134"/>
                      <a:pt x="54" y="136"/>
                      <a:pt x="55" y="138"/>
                    </a:cubicBezTo>
                    <a:cubicBezTo>
                      <a:pt x="56" y="142"/>
                      <a:pt x="58" y="146"/>
                      <a:pt x="59" y="151"/>
                    </a:cubicBezTo>
                    <a:cubicBezTo>
                      <a:pt x="59" y="153"/>
                      <a:pt x="59" y="156"/>
                      <a:pt x="59" y="159"/>
                    </a:cubicBezTo>
                    <a:cubicBezTo>
                      <a:pt x="59" y="161"/>
                      <a:pt x="58" y="164"/>
                      <a:pt x="59" y="167"/>
                    </a:cubicBezTo>
                    <a:cubicBezTo>
                      <a:pt x="61" y="172"/>
                      <a:pt x="64" y="177"/>
                      <a:pt x="67" y="181"/>
                    </a:cubicBezTo>
                    <a:cubicBezTo>
                      <a:pt x="69" y="183"/>
                      <a:pt x="72" y="183"/>
                      <a:pt x="74" y="185"/>
                    </a:cubicBezTo>
                    <a:cubicBezTo>
                      <a:pt x="76" y="187"/>
                      <a:pt x="78" y="190"/>
                      <a:pt x="80" y="193"/>
                    </a:cubicBezTo>
                    <a:cubicBezTo>
                      <a:pt x="82" y="195"/>
                      <a:pt x="84" y="198"/>
                      <a:pt x="86" y="200"/>
                    </a:cubicBezTo>
                    <a:cubicBezTo>
                      <a:pt x="87" y="203"/>
                      <a:pt x="88" y="206"/>
                      <a:pt x="89" y="208"/>
                    </a:cubicBezTo>
                    <a:cubicBezTo>
                      <a:pt x="93" y="214"/>
                      <a:pt x="96" y="219"/>
                      <a:pt x="100" y="224"/>
                    </a:cubicBezTo>
                    <a:cubicBezTo>
                      <a:pt x="101" y="226"/>
                      <a:pt x="99" y="228"/>
                      <a:pt x="100" y="230"/>
                    </a:cubicBezTo>
                    <a:cubicBezTo>
                      <a:pt x="101" y="231"/>
                      <a:pt x="102" y="227"/>
                      <a:pt x="103" y="228"/>
                    </a:cubicBezTo>
                    <a:cubicBezTo>
                      <a:pt x="105" y="229"/>
                      <a:pt x="103" y="232"/>
                      <a:pt x="105" y="234"/>
                    </a:cubicBezTo>
                    <a:cubicBezTo>
                      <a:pt x="106" y="237"/>
                      <a:pt x="108" y="240"/>
                      <a:pt x="109" y="242"/>
                    </a:cubicBezTo>
                    <a:cubicBezTo>
                      <a:pt x="111" y="240"/>
                      <a:pt x="112" y="239"/>
                      <a:pt x="113" y="237"/>
                    </a:cubicBezTo>
                    <a:cubicBezTo>
                      <a:pt x="114" y="234"/>
                      <a:pt x="113" y="231"/>
                      <a:pt x="113" y="229"/>
                    </a:cubicBezTo>
                    <a:cubicBezTo>
                      <a:pt x="114" y="227"/>
                      <a:pt x="115" y="226"/>
                      <a:pt x="116" y="226"/>
                    </a:cubicBezTo>
                    <a:cubicBezTo>
                      <a:pt x="118" y="225"/>
                      <a:pt x="119" y="228"/>
                      <a:pt x="120" y="228"/>
                    </a:cubicBezTo>
                    <a:cubicBezTo>
                      <a:pt x="132" y="228"/>
                      <a:pt x="144" y="226"/>
                      <a:pt x="155" y="226"/>
                    </a:cubicBezTo>
                    <a:lnTo>
                      <a:pt x="162" y="231"/>
                    </a:lnTo>
                    <a:cubicBezTo>
                      <a:pt x="164" y="233"/>
                      <a:pt x="167" y="232"/>
                      <a:pt x="169" y="230"/>
                    </a:cubicBezTo>
                    <a:cubicBezTo>
                      <a:pt x="174" y="226"/>
                      <a:pt x="176" y="220"/>
                      <a:pt x="180" y="215"/>
                    </a:cubicBezTo>
                    <a:cubicBezTo>
                      <a:pt x="194" y="211"/>
                      <a:pt x="208" y="206"/>
                      <a:pt x="222" y="202"/>
                    </a:cubicBezTo>
                    <a:lnTo>
                      <a:pt x="261" y="188"/>
                    </a:lnTo>
                    <a:lnTo>
                      <a:pt x="267" y="158"/>
                    </a:lnTo>
                    <a:lnTo>
                      <a:pt x="261" y="146"/>
                    </a:lnTo>
                    <a:lnTo>
                      <a:pt x="257" y="150"/>
                    </a:lnTo>
                    <a:lnTo>
                      <a:pt x="218" y="142"/>
                    </a:lnTo>
                    <a:lnTo>
                      <a:pt x="214" y="130"/>
                    </a:lnTo>
                    <a:lnTo>
                      <a:pt x="217" y="126"/>
                    </a:lnTo>
                    <a:cubicBezTo>
                      <a:pt x="217" y="125"/>
                      <a:pt x="216" y="124"/>
                      <a:pt x="215" y="124"/>
                    </a:cubicBezTo>
                    <a:cubicBezTo>
                      <a:pt x="214" y="124"/>
                      <a:pt x="212" y="127"/>
                      <a:pt x="212" y="126"/>
                    </a:cubicBezTo>
                    <a:cubicBezTo>
                      <a:pt x="211" y="124"/>
                      <a:pt x="214" y="123"/>
                      <a:pt x="214" y="121"/>
                    </a:cubicBezTo>
                    <a:cubicBezTo>
                      <a:pt x="213" y="120"/>
                      <a:pt x="211" y="120"/>
                      <a:pt x="210" y="119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299" name="Freeform 2610"/>
              <p:cNvSpPr>
                <a:spLocks noChangeAspect="1"/>
              </p:cNvSpPr>
              <p:nvPr/>
            </p:nvSpPr>
            <p:spPr bwMode="auto">
              <a:xfrm>
                <a:off x="5308944" y="3071081"/>
                <a:ext cx="106314" cy="131555"/>
              </a:xfrm>
              <a:custGeom>
                <a:avLst/>
                <a:gdLst>
                  <a:gd name="T0" fmla="*/ 0 w 54"/>
                  <a:gd name="T1" fmla="*/ 79 h 67"/>
                  <a:gd name="T2" fmla="*/ 0 w 54"/>
                  <a:gd name="T3" fmla="*/ 76 h 67"/>
                  <a:gd name="T4" fmla="*/ 0 w 54"/>
                  <a:gd name="T5" fmla="*/ 74 h 67"/>
                  <a:gd name="T6" fmla="*/ 0 w 54"/>
                  <a:gd name="T7" fmla="*/ 64 h 67"/>
                  <a:gd name="T8" fmla="*/ 2 w 54"/>
                  <a:gd name="T9" fmla="*/ 50 h 67"/>
                  <a:gd name="T10" fmla="*/ 4 w 54"/>
                  <a:gd name="T11" fmla="*/ 42 h 67"/>
                  <a:gd name="T12" fmla="*/ 5 w 54"/>
                  <a:gd name="T13" fmla="*/ 28 h 67"/>
                  <a:gd name="T14" fmla="*/ 6 w 54"/>
                  <a:gd name="T15" fmla="*/ 18 h 67"/>
                  <a:gd name="T16" fmla="*/ 22 w 54"/>
                  <a:gd name="T17" fmla="*/ 22 h 67"/>
                  <a:gd name="T18" fmla="*/ 22 w 54"/>
                  <a:gd name="T19" fmla="*/ 25 h 67"/>
                  <a:gd name="T20" fmla="*/ 25 w 54"/>
                  <a:gd name="T21" fmla="*/ 22 h 67"/>
                  <a:gd name="T22" fmla="*/ 57 w 54"/>
                  <a:gd name="T23" fmla="*/ 0 h 67"/>
                  <a:gd name="T24" fmla="*/ 58 w 54"/>
                  <a:gd name="T25" fmla="*/ 5 h 67"/>
                  <a:gd name="T26" fmla="*/ 60 w 54"/>
                  <a:gd name="T27" fmla="*/ 13 h 67"/>
                  <a:gd name="T28" fmla="*/ 58 w 54"/>
                  <a:gd name="T29" fmla="*/ 17 h 67"/>
                  <a:gd name="T30" fmla="*/ 65 w 54"/>
                  <a:gd name="T31" fmla="*/ 22 h 67"/>
                  <a:gd name="T32" fmla="*/ 58 w 54"/>
                  <a:gd name="T33" fmla="*/ 28 h 67"/>
                  <a:gd name="T34" fmla="*/ 30 w 54"/>
                  <a:gd name="T35" fmla="*/ 35 h 67"/>
                  <a:gd name="T36" fmla="*/ 30 w 54"/>
                  <a:gd name="T37" fmla="*/ 37 h 67"/>
                  <a:gd name="T38" fmla="*/ 43 w 54"/>
                  <a:gd name="T39" fmla="*/ 57 h 67"/>
                  <a:gd name="T40" fmla="*/ 39 w 54"/>
                  <a:gd name="T41" fmla="*/ 59 h 67"/>
                  <a:gd name="T42" fmla="*/ 36 w 54"/>
                  <a:gd name="T43" fmla="*/ 65 h 67"/>
                  <a:gd name="T44" fmla="*/ 23 w 54"/>
                  <a:gd name="T45" fmla="*/ 69 h 67"/>
                  <a:gd name="T46" fmla="*/ 17 w 54"/>
                  <a:gd name="T47" fmla="*/ 81 h 67"/>
                  <a:gd name="T48" fmla="*/ 0 w 54"/>
                  <a:gd name="T49" fmla="*/ 79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4"/>
                  <a:gd name="T76" fmla="*/ 0 h 67"/>
                  <a:gd name="T77" fmla="*/ 54 w 54"/>
                  <a:gd name="T78" fmla="*/ 67 h 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4" h="67">
                    <a:moveTo>
                      <a:pt x="0" y="65"/>
                    </a:moveTo>
                    <a:cubicBezTo>
                      <a:pt x="0" y="64"/>
                      <a:pt x="0" y="63"/>
                      <a:pt x="0" y="63"/>
                    </a:cubicBezTo>
                    <a:cubicBezTo>
                      <a:pt x="0" y="62"/>
                      <a:pt x="0" y="62"/>
                      <a:pt x="0" y="61"/>
                    </a:cubicBezTo>
                    <a:cubicBezTo>
                      <a:pt x="0" y="59"/>
                      <a:pt x="0" y="56"/>
                      <a:pt x="0" y="53"/>
                    </a:cubicBezTo>
                    <a:cubicBezTo>
                      <a:pt x="1" y="49"/>
                      <a:pt x="1" y="45"/>
                      <a:pt x="2" y="41"/>
                    </a:cubicBezTo>
                    <a:cubicBezTo>
                      <a:pt x="2" y="39"/>
                      <a:pt x="3" y="37"/>
                      <a:pt x="3" y="35"/>
                    </a:cubicBezTo>
                    <a:cubicBezTo>
                      <a:pt x="3" y="31"/>
                      <a:pt x="3" y="27"/>
                      <a:pt x="4" y="23"/>
                    </a:cubicBezTo>
                    <a:cubicBezTo>
                      <a:pt x="4" y="21"/>
                      <a:pt x="4" y="18"/>
                      <a:pt x="5" y="15"/>
                    </a:cubicBezTo>
                    <a:cubicBezTo>
                      <a:pt x="9" y="16"/>
                      <a:pt x="14" y="16"/>
                      <a:pt x="18" y="18"/>
                    </a:cubicBezTo>
                    <a:cubicBezTo>
                      <a:pt x="19" y="18"/>
                      <a:pt x="17" y="21"/>
                      <a:pt x="18" y="21"/>
                    </a:cubicBezTo>
                    <a:cubicBezTo>
                      <a:pt x="19" y="21"/>
                      <a:pt x="20" y="19"/>
                      <a:pt x="21" y="18"/>
                    </a:cubicBezTo>
                    <a:cubicBezTo>
                      <a:pt x="29" y="12"/>
                      <a:pt x="38" y="6"/>
                      <a:pt x="47" y="0"/>
                    </a:cubicBezTo>
                    <a:cubicBezTo>
                      <a:pt x="47" y="2"/>
                      <a:pt x="47" y="3"/>
                      <a:pt x="48" y="4"/>
                    </a:cubicBezTo>
                    <a:cubicBezTo>
                      <a:pt x="48" y="7"/>
                      <a:pt x="50" y="9"/>
                      <a:pt x="50" y="11"/>
                    </a:cubicBezTo>
                    <a:cubicBezTo>
                      <a:pt x="50" y="13"/>
                      <a:pt x="48" y="13"/>
                      <a:pt x="48" y="14"/>
                    </a:cubicBezTo>
                    <a:cubicBezTo>
                      <a:pt x="50" y="16"/>
                      <a:pt x="52" y="17"/>
                      <a:pt x="54" y="18"/>
                    </a:cubicBezTo>
                    <a:cubicBezTo>
                      <a:pt x="52" y="19"/>
                      <a:pt x="50" y="22"/>
                      <a:pt x="48" y="23"/>
                    </a:cubicBezTo>
                    <a:cubicBezTo>
                      <a:pt x="41" y="26"/>
                      <a:pt x="34" y="27"/>
                      <a:pt x="25" y="29"/>
                    </a:cubicBezTo>
                    <a:cubicBezTo>
                      <a:pt x="25" y="29"/>
                      <a:pt x="24" y="30"/>
                      <a:pt x="25" y="31"/>
                    </a:cubicBezTo>
                    <a:cubicBezTo>
                      <a:pt x="28" y="37"/>
                      <a:pt x="34" y="41"/>
                      <a:pt x="36" y="47"/>
                    </a:cubicBezTo>
                    <a:cubicBezTo>
                      <a:pt x="37" y="48"/>
                      <a:pt x="33" y="47"/>
                      <a:pt x="32" y="49"/>
                    </a:cubicBezTo>
                    <a:cubicBezTo>
                      <a:pt x="31" y="50"/>
                      <a:pt x="32" y="53"/>
                      <a:pt x="30" y="54"/>
                    </a:cubicBezTo>
                    <a:cubicBezTo>
                      <a:pt x="27" y="55"/>
                      <a:pt x="22" y="55"/>
                      <a:pt x="19" y="57"/>
                    </a:cubicBezTo>
                    <a:cubicBezTo>
                      <a:pt x="17" y="59"/>
                      <a:pt x="16" y="63"/>
                      <a:pt x="14" y="67"/>
                    </a:cubicBezTo>
                    <a:cubicBezTo>
                      <a:pt x="9" y="67"/>
                      <a:pt x="5" y="65"/>
                      <a:pt x="0" y="65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0" name="Freeform 2611"/>
              <p:cNvSpPr>
                <a:spLocks noChangeAspect="1"/>
              </p:cNvSpPr>
              <p:nvPr/>
            </p:nvSpPr>
            <p:spPr bwMode="auto">
              <a:xfrm>
                <a:off x="5240250" y="3139295"/>
                <a:ext cx="68695" cy="103944"/>
              </a:xfrm>
              <a:custGeom>
                <a:avLst/>
                <a:gdLst>
                  <a:gd name="T0" fmla="*/ 42 w 35"/>
                  <a:gd name="T1" fmla="*/ 31 h 53"/>
                  <a:gd name="T2" fmla="*/ 37 w 35"/>
                  <a:gd name="T3" fmla="*/ 37 h 53"/>
                  <a:gd name="T4" fmla="*/ 37 w 35"/>
                  <a:gd name="T5" fmla="*/ 47 h 53"/>
                  <a:gd name="T6" fmla="*/ 34 w 35"/>
                  <a:gd name="T7" fmla="*/ 52 h 53"/>
                  <a:gd name="T8" fmla="*/ 35 w 35"/>
                  <a:gd name="T9" fmla="*/ 62 h 53"/>
                  <a:gd name="T10" fmla="*/ 34 w 35"/>
                  <a:gd name="T11" fmla="*/ 64 h 53"/>
                  <a:gd name="T12" fmla="*/ 23 w 35"/>
                  <a:gd name="T13" fmla="*/ 57 h 53"/>
                  <a:gd name="T14" fmla="*/ 20 w 35"/>
                  <a:gd name="T15" fmla="*/ 50 h 53"/>
                  <a:gd name="T16" fmla="*/ 8 w 35"/>
                  <a:gd name="T17" fmla="*/ 35 h 53"/>
                  <a:gd name="T18" fmla="*/ 8 w 35"/>
                  <a:gd name="T19" fmla="*/ 30 h 53"/>
                  <a:gd name="T20" fmla="*/ 5 w 35"/>
                  <a:gd name="T21" fmla="*/ 22 h 53"/>
                  <a:gd name="T22" fmla="*/ 1 w 35"/>
                  <a:gd name="T23" fmla="*/ 12 h 53"/>
                  <a:gd name="T24" fmla="*/ 2 w 35"/>
                  <a:gd name="T25" fmla="*/ 2 h 53"/>
                  <a:gd name="T26" fmla="*/ 11 w 35"/>
                  <a:gd name="T27" fmla="*/ 0 h 53"/>
                  <a:gd name="T28" fmla="*/ 20 w 35"/>
                  <a:gd name="T29" fmla="*/ 2 h 53"/>
                  <a:gd name="T30" fmla="*/ 29 w 35"/>
                  <a:gd name="T31" fmla="*/ 1 h 53"/>
                  <a:gd name="T32" fmla="*/ 42 w 35"/>
                  <a:gd name="T33" fmla="*/ 31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53"/>
                  <a:gd name="T53" fmla="*/ 35 w 35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53">
                    <a:moveTo>
                      <a:pt x="35" y="26"/>
                    </a:moveTo>
                    <a:cubicBezTo>
                      <a:pt x="33" y="27"/>
                      <a:pt x="31" y="29"/>
                      <a:pt x="31" y="31"/>
                    </a:cubicBezTo>
                    <a:cubicBezTo>
                      <a:pt x="30" y="34"/>
                      <a:pt x="32" y="36"/>
                      <a:pt x="31" y="39"/>
                    </a:cubicBezTo>
                    <a:cubicBezTo>
                      <a:pt x="31" y="40"/>
                      <a:pt x="28" y="41"/>
                      <a:pt x="28" y="43"/>
                    </a:cubicBezTo>
                    <a:cubicBezTo>
                      <a:pt x="28" y="46"/>
                      <a:pt x="29" y="48"/>
                      <a:pt x="29" y="51"/>
                    </a:cubicBezTo>
                    <a:cubicBezTo>
                      <a:pt x="29" y="52"/>
                      <a:pt x="29" y="53"/>
                      <a:pt x="28" y="53"/>
                    </a:cubicBezTo>
                    <a:cubicBezTo>
                      <a:pt x="25" y="52"/>
                      <a:pt x="21" y="50"/>
                      <a:pt x="19" y="47"/>
                    </a:cubicBezTo>
                    <a:cubicBezTo>
                      <a:pt x="17" y="46"/>
                      <a:pt x="18" y="43"/>
                      <a:pt x="17" y="41"/>
                    </a:cubicBezTo>
                    <a:cubicBezTo>
                      <a:pt x="14" y="37"/>
                      <a:pt x="10" y="33"/>
                      <a:pt x="7" y="29"/>
                    </a:cubicBezTo>
                    <a:cubicBezTo>
                      <a:pt x="6" y="28"/>
                      <a:pt x="7" y="26"/>
                      <a:pt x="7" y="25"/>
                    </a:cubicBezTo>
                    <a:cubicBezTo>
                      <a:pt x="6" y="23"/>
                      <a:pt x="5" y="20"/>
                      <a:pt x="4" y="18"/>
                    </a:cubicBezTo>
                    <a:cubicBezTo>
                      <a:pt x="3" y="15"/>
                      <a:pt x="1" y="13"/>
                      <a:pt x="1" y="10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0"/>
                    </a:cubicBezTo>
                    <a:cubicBezTo>
                      <a:pt x="12" y="0"/>
                      <a:pt x="15" y="2"/>
                      <a:pt x="17" y="2"/>
                    </a:cubicBezTo>
                    <a:cubicBezTo>
                      <a:pt x="20" y="2"/>
                      <a:pt x="22" y="1"/>
                      <a:pt x="24" y="1"/>
                    </a:cubicBezTo>
                    <a:lnTo>
                      <a:pt x="35" y="26"/>
                    </a:lnTo>
                    <a:close/>
                  </a:path>
                </a:pathLst>
              </a:custGeom>
              <a:pattFill prst="wdUpDiag">
                <a:fgClr>
                  <a:srgbClr val="FFFF66"/>
                </a:fgClr>
                <a:bgClr>
                  <a:srgbClr val="6CF834"/>
                </a:bgClr>
              </a:patt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1" name="Freeform 2612"/>
              <p:cNvSpPr>
                <a:spLocks noChangeAspect="1"/>
              </p:cNvSpPr>
              <p:nvPr/>
            </p:nvSpPr>
            <p:spPr bwMode="auto">
              <a:xfrm>
                <a:off x="5737468" y="3329318"/>
                <a:ext cx="192999" cy="238748"/>
              </a:xfrm>
              <a:custGeom>
                <a:avLst/>
                <a:gdLst>
                  <a:gd name="T0" fmla="*/ 20 w 98"/>
                  <a:gd name="T1" fmla="*/ 147 h 123"/>
                  <a:gd name="T2" fmla="*/ 31 w 98"/>
                  <a:gd name="T3" fmla="*/ 142 h 123"/>
                  <a:gd name="T4" fmla="*/ 40 w 98"/>
                  <a:gd name="T5" fmla="*/ 140 h 123"/>
                  <a:gd name="T6" fmla="*/ 47 w 98"/>
                  <a:gd name="T7" fmla="*/ 142 h 123"/>
                  <a:gd name="T8" fmla="*/ 54 w 98"/>
                  <a:gd name="T9" fmla="*/ 135 h 123"/>
                  <a:gd name="T10" fmla="*/ 51 w 98"/>
                  <a:gd name="T11" fmla="*/ 130 h 123"/>
                  <a:gd name="T12" fmla="*/ 65 w 98"/>
                  <a:gd name="T13" fmla="*/ 124 h 123"/>
                  <a:gd name="T14" fmla="*/ 71 w 98"/>
                  <a:gd name="T15" fmla="*/ 123 h 123"/>
                  <a:gd name="T16" fmla="*/ 75 w 98"/>
                  <a:gd name="T17" fmla="*/ 112 h 123"/>
                  <a:gd name="T18" fmla="*/ 88 w 98"/>
                  <a:gd name="T19" fmla="*/ 106 h 123"/>
                  <a:gd name="T20" fmla="*/ 88 w 98"/>
                  <a:gd name="T21" fmla="*/ 103 h 123"/>
                  <a:gd name="T22" fmla="*/ 84 w 98"/>
                  <a:gd name="T23" fmla="*/ 94 h 123"/>
                  <a:gd name="T24" fmla="*/ 93 w 98"/>
                  <a:gd name="T25" fmla="*/ 82 h 123"/>
                  <a:gd name="T26" fmla="*/ 94 w 98"/>
                  <a:gd name="T27" fmla="*/ 76 h 123"/>
                  <a:gd name="T28" fmla="*/ 95 w 98"/>
                  <a:gd name="T29" fmla="*/ 81 h 123"/>
                  <a:gd name="T30" fmla="*/ 99 w 98"/>
                  <a:gd name="T31" fmla="*/ 81 h 123"/>
                  <a:gd name="T32" fmla="*/ 102 w 98"/>
                  <a:gd name="T33" fmla="*/ 71 h 123"/>
                  <a:gd name="T34" fmla="*/ 117 w 98"/>
                  <a:gd name="T35" fmla="*/ 47 h 123"/>
                  <a:gd name="T36" fmla="*/ 116 w 98"/>
                  <a:gd name="T37" fmla="*/ 41 h 123"/>
                  <a:gd name="T38" fmla="*/ 105 w 98"/>
                  <a:gd name="T39" fmla="*/ 35 h 123"/>
                  <a:gd name="T40" fmla="*/ 98 w 98"/>
                  <a:gd name="T41" fmla="*/ 20 h 123"/>
                  <a:gd name="T42" fmla="*/ 90 w 98"/>
                  <a:gd name="T43" fmla="*/ 23 h 123"/>
                  <a:gd name="T44" fmla="*/ 75 w 98"/>
                  <a:gd name="T45" fmla="*/ 18 h 123"/>
                  <a:gd name="T46" fmla="*/ 64 w 98"/>
                  <a:gd name="T47" fmla="*/ 2 h 123"/>
                  <a:gd name="T48" fmla="*/ 59 w 98"/>
                  <a:gd name="T49" fmla="*/ 4 h 123"/>
                  <a:gd name="T50" fmla="*/ 57 w 98"/>
                  <a:gd name="T51" fmla="*/ 1 h 123"/>
                  <a:gd name="T52" fmla="*/ 52 w 98"/>
                  <a:gd name="T53" fmla="*/ 7 h 123"/>
                  <a:gd name="T54" fmla="*/ 54 w 98"/>
                  <a:gd name="T55" fmla="*/ 14 h 123"/>
                  <a:gd name="T56" fmla="*/ 48 w 98"/>
                  <a:gd name="T57" fmla="*/ 18 h 123"/>
                  <a:gd name="T58" fmla="*/ 48 w 98"/>
                  <a:gd name="T59" fmla="*/ 24 h 123"/>
                  <a:gd name="T60" fmla="*/ 45 w 98"/>
                  <a:gd name="T61" fmla="*/ 29 h 123"/>
                  <a:gd name="T62" fmla="*/ 47 w 98"/>
                  <a:gd name="T63" fmla="*/ 38 h 123"/>
                  <a:gd name="T64" fmla="*/ 54 w 98"/>
                  <a:gd name="T65" fmla="*/ 53 h 123"/>
                  <a:gd name="T66" fmla="*/ 47 w 98"/>
                  <a:gd name="T67" fmla="*/ 88 h 123"/>
                  <a:gd name="T68" fmla="*/ 0 w 98"/>
                  <a:gd name="T69" fmla="*/ 105 h 123"/>
                  <a:gd name="T70" fmla="*/ 20 w 98"/>
                  <a:gd name="T71" fmla="*/ 147 h 12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8"/>
                  <a:gd name="T109" fmla="*/ 0 h 123"/>
                  <a:gd name="T110" fmla="*/ 98 w 98"/>
                  <a:gd name="T111" fmla="*/ 123 h 12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8" h="123">
                    <a:moveTo>
                      <a:pt x="17" y="123"/>
                    </a:moveTo>
                    <a:cubicBezTo>
                      <a:pt x="20" y="122"/>
                      <a:pt x="23" y="120"/>
                      <a:pt x="26" y="119"/>
                    </a:cubicBezTo>
                    <a:cubicBezTo>
                      <a:pt x="28" y="118"/>
                      <a:pt x="31" y="117"/>
                      <a:pt x="33" y="117"/>
                    </a:cubicBezTo>
                    <a:cubicBezTo>
                      <a:pt x="35" y="117"/>
                      <a:pt x="37" y="119"/>
                      <a:pt x="39" y="119"/>
                    </a:cubicBezTo>
                    <a:cubicBezTo>
                      <a:pt x="42" y="118"/>
                      <a:pt x="44" y="115"/>
                      <a:pt x="45" y="113"/>
                    </a:cubicBezTo>
                    <a:cubicBezTo>
                      <a:pt x="45" y="111"/>
                      <a:pt x="41" y="110"/>
                      <a:pt x="42" y="109"/>
                    </a:cubicBezTo>
                    <a:cubicBezTo>
                      <a:pt x="45" y="106"/>
                      <a:pt x="50" y="105"/>
                      <a:pt x="54" y="104"/>
                    </a:cubicBezTo>
                    <a:cubicBezTo>
                      <a:pt x="56" y="103"/>
                      <a:pt x="58" y="104"/>
                      <a:pt x="59" y="103"/>
                    </a:cubicBezTo>
                    <a:cubicBezTo>
                      <a:pt x="61" y="101"/>
                      <a:pt x="60" y="96"/>
                      <a:pt x="62" y="94"/>
                    </a:cubicBezTo>
                    <a:cubicBezTo>
                      <a:pt x="65" y="91"/>
                      <a:pt x="69" y="92"/>
                      <a:pt x="73" y="89"/>
                    </a:cubicBezTo>
                    <a:cubicBezTo>
                      <a:pt x="73" y="89"/>
                      <a:pt x="73" y="87"/>
                      <a:pt x="73" y="86"/>
                    </a:cubicBezTo>
                    <a:cubicBezTo>
                      <a:pt x="72" y="84"/>
                      <a:pt x="70" y="81"/>
                      <a:pt x="70" y="79"/>
                    </a:cubicBezTo>
                    <a:cubicBezTo>
                      <a:pt x="71" y="75"/>
                      <a:pt x="75" y="72"/>
                      <a:pt x="77" y="69"/>
                    </a:cubicBezTo>
                    <a:cubicBezTo>
                      <a:pt x="77" y="67"/>
                      <a:pt x="77" y="65"/>
                      <a:pt x="78" y="64"/>
                    </a:cubicBezTo>
                    <a:cubicBezTo>
                      <a:pt x="79" y="64"/>
                      <a:pt x="78" y="67"/>
                      <a:pt x="79" y="68"/>
                    </a:cubicBezTo>
                    <a:cubicBezTo>
                      <a:pt x="79" y="69"/>
                      <a:pt x="81" y="69"/>
                      <a:pt x="82" y="68"/>
                    </a:cubicBezTo>
                    <a:cubicBezTo>
                      <a:pt x="84" y="65"/>
                      <a:pt x="84" y="62"/>
                      <a:pt x="85" y="59"/>
                    </a:cubicBezTo>
                    <a:cubicBezTo>
                      <a:pt x="89" y="52"/>
                      <a:pt x="94" y="46"/>
                      <a:pt x="97" y="39"/>
                    </a:cubicBezTo>
                    <a:cubicBezTo>
                      <a:pt x="98" y="37"/>
                      <a:pt x="97" y="35"/>
                      <a:pt x="96" y="34"/>
                    </a:cubicBezTo>
                    <a:cubicBezTo>
                      <a:pt x="94" y="32"/>
                      <a:pt x="90" y="31"/>
                      <a:pt x="87" y="29"/>
                    </a:cubicBezTo>
                    <a:cubicBezTo>
                      <a:pt x="84" y="26"/>
                      <a:pt x="85" y="20"/>
                      <a:pt x="81" y="17"/>
                    </a:cubicBezTo>
                    <a:cubicBezTo>
                      <a:pt x="79" y="16"/>
                      <a:pt x="77" y="19"/>
                      <a:pt x="75" y="19"/>
                    </a:cubicBezTo>
                    <a:cubicBezTo>
                      <a:pt x="71" y="18"/>
                      <a:pt x="66" y="18"/>
                      <a:pt x="62" y="15"/>
                    </a:cubicBezTo>
                    <a:cubicBezTo>
                      <a:pt x="58" y="12"/>
                      <a:pt x="57" y="7"/>
                      <a:pt x="53" y="2"/>
                    </a:cubicBezTo>
                    <a:cubicBezTo>
                      <a:pt x="52" y="2"/>
                      <a:pt x="51" y="3"/>
                      <a:pt x="49" y="3"/>
                    </a:cubicBezTo>
                    <a:cubicBezTo>
                      <a:pt x="48" y="3"/>
                      <a:pt x="48" y="0"/>
                      <a:pt x="47" y="1"/>
                    </a:cubicBezTo>
                    <a:cubicBezTo>
                      <a:pt x="45" y="2"/>
                      <a:pt x="43" y="4"/>
                      <a:pt x="43" y="6"/>
                    </a:cubicBezTo>
                    <a:cubicBezTo>
                      <a:pt x="43" y="8"/>
                      <a:pt x="46" y="10"/>
                      <a:pt x="45" y="12"/>
                    </a:cubicBezTo>
                    <a:cubicBezTo>
                      <a:pt x="44" y="14"/>
                      <a:pt x="41" y="13"/>
                      <a:pt x="40" y="15"/>
                    </a:cubicBezTo>
                    <a:cubicBezTo>
                      <a:pt x="39" y="16"/>
                      <a:pt x="41" y="18"/>
                      <a:pt x="40" y="20"/>
                    </a:cubicBezTo>
                    <a:cubicBezTo>
                      <a:pt x="40" y="21"/>
                      <a:pt x="37" y="23"/>
                      <a:pt x="37" y="24"/>
                    </a:cubicBezTo>
                    <a:cubicBezTo>
                      <a:pt x="37" y="27"/>
                      <a:pt x="38" y="29"/>
                      <a:pt x="39" y="32"/>
                    </a:cubicBezTo>
                    <a:lnTo>
                      <a:pt x="45" y="44"/>
                    </a:lnTo>
                    <a:lnTo>
                      <a:pt x="39" y="74"/>
                    </a:lnTo>
                    <a:lnTo>
                      <a:pt x="0" y="88"/>
                    </a:lnTo>
                    <a:lnTo>
                      <a:pt x="17" y="123"/>
                    </a:ln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2" name="Freeform 2613"/>
              <p:cNvSpPr>
                <a:spLocks noChangeAspect="1"/>
              </p:cNvSpPr>
              <p:nvPr/>
            </p:nvSpPr>
            <p:spPr bwMode="auto">
              <a:xfrm>
                <a:off x="5721112" y="3291963"/>
                <a:ext cx="122670" cy="107193"/>
              </a:xfrm>
              <a:custGeom>
                <a:avLst/>
                <a:gdLst>
                  <a:gd name="T0" fmla="*/ 68 w 62"/>
                  <a:gd name="T1" fmla="*/ 0 h 55"/>
                  <a:gd name="T2" fmla="*/ 63 w 62"/>
                  <a:gd name="T3" fmla="*/ 8 h 55"/>
                  <a:gd name="T4" fmla="*/ 52 w 62"/>
                  <a:gd name="T5" fmla="*/ 22 h 55"/>
                  <a:gd name="T6" fmla="*/ 44 w 62"/>
                  <a:gd name="T7" fmla="*/ 32 h 55"/>
                  <a:gd name="T8" fmla="*/ 30 w 62"/>
                  <a:gd name="T9" fmla="*/ 37 h 55"/>
                  <a:gd name="T10" fmla="*/ 16 w 62"/>
                  <a:gd name="T11" fmla="*/ 36 h 55"/>
                  <a:gd name="T12" fmla="*/ 12 w 62"/>
                  <a:gd name="T13" fmla="*/ 41 h 55"/>
                  <a:gd name="T14" fmla="*/ 6 w 62"/>
                  <a:gd name="T15" fmla="*/ 41 h 55"/>
                  <a:gd name="T16" fmla="*/ 4 w 62"/>
                  <a:gd name="T17" fmla="*/ 37 h 55"/>
                  <a:gd name="T18" fmla="*/ 0 w 62"/>
                  <a:gd name="T19" fmla="*/ 42 h 55"/>
                  <a:gd name="T20" fmla="*/ 5 w 62"/>
                  <a:gd name="T21" fmla="*/ 56 h 55"/>
                  <a:gd name="T22" fmla="*/ 52 w 62"/>
                  <a:gd name="T23" fmla="*/ 66 h 55"/>
                  <a:gd name="T24" fmla="*/ 57 w 62"/>
                  <a:gd name="T25" fmla="*/ 61 h 55"/>
                  <a:gd name="T26" fmla="*/ 54 w 62"/>
                  <a:gd name="T27" fmla="*/ 52 h 55"/>
                  <a:gd name="T28" fmla="*/ 58 w 62"/>
                  <a:gd name="T29" fmla="*/ 47 h 55"/>
                  <a:gd name="T30" fmla="*/ 58 w 62"/>
                  <a:gd name="T31" fmla="*/ 41 h 55"/>
                  <a:gd name="T32" fmla="*/ 64 w 62"/>
                  <a:gd name="T33" fmla="*/ 37 h 55"/>
                  <a:gd name="T34" fmla="*/ 62 w 62"/>
                  <a:gd name="T35" fmla="*/ 30 h 55"/>
                  <a:gd name="T36" fmla="*/ 67 w 62"/>
                  <a:gd name="T37" fmla="*/ 24 h 55"/>
                  <a:gd name="T38" fmla="*/ 69 w 62"/>
                  <a:gd name="T39" fmla="*/ 26 h 55"/>
                  <a:gd name="T40" fmla="*/ 74 w 62"/>
                  <a:gd name="T41" fmla="*/ 25 h 55"/>
                  <a:gd name="T42" fmla="*/ 74 w 62"/>
                  <a:gd name="T43" fmla="*/ 18 h 55"/>
                  <a:gd name="T44" fmla="*/ 74 w 62"/>
                  <a:gd name="T45" fmla="*/ 12 h 55"/>
                  <a:gd name="T46" fmla="*/ 71 w 62"/>
                  <a:gd name="T47" fmla="*/ 12 h 55"/>
                  <a:gd name="T48" fmla="*/ 69 w 62"/>
                  <a:gd name="T49" fmla="*/ 13 h 55"/>
                  <a:gd name="T50" fmla="*/ 69 w 62"/>
                  <a:gd name="T51" fmla="*/ 6 h 55"/>
                  <a:gd name="T52" fmla="*/ 68 w 62"/>
                  <a:gd name="T53" fmla="*/ 0 h 5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2"/>
                  <a:gd name="T82" fmla="*/ 0 h 55"/>
                  <a:gd name="T83" fmla="*/ 62 w 62"/>
                  <a:gd name="T84" fmla="*/ 55 h 5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2" h="55">
                    <a:moveTo>
                      <a:pt x="56" y="0"/>
                    </a:moveTo>
                    <a:cubicBezTo>
                      <a:pt x="55" y="2"/>
                      <a:pt x="54" y="5"/>
                      <a:pt x="52" y="7"/>
                    </a:cubicBezTo>
                    <a:cubicBezTo>
                      <a:pt x="49" y="10"/>
                      <a:pt x="46" y="14"/>
                      <a:pt x="43" y="18"/>
                    </a:cubicBezTo>
                    <a:cubicBezTo>
                      <a:pt x="41" y="21"/>
                      <a:pt x="39" y="24"/>
                      <a:pt x="36" y="27"/>
                    </a:cubicBezTo>
                    <a:cubicBezTo>
                      <a:pt x="33" y="29"/>
                      <a:pt x="29" y="30"/>
                      <a:pt x="25" y="31"/>
                    </a:cubicBezTo>
                    <a:cubicBezTo>
                      <a:pt x="21" y="32"/>
                      <a:pt x="17" y="30"/>
                      <a:pt x="13" y="30"/>
                    </a:cubicBezTo>
                    <a:cubicBezTo>
                      <a:pt x="12" y="31"/>
                      <a:pt x="12" y="33"/>
                      <a:pt x="10" y="34"/>
                    </a:cubicBezTo>
                    <a:cubicBezTo>
                      <a:pt x="9" y="35"/>
                      <a:pt x="7" y="34"/>
                      <a:pt x="5" y="34"/>
                    </a:cubicBezTo>
                    <a:cubicBezTo>
                      <a:pt x="4" y="33"/>
                      <a:pt x="4" y="32"/>
                      <a:pt x="3" y="31"/>
                    </a:cubicBezTo>
                    <a:lnTo>
                      <a:pt x="0" y="35"/>
                    </a:lnTo>
                    <a:lnTo>
                      <a:pt x="4" y="47"/>
                    </a:lnTo>
                    <a:lnTo>
                      <a:pt x="43" y="55"/>
                    </a:lnTo>
                    <a:lnTo>
                      <a:pt x="47" y="51"/>
                    </a:lnTo>
                    <a:cubicBezTo>
                      <a:pt x="46" y="48"/>
                      <a:pt x="45" y="46"/>
                      <a:pt x="45" y="43"/>
                    </a:cubicBezTo>
                    <a:cubicBezTo>
                      <a:pt x="45" y="42"/>
                      <a:pt x="48" y="40"/>
                      <a:pt x="48" y="39"/>
                    </a:cubicBezTo>
                    <a:cubicBezTo>
                      <a:pt x="49" y="37"/>
                      <a:pt x="47" y="35"/>
                      <a:pt x="48" y="34"/>
                    </a:cubicBezTo>
                    <a:cubicBezTo>
                      <a:pt x="49" y="32"/>
                      <a:pt x="52" y="33"/>
                      <a:pt x="53" y="31"/>
                    </a:cubicBezTo>
                    <a:cubicBezTo>
                      <a:pt x="54" y="29"/>
                      <a:pt x="51" y="27"/>
                      <a:pt x="51" y="25"/>
                    </a:cubicBezTo>
                    <a:cubicBezTo>
                      <a:pt x="51" y="23"/>
                      <a:pt x="53" y="21"/>
                      <a:pt x="55" y="20"/>
                    </a:cubicBezTo>
                    <a:cubicBezTo>
                      <a:pt x="56" y="19"/>
                      <a:pt x="56" y="22"/>
                      <a:pt x="57" y="22"/>
                    </a:cubicBezTo>
                    <a:cubicBezTo>
                      <a:pt x="59" y="22"/>
                      <a:pt x="60" y="21"/>
                      <a:pt x="61" y="21"/>
                    </a:cubicBezTo>
                    <a:cubicBezTo>
                      <a:pt x="62" y="19"/>
                      <a:pt x="62" y="17"/>
                      <a:pt x="61" y="15"/>
                    </a:cubicBezTo>
                    <a:cubicBezTo>
                      <a:pt x="61" y="14"/>
                      <a:pt x="62" y="12"/>
                      <a:pt x="61" y="10"/>
                    </a:cubicBezTo>
                    <a:cubicBezTo>
                      <a:pt x="61" y="10"/>
                      <a:pt x="60" y="10"/>
                      <a:pt x="59" y="10"/>
                    </a:cubicBezTo>
                    <a:cubicBezTo>
                      <a:pt x="58" y="11"/>
                      <a:pt x="57" y="11"/>
                      <a:pt x="57" y="11"/>
                    </a:cubicBezTo>
                    <a:cubicBezTo>
                      <a:pt x="56" y="9"/>
                      <a:pt x="57" y="7"/>
                      <a:pt x="57" y="5"/>
                    </a:cubicBezTo>
                    <a:cubicBezTo>
                      <a:pt x="57" y="3"/>
                      <a:pt x="57" y="1"/>
                      <a:pt x="56" y="0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3" name="Freeform 2614"/>
              <p:cNvSpPr>
                <a:spLocks noChangeAspect="1"/>
              </p:cNvSpPr>
              <p:nvPr/>
            </p:nvSpPr>
            <p:spPr bwMode="auto">
              <a:xfrm>
                <a:off x="5588630" y="3173401"/>
                <a:ext cx="52339" cy="50349"/>
              </a:xfrm>
              <a:custGeom>
                <a:avLst/>
                <a:gdLst>
                  <a:gd name="T0" fmla="*/ 32 w 27"/>
                  <a:gd name="T1" fmla="*/ 31 h 26"/>
                  <a:gd name="T2" fmla="*/ 27 w 27"/>
                  <a:gd name="T3" fmla="*/ 23 h 26"/>
                  <a:gd name="T4" fmla="*/ 24 w 27"/>
                  <a:gd name="T5" fmla="*/ 19 h 26"/>
                  <a:gd name="T6" fmla="*/ 17 w 27"/>
                  <a:gd name="T7" fmla="*/ 17 h 26"/>
                  <a:gd name="T8" fmla="*/ 23 w 27"/>
                  <a:gd name="T9" fmla="*/ 12 h 26"/>
                  <a:gd name="T10" fmla="*/ 25 w 27"/>
                  <a:gd name="T11" fmla="*/ 10 h 26"/>
                  <a:gd name="T12" fmla="*/ 23 w 27"/>
                  <a:gd name="T13" fmla="*/ 4 h 26"/>
                  <a:gd name="T14" fmla="*/ 21 w 27"/>
                  <a:gd name="T15" fmla="*/ 1 h 26"/>
                  <a:gd name="T16" fmla="*/ 11 w 27"/>
                  <a:gd name="T17" fmla="*/ 2 h 26"/>
                  <a:gd name="T18" fmla="*/ 6 w 27"/>
                  <a:gd name="T19" fmla="*/ 10 h 26"/>
                  <a:gd name="T20" fmla="*/ 0 w 27"/>
                  <a:gd name="T21" fmla="*/ 18 h 26"/>
                  <a:gd name="T22" fmla="*/ 14 w 27"/>
                  <a:gd name="T23" fmla="*/ 21 h 26"/>
                  <a:gd name="T24" fmla="*/ 19 w 27"/>
                  <a:gd name="T25" fmla="*/ 31 h 26"/>
                  <a:gd name="T26" fmla="*/ 32 w 27"/>
                  <a:gd name="T27" fmla="*/ 31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7"/>
                  <a:gd name="T43" fmla="*/ 0 h 26"/>
                  <a:gd name="T44" fmla="*/ 27 w 27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7" h="26">
                    <a:moveTo>
                      <a:pt x="27" y="26"/>
                    </a:moveTo>
                    <a:cubicBezTo>
                      <a:pt x="26" y="24"/>
                      <a:pt x="24" y="21"/>
                      <a:pt x="23" y="19"/>
                    </a:cubicBezTo>
                    <a:cubicBezTo>
                      <a:pt x="22" y="18"/>
                      <a:pt x="22" y="17"/>
                      <a:pt x="20" y="16"/>
                    </a:cubicBezTo>
                    <a:cubicBezTo>
                      <a:pt x="19" y="15"/>
                      <a:pt x="15" y="16"/>
                      <a:pt x="14" y="14"/>
                    </a:cubicBezTo>
                    <a:cubicBezTo>
                      <a:pt x="14" y="12"/>
                      <a:pt x="17" y="11"/>
                      <a:pt x="19" y="10"/>
                    </a:cubicBezTo>
                    <a:cubicBezTo>
                      <a:pt x="19" y="9"/>
                      <a:pt x="21" y="9"/>
                      <a:pt x="21" y="8"/>
                    </a:cubicBezTo>
                    <a:cubicBezTo>
                      <a:pt x="21" y="6"/>
                      <a:pt x="20" y="5"/>
                      <a:pt x="19" y="3"/>
                    </a:cubicBezTo>
                    <a:cubicBezTo>
                      <a:pt x="19" y="2"/>
                      <a:pt x="18" y="1"/>
                      <a:pt x="18" y="1"/>
                    </a:cubicBezTo>
                    <a:cubicBezTo>
                      <a:pt x="15" y="1"/>
                      <a:pt x="12" y="0"/>
                      <a:pt x="9" y="2"/>
                    </a:cubicBezTo>
                    <a:cubicBezTo>
                      <a:pt x="7" y="3"/>
                      <a:pt x="7" y="6"/>
                      <a:pt x="5" y="8"/>
                    </a:cubicBezTo>
                    <a:cubicBezTo>
                      <a:pt x="4" y="11"/>
                      <a:pt x="1" y="13"/>
                      <a:pt x="0" y="15"/>
                    </a:cubicBezTo>
                    <a:cubicBezTo>
                      <a:pt x="4" y="16"/>
                      <a:pt x="8" y="17"/>
                      <a:pt x="12" y="18"/>
                    </a:cubicBezTo>
                    <a:cubicBezTo>
                      <a:pt x="14" y="20"/>
                      <a:pt x="14" y="24"/>
                      <a:pt x="16" y="26"/>
                    </a:cubicBezTo>
                    <a:cubicBezTo>
                      <a:pt x="19" y="26"/>
                      <a:pt x="23" y="26"/>
                      <a:pt x="27" y="26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4" name="Freeform 2615"/>
              <p:cNvSpPr>
                <a:spLocks noChangeAspect="1"/>
              </p:cNvSpPr>
              <p:nvPr/>
            </p:nvSpPr>
            <p:spPr bwMode="auto">
              <a:xfrm>
                <a:off x="5402173" y="2947647"/>
                <a:ext cx="240432" cy="254989"/>
              </a:xfrm>
              <a:custGeom>
                <a:avLst/>
                <a:gdLst>
                  <a:gd name="T0" fmla="*/ 147 w 123"/>
                  <a:gd name="T1" fmla="*/ 143 h 131"/>
                  <a:gd name="T2" fmla="*/ 139 w 123"/>
                  <a:gd name="T3" fmla="*/ 140 h 131"/>
                  <a:gd name="T4" fmla="*/ 135 w 123"/>
                  <a:gd name="T5" fmla="*/ 140 h 131"/>
                  <a:gd name="T6" fmla="*/ 124 w 123"/>
                  <a:gd name="T7" fmla="*/ 141 h 131"/>
                  <a:gd name="T8" fmla="*/ 120 w 123"/>
                  <a:gd name="T9" fmla="*/ 149 h 131"/>
                  <a:gd name="T10" fmla="*/ 114 w 123"/>
                  <a:gd name="T11" fmla="*/ 157 h 131"/>
                  <a:gd name="T12" fmla="*/ 87 w 123"/>
                  <a:gd name="T13" fmla="*/ 156 h 131"/>
                  <a:gd name="T14" fmla="*/ 51 w 123"/>
                  <a:gd name="T15" fmla="*/ 122 h 131"/>
                  <a:gd name="T16" fmla="*/ 39 w 123"/>
                  <a:gd name="T17" fmla="*/ 115 h 131"/>
                  <a:gd name="T18" fmla="*/ 27 w 123"/>
                  <a:gd name="T19" fmla="*/ 105 h 131"/>
                  <a:gd name="T20" fmla="*/ 8 w 123"/>
                  <a:gd name="T21" fmla="*/ 98 h 131"/>
                  <a:gd name="T22" fmla="*/ 1 w 123"/>
                  <a:gd name="T23" fmla="*/ 93 h 131"/>
                  <a:gd name="T24" fmla="*/ 4 w 123"/>
                  <a:gd name="T25" fmla="*/ 90 h 131"/>
                  <a:gd name="T26" fmla="*/ 1 w 123"/>
                  <a:gd name="T27" fmla="*/ 81 h 131"/>
                  <a:gd name="T28" fmla="*/ 0 w 123"/>
                  <a:gd name="T29" fmla="*/ 77 h 131"/>
                  <a:gd name="T30" fmla="*/ 16 w 123"/>
                  <a:gd name="T31" fmla="*/ 65 h 131"/>
                  <a:gd name="T32" fmla="*/ 18 w 123"/>
                  <a:gd name="T33" fmla="*/ 60 h 131"/>
                  <a:gd name="T34" fmla="*/ 27 w 123"/>
                  <a:gd name="T35" fmla="*/ 54 h 131"/>
                  <a:gd name="T36" fmla="*/ 30 w 123"/>
                  <a:gd name="T37" fmla="*/ 42 h 131"/>
                  <a:gd name="T38" fmla="*/ 31 w 123"/>
                  <a:gd name="T39" fmla="*/ 35 h 131"/>
                  <a:gd name="T40" fmla="*/ 29 w 123"/>
                  <a:gd name="T41" fmla="*/ 24 h 131"/>
                  <a:gd name="T42" fmla="*/ 32 w 123"/>
                  <a:gd name="T43" fmla="*/ 18 h 131"/>
                  <a:gd name="T44" fmla="*/ 41 w 123"/>
                  <a:gd name="T45" fmla="*/ 13 h 131"/>
                  <a:gd name="T46" fmla="*/ 45 w 123"/>
                  <a:gd name="T47" fmla="*/ 5 h 131"/>
                  <a:gd name="T48" fmla="*/ 51 w 123"/>
                  <a:gd name="T49" fmla="*/ 0 h 131"/>
                  <a:gd name="T50" fmla="*/ 60 w 123"/>
                  <a:gd name="T51" fmla="*/ 4 h 131"/>
                  <a:gd name="T52" fmla="*/ 66 w 123"/>
                  <a:gd name="T53" fmla="*/ 6 h 131"/>
                  <a:gd name="T54" fmla="*/ 71 w 123"/>
                  <a:gd name="T55" fmla="*/ 2 h 131"/>
                  <a:gd name="T56" fmla="*/ 73 w 123"/>
                  <a:gd name="T57" fmla="*/ 8 h 131"/>
                  <a:gd name="T58" fmla="*/ 79 w 123"/>
                  <a:gd name="T59" fmla="*/ 6 h 131"/>
                  <a:gd name="T60" fmla="*/ 82 w 123"/>
                  <a:gd name="T61" fmla="*/ 13 h 131"/>
                  <a:gd name="T62" fmla="*/ 86 w 123"/>
                  <a:gd name="T63" fmla="*/ 18 h 131"/>
                  <a:gd name="T64" fmla="*/ 93 w 123"/>
                  <a:gd name="T65" fmla="*/ 28 h 131"/>
                  <a:gd name="T66" fmla="*/ 96 w 123"/>
                  <a:gd name="T67" fmla="*/ 28 h 131"/>
                  <a:gd name="T68" fmla="*/ 99 w 123"/>
                  <a:gd name="T69" fmla="*/ 30 h 131"/>
                  <a:gd name="T70" fmla="*/ 103 w 123"/>
                  <a:gd name="T71" fmla="*/ 30 h 131"/>
                  <a:gd name="T72" fmla="*/ 102 w 123"/>
                  <a:gd name="T73" fmla="*/ 36 h 131"/>
                  <a:gd name="T74" fmla="*/ 103 w 123"/>
                  <a:gd name="T75" fmla="*/ 46 h 131"/>
                  <a:gd name="T76" fmla="*/ 98 w 123"/>
                  <a:gd name="T77" fmla="*/ 47 h 131"/>
                  <a:gd name="T78" fmla="*/ 96 w 123"/>
                  <a:gd name="T79" fmla="*/ 58 h 131"/>
                  <a:gd name="T80" fmla="*/ 96 w 123"/>
                  <a:gd name="T81" fmla="*/ 67 h 131"/>
                  <a:gd name="T82" fmla="*/ 106 w 123"/>
                  <a:gd name="T83" fmla="*/ 81 h 131"/>
                  <a:gd name="T84" fmla="*/ 106 w 123"/>
                  <a:gd name="T85" fmla="*/ 85 h 131"/>
                  <a:gd name="T86" fmla="*/ 125 w 123"/>
                  <a:gd name="T87" fmla="*/ 99 h 131"/>
                  <a:gd name="T88" fmla="*/ 133 w 123"/>
                  <a:gd name="T89" fmla="*/ 113 h 131"/>
                  <a:gd name="T90" fmla="*/ 133 w 123"/>
                  <a:gd name="T91" fmla="*/ 122 h 131"/>
                  <a:gd name="T92" fmla="*/ 136 w 123"/>
                  <a:gd name="T93" fmla="*/ 126 h 131"/>
                  <a:gd name="T94" fmla="*/ 136 w 123"/>
                  <a:gd name="T95" fmla="*/ 133 h 131"/>
                  <a:gd name="T96" fmla="*/ 147 w 123"/>
                  <a:gd name="T97" fmla="*/ 143 h 13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23"/>
                  <a:gd name="T148" fmla="*/ 0 h 131"/>
                  <a:gd name="T149" fmla="*/ 123 w 123"/>
                  <a:gd name="T150" fmla="*/ 131 h 13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23" h="131">
                    <a:moveTo>
                      <a:pt x="123" y="119"/>
                    </a:moveTo>
                    <a:cubicBezTo>
                      <a:pt x="121" y="118"/>
                      <a:pt x="119" y="118"/>
                      <a:pt x="116" y="117"/>
                    </a:cubicBezTo>
                    <a:cubicBezTo>
                      <a:pt x="115" y="117"/>
                      <a:pt x="114" y="117"/>
                      <a:pt x="113" y="117"/>
                    </a:cubicBezTo>
                    <a:cubicBezTo>
                      <a:pt x="110" y="117"/>
                      <a:pt x="107" y="116"/>
                      <a:pt x="104" y="118"/>
                    </a:cubicBezTo>
                    <a:cubicBezTo>
                      <a:pt x="102" y="119"/>
                      <a:pt x="102" y="122"/>
                      <a:pt x="100" y="124"/>
                    </a:cubicBezTo>
                    <a:cubicBezTo>
                      <a:pt x="99" y="127"/>
                      <a:pt x="96" y="129"/>
                      <a:pt x="95" y="131"/>
                    </a:cubicBezTo>
                    <a:cubicBezTo>
                      <a:pt x="88" y="130"/>
                      <a:pt x="80" y="130"/>
                      <a:pt x="73" y="130"/>
                    </a:cubicBezTo>
                    <a:cubicBezTo>
                      <a:pt x="63" y="120"/>
                      <a:pt x="53" y="111"/>
                      <a:pt x="43" y="102"/>
                    </a:cubicBezTo>
                    <a:cubicBezTo>
                      <a:pt x="40" y="100"/>
                      <a:pt x="36" y="98"/>
                      <a:pt x="33" y="96"/>
                    </a:cubicBezTo>
                    <a:cubicBezTo>
                      <a:pt x="29" y="93"/>
                      <a:pt x="26" y="91"/>
                      <a:pt x="23" y="88"/>
                    </a:cubicBezTo>
                    <a:cubicBezTo>
                      <a:pt x="17" y="86"/>
                      <a:pt x="12" y="84"/>
                      <a:pt x="7" y="82"/>
                    </a:cubicBezTo>
                    <a:cubicBezTo>
                      <a:pt x="5" y="81"/>
                      <a:pt x="3" y="80"/>
                      <a:pt x="1" y="78"/>
                    </a:cubicBezTo>
                    <a:cubicBezTo>
                      <a:pt x="1" y="77"/>
                      <a:pt x="3" y="77"/>
                      <a:pt x="3" y="75"/>
                    </a:cubicBezTo>
                    <a:cubicBezTo>
                      <a:pt x="3" y="73"/>
                      <a:pt x="1" y="71"/>
                      <a:pt x="1" y="68"/>
                    </a:cubicBezTo>
                    <a:cubicBezTo>
                      <a:pt x="0" y="67"/>
                      <a:pt x="0" y="66"/>
                      <a:pt x="0" y="64"/>
                    </a:cubicBezTo>
                    <a:cubicBezTo>
                      <a:pt x="4" y="61"/>
                      <a:pt x="9" y="58"/>
                      <a:pt x="13" y="54"/>
                    </a:cubicBezTo>
                    <a:cubicBezTo>
                      <a:pt x="14" y="53"/>
                      <a:pt x="14" y="51"/>
                      <a:pt x="15" y="50"/>
                    </a:cubicBezTo>
                    <a:cubicBezTo>
                      <a:pt x="17" y="48"/>
                      <a:pt x="21" y="48"/>
                      <a:pt x="23" y="45"/>
                    </a:cubicBezTo>
                    <a:cubicBezTo>
                      <a:pt x="25" y="42"/>
                      <a:pt x="24" y="38"/>
                      <a:pt x="25" y="35"/>
                    </a:cubicBezTo>
                    <a:cubicBezTo>
                      <a:pt x="25" y="33"/>
                      <a:pt x="26" y="31"/>
                      <a:pt x="26" y="29"/>
                    </a:cubicBezTo>
                    <a:cubicBezTo>
                      <a:pt x="26" y="26"/>
                      <a:pt x="24" y="23"/>
                      <a:pt x="24" y="20"/>
                    </a:cubicBezTo>
                    <a:cubicBezTo>
                      <a:pt x="25" y="18"/>
                      <a:pt x="26" y="16"/>
                      <a:pt x="27" y="15"/>
                    </a:cubicBezTo>
                    <a:cubicBezTo>
                      <a:pt x="29" y="13"/>
                      <a:pt x="32" y="13"/>
                      <a:pt x="34" y="11"/>
                    </a:cubicBezTo>
                    <a:cubicBezTo>
                      <a:pt x="36" y="10"/>
                      <a:pt x="37" y="6"/>
                      <a:pt x="38" y="4"/>
                    </a:cubicBezTo>
                    <a:cubicBezTo>
                      <a:pt x="40" y="3"/>
                      <a:pt x="40" y="1"/>
                      <a:pt x="43" y="0"/>
                    </a:cubicBezTo>
                    <a:cubicBezTo>
                      <a:pt x="45" y="0"/>
                      <a:pt x="47" y="2"/>
                      <a:pt x="50" y="3"/>
                    </a:cubicBezTo>
                    <a:cubicBezTo>
                      <a:pt x="52" y="3"/>
                      <a:pt x="53" y="5"/>
                      <a:pt x="55" y="5"/>
                    </a:cubicBezTo>
                    <a:cubicBezTo>
                      <a:pt x="57" y="5"/>
                      <a:pt x="58" y="1"/>
                      <a:pt x="59" y="2"/>
                    </a:cubicBezTo>
                    <a:cubicBezTo>
                      <a:pt x="61" y="3"/>
                      <a:pt x="59" y="7"/>
                      <a:pt x="61" y="7"/>
                    </a:cubicBezTo>
                    <a:cubicBezTo>
                      <a:pt x="63" y="8"/>
                      <a:pt x="64" y="6"/>
                      <a:pt x="66" y="5"/>
                    </a:cubicBezTo>
                    <a:cubicBezTo>
                      <a:pt x="67" y="7"/>
                      <a:pt x="68" y="9"/>
                      <a:pt x="69" y="11"/>
                    </a:cubicBezTo>
                    <a:cubicBezTo>
                      <a:pt x="70" y="12"/>
                      <a:pt x="71" y="14"/>
                      <a:pt x="72" y="15"/>
                    </a:cubicBezTo>
                    <a:cubicBezTo>
                      <a:pt x="74" y="18"/>
                      <a:pt x="76" y="21"/>
                      <a:pt x="78" y="23"/>
                    </a:cubicBezTo>
                    <a:cubicBezTo>
                      <a:pt x="78" y="24"/>
                      <a:pt x="79" y="23"/>
                      <a:pt x="80" y="23"/>
                    </a:cubicBezTo>
                    <a:cubicBezTo>
                      <a:pt x="81" y="24"/>
                      <a:pt x="82" y="25"/>
                      <a:pt x="83" y="25"/>
                    </a:cubicBezTo>
                    <a:cubicBezTo>
                      <a:pt x="84" y="25"/>
                      <a:pt x="86" y="24"/>
                      <a:pt x="86" y="25"/>
                    </a:cubicBezTo>
                    <a:cubicBezTo>
                      <a:pt x="87" y="27"/>
                      <a:pt x="85" y="29"/>
                      <a:pt x="85" y="30"/>
                    </a:cubicBezTo>
                    <a:cubicBezTo>
                      <a:pt x="84" y="33"/>
                      <a:pt x="86" y="35"/>
                      <a:pt x="86" y="38"/>
                    </a:cubicBezTo>
                    <a:cubicBezTo>
                      <a:pt x="85" y="39"/>
                      <a:pt x="83" y="38"/>
                      <a:pt x="82" y="39"/>
                    </a:cubicBezTo>
                    <a:cubicBezTo>
                      <a:pt x="80" y="42"/>
                      <a:pt x="80" y="45"/>
                      <a:pt x="80" y="48"/>
                    </a:cubicBezTo>
                    <a:cubicBezTo>
                      <a:pt x="80" y="51"/>
                      <a:pt x="79" y="54"/>
                      <a:pt x="80" y="56"/>
                    </a:cubicBezTo>
                    <a:cubicBezTo>
                      <a:pt x="82" y="61"/>
                      <a:pt x="86" y="64"/>
                      <a:pt x="89" y="68"/>
                    </a:cubicBezTo>
                    <a:cubicBezTo>
                      <a:pt x="89" y="69"/>
                      <a:pt x="88" y="70"/>
                      <a:pt x="89" y="71"/>
                    </a:cubicBezTo>
                    <a:cubicBezTo>
                      <a:pt x="94" y="75"/>
                      <a:pt x="100" y="78"/>
                      <a:pt x="105" y="83"/>
                    </a:cubicBezTo>
                    <a:cubicBezTo>
                      <a:pt x="108" y="87"/>
                      <a:pt x="110" y="90"/>
                      <a:pt x="111" y="94"/>
                    </a:cubicBezTo>
                    <a:cubicBezTo>
                      <a:pt x="112" y="97"/>
                      <a:pt x="111" y="100"/>
                      <a:pt x="111" y="102"/>
                    </a:cubicBezTo>
                    <a:cubicBezTo>
                      <a:pt x="112" y="104"/>
                      <a:pt x="114" y="103"/>
                      <a:pt x="114" y="105"/>
                    </a:cubicBezTo>
                    <a:cubicBezTo>
                      <a:pt x="115" y="107"/>
                      <a:pt x="113" y="109"/>
                      <a:pt x="114" y="111"/>
                    </a:cubicBezTo>
                    <a:cubicBezTo>
                      <a:pt x="117" y="114"/>
                      <a:pt x="120" y="116"/>
                      <a:pt x="123" y="119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5" name="Freeform 2616"/>
              <p:cNvSpPr>
                <a:spLocks noChangeAspect="1"/>
              </p:cNvSpPr>
              <p:nvPr/>
            </p:nvSpPr>
            <p:spPr bwMode="auto">
              <a:xfrm>
                <a:off x="5510122" y="2871313"/>
                <a:ext cx="492313" cy="453133"/>
              </a:xfrm>
              <a:custGeom>
                <a:avLst/>
                <a:gdLst>
                  <a:gd name="T0" fmla="*/ 13 w 251"/>
                  <a:gd name="T1" fmla="*/ 46 h 233"/>
                  <a:gd name="T2" fmla="*/ 6 w 251"/>
                  <a:gd name="T3" fmla="*/ 32 h 233"/>
                  <a:gd name="T4" fmla="*/ 1 w 251"/>
                  <a:gd name="T5" fmla="*/ 10 h 233"/>
                  <a:gd name="T6" fmla="*/ 14 w 251"/>
                  <a:gd name="T7" fmla="*/ 6 h 233"/>
                  <a:gd name="T8" fmla="*/ 24 w 251"/>
                  <a:gd name="T9" fmla="*/ 12 h 233"/>
                  <a:gd name="T10" fmla="*/ 34 w 251"/>
                  <a:gd name="T11" fmla="*/ 20 h 233"/>
                  <a:gd name="T12" fmla="*/ 38 w 251"/>
                  <a:gd name="T13" fmla="*/ 18 h 233"/>
                  <a:gd name="T14" fmla="*/ 44 w 251"/>
                  <a:gd name="T15" fmla="*/ 13 h 233"/>
                  <a:gd name="T16" fmla="*/ 64 w 251"/>
                  <a:gd name="T17" fmla="*/ 7 h 233"/>
                  <a:gd name="T18" fmla="*/ 65 w 251"/>
                  <a:gd name="T19" fmla="*/ 18 h 233"/>
                  <a:gd name="T20" fmla="*/ 68 w 251"/>
                  <a:gd name="T21" fmla="*/ 26 h 233"/>
                  <a:gd name="T22" fmla="*/ 74 w 251"/>
                  <a:gd name="T23" fmla="*/ 41 h 233"/>
                  <a:gd name="T24" fmla="*/ 96 w 251"/>
                  <a:gd name="T25" fmla="*/ 51 h 233"/>
                  <a:gd name="T26" fmla="*/ 127 w 251"/>
                  <a:gd name="T27" fmla="*/ 62 h 233"/>
                  <a:gd name="T28" fmla="*/ 152 w 251"/>
                  <a:gd name="T29" fmla="*/ 59 h 233"/>
                  <a:gd name="T30" fmla="*/ 150 w 251"/>
                  <a:gd name="T31" fmla="*/ 49 h 233"/>
                  <a:gd name="T32" fmla="*/ 165 w 251"/>
                  <a:gd name="T33" fmla="*/ 38 h 233"/>
                  <a:gd name="T34" fmla="*/ 186 w 251"/>
                  <a:gd name="T35" fmla="*/ 31 h 233"/>
                  <a:gd name="T36" fmla="*/ 197 w 251"/>
                  <a:gd name="T37" fmla="*/ 37 h 233"/>
                  <a:gd name="T38" fmla="*/ 219 w 251"/>
                  <a:gd name="T39" fmla="*/ 44 h 233"/>
                  <a:gd name="T40" fmla="*/ 227 w 251"/>
                  <a:gd name="T41" fmla="*/ 53 h 233"/>
                  <a:gd name="T42" fmla="*/ 241 w 251"/>
                  <a:gd name="T43" fmla="*/ 60 h 233"/>
                  <a:gd name="T44" fmla="*/ 258 w 251"/>
                  <a:gd name="T45" fmla="*/ 69 h 233"/>
                  <a:gd name="T46" fmla="*/ 261 w 251"/>
                  <a:gd name="T47" fmla="*/ 84 h 233"/>
                  <a:gd name="T48" fmla="*/ 253 w 251"/>
                  <a:gd name="T49" fmla="*/ 101 h 233"/>
                  <a:gd name="T50" fmla="*/ 252 w 251"/>
                  <a:gd name="T51" fmla="*/ 104 h 233"/>
                  <a:gd name="T52" fmla="*/ 254 w 251"/>
                  <a:gd name="T53" fmla="*/ 122 h 233"/>
                  <a:gd name="T54" fmla="*/ 254 w 251"/>
                  <a:gd name="T55" fmla="*/ 134 h 233"/>
                  <a:gd name="T56" fmla="*/ 260 w 251"/>
                  <a:gd name="T57" fmla="*/ 159 h 233"/>
                  <a:gd name="T58" fmla="*/ 272 w 251"/>
                  <a:gd name="T59" fmla="*/ 169 h 233"/>
                  <a:gd name="T60" fmla="*/ 261 w 251"/>
                  <a:gd name="T61" fmla="*/ 188 h 233"/>
                  <a:gd name="T62" fmla="*/ 273 w 251"/>
                  <a:gd name="T63" fmla="*/ 208 h 233"/>
                  <a:gd name="T64" fmla="*/ 285 w 251"/>
                  <a:gd name="T65" fmla="*/ 216 h 233"/>
                  <a:gd name="T66" fmla="*/ 293 w 251"/>
                  <a:gd name="T67" fmla="*/ 237 h 233"/>
                  <a:gd name="T68" fmla="*/ 299 w 251"/>
                  <a:gd name="T69" fmla="*/ 247 h 233"/>
                  <a:gd name="T70" fmla="*/ 290 w 251"/>
                  <a:gd name="T71" fmla="*/ 251 h 233"/>
                  <a:gd name="T72" fmla="*/ 279 w 251"/>
                  <a:gd name="T73" fmla="*/ 266 h 233"/>
                  <a:gd name="T74" fmla="*/ 277 w 251"/>
                  <a:gd name="T75" fmla="*/ 279 h 233"/>
                  <a:gd name="T76" fmla="*/ 258 w 251"/>
                  <a:gd name="T77" fmla="*/ 274 h 233"/>
                  <a:gd name="T78" fmla="*/ 234 w 251"/>
                  <a:gd name="T79" fmla="*/ 271 h 233"/>
                  <a:gd name="T80" fmla="*/ 212 w 251"/>
                  <a:gd name="T81" fmla="*/ 260 h 233"/>
                  <a:gd name="T82" fmla="*/ 198 w 251"/>
                  <a:gd name="T83" fmla="*/ 239 h 233"/>
                  <a:gd name="T84" fmla="*/ 177 w 251"/>
                  <a:gd name="T85" fmla="*/ 250 h 233"/>
                  <a:gd name="T86" fmla="*/ 158 w 251"/>
                  <a:gd name="T87" fmla="*/ 247 h 233"/>
                  <a:gd name="T88" fmla="*/ 149 w 251"/>
                  <a:gd name="T89" fmla="*/ 239 h 233"/>
                  <a:gd name="T90" fmla="*/ 143 w 251"/>
                  <a:gd name="T91" fmla="*/ 232 h 233"/>
                  <a:gd name="T92" fmla="*/ 128 w 251"/>
                  <a:gd name="T93" fmla="*/ 229 h 233"/>
                  <a:gd name="T94" fmla="*/ 116 w 251"/>
                  <a:gd name="T95" fmla="*/ 205 h 233"/>
                  <a:gd name="T96" fmla="*/ 112 w 251"/>
                  <a:gd name="T97" fmla="*/ 199 h 233"/>
                  <a:gd name="T98" fmla="*/ 94 w 251"/>
                  <a:gd name="T99" fmla="*/ 187 h 233"/>
                  <a:gd name="T100" fmla="*/ 88 w 251"/>
                  <a:gd name="T101" fmla="*/ 186 h 233"/>
                  <a:gd name="T102" fmla="*/ 85 w 251"/>
                  <a:gd name="T103" fmla="*/ 188 h 233"/>
                  <a:gd name="T104" fmla="*/ 71 w 251"/>
                  <a:gd name="T105" fmla="*/ 180 h 233"/>
                  <a:gd name="T106" fmla="*/ 67 w 251"/>
                  <a:gd name="T107" fmla="*/ 169 h 233"/>
                  <a:gd name="T108" fmla="*/ 60 w 251"/>
                  <a:gd name="T109" fmla="*/ 146 h 233"/>
                  <a:gd name="T110" fmla="*/ 41 w 251"/>
                  <a:gd name="T111" fmla="*/ 128 h 233"/>
                  <a:gd name="T112" fmla="*/ 30 w 251"/>
                  <a:gd name="T113" fmla="*/ 104 h 233"/>
                  <a:gd name="T114" fmla="*/ 37 w 251"/>
                  <a:gd name="T115" fmla="*/ 92 h 233"/>
                  <a:gd name="T116" fmla="*/ 37 w 251"/>
                  <a:gd name="T117" fmla="*/ 77 h 233"/>
                  <a:gd name="T118" fmla="*/ 30 w 251"/>
                  <a:gd name="T119" fmla="*/ 74 h 233"/>
                  <a:gd name="T120" fmla="*/ 20 w 251"/>
                  <a:gd name="T121" fmla="*/ 65 h 233"/>
                  <a:gd name="T122" fmla="*/ 13 w 251"/>
                  <a:gd name="T123" fmla="*/ 53 h 23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"/>
                  <a:gd name="T187" fmla="*/ 0 h 233"/>
                  <a:gd name="T188" fmla="*/ 251 w 251"/>
                  <a:gd name="T189" fmla="*/ 233 h 23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" h="233">
                    <a:moveTo>
                      <a:pt x="11" y="44"/>
                    </a:moveTo>
                    <a:cubicBezTo>
                      <a:pt x="11" y="42"/>
                      <a:pt x="12" y="40"/>
                      <a:pt x="11" y="38"/>
                    </a:cubicBezTo>
                    <a:cubicBezTo>
                      <a:pt x="10" y="36"/>
                      <a:pt x="6" y="36"/>
                      <a:pt x="5" y="34"/>
                    </a:cubicBezTo>
                    <a:cubicBezTo>
                      <a:pt x="4" y="32"/>
                      <a:pt x="5" y="29"/>
                      <a:pt x="5" y="27"/>
                    </a:cubicBezTo>
                    <a:cubicBezTo>
                      <a:pt x="5" y="24"/>
                      <a:pt x="7" y="22"/>
                      <a:pt x="6" y="20"/>
                    </a:cubicBezTo>
                    <a:cubicBezTo>
                      <a:pt x="5" y="16"/>
                      <a:pt x="0" y="12"/>
                      <a:pt x="1" y="8"/>
                    </a:cubicBezTo>
                    <a:cubicBezTo>
                      <a:pt x="2" y="5"/>
                      <a:pt x="7" y="4"/>
                      <a:pt x="10" y="2"/>
                    </a:cubicBezTo>
                    <a:cubicBezTo>
                      <a:pt x="11" y="3"/>
                      <a:pt x="11" y="4"/>
                      <a:pt x="12" y="5"/>
                    </a:cubicBezTo>
                    <a:cubicBezTo>
                      <a:pt x="13" y="7"/>
                      <a:pt x="15" y="9"/>
                      <a:pt x="17" y="10"/>
                    </a:cubicBezTo>
                    <a:cubicBezTo>
                      <a:pt x="18" y="11"/>
                      <a:pt x="20" y="9"/>
                      <a:pt x="20" y="10"/>
                    </a:cubicBezTo>
                    <a:cubicBezTo>
                      <a:pt x="22" y="11"/>
                      <a:pt x="19" y="14"/>
                      <a:pt x="20" y="15"/>
                    </a:cubicBezTo>
                    <a:cubicBezTo>
                      <a:pt x="22" y="17"/>
                      <a:pt x="26" y="16"/>
                      <a:pt x="28" y="17"/>
                    </a:cubicBezTo>
                    <a:cubicBezTo>
                      <a:pt x="29" y="16"/>
                      <a:pt x="29" y="16"/>
                      <a:pt x="30" y="16"/>
                    </a:cubicBezTo>
                    <a:cubicBezTo>
                      <a:pt x="31" y="16"/>
                      <a:pt x="31" y="16"/>
                      <a:pt x="32" y="15"/>
                    </a:cubicBezTo>
                    <a:cubicBezTo>
                      <a:pt x="34" y="15"/>
                      <a:pt x="36" y="17"/>
                      <a:pt x="37" y="16"/>
                    </a:cubicBezTo>
                    <a:cubicBezTo>
                      <a:pt x="38" y="15"/>
                      <a:pt x="36" y="12"/>
                      <a:pt x="37" y="11"/>
                    </a:cubicBezTo>
                    <a:cubicBezTo>
                      <a:pt x="41" y="7"/>
                      <a:pt x="44" y="3"/>
                      <a:pt x="49" y="1"/>
                    </a:cubicBezTo>
                    <a:cubicBezTo>
                      <a:pt x="51" y="0"/>
                      <a:pt x="53" y="3"/>
                      <a:pt x="53" y="6"/>
                    </a:cubicBezTo>
                    <a:cubicBezTo>
                      <a:pt x="53" y="7"/>
                      <a:pt x="49" y="7"/>
                      <a:pt x="50" y="9"/>
                    </a:cubicBezTo>
                    <a:cubicBezTo>
                      <a:pt x="50" y="11"/>
                      <a:pt x="54" y="12"/>
                      <a:pt x="54" y="15"/>
                    </a:cubicBezTo>
                    <a:cubicBezTo>
                      <a:pt x="55" y="16"/>
                      <a:pt x="50" y="16"/>
                      <a:pt x="50" y="18"/>
                    </a:cubicBezTo>
                    <a:cubicBezTo>
                      <a:pt x="51" y="21"/>
                      <a:pt x="54" y="21"/>
                      <a:pt x="57" y="22"/>
                    </a:cubicBezTo>
                    <a:cubicBezTo>
                      <a:pt x="58" y="23"/>
                      <a:pt x="58" y="22"/>
                      <a:pt x="59" y="22"/>
                    </a:cubicBezTo>
                    <a:cubicBezTo>
                      <a:pt x="60" y="26"/>
                      <a:pt x="60" y="30"/>
                      <a:pt x="62" y="34"/>
                    </a:cubicBezTo>
                    <a:cubicBezTo>
                      <a:pt x="64" y="37"/>
                      <a:pt x="68" y="38"/>
                      <a:pt x="71" y="40"/>
                    </a:cubicBezTo>
                    <a:cubicBezTo>
                      <a:pt x="74" y="41"/>
                      <a:pt x="77" y="41"/>
                      <a:pt x="80" y="43"/>
                    </a:cubicBezTo>
                    <a:cubicBezTo>
                      <a:pt x="83" y="45"/>
                      <a:pt x="85" y="48"/>
                      <a:pt x="89" y="50"/>
                    </a:cubicBezTo>
                    <a:cubicBezTo>
                      <a:pt x="94" y="52"/>
                      <a:pt x="100" y="52"/>
                      <a:pt x="106" y="52"/>
                    </a:cubicBezTo>
                    <a:cubicBezTo>
                      <a:pt x="111" y="52"/>
                      <a:pt x="115" y="50"/>
                      <a:pt x="120" y="49"/>
                    </a:cubicBezTo>
                    <a:cubicBezTo>
                      <a:pt x="122" y="49"/>
                      <a:pt x="125" y="51"/>
                      <a:pt x="127" y="49"/>
                    </a:cubicBezTo>
                    <a:cubicBezTo>
                      <a:pt x="128" y="48"/>
                      <a:pt x="125" y="46"/>
                      <a:pt x="125" y="44"/>
                    </a:cubicBezTo>
                    <a:cubicBezTo>
                      <a:pt x="124" y="43"/>
                      <a:pt x="125" y="42"/>
                      <a:pt x="125" y="41"/>
                    </a:cubicBezTo>
                    <a:cubicBezTo>
                      <a:pt x="128" y="40"/>
                      <a:pt x="132" y="40"/>
                      <a:pt x="135" y="38"/>
                    </a:cubicBezTo>
                    <a:cubicBezTo>
                      <a:pt x="137" y="37"/>
                      <a:pt x="136" y="33"/>
                      <a:pt x="138" y="32"/>
                    </a:cubicBezTo>
                    <a:cubicBezTo>
                      <a:pt x="141" y="29"/>
                      <a:pt x="146" y="30"/>
                      <a:pt x="150" y="29"/>
                    </a:cubicBezTo>
                    <a:cubicBezTo>
                      <a:pt x="152" y="28"/>
                      <a:pt x="152" y="26"/>
                      <a:pt x="155" y="26"/>
                    </a:cubicBezTo>
                    <a:cubicBezTo>
                      <a:pt x="157" y="26"/>
                      <a:pt x="159" y="27"/>
                      <a:pt x="161" y="28"/>
                    </a:cubicBezTo>
                    <a:cubicBezTo>
                      <a:pt x="162" y="29"/>
                      <a:pt x="163" y="30"/>
                      <a:pt x="164" y="31"/>
                    </a:cubicBezTo>
                    <a:cubicBezTo>
                      <a:pt x="168" y="32"/>
                      <a:pt x="171" y="33"/>
                      <a:pt x="175" y="34"/>
                    </a:cubicBezTo>
                    <a:cubicBezTo>
                      <a:pt x="177" y="35"/>
                      <a:pt x="180" y="36"/>
                      <a:pt x="183" y="37"/>
                    </a:cubicBezTo>
                    <a:cubicBezTo>
                      <a:pt x="185" y="38"/>
                      <a:pt x="188" y="38"/>
                      <a:pt x="189" y="39"/>
                    </a:cubicBezTo>
                    <a:cubicBezTo>
                      <a:pt x="190" y="41"/>
                      <a:pt x="187" y="43"/>
                      <a:pt x="189" y="44"/>
                    </a:cubicBezTo>
                    <a:cubicBezTo>
                      <a:pt x="191" y="46"/>
                      <a:pt x="195" y="44"/>
                      <a:pt x="197" y="45"/>
                    </a:cubicBezTo>
                    <a:cubicBezTo>
                      <a:pt x="199" y="46"/>
                      <a:pt x="199" y="50"/>
                      <a:pt x="201" y="50"/>
                    </a:cubicBezTo>
                    <a:cubicBezTo>
                      <a:pt x="205" y="52"/>
                      <a:pt x="210" y="51"/>
                      <a:pt x="214" y="53"/>
                    </a:cubicBezTo>
                    <a:cubicBezTo>
                      <a:pt x="215" y="54"/>
                      <a:pt x="215" y="56"/>
                      <a:pt x="215" y="58"/>
                    </a:cubicBezTo>
                    <a:cubicBezTo>
                      <a:pt x="215" y="60"/>
                      <a:pt x="215" y="62"/>
                      <a:pt x="215" y="64"/>
                    </a:cubicBezTo>
                    <a:cubicBezTo>
                      <a:pt x="215" y="66"/>
                      <a:pt x="217" y="68"/>
                      <a:pt x="218" y="70"/>
                    </a:cubicBezTo>
                    <a:cubicBezTo>
                      <a:pt x="217" y="72"/>
                      <a:pt x="217" y="75"/>
                      <a:pt x="216" y="77"/>
                    </a:cubicBezTo>
                    <a:cubicBezTo>
                      <a:pt x="215" y="79"/>
                      <a:pt x="212" y="81"/>
                      <a:pt x="211" y="84"/>
                    </a:cubicBezTo>
                    <a:cubicBezTo>
                      <a:pt x="211" y="85"/>
                      <a:pt x="213" y="86"/>
                      <a:pt x="213" y="87"/>
                    </a:cubicBezTo>
                    <a:cubicBezTo>
                      <a:pt x="212" y="88"/>
                      <a:pt x="210" y="86"/>
                      <a:pt x="210" y="87"/>
                    </a:cubicBezTo>
                    <a:cubicBezTo>
                      <a:pt x="209" y="90"/>
                      <a:pt x="208" y="94"/>
                      <a:pt x="209" y="97"/>
                    </a:cubicBezTo>
                    <a:cubicBezTo>
                      <a:pt x="209" y="99"/>
                      <a:pt x="212" y="100"/>
                      <a:pt x="212" y="102"/>
                    </a:cubicBezTo>
                    <a:cubicBezTo>
                      <a:pt x="212" y="104"/>
                      <a:pt x="209" y="104"/>
                      <a:pt x="209" y="106"/>
                    </a:cubicBezTo>
                    <a:cubicBezTo>
                      <a:pt x="209" y="108"/>
                      <a:pt x="212" y="110"/>
                      <a:pt x="212" y="112"/>
                    </a:cubicBezTo>
                    <a:cubicBezTo>
                      <a:pt x="213" y="116"/>
                      <a:pt x="214" y="122"/>
                      <a:pt x="212" y="126"/>
                    </a:cubicBezTo>
                    <a:cubicBezTo>
                      <a:pt x="213" y="129"/>
                      <a:pt x="215" y="131"/>
                      <a:pt x="217" y="133"/>
                    </a:cubicBezTo>
                    <a:cubicBezTo>
                      <a:pt x="219" y="134"/>
                      <a:pt x="223" y="131"/>
                      <a:pt x="225" y="133"/>
                    </a:cubicBezTo>
                    <a:cubicBezTo>
                      <a:pt x="227" y="134"/>
                      <a:pt x="228" y="138"/>
                      <a:pt x="227" y="141"/>
                    </a:cubicBezTo>
                    <a:cubicBezTo>
                      <a:pt x="226" y="145"/>
                      <a:pt x="222" y="148"/>
                      <a:pt x="220" y="152"/>
                    </a:cubicBezTo>
                    <a:cubicBezTo>
                      <a:pt x="219" y="153"/>
                      <a:pt x="219" y="155"/>
                      <a:pt x="218" y="157"/>
                    </a:cubicBezTo>
                    <a:cubicBezTo>
                      <a:pt x="221" y="160"/>
                      <a:pt x="224" y="163"/>
                      <a:pt x="226" y="166"/>
                    </a:cubicBezTo>
                    <a:cubicBezTo>
                      <a:pt x="228" y="169"/>
                      <a:pt x="227" y="172"/>
                      <a:pt x="228" y="174"/>
                    </a:cubicBezTo>
                    <a:cubicBezTo>
                      <a:pt x="228" y="176"/>
                      <a:pt x="230" y="177"/>
                      <a:pt x="231" y="178"/>
                    </a:cubicBezTo>
                    <a:cubicBezTo>
                      <a:pt x="233" y="179"/>
                      <a:pt x="236" y="179"/>
                      <a:pt x="238" y="180"/>
                    </a:cubicBezTo>
                    <a:cubicBezTo>
                      <a:pt x="240" y="181"/>
                      <a:pt x="241" y="182"/>
                      <a:pt x="242" y="183"/>
                    </a:cubicBezTo>
                    <a:cubicBezTo>
                      <a:pt x="243" y="188"/>
                      <a:pt x="241" y="194"/>
                      <a:pt x="244" y="198"/>
                    </a:cubicBezTo>
                    <a:cubicBezTo>
                      <a:pt x="245" y="200"/>
                      <a:pt x="249" y="198"/>
                      <a:pt x="250" y="200"/>
                    </a:cubicBezTo>
                    <a:cubicBezTo>
                      <a:pt x="251" y="201"/>
                      <a:pt x="250" y="204"/>
                      <a:pt x="249" y="206"/>
                    </a:cubicBezTo>
                    <a:cubicBezTo>
                      <a:pt x="249" y="207"/>
                      <a:pt x="250" y="208"/>
                      <a:pt x="249" y="209"/>
                    </a:cubicBezTo>
                    <a:cubicBezTo>
                      <a:pt x="247" y="210"/>
                      <a:pt x="244" y="209"/>
                      <a:pt x="242" y="210"/>
                    </a:cubicBezTo>
                    <a:cubicBezTo>
                      <a:pt x="239" y="211"/>
                      <a:pt x="237" y="212"/>
                      <a:pt x="235" y="214"/>
                    </a:cubicBezTo>
                    <a:cubicBezTo>
                      <a:pt x="234" y="216"/>
                      <a:pt x="233" y="219"/>
                      <a:pt x="233" y="222"/>
                    </a:cubicBezTo>
                    <a:cubicBezTo>
                      <a:pt x="233" y="224"/>
                      <a:pt x="234" y="227"/>
                      <a:pt x="234" y="229"/>
                    </a:cubicBezTo>
                    <a:cubicBezTo>
                      <a:pt x="233" y="230"/>
                      <a:pt x="232" y="233"/>
                      <a:pt x="231" y="233"/>
                    </a:cubicBezTo>
                    <a:cubicBezTo>
                      <a:pt x="229" y="232"/>
                      <a:pt x="227" y="230"/>
                      <a:pt x="225" y="230"/>
                    </a:cubicBezTo>
                    <a:cubicBezTo>
                      <a:pt x="221" y="229"/>
                      <a:pt x="218" y="229"/>
                      <a:pt x="215" y="229"/>
                    </a:cubicBezTo>
                    <a:cubicBezTo>
                      <a:pt x="210" y="229"/>
                      <a:pt x="205" y="230"/>
                      <a:pt x="201" y="229"/>
                    </a:cubicBezTo>
                    <a:cubicBezTo>
                      <a:pt x="199" y="229"/>
                      <a:pt x="197" y="227"/>
                      <a:pt x="195" y="226"/>
                    </a:cubicBezTo>
                    <a:cubicBezTo>
                      <a:pt x="190" y="225"/>
                      <a:pt x="185" y="225"/>
                      <a:pt x="181" y="222"/>
                    </a:cubicBezTo>
                    <a:cubicBezTo>
                      <a:pt x="179" y="221"/>
                      <a:pt x="178" y="219"/>
                      <a:pt x="177" y="217"/>
                    </a:cubicBezTo>
                    <a:cubicBezTo>
                      <a:pt x="176" y="213"/>
                      <a:pt x="176" y="208"/>
                      <a:pt x="173" y="204"/>
                    </a:cubicBezTo>
                    <a:cubicBezTo>
                      <a:pt x="171" y="202"/>
                      <a:pt x="168" y="200"/>
                      <a:pt x="165" y="200"/>
                    </a:cubicBezTo>
                    <a:cubicBezTo>
                      <a:pt x="162" y="201"/>
                      <a:pt x="159" y="203"/>
                      <a:pt x="156" y="205"/>
                    </a:cubicBezTo>
                    <a:cubicBezTo>
                      <a:pt x="153" y="206"/>
                      <a:pt x="151" y="209"/>
                      <a:pt x="148" y="209"/>
                    </a:cubicBezTo>
                    <a:cubicBezTo>
                      <a:pt x="145" y="209"/>
                      <a:pt x="143" y="206"/>
                      <a:pt x="141" y="205"/>
                    </a:cubicBezTo>
                    <a:cubicBezTo>
                      <a:pt x="138" y="205"/>
                      <a:pt x="135" y="206"/>
                      <a:pt x="132" y="206"/>
                    </a:cubicBezTo>
                    <a:cubicBezTo>
                      <a:pt x="131" y="206"/>
                      <a:pt x="132" y="204"/>
                      <a:pt x="132" y="203"/>
                    </a:cubicBezTo>
                    <a:cubicBezTo>
                      <a:pt x="129" y="202"/>
                      <a:pt x="126" y="202"/>
                      <a:pt x="124" y="200"/>
                    </a:cubicBezTo>
                    <a:cubicBezTo>
                      <a:pt x="122" y="200"/>
                      <a:pt x="120" y="199"/>
                      <a:pt x="119" y="197"/>
                    </a:cubicBezTo>
                    <a:cubicBezTo>
                      <a:pt x="118" y="196"/>
                      <a:pt x="120" y="195"/>
                      <a:pt x="119" y="194"/>
                    </a:cubicBezTo>
                    <a:cubicBezTo>
                      <a:pt x="118" y="192"/>
                      <a:pt x="116" y="192"/>
                      <a:pt x="114" y="192"/>
                    </a:cubicBezTo>
                    <a:cubicBezTo>
                      <a:pt x="112" y="191"/>
                      <a:pt x="109" y="193"/>
                      <a:pt x="107" y="191"/>
                    </a:cubicBezTo>
                    <a:cubicBezTo>
                      <a:pt x="103" y="188"/>
                      <a:pt x="101" y="184"/>
                      <a:pt x="99" y="179"/>
                    </a:cubicBezTo>
                    <a:cubicBezTo>
                      <a:pt x="97" y="177"/>
                      <a:pt x="99" y="173"/>
                      <a:pt x="97" y="171"/>
                    </a:cubicBezTo>
                    <a:cubicBezTo>
                      <a:pt x="96" y="169"/>
                      <a:pt x="94" y="172"/>
                      <a:pt x="93" y="171"/>
                    </a:cubicBezTo>
                    <a:cubicBezTo>
                      <a:pt x="92" y="170"/>
                      <a:pt x="94" y="168"/>
                      <a:pt x="93" y="166"/>
                    </a:cubicBezTo>
                    <a:cubicBezTo>
                      <a:pt x="91" y="161"/>
                      <a:pt x="88" y="155"/>
                      <a:pt x="83" y="152"/>
                    </a:cubicBezTo>
                    <a:cubicBezTo>
                      <a:pt x="81" y="151"/>
                      <a:pt x="80" y="156"/>
                      <a:pt x="78" y="156"/>
                    </a:cubicBezTo>
                    <a:cubicBezTo>
                      <a:pt x="78" y="156"/>
                      <a:pt x="78" y="155"/>
                      <a:pt x="78" y="155"/>
                    </a:cubicBezTo>
                    <a:cubicBezTo>
                      <a:pt x="76" y="155"/>
                      <a:pt x="75" y="156"/>
                      <a:pt x="73" y="155"/>
                    </a:cubicBezTo>
                    <a:cubicBezTo>
                      <a:pt x="72" y="154"/>
                      <a:pt x="72" y="151"/>
                      <a:pt x="71" y="152"/>
                    </a:cubicBezTo>
                    <a:cubicBezTo>
                      <a:pt x="70" y="153"/>
                      <a:pt x="72" y="155"/>
                      <a:pt x="71" y="157"/>
                    </a:cubicBezTo>
                    <a:cubicBezTo>
                      <a:pt x="71" y="157"/>
                      <a:pt x="69" y="158"/>
                      <a:pt x="68" y="158"/>
                    </a:cubicBezTo>
                    <a:cubicBezTo>
                      <a:pt x="65" y="155"/>
                      <a:pt x="62" y="153"/>
                      <a:pt x="59" y="150"/>
                    </a:cubicBezTo>
                    <a:cubicBezTo>
                      <a:pt x="58" y="148"/>
                      <a:pt x="60" y="146"/>
                      <a:pt x="59" y="144"/>
                    </a:cubicBezTo>
                    <a:cubicBezTo>
                      <a:pt x="59" y="142"/>
                      <a:pt x="57" y="143"/>
                      <a:pt x="56" y="141"/>
                    </a:cubicBezTo>
                    <a:cubicBezTo>
                      <a:pt x="56" y="139"/>
                      <a:pt x="57" y="136"/>
                      <a:pt x="56" y="133"/>
                    </a:cubicBezTo>
                    <a:cubicBezTo>
                      <a:pt x="55" y="129"/>
                      <a:pt x="53" y="126"/>
                      <a:pt x="50" y="122"/>
                    </a:cubicBezTo>
                    <a:cubicBezTo>
                      <a:pt x="45" y="117"/>
                      <a:pt x="39" y="114"/>
                      <a:pt x="34" y="110"/>
                    </a:cubicBezTo>
                    <a:cubicBezTo>
                      <a:pt x="33" y="109"/>
                      <a:pt x="34" y="108"/>
                      <a:pt x="34" y="107"/>
                    </a:cubicBezTo>
                    <a:cubicBezTo>
                      <a:pt x="31" y="103"/>
                      <a:pt x="27" y="100"/>
                      <a:pt x="25" y="95"/>
                    </a:cubicBezTo>
                    <a:cubicBezTo>
                      <a:pt x="24" y="93"/>
                      <a:pt x="25" y="90"/>
                      <a:pt x="25" y="87"/>
                    </a:cubicBezTo>
                    <a:cubicBezTo>
                      <a:pt x="25" y="84"/>
                      <a:pt x="25" y="81"/>
                      <a:pt x="27" y="78"/>
                    </a:cubicBezTo>
                    <a:cubicBezTo>
                      <a:pt x="28" y="77"/>
                      <a:pt x="30" y="78"/>
                      <a:pt x="31" y="77"/>
                    </a:cubicBezTo>
                    <a:cubicBezTo>
                      <a:pt x="31" y="74"/>
                      <a:pt x="29" y="72"/>
                      <a:pt x="30" y="69"/>
                    </a:cubicBezTo>
                    <a:cubicBezTo>
                      <a:pt x="30" y="68"/>
                      <a:pt x="32" y="66"/>
                      <a:pt x="31" y="64"/>
                    </a:cubicBezTo>
                    <a:cubicBezTo>
                      <a:pt x="31" y="63"/>
                      <a:pt x="29" y="64"/>
                      <a:pt x="28" y="64"/>
                    </a:cubicBezTo>
                    <a:cubicBezTo>
                      <a:pt x="27" y="64"/>
                      <a:pt x="26" y="63"/>
                      <a:pt x="25" y="62"/>
                    </a:cubicBezTo>
                    <a:cubicBezTo>
                      <a:pt x="24" y="62"/>
                      <a:pt x="23" y="63"/>
                      <a:pt x="23" y="62"/>
                    </a:cubicBezTo>
                    <a:cubicBezTo>
                      <a:pt x="21" y="60"/>
                      <a:pt x="19" y="57"/>
                      <a:pt x="17" y="54"/>
                    </a:cubicBezTo>
                    <a:cubicBezTo>
                      <a:pt x="16" y="53"/>
                      <a:pt x="15" y="51"/>
                      <a:pt x="14" y="50"/>
                    </a:cubicBezTo>
                    <a:cubicBezTo>
                      <a:pt x="13" y="48"/>
                      <a:pt x="12" y="46"/>
                      <a:pt x="11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6" name="Freeform 2617"/>
              <p:cNvSpPr>
                <a:spLocks noChangeAspect="1"/>
              </p:cNvSpPr>
              <p:nvPr/>
            </p:nvSpPr>
            <p:spPr bwMode="auto">
              <a:xfrm>
                <a:off x="5407080" y="2749503"/>
                <a:ext cx="163559" cy="82831"/>
              </a:xfrm>
              <a:custGeom>
                <a:avLst/>
                <a:gdLst>
                  <a:gd name="T0" fmla="*/ 0 w 83"/>
                  <a:gd name="T1" fmla="*/ 1 h 42"/>
                  <a:gd name="T2" fmla="*/ 10 w 83"/>
                  <a:gd name="T3" fmla="*/ 7 h 42"/>
                  <a:gd name="T4" fmla="*/ 14 w 83"/>
                  <a:gd name="T5" fmla="*/ 13 h 42"/>
                  <a:gd name="T6" fmla="*/ 23 w 83"/>
                  <a:gd name="T7" fmla="*/ 17 h 42"/>
                  <a:gd name="T8" fmla="*/ 23 w 83"/>
                  <a:gd name="T9" fmla="*/ 24 h 42"/>
                  <a:gd name="T10" fmla="*/ 28 w 83"/>
                  <a:gd name="T11" fmla="*/ 34 h 42"/>
                  <a:gd name="T12" fmla="*/ 24 w 83"/>
                  <a:gd name="T13" fmla="*/ 44 h 42"/>
                  <a:gd name="T14" fmla="*/ 30 w 83"/>
                  <a:gd name="T15" fmla="*/ 44 h 42"/>
                  <a:gd name="T16" fmla="*/ 39 w 83"/>
                  <a:gd name="T17" fmla="*/ 41 h 42"/>
                  <a:gd name="T18" fmla="*/ 47 w 83"/>
                  <a:gd name="T19" fmla="*/ 45 h 42"/>
                  <a:gd name="T20" fmla="*/ 53 w 83"/>
                  <a:gd name="T21" fmla="*/ 49 h 42"/>
                  <a:gd name="T22" fmla="*/ 59 w 83"/>
                  <a:gd name="T23" fmla="*/ 46 h 42"/>
                  <a:gd name="T24" fmla="*/ 64 w 83"/>
                  <a:gd name="T25" fmla="*/ 46 h 42"/>
                  <a:gd name="T26" fmla="*/ 70 w 83"/>
                  <a:gd name="T27" fmla="*/ 46 h 42"/>
                  <a:gd name="T28" fmla="*/ 75 w 83"/>
                  <a:gd name="T29" fmla="*/ 46 h 42"/>
                  <a:gd name="T30" fmla="*/ 78 w 83"/>
                  <a:gd name="T31" fmla="*/ 41 h 42"/>
                  <a:gd name="T32" fmla="*/ 84 w 83"/>
                  <a:gd name="T33" fmla="*/ 45 h 42"/>
                  <a:gd name="T34" fmla="*/ 90 w 83"/>
                  <a:gd name="T35" fmla="*/ 47 h 42"/>
                  <a:gd name="T36" fmla="*/ 99 w 83"/>
                  <a:gd name="T37" fmla="*/ 50 h 42"/>
                  <a:gd name="T38" fmla="*/ 99 w 83"/>
                  <a:gd name="T39" fmla="*/ 45 h 42"/>
                  <a:gd name="T40" fmla="*/ 94 w 83"/>
                  <a:gd name="T41" fmla="*/ 43 h 42"/>
                  <a:gd name="T42" fmla="*/ 90 w 83"/>
                  <a:gd name="T43" fmla="*/ 36 h 42"/>
                  <a:gd name="T44" fmla="*/ 95 w 83"/>
                  <a:gd name="T45" fmla="*/ 33 h 42"/>
                  <a:gd name="T46" fmla="*/ 82 w 83"/>
                  <a:gd name="T47" fmla="*/ 25 h 42"/>
                  <a:gd name="T48" fmla="*/ 82 w 83"/>
                  <a:gd name="T49" fmla="*/ 21 h 42"/>
                  <a:gd name="T50" fmla="*/ 73 w 83"/>
                  <a:gd name="T51" fmla="*/ 16 h 42"/>
                  <a:gd name="T52" fmla="*/ 70 w 83"/>
                  <a:gd name="T53" fmla="*/ 16 h 42"/>
                  <a:gd name="T54" fmla="*/ 65 w 83"/>
                  <a:gd name="T55" fmla="*/ 17 h 42"/>
                  <a:gd name="T56" fmla="*/ 58 w 83"/>
                  <a:gd name="T57" fmla="*/ 19 h 42"/>
                  <a:gd name="T58" fmla="*/ 54 w 83"/>
                  <a:gd name="T59" fmla="*/ 16 h 42"/>
                  <a:gd name="T60" fmla="*/ 45 w 83"/>
                  <a:gd name="T61" fmla="*/ 11 h 42"/>
                  <a:gd name="T62" fmla="*/ 35 w 83"/>
                  <a:gd name="T63" fmla="*/ 5 h 42"/>
                  <a:gd name="T64" fmla="*/ 23 w 83"/>
                  <a:gd name="T65" fmla="*/ 6 h 42"/>
                  <a:gd name="T66" fmla="*/ 13 w 83"/>
                  <a:gd name="T67" fmla="*/ 1 h 42"/>
                  <a:gd name="T68" fmla="*/ 0 w 83"/>
                  <a:gd name="T69" fmla="*/ 1 h 4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3"/>
                  <a:gd name="T106" fmla="*/ 0 h 42"/>
                  <a:gd name="T107" fmla="*/ 83 w 83"/>
                  <a:gd name="T108" fmla="*/ 42 h 4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3" h="42">
                    <a:moveTo>
                      <a:pt x="0" y="1"/>
                    </a:moveTo>
                    <a:cubicBezTo>
                      <a:pt x="3" y="3"/>
                      <a:pt x="6" y="4"/>
                      <a:pt x="8" y="6"/>
                    </a:cubicBezTo>
                    <a:cubicBezTo>
                      <a:pt x="10" y="7"/>
                      <a:pt x="10" y="10"/>
                      <a:pt x="12" y="11"/>
                    </a:cubicBezTo>
                    <a:cubicBezTo>
                      <a:pt x="14" y="13"/>
                      <a:pt x="18" y="12"/>
                      <a:pt x="19" y="14"/>
                    </a:cubicBezTo>
                    <a:cubicBezTo>
                      <a:pt x="20" y="16"/>
                      <a:pt x="18" y="18"/>
                      <a:pt x="19" y="20"/>
                    </a:cubicBezTo>
                    <a:cubicBezTo>
                      <a:pt x="20" y="23"/>
                      <a:pt x="23" y="25"/>
                      <a:pt x="23" y="28"/>
                    </a:cubicBezTo>
                    <a:cubicBezTo>
                      <a:pt x="23" y="30"/>
                      <a:pt x="21" y="33"/>
                      <a:pt x="20" y="36"/>
                    </a:cubicBezTo>
                    <a:cubicBezTo>
                      <a:pt x="21" y="36"/>
                      <a:pt x="23" y="36"/>
                      <a:pt x="25" y="36"/>
                    </a:cubicBezTo>
                    <a:cubicBezTo>
                      <a:pt x="27" y="35"/>
                      <a:pt x="29" y="33"/>
                      <a:pt x="32" y="34"/>
                    </a:cubicBezTo>
                    <a:cubicBezTo>
                      <a:pt x="34" y="34"/>
                      <a:pt x="37" y="36"/>
                      <a:pt x="39" y="37"/>
                    </a:cubicBezTo>
                    <a:cubicBezTo>
                      <a:pt x="41" y="38"/>
                      <a:pt x="42" y="39"/>
                      <a:pt x="44" y="40"/>
                    </a:cubicBezTo>
                    <a:cubicBezTo>
                      <a:pt x="46" y="40"/>
                      <a:pt x="47" y="39"/>
                      <a:pt x="49" y="38"/>
                    </a:cubicBezTo>
                    <a:cubicBezTo>
                      <a:pt x="50" y="38"/>
                      <a:pt x="52" y="38"/>
                      <a:pt x="53" y="38"/>
                    </a:cubicBezTo>
                    <a:cubicBezTo>
                      <a:pt x="55" y="38"/>
                      <a:pt x="56" y="38"/>
                      <a:pt x="58" y="38"/>
                    </a:cubicBezTo>
                    <a:cubicBezTo>
                      <a:pt x="59" y="38"/>
                      <a:pt x="60" y="38"/>
                      <a:pt x="62" y="38"/>
                    </a:cubicBezTo>
                    <a:cubicBezTo>
                      <a:pt x="63" y="37"/>
                      <a:pt x="63" y="34"/>
                      <a:pt x="65" y="34"/>
                    </a:cubicBezTo>
                    <a:cubicBezTo>
                      <a:pt x="67" y="34"/>
                      <a:pt x="68" y="36"/>
                      <a:pt x="70" y="37"/>
                    </a:cubicBezTo>
                    <a:cubicBezTo>
                      <a:pt x="72" y="38"/>
                      <a:pt x="74" y="39"/>
                      <a:pt x="75" y="39"/>
                    </a:cubicBezTo>
                    <a:cubicBezTo>
                      <a:pt x="78" y="40"/>
                      <a:pt x="80" y="42"/>
                      <a:pt x="82" y="41"/>
                    </a:cubicBezTo>
                    <a:cubicBezTo>
                      <a:pt x="83" y="41"/>
                      <a:pt x="83" y="38"/>
                      <a:pt x="82" y="37"/>
                    </a:cubicBezTo>
                    <a:cubicBezTo>
                      <a:pt x="82" y="36"/>
                      <a:pt x="79" y="36"/>
                      <a:pt x="78" y="35"/>
                    </a:cubicBezTo>
                    <a:cubicBezTo>
                      <a:pt x="77" y="33"/>
                      <a:pt x="75" y="32"/>
                      <a:pt x="75" y="30"/>
                    </a:cubicBezTo>
                    <a:cubicBezTo>
                      <a:pt x="76" y="28"/>
                      <a:pt x="78" y="28"/>
                      <a:pt x="79" y="27"/>
                    </a:cubicBezTo>
                    <a:cubicBezTo>
                      <a:pt x="75" y="25"/>
                      <a:pt x="71" y="24"/>
                      <a:pt x="68" y="21"/>
                    </a:cubicBezTo>
                    <a:cubicBezTo>
                      <a:pt x="67" y="20"/>
                      <a:pt x="69" y="18"/>
                      <a:pt x="68" y="17"/>
                    </a:cubicBezTo>
                    <a:cubicBezTo>
                      <a:pt x="67" y="15"/>
                      <a:pt x="64" y="14"/>
                      <a:pt x="61" y="13"/>
                    </a:cubicBezTo>
                    <a:cubicBezTo>
                      <a:pt x="60" y="13"/>
                      <a:pt x="59" y="13"/>
                      <a:pt x="58" y="13"/>
                    </a:cubicBezTo>
                    <a:cubicBezTo>
                      <a:pt x="57" y="13"/>
                      <a:pt x="55" y="13"/>
                      <a:pt x="54" y="14"/>
                    </a:cubicBezTo>
                    <a:cubicBezTo>
                      <a:pt x="52" y="14"/>
                      <a:pt x="50" y="16"/>
                      <a:pt x="48" y="16"/>
                    </a:cubicBezTo>
                    <a:cubicBezTo>
                      <a:pt x="46" y="16"/>
                      <a:pt x="46" y="14"/>
                      <a:pt x="45" y="13"/>
                    </a:cubicBezTo>
                    <a:cubicBezTo>
                      <a:pt x="42" y="11"/>
                      <a:pt x="40" y="11"/>
                      <a:pt x="37" y="9"/>
                    </a:cubicBezTo>
                    <a:cubicBezTo>
                      <a:pt x="34" y="8"/>
                      <a:pt x="32" y="5"/>
                      <a:pt x="29" y="4"/>
                    </a:cubicBezTo>
                    <a:cubicBezTo>
                      <a:pt x="26" y="3"/>
                      <a:pt x="22" y="6"/>
                      <a:pt x="19" y="5"/>
                    </a:cubicBezTo>
                    <a:cubicBezTo>
                      <a:pt x="16" y="5"/>
                      <a:pt x="14" y="2"/>
                      <a:pt x="11" y="1"/>
                    </a:cubicBezTo>
                    <a:cubicBezTo>
                      <a:pt x="7" y="0"/>
                      <a:pt x="3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7" name="Freeform 2618"/>
              <p:cNvSpPr>
                <a:spLocks noChangeAspect="1"/>
              </p:cNvSpPr>
              <p:nvPr/>
            </p:nvSpPr>
            <p:spPr bwMode="auto">
              <a:xfrm>
                <a:off x="5529749" y="2874561"/>
                <a:ext cx="34348" cy="29234"/>
              </a:xfrm>
              <a:custGeom>
                <a:avLst/>
                <a:gdLst>
                  <a:gd name="T0" fmla="*/ 21 w 18"/>
                  <a:gd name="T1" fmla="*/ 18 h 15"/>
                  <a:gd name="T2" fmla="*/ 16 w 18"/>
                  <a:gd name="T3" fmla="*/ 7 h 15"/>
                  <a:gd name="T4" fmla="*/ 14 w 18"/>
                  <a:gd name="T5" fmla="*/ 1 h 15"/>
                  <a:gd name="T6" fmla="*/ 8 w 18"/>
                  <a:gd name="T7" fmla="*/ 4 h 15"/>
                  <a:gd name="T8" fmla="*/ 7 w 18"/>
                  <a:gd name="T9" fmla="*/ 0 h 15"/>
                  <a:gd name="T10" fmla="*/ 0 w 18"/>
                  <a:gd name="T11" fmla="*/ 0 h 15"/>
                  <a:gd name="T12" fmla="*/ 2 w 18"/>
                  <a:gd name="T13" fmla="*/ 4 h 15"/>
                  <a:gd name="T14" fmla="*/ 8 w 18"/>
                  <a:gd name="T15" fmla="*/ 10 h 15"/>
                  <a:gd name="T16" fmla="*/ 12 w 18"/>
                  <a:gd name="T17" fmla="*/ 10 h 15"/>
                  <a:gd name="T18" fmla="*/ 12 w 18"/>
                  <a:gd name="T19" fmla="*/ 16 h 15"/>
                  <a:gd name="T20" fmla="*/ 21 w 18"/>
                  <a:gd name="T21" fmla="*/ 18 h 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15"/>
                  <a:gd name="T35" fmla="*/ 18 w 18"/>
                  <a:gd name="T36" fmla="*/ 15 h 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15">
                    <a:moveTo>
                      <a:pt x="18" y="15"/>
                    </a:moveTo>
                    <a:cubicBezTo>
                      <a:pt x="17" y="12"/>
                      <a:pt x="16" y="9"/>
                      <a:pt x="14" y="6"/>
                    </a:cubicBezTo>
                    <a:cubicBezTo>
                      <a:pt x="13" y="5"/>
                      <a:pt x="13" y="2"/>
                      <a:pt x="12" y="1"/>
                    </a:cubicBezTo>
                    <a:cubicBezTo>
                      <a:pt x="10" y="1"/>
                      <a:pt x="9" y="3"/>
                      <a:pt x="7" y="3"/>
                    </a:cubicBezTo>
                    <a:cubicBezTo>
                      <a:pt x="6" y="2"/>
                      <a:pt x="6" y="1"/>
                      <a:pt x="6" y="0"/>
                    </a:cubicBezTo>
                    <a:cubicBezTo>
                      <a:pt x="4" y="0"/>
                      <a:pt x="2" y="1"/>
                      <a:pt x="0" y="0"/>
                    </a:cubicBezTo>
                    <a:cubicBezTo>
                      <a:pt x="1" y="1"/>
                      <a:pt x="1" y="2"/>
                      <a:pt x="2" y="3"/>
                    </a:cubicBezTo>
                    <a:cubicBezTo>
                      <a:pt x="3" y="5"/>
                      <a:pt x="5" y="7"/>
                      <a:pt x="7" y="8"/>
                    </a:cubicBezTo>
                    <a:cubicBezTo>
                      <a:pt x="8" y="9"/>
                      <a:pt x="10" y="7"/>
                      <a:pt x="10" y="8"/>
                    </a:cubicBezTo>
                    <a:cubicBezTo>
                      <a:pt x="12" y="9"/>
                      <a:pt x="9" y="12"/>
                      <a:pt x="10" y="13"/>
                    </a:cubicBezTo>
                    <a:cubicBezTo>
                      <a:pt x="12" y="15"/>
                      <a:pt x="16" y="14"/>
                      <a:pt x="18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8" name="Freeform 2619"/>
              <p:cNvSpPr>
                <a:spLocks noChangeAspect="1"/>
              </p:cNvSpPr>
              <p:nvPr/>
            </p:nvSpPr>
            <p:spPr bwMode="auto">
              <a:xfrm>
                <a:off x="5493766" y="2824213"/>
                <a:ext cx="80144" cy="79583"/>
              </a:xfrm>
              <a:custGeom>
                <a:avLst/>
                <a:gdLst>
                  <a:gd name="T0" fmla="*/ 48 w 41"/>
                  <a:gd name="T1" fmla="*/ 47 h 41"/>
                  <a:gd name="T2" fmla="*/ 48 w 41"/>
                  <a:gd name="T3" fmla="*/ 39 h 41"/>
                  <a:gd name="T4" fmla="*/ 44 w 41"/>
                  <a:gd name="T5" fmla="*/ 36 h 41"/>
                  <a:gd name="T6" fmla="*/ 39 w 41"/>
                  <a:gd name="T7" fmla="*/ 31 h 41"/>
                  <a:gd name="T8" fmla="*/ 32 w 41"/>
                  <a:gd name="T9" fmla="*/ 26 h 41"/>
                  <a:gd name="T10" fmla="*/ 36 w 41"/>
                  <a:gd name="T11" fmla="*/ 24 h 41"/>
                  <a:gd name="T12" fmla="*/ 36 w 41"/>
                  <a:gd name="T13" fmla="*/ 20 h 41"/>
                  <a:gd name="T14" fmla="*/ 29 w 41"/>
                  <a:gd name="T15" fmla="*/ 17 h 41"/>
                  <a:gd name="T16" fmla="*/ 30 w 41"/>
                  <a:gd name="T17" fmla="*/ 11 h 41"/>
                  <a:gd name="T18" fmla="*/ 29 w 41"/>
                  <a:gd name="T19" fmla="*/ 6 h 41"/>
                  <a:gd name="T20" fmla="*/ 23 w 41"/>
                  <a:gd name="T21" fmla="*/ 5 h 41"/>
                  <a:gd name="T22" fmla="*/ 22 w 41"/>
                  <a:gd name="T23" fmla="*/ 0 h 41"/>
                  <a:gd name="T24" fmla="*/ 17 w 41"/>
                  <a:gd name="T25" fmla="*/ 0 h 41"/>
                  <a:gd name="T26" fmla="*/ 11 w 41"/>
                  <a:gd name="T27" fmla="*/ 0 h 41"/>
                  <a:gd name="T28" fmla="*/ 6 w 41"/>
                  <a:gd name="T29" fmla="*/ 0 h 41"/>
                  <a:gd name="T30" fmla="*/ 0 w 41"/>
                  <a:gd name="T31" fmla="*/ 2 h 41"/>
                  <a:gd name="T32" fmla="*/ 2 w 41"/>
                  <a:gd name="T33" fmla="*/ 11 h 41"/>
                  <a:gd name="T34" fmla="*/ 2 w 41"/>
                  <a:gd name="T35" fmla="*/ 19 h 41"/>
                  <a:gd name="T36" fmla="*/ 6 w 41"/>
                  <a:gd name="T37" fmla="*/ 24 h 41"/>
                  <a:gd name="T38" fmla="*/ 16 w 41"/>
                  <a:gd name="T39" fmla="*/ 25 h 41"/>
                  <a:gd name="T40" fmla="*/ 22 w 41"/>
                  <a:gd name="T41" fmla="*/ 31 h 41"/>
                  <a:gd name="T42" fmla="*/ 29 w 41"/>
                  <a:gd name="T43" fmla="*/ 31 h 41"/>
                  <a:gd name="T44" fmla="*/ 30 w 41"/>
                  <a:gd name="T45" fmla="*/ 35 h 41"/>
                  <a:gd name="T46" fmla="*/ 36 w 41"/>
                  <a:gd name="T47" fmla="*/ 32 h 41"/>
                  <a:gd name="T48" fmla="*/ 38 w 41"/>
                  <a:gd name="T49" fmla="*/ 38 h 41"/>
                  <a:gd name="T50" fmla="*/ 43 w 41"/>
                  <a:gd name="T51" fmla="*/ 49 h 41"/>
                  <a:gd name="T52" fmla="*/ 45 w 41"/>
                  <a:gd name="T53" fmla="*/ 48 h 41"/>
                  <a:gd name="T54" fmla="*/ 48 w 41"/>
                  <a:gd name="T55" fmla="*/ 47 h 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1"/>
                  <a:gd name="T85" fmla="*/ 0 h 41"/>
                  <a:gd name="T86" fmla="*/ 41 w 41"/>
                  <a:gd name="T87" fmla="*/ 41 h 41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1" h="41">
                    <a:moveTo>
                      <a:pt x="40" y="39"/>
                    </a:moveTo>
                    <a:cubicBezTo>
                      <a:pt x="40" y="37"/>
                      <a:pt x="41" y="35"/>
                      <a:pt x="40" y="33"/>
                    </a:cubicBezTo>
                    <a:cubicBezTo>
                      <a:pt x="40" y="32"/>
                      <a:pt x="38" y="31"/>
                      <a:pt x="37" y="30"/>
                    </a:cubicBezTo>
                    <a:cubicBezTo>
                      <a:pt x="36" y="29"/>
                      <a:pt x="34" y="27"/>
                      <a:pt x="33" y="26"/>
                    </a:cubicBezTo>
                    <a:cubicBezTo>
                      <a:pt x="31" y="25"/>
                      <a:pt x="28" y="24"/>
                      <a:pt x="27" y="22"/>
                    </a:cubicBezTo>
                    <a:cubicBezTo>
                      <a:pt x="27" y="21"/>
                      <a:pt x="29" y="21"/>
                      <a:pt x="30" y="20"/>
                    </a:cubicBezTo>
                    <a:cubicBezTo>
                      <a:pt x="30" y="19"/>
                      <a:pt x="31" y="18"/>
                      <a:pt x="30" y="17"/>
                    </a:cubicBezTo>
                    <a:cubicBezTo>
                      <a:pt x="29" y="15"/>
                      <a:pt x="26" y="16"/>
                      <a:pt x="24" y="14"/>
                    </a:cubicBezTo>
                    <a:cubicBezTo>
                      <a:pt x="23" y="13"/>
                      <a:pt x="25" y="11"/>
                      <a:pt x="25" y="9"/>
                    </a:cubicBezTo>
                    <a:cubicBezTo>
                      <a:pt x="25" y="8"/>
                      <a:pt x="25" y="6"/>
                      <a:pt x="24" y="5"/>
                    </a:cubicBezTo>
                    <a:cubicBezTo>
                      <a:pt x="23" y="4"/>
                      <a:pt x="20" y="5"/>
                      <a:pt x="19" y="4"/>
                    </a:cubicBezTo>
                    <a:cubicBezTo>
                      <a:pt x="18" y="3"/>
                      <a:pt x="18" y="1"/>
                      <a:pt x="18" y="0"/>
                    </a:cubicBezTo>
                    <a:cubicBezTo>
                      <a:pt x="16" y="0"/>
                      <a:pt x="15" y="0"/>
                      <a:pt x="14" y="0"/>
                    </a:cubicBezTo>
                    <a:cubicBezTo>
                      <a:pt x="12" y="0"/>
                      <a:pt x="11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3" y="1"/>
                      <a:pt x="2" y="2"/>
                      <a:pt x="0" y="2"/>
                    </a:cubicBezTo>
                    <a:cubicBezTo>
                      <a:pt x="1" y="5"/>
                      <a:pt x="2" y="7"/>
                      <a:pt x="2" y="9"/>
                    </a:cubicBezTo>
                    <a:cubicBezTo>
                      <a:pt x="2" y="11"/>
                      <a:pt x="1" y="14"/>
                      <a:pt x="2" y="16"/>
                    </a:cubicBezTo>
                    <a:cubicBezTo>
                      <a:pt x="2" y="17"/>
                      <a:pt x="4" y="19"/>
                      <a:pt x="5" y="20"/>
                    </a:cubicBezTo>
                    <a:cubicBezTo>
                      <a:pt x="8" y="21"/>
                      <a:pt x="11" y="20"/>
                      <a:pt x="13" y="21"/>
                    </a:cubicBezTo>
                    <a:cubicBezTo>
                      <a:pt x="15" y="22"/>
                      <a:pt x="17" y="25"/>
                      <a:pt x="18" y="26"/>
                    </a:cubicBezTo>
                    <a:cubicBezTo>
                      <a:pt x="20" y="27"/>
                      <a:pt x="22" y="26"/>
                      <a:pt x="24" y="26"/>
                    </a:cubicBezTo>
                    <a:cubicBezTo>
                      <a:pt x="24" y="27"/>
                      <a:pt x="24" y="28"/>
                      <a:pt x="25" y="29"/>
                    </a:cubicBezTo>
                    <a:cubicBezTo>
                      <a:pt x="27" y="29"/>
                      <a:pt x="28" y="27"/>
                      <a:pt x="30" y="27"/>
                    </a:cubicBezTo>
                    <a:cubicBezTo>
                      <a:pt x="31" y="28"/>
                      <a:pt x="31" y="31"/>
                      <a:pt x="32" y="32"/>
                    </a:cubicBezTo>
                    <a:cubicBezTo>
                      <a:pt x="34" y="35"/>
                      <a:pt x="35" y="38"/>
                      <a:pt x="36" y="41"/>
                    </a:cubicBezTo>
                    <a:cubicBezTo>
                      <a:pt x="37" y="40"/>
                      <a:pt x="37" y="40"/>
                      <a:pt x="38" y="40"/>
                    </a:cubicBezTo>
                    <a:cubicBezTo>
                      <a:pt x="39" y="40"/>
                      <a:pt x="39" y="40"/>
                      <a:pt x="40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09" name="Freeform 2620"/>
              <p:cNvSpPr>
                <a:spLocks noChangeAspect="1"/>
              </p:cNvSpPr>
              <p:nvPr/>
            </p:nvSpPr>
            <p:spPr bwMode="auto">
              <a:xfrm>
                <a:off x="5529749" y="2803099"/>
                <a:ext cx="130847" cy="112066"/>
              </a:xfrm>
              <a:custGeom>
                <a:avLst/>
                <a:gdLst>
                  <a:gd name="T0" fmla="*/ 59 w 67"/>
                  <a:gd name="T1" fmla="*/ 68 h 58"/>
                  <a:gd name="T2" fmla="*/ 56 w 67"/>
                  <a:gd name="T3" fmla="*/ 68 h 58"/>
                  <a:gd name="T4" fmla="*/ 48 w 67"/>
                  <a:gd name="T5" fmla="*/ 63 h 58"/>
                  <a:gd name="T6" fmla="*/ 53 w 67"/>
                  <a:gd name="T7" fmla="*/ 59 h 58"/>
                  <a:gd name="T8" fmla="*/ 48 w 67"/>
                  <a:gd name="T9" fmla="*/ 52 h 58"/>
                  <a:gd name="T10" fmla="*/ 51 w 67"/>
                  <a:gd name="T11" fmla="*/ 49 h 58"/>
                  <a:gd name="T12" fmla="*/ 47 w 67"/>
                  <a:gd name="T13" fmla="*/ 43 h 58"/>
                  <a:gd name="T14" fmla="*/ 32 w 67"/>
                  <a:gd name="T15" fmla="*/ 55 h 58"/>
                  <a:gd name="T16" fmla="*/ 32 w 67"/>
                  <a:gd name="T17" fmla="*/ 61 h 58"/>
                  <a:gd name="T18" fmla="*/ 26 w 67"/>
                  <a:gd name="T19" fmla="*/ 59 h 58"/>
                  <a:gd name="T20" fmla="*/ 26 w 67"/>
                  <a:gd name="T21" fmla="*/ 52 h 58"/>
                  <a:gd name="T22" fmla="*/ 23 w 67"/>
                  <a:gd name="T23" fmla="*/ 49 h 58"/>
                  <a:gd name="T24" fmla="*/ 18 w 67"/>
                  <a:gd name="T25" fmla="*/ 44 h 58"/>
                  <a:gd name="T26" fmla="*/ 11 w 67"/>
                  <a:gd name="T27" fmla="*/ 39 h 58"/>
                  <a:gd name="T28" fmla="*/ 14 w 67"/>
                  <a:gd name="T29" fmla="*/ 37 h 58"/>
                  <a:gd name="T30" fmla="*/ 14 w 67"/>
                  <a:gd name="T31" fmla="*/ 33 h 58"/>
                  <a:gd name="T32" fmla="*/ 7 w 67"/>
                  <a:gd name="T33" fmla="*/ 30 h 58"/>
                  <a:gd name="T34" fmla="*/ 8 w 67"/>
                  <a:gd name="T35" fmla="*/ 24 h 58"/>
                  <a:gd name="T36" fmla="*/ 7 w 67"/>
                  <a:gd name="T37" fmla="*/ 19 h 58"/>
                  <a:gd name="T38" fmla="*/ 1 w 67"/>
                  <a:gd name="T39" fmla="*/ 18 h 58"/>
                  <a:gd name="T40" fmla="*/ 0 w 67"/>
                  <a:gd name="T41" fmla="*/ 13 h 58"/>
                  <a:gd name="T42" fmla="*/ 4 w 67"/>
                  <a:gd name="T43" fmla="*/ 8 h 58"/>
                  <a:gd name="T44" fmla="*/ 10 w 67"/>
                  <a:gd name="T45" fmla="*/ 12 h 58"/>
                  <a:gd name="T46" fmla="*/ 16 w 67"/>
                  <a:gd name="T47" fmla="*/ 14 h 58"/>
                  <a:gd name="T48" fmla="*/ 24 w 67"/>
                  <a:gd name="T49" fmla="*/ 17 h 58"/>
                  <a:gd name="T50" fmla="*/ 24 w 67"/>
                  <a:gd name="T51" fmla="*/ 12 h 58"/>
                  <a:gd name="T52" fmla="*/ 19 w 67"/>
                  <a:gd name="T53" fmla="*/ 10 h 58"/>
                  <a:gd name="T54" fmla="*/ 16 w 67"/>
                  <a:gd name="T55" fmla="*/ 4 h 58"/>
                  <a:gd name="T56" fmla="*/ 20 w 67"/>
                  <a:gd name="T57" fmla="*/ 0 h 58"/>
                  <a:gd name="T58" fmla="*/ 29 w 67"/>
                  <a:gd name="T59" fmla="*/ 5 h 58"/>
                  <a:gd name="T60" fmla="*/ 32 w 67"/>
                  <a:gd name="T61" fmla="*/ 12 h 58"/>
                  <a:gd name="T62" fmla="*/ 42 w 67"/>
                  <a:gd name="T63" fmla="*/ 14 h 58"/>
                  <a:gd name="T64" fmla="*/ 43 w 67"/>
                  <a:gd name="T65" fmla="*/ 8 h 58"/>
                  <a:gd name="T66" fmla="*/ 48 w 67"/>
                  <a:gd name="T67" fmla="*/ 7 h 58"/>
                  <a:gd name="T68" fmla="*/ 50 w 67"/>
                  <a:gd name="T69" fmla="*/ 2 h 58"/>
                  <a:gd name="T70" fmla="*/ 59 w 67"/>
                  <a:gd name="T71" fmla="*/ 12 h 58"/>
                  <a:gd name="T72" fmla="*/ 62 w 67"/>
                  <a:gd name="T73" fmla="*/ 21 h 58"/>
                  <a:gd name="T74" fmla="*/ 69 w 67"/>
                  <a:gd name="T75" fmla="*/ 26 h 58"/>
                  <a:gd name="T76" fmla="*/ 75 w 67"/>
                  <a:gd name="T77" fmla="*/ 26 h 58"/>
                  <a:gd name="T78" fmla="*/ 80 w 67"/>
                  <a:gd name="T79" fmla="*/ 29 h 58"/>
                  <a:gd name="T80" fmla="*/ 79 w 67"/>
                  <a:gd name="T81" fmla="*/ 30 h 58"/>
                  <a:gd name="T82" fmla="*/ 70 w 67"/>
                  <a:gd name="T83" fmla="*/ 30 h 58"/>
                  <a:gd name="T84" fmla="*/ 66 w 67"/>
                  <a:gd name="T85" fmla="*/ 38 h 58"/>
                  <a:gd name="T86" fmla="*/ 66 w 67"/>
                  <a:gd name="T87" fmla="*/ 46 h 58"/>
                  <a:gd name="T88" fmla="*/ 68 w 67"/>
                  <a:gd name="T89" fmla="*/ 51 h 58"/>
                  <a:gd name="T90" fmla="*/ 66 w 67"/>
                  <a:gd name="T91" fmla="*/ 56 h 58"/>
                  <a:gd name="T92" fmla="*/ 60 w 67"/>
                  <a:gd name="T93" fmla="*/ 55 h 58"/>
                  <a:gd name="T94" fmla="*/ 59 w 67"/>
                  <a:gd name="T95" fmla="*/ 59 h 58"/>
                  <a:gd name="T96" fmla="*/ 59 w 67"/>
                  <a:gd name="T97" fmla="*/ 68 h 5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7"/>
                  <a:gd name="T148" fmla="*/ 0 h 58"/>
                  <a:gd name="T149" fmla="*/ 67 w 67"/>
                  <a:gd name="T150" fmla="*/ 58 h 5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7" h="58">
                    <a:moveTo>
                      <a:pt x="49" y="57"/>
                    </a:moveTo>
                    <a:cubicBezTo>
                      <a:pt x="48" y="57"/>
                      <a:pt x="48" y="58"/>
                      <a:pt x="47" y="57"/>
                    </a:cubicBezTo>
                    <a:cubicBezTo>
                      <a:pt x="44" y="56"/>
                      <a:pt x="41" y="56"/>
                      <a:pt x="40" y="53"/>
                    </a:cubicBezTo>
                    <a:cubicBezTo>
                      <a:pt x="40" y="51"/>
                      <a:pt x="45" y="51"/>
                      <a:pt x="44" y="50"/>
                    </a:cubicBezTo>
                    <a:cubicBezTo>
                      <a:pt x="44" y="47"/>
                      <a:pt x="40" y="46"/>
                      <a:pt x="40" y="44"/>
                    </a:cubicBezTo>
                    <a:cubicBezTo>
                      <a:pt x="39" y="42"/>
                      <a:pt x="43" y="42"/>
                      <a:pt x="43" y="41"/>
                    </a:cubicBezTo>
                    <a:cubicBezTo>
                      <a:pt x="43" y="38"/>
                      <a:pt x="41" y="35"/>
                      <a:pt x="39" y="36"/>
                    </a:cubicBezTo>
                    <a:cubicBezTo>
                      <a:pt x="34" y="38"/>
                      <a:pt x="31" y="42"/>
                      <a:pt x="27" y="46"/>
                    </a:cubicBezTo>
                    <a:cubicBezTo>
                      <a:pt x="26" y="47"/>
                      <a:pt x="28" y="50"/>
                      <a:pt x="27" y="51"/>
                    </a:cubicBezTo>
                    <a:cubicBezTo>
                      <a:pt x="26" y="52"/>
                      <a:pt x="24" y="50"/>
                      <a:pt x="22" y="50"/>
                    </a:cubicBezTo>
                    <a:cubicBezTo>
                      <a:pt x="22" y="48"/>
                      <a:pt x="23" y="46"/>
                      <a:pt x="22" y="44"/>
                    </a:cubicBezTo>
                    <a:cubicBezTo>
                      <a:pt x="22" y="43"/>
                      <a:pt x="20" y="42"/>
                      <a:pt x="19" y="41"/>
                    </a:cubicBezTo>
                    <a:cubicBezTo>
                      <a:pt x="18" y="40"/>
                      <a:pt x="16" y="38"/>
                      <a:pt x="15" y="37"/>
                    </a:cubicBezTo>
                    <a:cubicBezTo>
                      <a:pt x="13" y="36"/>
                      <a:pt x="10" y="35"/>
                      <a:pt x="9" y="33"/>
                    </a:cubicBezTo>
                    <a:cubicBezTo>
                      <a:pt x="9" y="32"/>
                      <a:pt x="11" y="32"/>
                      <a:pt x="12" y="31"/>
                    </a:cubicBezTo>
                    <a:cubicBezTo>
                      <a:pt x="12" y="30"/>
                      <a:pt x="13" y="29"/>
                      <a:pt x="12" y="28"/>
                    </a:cubicBezTo>
                    <a:cubicBezTo>
                      <a:pt x="11" y="26"/>
                      <a:pt x="8" y="27"/>
                      <a:pt x="6" y="25"/>
                    </a:cubicBezTo>
                    <a:cubicBezTo>
                      <a:pt x="5" y="24"/>
                      <a:pt x="7" y="22"/>
                      <a:pt x="7" y="20"/>
                    </a:cubicBezTo>
                    <a:cubicBezTo>
                      <a:pt x="7" y="19"/>
                      <a:pt x="7" y="17"/>
                      <a:pt x="6" y="16"/>
                    </a:cubicBezTo>
                    <a:cubicBezTo>
                      <a:pt x="5" y="15"/>
                      <a:pt x="2" y="16"/>
                      <a:pt x="1" y="15"/>
                    </a:cubicBezTo>
                    <a:cubicBezTo>
                      <a:pt x="0" y="14"/>
                      <a:pt x="0" y="12"/>
                      <a:pt x="0" y="11"/>
                    </a:cubicBezTo>
                    <a:cubicBezTo>
                      <a:pt x="1" y="10"/>
                      <a:pt x="1" y="7"/>
                      <a:pt x="3" y="7"/>
                    </a:cubicBezTo>
                    <a:cubicBezTo>
                      <a:pt x="5" y="7"/>
                      <a:pt x="6" y="9"/>
                      <a:pt x="8" y="10"/>
                    </a:cubicBezTo>
                    <a:cubicBezTo>
                      <a:pt x="10" y="11"/>
                      <a:pt x="12" y="12"/>
                      <a:pt x="13" y="12"/>
                    </a:cubicBezTo>
                    <a:cubicBezTo>
                      <a:pt x="16" y="13"/>
                      <a:pt x="18" y="15"/>
                      <a:pt x="20" y="14"/>
                    </a:cubicBezTo>
                    <a:cubicBezTo>
                      <a:pt x="21" y="14"/>
                      <a:pt x="21" y="11"/>
                      <a:pt x="20" y="10"/>
                    </a:cubicBezTo>
                    <a:cubicBezTo>
                      <a:pt x="20" y="9"/>
                      <a:pt x="17" y="9"/>
                      <a:pt x="16" y="8"/>
                    </a:cubicBezTo>
                    <a:cubicBezTo>
                      <a:pt x="15" y="6"/>
                      <a:pt x="13" y="5"/>
                      <a:pt x="13" y="3"/>
                    </a:cubicBezTo>
                    <a:cubicBezTo>
                      <a:pt x="14" y="1"/>
                      <a:pt x="16" y="1"/>
                      <a:pt x="17" y="0"/>
                    </a:cubicBezTo>
                    <a:cubicBezTo>
                      <a:pt x="19" y="1"/>
                      <a:pt x="22" y="2"/>
                      <a:pt x="24" y="4"/>
                    </a:cubicBezTo>
                    <a:cubicBezTo>
                      <a:pt x="25" y="5"/>
                      <a:pt x="26" y="9"/>
                      <a:pt x="27" y="10"/>
                    </a:cubicBezTo>
                    <a:cubicBezTo>
                      <a:pt x="29" y="12"/>
                      <a:pt x="32" y="13"/>
                      <a:pt x="35" y="12"/>
                    </a:cubicBezTo>
                    <a:cubicBezTo>
                      <a:pt x="36" y="11"/>
                      <a:pt x="35" y="8"/>
                      <a:pt x="36" y="7"/>
                    </a:cubicBezTo>
                    <a:cubicBezTo>
                      <a:pt x="37" y="6"/>
                      <a:pt x="39" y="7"/>
                      <a:pt x="40" y="6"/>
                    </a:cubicBezTo>
                    <a:cubicBezTo>
                      <a:pt x="41" y="5"/>
                      <a:pt x="41" y="4"/>
                      <a:pt x="42" y="2"/>
                    </a:cubicBezTo>
                    <a:cubicBezTo>
                      <a:pt x="44" y="5"/>
                      <a:pt x="47" y="8"/>
                      <a:pt x="49" y="10"/>
                    </a:cubicBezTo>
                    <a:cubicBezTo>
                      <a:pt x="50" y="13"/>
                      <a:pt x="51" y="16"/>
                      <a:pt x="52" y="18"/>
                    </a:cubicBezTo>
                    <a:cubicBezTo>
                      <a:pt x="54" y="20"/>
                      <a:pt x="56" y="22"/>
                      <a:pt x="58" y="22"/>
                    </a:cubicBezTo>
                    <a:cubicBezTo>
                      <a:pt x="60" y="23"/>
                      <a:pt x="62" y="22"/>
                      <a:pt x="63" y="22"/>
                    </a:cubicBezTo>
                    <a:cubicBezTo>
                      <a:pt x="65" y="22"/>
                      <a:pt x="66" y="23"/>
                      <a:pt x="67" y="24"/>
                    </a:cubicBezTo>
                    <a:cubicBezTo>
                      <a:pt x="67" y="25"/>
                      <a:pt x="66" y="25"/>
                      <a:pt x="66" y="25"/>
                    </a:cubicBezTo>
                    <a:cubicBezTo>
                      <a:pt x="63" y="25"/>
                      <a:pt x="61" y="24"/>
                      <a:pt x="59" y="25"/>
                    </a:cubicBezTo>
                    <a:cubicBezTo>
                      <a:pt x="57" y="27"/>
                      <a:pt x="56" y="30"/>
                      <a:pt x="55" y="32"/>
                    </a:cubicBezTo>
                    <a:cubicBezTo>
                      <a:pt x="54" y="34"/>
                      <a:pt x="55" y="37"/>
                      <a:pt x="55" y="39"/>
                    </a:cubicBezTo>
                    <a:cubicBezTo>
                      <a:pt x="55" y="40"/>
                      <a:pt x="57" y="41"/>
                      <a:pt x="57" y="43"/>
                    </a:cubicBezTo>
                    <a:cubicBezTo>
                      <a:pt x="54" y="43"/>
                      <a:pt x="56" y="47"/>
                      <a:pt x="55" y="47"/>
                    </a:cubicBezTo>
                    <a:cubicBezTo>
                      <a:pt x="53" y="48"/>
                      <a:pt x="51" y="45"/>
                      <a:pt x="50" y="46"/>
                    </a:cubicBezTo>
                    <a:cubicBezTo>
                      <a:pt x="48" y="46"/>
                      <a:pt x="49" y="49"/>
                      <a:pt x="49" y="50"/>
                    </a:cubicBezTo>
                    <a:cubicBezTo>
                      <a:pt x="48" y="53"/>
                      <a:pt x="49" y="55"/>
                      <a:pt x="49" y="5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0" name="Freeform 2621"/>
              <p:cNvSpPr>
                <a:spLocks noChangeAspect="1"/>
              </p:cNvSpPr>
              <p:nvPr/>
            </p:nvSpPr>
            <p:spPr bwMode="auto">
              <a:xfrm>
                <a:off x="5708028" y="2777113"/>
                <a:ext cx="351652" cy="238748"/>
              </a:xfrm>
              <a:custGeom>
                <a:avLst/>
                <a:gdLst>
                  <a:gd name="T0" fmla="*/ 210 w 179"/>
                  <a:gd name="T1" fmla="*/ 107 h 122"/>
                  <a:gd name="T2" fmla="*/ 198 w 179"/>
                  <a:gd name="T3" fmla="*/ 107 h 122"/>
                  <a:gd name="T4" fmla="*/ 190 w 179"/>
                  <a:gd name="T5" fmla="*/ 108 h 122"/>
                  <a:gd name="T6" fmla="*/ 184 w 179"/>
                  <a:gd name="T7" fmla="*/ 124 h 122"/>
                  <a:gd name="T8" fmla="*/ 167 w 179"/>
                  <a:gd name="T9" fmla="*/ 136 h 122"/>
                  <a:gd name="T10" fmla="*/ 161 w 179"/>
                  <a:gd name="T11" fmla="*/ 147 h 122"/>
                  <a:gd name="T12" fmla="*/ 153 w 179"/>
                  <a:gd name="T13" fmla="*/ 146 h 122"/>
                  <a:gd name="T14" fmla="*/ 141 w 179"/>
                  <a:gd name="T15" fmla="*/ 142 h 122"/>
                  <a:gd name="T16" fmla="*/ 137 w 179"/>
                  <a:gd name="T17" fmla="*/ 128 h 122"/>
                  <a:gd name="T18" fmla="*/ 120 w 179"/>
                  <a:gd name="T19" fmla="*/ 118 h 122"/>
                  <a:gd name="T20" fmla="*/ 106 w 179"/>
                  <a:gd name="T21" fmla="*/ 111 h 122"/>
                  <a:gd name="T22" fmla="*/ 98 w 179"/>
                  <a:gd name="T23" fmla="*/ 102 h 122"/>
                  <a:gd name="T24" fmla="*/ 76 w 179"/>
                  <a:gd name="T25" fmla="*/ 95 h 122"/>
                  <a:gd name="T26" fmla="*/ 65 w 179"/>
                  <a:gd name="T27" fmla="*/ 89 h 122"/>
                  <a:gd name="T28" fmla="*/ 44 w 179"/>
                  <a:gd name="T29" fmla="*/ 96 h 122"/>
                  <a:gd name="T30" fmla="*/ 29 w 179"/>
                  <a:gd name="T31" fmla="*/ 107 h 122"/>
                  <a:gd name="T32" fmla="*/ 24 w 179"/>
                  <a:gd name="T33" fmla="*/ 86 h 122"/>
                  <a:gd name="T34" fmla="*/ 19 w 179"/>
                  <a:gd name="T35" fmla="*/ 66 h 122"/>
                  <a:gd name="T36" fmla="*/ 13 w 179"/>
                  <a:gd name="T37" fmla="*/ 71 h 122"/>
                  <a:gd name="T38" fmla="*/ 13 w 179"/>
                  <a:gd name="T39" fmla="*/ 60 h 122"/>
                  <a:gd name="T40" fmla="*/ 20 w 179"/>
                  <a:gd name="T41" fmla="*/ 63 h 122"/>
                  <a:gd name="T42" fmla="*/ 17 w 179"/>
                  <a:gd name="T43" fmla="*/ 55 h 122"/>
                  <a:gd name="T44" fmla="*/ 6 w 179"/>
                  <a:gd name="T45" fmla="*/ 55 h 122"/>
                  <a:gd name="T46" fmla="*/ 5 w 179"/>
                  <a:gd name="T47" fmla="*/ 39 h 122"/>
                  <a:gd name="T48" fmla="*/ 10 w 179"/>
                  <a:gd name="T49" fmla="*/ 40 h 122"/>
                  <a:gd name="T50" fmla="*/ 20 w 179"/>
                  <a:gd name="T51" fmla="*/ 37 h 122"/>
                  <a:gd name="T52" fmla="*/ 29 w 179"/>
                  <a:gd name="T53" fmla="*/ 41 h 122"/>
                  <a:gd name="T54" fmla="*/ 32 w 179"/>
                  <a:gd name="T55" fmla="*/ 37 h 122"/>
                  <a:gd name="T56" fmla="*/ 34 w 179"/>
                  <a:gd name="T57" fmla="*/ 30 h 122"/>
                  <a:gd name="T58" fmla="*/ 19 w 179"/>
                  <a:gd name="T59" fmla="*/ 11 h 122"/>
                  <a:gd name="T60" fmla="*/ 5 w 179"/>
                  <a:gd name="T61" fmla="*/ 18 h 122"/>
                  <a:gd name="T62" fmla="*/ 4 w 179"/>
                  <a:gd name="T63" fmla="*/ 31 h 122"/>
                  <a:gd name="T64" fmla="*/ 0 w 179"/>
                  <a:gd name="T65" fmla="*/ 19 h 122"/>
                  <a:gd name="T66" fmla="*/ 11 w 179"/>
                  <a:gd name="T67" fmla="*/ 7 h 122"/>
                  <a:gd name="T68" fmla="*/ 30 w 179"/>
                  <a:gd name="T69" fmla="*/ 11 h 122"/>
                  <a:gd name="T70" fmla="*/ 41 w 179"/>
                  <a:gd name="T71" fmla="*/ 29 h 122"/>
                  <a:gd name="T72" fmla="*/ 50 w 179"/>
                  <a:gd name="T73" fmla="*/ 28 h 122"/>
                  <a:gd name="T74" fmla="*/ 66 w 179"/>
                  <a:gd name="T75" fmla="*/ 31 h 122"/>
                  <a:gd name="T76" fmla="*/ 66 w 179"/>
                  <a:gd name="T77" fmla="*/ 20 h 122"/>
                  <a:gd name="T78" fmla="*/ 73 w 179"/>
                  <a:gd name="T79" fmla="*/ 11 h 122"/>
                  <a:gd name="T80" fmla="*/ 84 w 179"/>
                  <a:gd name="T81" fmla="*/ 10 h 122"/>
                  <a:gd name="T82" fmla="*/ 89 w 179"/>
                  <a:gd name="T83" fmla="*/ 1 h 122"/>
                  <a:gd name="T84" fmla="*/ 96 w 179"/>
                  <a:gd name="T85" fmla="*/ 10 h 122"/>
                  <a:gd name="T86" fmla="*/ 106 w 179"/>
                  <a:gd name="T87" fmla="*/ 19 h 122"/>
                  <a:gd name="T88" fmla="*/ 111 w 179"/>
                  <a:gd name="T89" fmla="*/ 30 h 122"/>
                  <a:gd name="T90" fmla="*/ 130 w 179"/>
                  <a:gd name="T91" fmla="*/ 30 h 122"/>
                  <a:gd name="T92" fmla="*/ 142 w 179"/>
                  <a:gd name="T93" fmla="*/ 35 h 122"/>
                  <a:gd name="T94" fmla="*/ 147 w 179"/>
                  <a:gd name="T95" fmla="*/ 46 h 122"/>
                  <a:gd name="T96" fmla="*/ 150 w 179"/>
                  <a:gd name="T97" fmla="*/ 53 h 122"/>
                  <a:gd name="T98" fmla="*/ 166 w 179"/>
                  <a:gd name="T99" fmla="*/ 69 h 122"/>
                  <a:gd name="T100" fmla="*/ 198 w 179"/>
                  <a:gd name="T101" fmla="*/ 90 h 122"/>
                  <a:gd name="T102" fmla="*/ 213 w 179"/>
                  <a:gd name="T103" fmla="*/ 96 h 122"/>
                  <a:gd name="T104" fmla="*/ 214 w 179"/>
                  <a:gd name="T105" fmla="*/ 104 h 1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79"/>
                  <a:gd name="T160" fmla="*/ 0 h 122"/>
                  <a:gd name="T161" fmla="*/ 179 w 179"/>
                  <a:gd name="T162" fmla="*/ 122 h 12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79" h="122">
                    <a:moveTo>
                      <a:pt x="179" y="89"/>
                    </a:moveTo>
                    <a:cubicBezTo>
                      <a:pt x="177" y="89"/>
                      <a:pt x="176" y="89"/>
                      <a:pt x="175" y="89"/>
                    </a:cubicBezTo>
                    <a:cubicBezTo>
                      <a:pt x="173" y="88"/>
                      <a:pt x="171" y="86"/>
                      <a:pt x="168" y="86"/>
                    </a:cubicBezTo>
                    <a:cubicBezTo>
                      <a:pt x="167" y="86"/>
                      <a:pt x="166" y="88"/>
                      <a:pt x="165" y="89"/>
                    </a:cubicBezTo>
                    <a:cubicBezTo>
                      <a:pt x="165" y="90"/>
                      <a:pt x="164" y="90"/>
                      <a:pt x="163" y="90"/>
                    </a:cubicBezTo>
                    <a:cubicBezTo>
                      <a:pt x="161" y="90"/>
                      <a:pt x="160" y="90"/>
                      <a:pt x="158" y="90"/>
                    </a:cubicBezTo>
                    <a:cubicBezTo>
                      <a:pt x="157" y="91"/>
                      <a:pt x="156" y="92"/>
                      <a:pt x="156" y="93"/>
                    </a:cubicBezTo>
                    <a:cubicBezTo>
                      <a:pt x="154" y="96"/>
                      <a:pt x="155" y="100"/>
                      <a:pt x="153" y="103"/>
                    </a:cubicBezTo>
                    <a:cubicBezTo>
                      <a:pt x="151" y="106"/>
                      <a:pt x="148" y="109"/>
                      <a:pt x="144" y="111"/>
                    </a:cubicBezTo>
                    <a:cubicBezTo>
                      <a:pt x="143" y="112"/>
                      <a:pt x="140" y="112"/>
                      <a:pt x="139" y="113"/>
                    </a:cubicBezTo>
                    <a:cubicBezTo>
                      <a:pt x="138" y="114"/>
                      <a:pt x="139" y="116"/>
                      <a:pt x="138" y="117"/>
                    </a:cubicBezTo>
                    <a:cubicBezTo>
                      <a:pt x="137" y="119"/>
                      <a:pt x="136" y="121"/>
                      <a:pt x="134" y="122"/>
                    </a:cubicBezTo>
                    <a:cubicBezTo>
                      <a:pt x="133" y="122"/>
                      <a:pt x="132" y="121"/>
                      <a:pt x="131" y="121"/>
                    </a:cubicBezTo>
                    <a:cubicBezTo>
                      <a:pt x="130" y="121"/>
                      <a:pt x="128" y="122"/>
                      <a:pt x="127" y="121"/>
                    </a:cubicBezTo>
                    <a:cubicBezTo>
                      <a:pt x="125" y="121"/>
                      <a:pt x="123" y="120"/>
                      <a:pt x="121" y="119"/>
                    </a:cubicBezTo>
                    <a:cubicBezTo>
                      <a:pt x="120" y="119"/>
                      <a:pt x="118" y="118"/>
                      <a:pt x="117" y="118"/>
                    </a:cubicBezTo>
                    <a:cubicBezTo>
                      <a:pt x="116" y="116"/>
                      <a:pt x="114" y="114"/>
                      <a:pt x="114" y="112"/>
                    </a:cubicBezTo>
                    <a:cubicBezTo>
                      <a:pt x="114" y="110"/>
                      <a:pt x="114" y="108"/>
                      <a:pt x="114" y="106"/>
                    </a:cubicBezTo>
                    <a:cubicBezTo>
                      <a:pt x="114" y="104"/>
                      <a:pt x="114" y="102"/>
                      <a:pt x="113" y="101"/>
                    </a:cubicBezTo>
                    <a:cubicBezTo>
                      <a:pt x="109" y="99"/>
                      <a:pt x="104" y="100"/>
                      <a:pt x="100" y="98"/>
                    </a:cubicBezTo>
                    <a:cubicBezTo>
                      <a:pt x="98" y="98"/>
                      <a:pt x="98" y="94"/>
                      <a:pt x="96" y="93"/>
                    </a:cubicBezTo>
                    <a:cubicBezTo>
                      <a:pt x="94" y="92"/>
                      <a:pt x="90" y="94"/>
                      <a:pt x="88" y="92"/>
                    </a:cubicBezTo>
                    <a:cubicBezTo>
                      <a:pt x="86" y="91"/>
                      <a:pt x="89" y="89"/>
                      <a:pt x="88" y="87"/>
                    </a:cubicBezTo>
                    <a:cubicBezTo>
                      <a:pt x="87" y="86"/>
                      <a:pt x="84" y="86"/>
                      <a:pt x="82" y="85"/>
                    </a:cubicBezTo>
                    <a:cubicBezTo>
                      <a:pt x="79" y="84"/>
                      <a:pt x="76" y="83"/>
                      <a:pt x="74" y="82"/>
                    </a:cubicBezTo>
                    <a:cubicBezTo>
                      <a:pt x="70" y="81"/>
                      <a:pt x="67" y="80"/>
                      <a:pt x="63" y="79"/>
                    </a:cubicBezTo>
                    <a:cubicBezTo>
                      <a:pt x="62" y="78"/>
                      <a:pt x="61" y="77"/>
                      <a:pt x="60" y="76"/>
                    </a:cubicBezTo>
                    <a:cubicBezTo>
                      <a:pt x="58" y="75"/>
                      <a:pt x="56" y="74"/>
                      <a:pt x="54" y="74"/>
                    </a:cubicBezTo>
                    <a:cubicBezTo>
                      <a:pt x="51" y="74"/>
                      <a:pt x="51" y="76"/>
                      <a:pt x="49" y="77"/>
                    </a:cubicBezTo>
                    <a:cubicBezTo>
                      <a:pt x="45" y="78"/>
                      <a:pt x="40" y="77"/>
                      <a:pt x="37" y="80"/>
                    </a:cubicBezTo>
                    <a:cubicBezTo>
                      <a:pt x="35" y="81"/>
                      <a:pt x="36" y="85"/>
                      <a:pt x="34" y="86"/>
                    </a:cubicBezTo>
                    <a:cubicBezTo>
                      <a:pt x="31" y="88"/>
                      <a:pt x="27" y="88"/>
                      <a:pt x="24" y="89"/>
                    </a:cubicBezTo>
                    <a:cubicBezTo>
                      <a:pt x="23" y="86"/>
                      <a:pt x="22" y="84"/>
                      <a:pt x="21" y="81"/>
                    </a:cubicBezTo>
                    <a:cubicBezTo>
                      <a:pt x="21" y="78"/>
                      <a:pt x="20" y="74"/>
                      <a:pt x="20" y="71"/>
                    </a:cubicBezTo>
                    <a:cubicBezTo>
                      <a:pt x="20" y="68"/>
                      <a:pt x="22" y="65"/>
                      <a:pt x="21" y="62"/>
                    </a:cubicBezTo>
                    <a:cubicBezTo>
                      <a:pt x="20" y="60"/>
                      <a:pt x="18" y="57"/>
                      <a:pt x="16" y="55"/>
                    </a:cubicBezTo>
                    <a:cubicBezTo>
                      <a:pt x="15" y="54"/>
                      <a:pt x="13" y="55"/>
                      <a:pt x="12" y="56"/>
                    </a:cubicBezTo>
                    <a:cubicBezTo>
                      <a:pt x="11" y="56"/>
                      <a:pt x="12" y="58"/>
                      <a:pt x="11" y="59"/>
                    </a:cubicBezTo>
                    <a:cubicBezTo>
                      <a:pt x="10" y="59"/>
                      <a:pt x="10" y="57"/>
                      <a:pt x="10" y="56"/>
                    </a:cubicBezTo>
                    <a:cubicBezTo>
                      <a:pt x="10" y="54"/>
                      <a:pt x="9" y="51"/>
                      <a:pt x="11" y="50"/>
                    </a:cubicBezTo>
                    <a:cubicBezTo>
                      <a:pt x="12" y="49"/>
                      <a:pt x="13" y="52"/>
                      <a:pt x="14" y="53"/>
                    </a:cubicBezTo>
                    <a:cubicBezTo>
                      <a:pt x="15" y="53"/>
                      <a:pt x="17" y="53"/>
                      <a:pt x="17" y="52"/>
                    </a:cubicBezTo>
                    <a:cubicBezTo>
                      <a:pt x="17" y="51"/>
                      <a:pt x="15" y="51"/>
                      <a:pt x="14" y="50"/>
                    </a:cubicBezTo>
                    <a:cubicBezTo>
                      <a:pt x="14" y="48"/>
                      <a:pt x="15" y="46"/>
                      <a:pt x="14" y="46"/>
                    </a:cubicBezTo>
                    <a:cubicBezTo>
                      <a:pt x="11" y="46"/>
                      <a:pt x="10" y="49"/>
                      <a:pt x="7" y="49"/>
                    </a:cubicBezTo>
                    <a:cubicBezTo>
                      <a:pt x="6" y="49"/>
                      <a:pt x="5" y="47"/>
                      <a:pt x="5" y="46"/>
                    </a:cubicBezTo>
                    <a:cubicBezTo>
                      <a:pt x="4" y="44"/>
                      <a:pt x="3" y="42"/>
                      <a:pt x="3" y="40"/>
                    </a:cubicBezTo>
                    <a:cubicBezTo>
                      <a:pt x="3" y="37"/>
                      <a:pt x="4" y="35"/>
                      <a:pt x="4" y="32"/>
                    </a:cubicBezTo>
                    <a:cubicBezTo>
                      <a:pt x="5" y="31"/>
                      <a:pt x="4" y="28"/>
                      <a:pt x="5" y="29"/>
                    </a:cubicBezTo>
                    <a:cubicBezTo>
                      <a:pt x="7" y="29"/>
                      <a:pt x="6" y="32"/>
                      <a:pt x="8" y="33"/>
                    </a:cubicBezTo>
                    <a:cubicBezTo>
                      <a:pt x="10" y="34"/>
                      <a:pt x="12" y="34"/>
                      <a:pt x="14" y="33"/>
                    </a:cubicBezTo>
                    <a:cubicBezTo>
                      <a:pt x="15" y="33"/>
                      <a:pt x="15" y="31"/>
                      <a:pt x="17" y="31"/>
                    </a:cubicBezTo>
                    <a:cubicBezTo>
                      <a:pt x="18" y="32"/>
                      <a:pt x="17" y="34"/>
                      <a:pt x="18" y="34"/>
                    </a:cubicBezTo>
                    <a:cubicBezTo>
                      <a:pt x="20" y="35"/>
                      <a:pt x="23" y="35"/>
                      <a:pt x="24" y="34"/>
                    </a:cubicBezTo>
                    <a:cubicBezTo>
                      <a:pt x="25" y="33"/>
                      <a:pt x="22" y="31"/>
                      <a:pt x="23" y="30"/>
                    </a:cubicBezTo>
                    <a:cubicBezTo>
                      <a:pt x="24" y="29"/>
                      <a:pt x="26" y="31"/>
                      <a:pt x="27" y="31"/>
                    </a:cubicBezTo>
                    <a:cubicBezTo>
                      <a:pt x="28" y="30"/>
                      <a:pt x="30" y="30"/>
                      <a:pt x="30" y="29"/>
                    </a:cubicBezTo>
                    <a:cubicBezTo>
                      <a:pt x="30" y="27"/>
                      <a:pt x="29" y="26"/>
                      <a:pt x="28" y="25"/>
                    </a:cubicBezTo>
                    <a:cubicBezTo>
                      <a:pt x="25" y="22"/>
                      <a:pt x="21" y="21"/>
                      <a:pt x="19" y="18"/>
                    </a:cubicBezTo>
                    <a:cubicBezTo>
                      <a:pt x="17" y="16"/>
                      <a:pt x="19" y="11"/>
                      <a:pt x="16" y="9"/>
                    </a:cubicBezTo>
                    <a:cubicBezTo>
                      <a:pt x="14" y="8"/>
                      <a:pt x="11" y="8"/>
                      <a:pt x="9" y="9"/>
                    </a:cubicBezTo>
                    <a:cubicBezTo>
                      <a:pt x="6" y="11"/>
                      <a:pt x="5" y="13"/>
                      <a:pt x="4" y="15"/>
                    </a:cubicBezTo>
                    <a:cubicBezTo>
                      <a:pt x="4" y="17"/>
                      <a:pt x="5" y="19"/>
                      <a:pt x="4" y="21"/>
                    </a:cubicBezTo>
                    <a:cubicBezTo>
                      <a:pt x="4" y="23"/>
                      <a:pt x="5" y="25"/>
                      <a:pt x="3" y="26"/>
                    </a:cubicBezTo>
                    <a:cubicBezTo>
                      <a:pt x="2" y="26"/>
                      <a:pt x="3" y="23"/>
                      <a:pt x="2" y="22"/>
                    </a:cubicBezTo>
                    <a:cubicBezTo>
                      <a:pt x="1" y="20"/>
                      <a:pt x="1" y="18"/>
                      <a:pt x="0" y="16"/>
                    </a:cubicBezTo>
                    <a:cubicBezTo>
                      <a:pt x="1" y="14"/>
                      <a:pt x="1" y="12"/>
                      <a:pt x="3" y="11"/>
                    </a:cubicBezTo>
                    <a:cubicBezTo>
                      <a:pt x="4" y="9"/>
                      <a:pt x="6" y="7"/>
                      <a:pt x="9" y="6"/>
                    </a:cubicBezTo>
                    <a:cubicBezTo>
                      <a:pt x="11" y="6"/>
                      <a:pt x="14" y="6"/>
                      <a:pt x="16" y="6"/>
                    </a:cubicBezTo>
                    <a:cubicBezTo>
                      <a:pt x="19" y="7"/>
                      <a:pt x="23" y="7"/>
                      <a:pt x="25" y="9"/>
                    </a:cubicBezTo>
                    <a:cubicBezTo>
                      <a:pt x="27" y="11"/>
                      <a:pt x="27" y="14"/>
                      <a:pt x="29" y="17"/>
                    </a:cubicBezTo>
                    <a:cubicBezTo>
                      <a:pt x="30" y="19"/>
                      <a:pt x="31" y="22"/>
                      <a:pt x="34" y="24"/>
                    </a:cubicBezTo>
                    <a:cubicBezTo>
                      <a:pt x="35" y="25"/>
                      <a:pt x="37" y="24"/>
                      <a:pt x="38" y="24"/>
                    </a:cubicBezTo>
                    <a:cubicBezTo>
                      <a:pt x="40" y="24"/>
                      <a:pt x="41" y="24"/>
                      <a:pt x="42" y="23"/>
                    </a:cubicBezTo>
                    <a:cubicBezTo>
                      <a:pt x="43" y="24"/>
                      <a:pt x="45" y="23"/>
                      <a:pt x="46" y="24"/>
                    </a:cubicBezTo>
                    <a:cubicBezTo>
                      <a:pt x="49" y="25"/>
                      <a:pt x="52" y="26"/>
                      <a:pt x="55" y="26"/>
                    </a:cubicBezTo>
                    <a:cubicBezTo>
                      <a:pt x="56" y="26"/>
                      <a:pt x="57" y="26"/>
                      <a:pt x="57" y="25"/>
                    </a:cubicBezTo>
                    <a:cubicBezTo>
                      <a:pt x="57" y="23"/>
                      <a:pt x="55" y="20"/>
                      <a:pt x="55" y="17"/>
                    </a:cubicBezTo>
                    <a:cubicBezTo>
                      <a:pt x="54" y="15"/>
                      <a:pt x="54" y="12"/>
                      <a:pt x="56" y="10"/>
                    </a:cubicBezTo>
                    <a:cubicBezTo>
                      <a:pt x="57" y="9"/>
                      <a:pt x="60" y="10"/>
                      <a:pt x="61" y="9"/>
                    </a:cubicBezTo>
                    <a:cubicBezTo>
                      <a:pt x="63" y="8"/>
                      <a:pt x="62" y="4"/>
                      <a:pt x="64" y="4"/>
                    </a:cubicBezTo>
                    <a:cubicBezTo>
                      <a:pt x="67" y="3"/>
                      <a:pt x="68" y="9"/>
                      <a:pt x="70" y="8"/>
                    </a:cubicBezTo>
                    <a:cubicBezTo>
                      <a:pt x="72" y="7"/>
                      <a:pt x="67" y="4"/>
                      <a:pt x="68" y="2"/>
                    </a:cubicBezTo>
                    <a:cubicBezTo>
                      <a:pt x="68" y="0"/>
                      <a:pt x="72" y="0"/>
                      <a:pt x="74" y="1"/>
                    </a:cubicBezTo>
                    <a:cubicBezTo>
                      <a:pt x="75" y="1"/>
                      <a:pt x="74" y="3"/>
                      <a:pt x="75" y="4"/>
                    </a:cubicBezTo>
                    <a:cubicBezTo>
                      <a:pt x="76" y="6"/>
                      <a:pt x="79" y="7"/>
                      <a:pt x="80" y="8"/>
                    </a:cubicBezTo>
                    <a:cubicBezTo>
                      <a:pt x="84" y="9"/>
                      <a:pt x="88" y="10"/>
                      <a:pt x="90" y="12"/>
                    </a:cubicBezTo>
                    <a:cubicBezTo>
                      <a:pt x="90" y="15"/>
                      <a:pt x="88" y="15"/>
                      <a:pt x="88" y="16"/>
                    </a:cubicBezTo>
                    <a:cubicBezTo>
                      <a:pt x="90" y="18"/>
                      <a:pt x="94" y="18"/>
                      <a:pt x="95" y="21"/>
                    </a:cubicBezTo>
                    <a:cubicBezTo>
                      <a:pt x="96" y="23"/>
                      <a:pt x="92" y="23"/>
                      <a:pt x="92" y="25"/>
                    </a:cubicBezTo>
                    <a:cubicBezTo>
                      <a:pt x="92" y="27"/>
                      <a:pt x="95" y="26"/>
                      <a:pt x="96" y="26"/>
                    </a:cubicBezTo>
                    <a:cubicBezTo>
                      <a:pt x="100" y="26"/>
                      <a:pt x="104" y="26"/>
                      <a:pt x="108" y="25"/>
                    </a:cubicBezTo>
                    <a:cubicBezTo>
                      <a:pt x="110" y="25"/>
                      <a:pt x="110" y="21"/>
                      <a:pt x="111" y="22"/>
                    </a:cubicBezTo>
                    <a:cubicBezTo>
                      <a:pt x="114" y="23"/>
                      <a:pt x="116" y="26"/>
                      <a:pt x="118" y="29"/>
                    </a:cubicBezTo>
                    <a:cubicBezTo>
                      <a:pt x="119" y="30"/>
                      <a:pt x="118" y="30"/>
                      <a:pt x="119" y="31"/>
                    </a:cubicBezTo>
                    <a:cubicBezTo>
                      <a:pt x="119" y="33"/>
                      <a:pt x="120" y="36"/>
                      <a:pt x="122" y="38"/>
                    </a:cubicBezTo>
                    <a:cubicBezTo>
                      <a:pt x="122" y="39"/>
                      <a:pt x="124" y="37"/>
                      <a:pt x="125" y="38"/>
                    </a:cubicBezTo>
                    <a:cubicBezTo>
                      <a:pt x="126" y="40"/>
                      <a:pt x="124" y="42"/>
                      <a:pt x="125" y="44"/>
                    </a:cubicBezTo>
                    <a:cubicBezTo>
                      <a:pt x="125" y="45"/>
                      <a:pt x="126" y="47"/>
                      <a:pt x="128" y="48"/>
                    </a:cubicBezTo>
                    <a:cubicBezTo>
                      <a:pt x="131" y="51"/>
                      <a:pt x="134" y="54"/>
                      <a:pt x="138" y="57"/>
                    </a:cubicBezTo>
                    <a:cubicBezTo>
                      <a:pt x="142" y="59"/>
                      <a:pt x="145" y="62"/>
                      <a:pt x="149" y="64"/>
                    </a:cubicBezTo>
                    <a:cubicBezTo>
                      <a:pt x="154" y="68"/>
                      <a:pt x="160" y="72"/>
                      <a:pt x="165" y="75"/>
                    </a:cubicBezTo>
                    <a:cubicBezTo>
                      <a:pt x="166" y="75"/>
                      <a:pt x="168" y="74"/>
                      <a:pt x="169" y="75"/>
                    </a:cubicBezTo>
                    <a:cubicBezTo>
                      <a:pt x="172" y="76"/>
                      <a:pt x="174" y="78"/>
                      <a:pt x="177" y="80"/>
                    </a:cubicBezTo>
                    <a:cubicBezTo>
                      <a:pt x="177" y="80"/>
                      <a:pt x="178" y="80"/>
                      <a:pt x="178" y="81"/>
                    </a:cubicBezTo>
                    <a:cubicBezTo>
                      <a:pt x="179" y="82"/>
                      <a:pt x="178" y="84"/>
                      <a:pt x="178" y="86"/>
                    </a:cubicBezTo>
                    <a:cubicBezTo>
                      <a:pt x="178" y="87"/>
                      <a:pt x="178" y="88"/>
                      <a:pt x="179" y="8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1" name="Freeform 2622"/>
              <p:cNvSpPr>
                <a:spLocks noChangeAspect="1"/>
              </p:cNvSpPr>
              <p:nvPr/>
            </p:nvSpPr>
            <p:spPr bwMode="auto">
              <a:xfrm>
                <a:off x="5781630" y="2679665"/>
                <a:ext cx="425253" cy="272854"/>
              </a:xfrm>
              <a:custGeom>
                <a:avLst/>
                <a:gdLst>
                  <a:gd name="T0" fmla="*/ 176 w 216"/>
                  <a:gd name="T1" fmla="*/ 166 h 140"/>
                  <a:gd name="T2" fmla="*/ 185 w 216"/>
                  <a:gd name="T3" fmla="*/ 166 h 140"/>
                  <a:gd name="T4" fmla="*/ 194 w 216"/>
                  <a:gd name="T5" fmla="*/ 150 h 140"/>
                  <a:gd name="T6" fmla="*/ 188 w 216"/>
                  <a:gd name="T7" fmla="*/ 140 h 140"/>
                  <a:gd name="T8" fmla="*/ 181 w 216"/>
                  <a:gd name="T9" fmla="*/ 133 h 140"/>
                  <a:gd name="T10" fmla="*/ 181 w 216"/>
                  <a:gd name="T11" fmla="*/ 125 h 140"/>
                  <a:gd name="T12" fmla="*/ 195 w 216"/>
                  <a:gd name="T13" fmla="*/ 118 h 140"/>
                  <a:gd name="T14" fmla="*/ 193 w 216"/>
                  <a:gd name="T15" fmla="*/ 113 h 140"/>
                  <a:gd name="T16" fmla="*/ 205 w 216"/>
                  <a:gd name="T17" fmla="*/ 103 h 140"/>
                  <a:gd name="T18" fmla="*/ 217 w 216"/>
                  <a:gd name="T19" fmla="*/ 98 h 140"/>
                  <a:gd name="T20" fmla="*/ 223 w 216"/>
                  <a:gd name="T21" fmla="*/ 108 h 140"/>
                  <a:gd name="T22" fmla="*/ 229 w 216"/>
                  <a:gd name="T23" fmla="*/ 113 h 140"/>
                  <a:gd name="T24" fmla="*/ 236 w 216"/>
                  <a:gd name="T25" fmla="*/ 113 h 140"/>
                  <a:gd name="T26" fmla="*/ 248 w 216"/>
                  <a:gd name="T27" fmla="*/ 106 h 140"/>
                  <a:gd name="T28" fmla="*/ 259 w 216"/>
                  <a:gd name="T29" fmla="*/ 97 h 140"/>
                  <a:gd name="T30" fmla="*/ 242 w 216"/>
                  <a:gd name="T31" fmla="*/ 94 h 140"/>
                  <a:gd name="T32" fmla="*/ 232 w 216"/>
                  <a:gd name="T33" fmla="*/ 95 h 140"/>
                  <a:gd name="T34" fmla="*/ 223 w 216"/>
                  <a:gd name="T35" fmla="*/ 88 h 140"/>
                  <a:gd name="T36" fmla="*/ 215 w 216"/>
                  <a:gd name="T37" fmla="*/ 83 h 140"/>
                  <a:gd name="T38" fmla="*/ 221 w 216"/>
                  <a:gd name="T39" fmla="*/ 68 h 140"/>
                  <a:gd name="T40" fmla="*/ 211 w 216"/>
                  <a:gd name="T41" fmla="*/ 74 h 140"/>
                  <a:gd name="T42" fmla="*/ 191 w 216"/>
                  <a:gd name="T43" fmla="*/ 98 h 140"/>
                  <a:gd name="T44" fmla="*/ 183 w 216"/>
                  <a:gd name="T45" fmla="*/ 90 h 140"/>
                  <a:gd name="T46" fmla="*/ 163 w 216"/>
                  <a:gd name="T47" fmla="*/ 92 h 140"/>
                  <a:gd name="T48" fmla="*/ 155 w 216"/>
                  <a:gd name="T49" fmla="*/ 83 h 140"/>
                  <a:gd name="T50" fmla="*/ 147 w 216"/>
                  <a:gd name="T51" fmla="*/ 72 h 140"/>
                  <a:gd name="T52" fmla="*/ 148 w 216"/>
                  <a:gd name="T53" fmla="*/ 60 h 140"/>
                  <a:gd name="T54" fmla="*/ 136 w 216"/>
                  <a:gd name="T55" fmla="*/ 48 h 140"/>
                  <a:gd name="T56" fmla="*/ 124 w 216"/>
                  <a:gd name="T57" fmla="*/ 46 h 140"/>
                  <a:gd name="T58" fmla="*/ 84 w 216"/>
                  <a:gd name="T59" fmla="*/ 47 h 140"/>
                  <a:gd name="T60" fmla="*/ 36 w 216"/>
                  <a:gd name="T61" fmla="*/ 0 h 140"/>
                  <a:gd name="T62" fmla="*/ 0 w 216"/>
                  <a:gd name="T63" fmla="*/ 11 h 140"/>
                  <a:gd name="T64" fmla="*/ 10 w 216"/>
                  <a:gd name="T65" fmla="*/ 89 h 140"/>
                  <a:gd name="T66" fmla="*/ 23 w 216"/>
                  <a:gd name="T67" fmla="*/ 90 h 140"/>
                  <a:gd name="T68" fmla="*/ 22 w 216"/>
                  <a:gd name="T69" fmla="*/ 72 h 140"/>
                  <a:gd name="T70" fmla="*/ 31 w 216"/>
                  <a:gd name="T71" fmla="*/ 65 h 140"/>
                  <a:gd name="T72" fmla="*/ 36 w 216"/>
                  <a:gd name="T73" fmla="*/ 62 h 140"/>
                  <a:gd name="T74" fmla="*/ 45 w 216"/>
                  <a:gd name="T75" fmla="*/ 65 h 140"/>
                  <a:gd name="T76" fmla="*/ 63 w 216"/>
                  <a:gd name="T77" fmla="*/ 74 h 140"/>
                  <a:gd name="T78" fmla="*/ 69 w 216"/>
                  <a:gd name="T79" fmla="*/ 85 h 140"/>
                  <a:gd name="T80" fmla="*/ 70 w 216"/>
                  <a:gd name="T81" fmla="*/ 91 h 140"/>
                  <a:gd name="T82" fmla="*/ 88 w 216"/>
                  <a:gd name="T83" fmla="*/ 86 h 140"/>
                  <a:gd name="T84" fmla="*/ 98 w 216"/>
                  <a:gd name="T85" fmla="*/ 97 h 140"/>
                  <a:gd name="T86" fmla="*/ 105 w 216"/>
                  <a:gd name="T87" fmla="*/ 106 h 140"/>
                  <a:gd name="T88" fmla="*/ 108 w 216"/>
                  <a:gd name="T89" fmla="*/ 118 h 140"/>
                  <a:gd name="T90" fmla="*/ 134 w 216"/>
                  <a:gd name="T91" fmla="*/ 137 h 140"/>
                  <a:gd name="T92" fmla="*/ 158 w 216"/>
                  <a:gd name="T93" fmla="*/ 150 h 140"/>
                  <a:gd name="T94" fmla="*/ 169 w 216"/>
                  <a:gd name="T95" fmla="*/ 157 h 140"/>
                  <a:gd name="T96" fmla="*/ 170 w 216"/>
                  <a:gd name="T97" fmla="*/ 167 h 14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16"/>
                  <a:gd name="T148" fmla="*/ 0 h 140"/>
                  <a:gd name="T149" fmla="*/ 216 w 216"/>
                  <a:gd name="T150" fmla="*/ 140 h 14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16" h="140">
                    <a:moveTo>
                      <a:pt x="141" y="139"/>
                    </a:moveTo>
                    <a:cubicBezTo>
                      <a:pt x="142" y="139"/>
                      <a:pt x="144" y="138"/>
                      <a:pt x="146" y="138"/>
                    </a:cubicBezTo>
                    <a:cubicBezTo>
                      <a:pt x="148" y="138"/>
                      <a:pt x="148" y="140"/>
                      <a:pt x="150" y="140"/>
                    </a:cubicBezTo>
                    <a:cubicBezTo>
                      <a:pt x="151" y="140"/>
                      <a:pt x="153" y="139"/>
                      <a:pt x="154" y="138"/>
                    </a:cubicBezTo>
                    <a:cubicBezTo>
                      <a:pt x="154" y="137"/>
                      <a:pt x="154" y="135"/>
                      <a:pt x="154" y="134"/>
                    </a:cubicBezTo>
                    <a:cubicBezTo>
                      <a:pt x="156" y="131"/>
                      <a:pt x="159" y="129"/>
                      <a:pt x="161" y="125"/>
                    </a:cubicBezTo>
                    <a:cubicBezTo>
                      <a:pt x="161" y="124"/>
                      <a:pt x="160" y="122"/>
                      <a:pt x="160" y="121"/>
                    </a:cubicBezTo>
                    <a:cubicBezTo>
                      <a:pt x="159" y="120"/>
                      <a:pt x="157" y="119"/>
                      <a:pt x="156" y="117"/>
                    </a:cubicBezTo>
                    <a:cubicBezTo>
                      <a:pt x="156" y="116"/>
                      <a:pt x="158" y="113"/>
                      <a:pt x="156" y="112"/>
                    </a:cubicBezTo>
                    <a:cubicBezTo>
                      <a:pt x="155" y="110"/>
                      <a:pt x="152" y="112"/>
                      <a:pt x="150" y="111"/>
                    </a:cubicBezTo>
                    <a:cubicBezTo>
                      <a:pt x="149" y="111"/>
                      <a:pt x="148" y="110"/>
                      <a:pt x="148" y="109"/>
                    </a:cubicBezTo>
                    <a:cubicBezTo>
                      <a:pt x="148" y="107"/>
                      <a:pt x="148" y="105"/>
                      <a:pt x="150" y="104"/>
                    </a:cubicBezTo>
                    <a:cubicBezTo>
                      <a:pt x="153" y="103"/>
                      <a:pt x="156" y="104"/>
                      <a:pt x="159" y="103"/>
                    </a:cubicBezTo>
                    <a:cubicBezTo>
                      <a:pt x="161" y="102"/>
                      <a:pt x="161" y="100"/>
                      <a:pt x="162" y="98"/>
                    </a:cubicBezTo>
                    <a:cubicBezTo>
                      <a:pt x="162" y="97"/>
                      <a:pt x="162" y="96"/>
                      <a:pt x="162" y="95"/>
                    </a:cubicBezTo>
                    <a:cubicBezTo>
                      <a:pt x="161" y="94"/>
                      <a:pt x="159" y="95"/>
                      <a:pt x="160" y="94"/>
                    </a:cubicBezTo>
                    <a:cubicBezTo>
                      <a:pt x="163" y="93"/>
                      <a:pt x="166" y="94"/>
                      <a:pt x="168" y="92"/>
                    </a:cubicBezTo>
                    <a:cubicBezTo>
                      <a:pt x="170" y="90"/>
                      <a:pt x="169" y="87"/>
                      <a:pt x="170" y="86"/>
                    </a:cubicBezTo>
                    <a:cubicBezTo>
                      <a:pt x="172" y="85"/>
                      <a:pt x="174" y="87"/>
                      <a:pt x="176" y="87"/>
                    </a:cubicBezTo>
                    <a:cubicBezTo>
                      <a:pt x="178" y="86"/>
                      <a:pt x="178" y="82"/>
                      <a:pt x="180" y="82"/>
                    </a:cubicBezTo>
                    <a:cubicBezTo>
                      <a:pt x="183" y="82"/>
                      <a:pt x="185" y="84"/>
                      <a:pt x="187" y="86"/>
                    </a:cubicBezTo>
                    <a:cubicBezTo>
                      <a:pt x="187" y="88"/>
                      <a:pt x="185" y="89"/>
                      <a:pt x="185" y="90"/>
                    </a:cubicBezTo>
                    <a:cubicBezTo>
                      <a:pt x="185" y="92"/>
                      <a:pt x="186" y="93"/>
                      <a:pt x="187" y="94"/>
                    </a:cubicBezTo>
                    <a:cubicBezTo>
                      <a:pt x="188" y="94"/>
                      <a:pt x="189" y="94"/>
                      <a:pt x="190" y="94"/>
                    </a:cubicBezTo>
                    <a:cubicBezTo>
                      <a:pt x="191" y="93"/>
                      <a:pt x="192" y="92"/>
                      <a:pt x="193" y="92"/>
                    </a:cubicBezTo>
                    <a:cubicBezTo>
                      <a:pt x="194" y="92"/>
                      <a:pt x="195" y="93"/>
                      <a:pt x="196" y="94"/>
                    </a:cubicBezTo>
                    <a:cubicBezTo>
                      <a:pt x="198" y="94"/>
                      <a:pt x="199" y="95"/>
                      <a:pt x="200" y="94"/>
                    </a:cubicBezTo>
                    <a:cubicBezTo>
                      <a:pt x="203" y="93"/>
                      <a:pt x="204" y="89"/>
                      <a:pt x="206" y="88"/>
                    </a:cubicBezTo>
                    <a:cubicBezTo>
                      <a:pt x="208" y="87"/>
                      <a:pt x="210" y="89"/>
                      <a:pt x="212" y="88"/>
                    </a:cubicBezTo>
                    <a:cubicBezTo>
                      <a:pt x="214" y="86"/>
                      <a:pt x="216" y="84"/>
                      <a:pt x="215" y="81"/>
                    </a:cubicBezTo>
                    <a:cubicBezTo>
                      <a:pt x="214" y="79"/>
                      <a:pt x="211" y="80"/>
                      <a:pt x="208" y="79"/>
                    </a:cubicBezTo>
                    <a:cubicBezTo>
                      <a:pt x="206" y="78"/>
                      <a:pt x="203" y="79"/>
                      <a:pt x="201" y="78"/>
                    </a:cubicBezTo>
                    <a:cubicBezTo>
                      <a:pt x="199" y="76"/>
                      <a:pt x="198" y="71"/>
                      <a:pt x="195" y="71"/>
                    </a:cubicBezTo>
                    <a:cubicBezTo>
                      <a:pt x="193" y="72"/>
                      <a:pt x="195" y="77"/>
                      <a:pt x="193" y="79"/>
                    </a:cubicBezTo>
                    <a:cubicBezTo>
                      <a:pt x="191" y="81"/>
                      <a:pt x="188" y="81"/>
                      <a:pt x="185" y="79"/>
                    </a:cubicBezTo>
                    <a:cubicBezTo>
                      <a:pt x="184" y="78"/>
                      <a:pt x="186" y="74"/>
                      <a:pt x="185" y="73"/>
                    </a:cubicBezTo>
                    <a:cubicBezTo>
                      <a:pt x="183" y="72"/>
                      <a:pt x="180" y="74"/>
                      <a:pt x="179" y="73"/>
                    </a:cubicBezTo>
                    <a:cubicBezTo>
                      <a:pt x="178" y="72"/>
                      <a:pt x="178" y="70"/>
                      <a:pt x="179" y="69"/>
                    </a:cubicBezTo>
                    <a:cubicBezTo>
                      <a:pt x="182" y="65"/>
                      <a:pt x="188" y="64"/>
                      <a:pt x="190" y="59"/>
                    </a:cubicBezTo>
                    <a:cubicBezTo>
                      <a:pt x="191" y="58"/>
                      <a:pt x="186" y="58"/>
                      <a:pt x="184" y="57"/>
                    </a:cubicBezTo>
                    <a:cubicBezTo>
                      <a:pt x="182" y="60"/>
                      <a:pt x="181" y="63"/>
                      <a:pt x="178" y="65"/>
                    </a:cubicBezTo>
                    <a:cubicBezTo>
                      <a:pt x="177" y="66"/>
                      <a:pt x="176" y="62"/>
                      <a:pt x="175" y="62"/>
                    </a:cubicBezTo>
                    <a:cubicBezTo>
                      <a:pt x="172" y="63"/>
                      <a:pt x="171" y="66"/>
                      <a:pt x="169" y="68"/>
                    </a:cubicBezTo>
                    <a:cubicBezTo>
                      <a:pt x="166" y="73"/>
                      <a:pt x="164" y="79"/>
                      <a:pt x="159" y="82"/>
                    </a:cubicBezTo>
                    <a:cubicBezTo>
                      <a:pt x="157" y="83"/>
                      <a:pt x="154" y="82"/>
                      <a:pt x="152" y="80"/>
                    </a:cubicBezTo>
                    <a:cubicBezTo>
                      <a:pt x="151" y="79"/>
                      <a:pt x="154" y="76"/>
                      <a:pt x="152" y="75"/>
                    </a:cubicBezTo>
                    <a:cubicBezTo>
                      <a:pt x="151" y="74"/>
                      <a:pt x="148" y="76"/>
                      <a:pt x="146" y="76"/>
                    </a:cubicBezTo>
                    <a:cubicBezTo>
                      <a:pt x="143" y="77"/>
                      <a:pt x="139" y="78"/>
                      <a:pt x="135" y="77"/>
                    </a:cubicBezTo>
                    <a:cubicBezTo>
                      <a:pt x="134" y="77"/>
                      <a:pt x="132" y="76"/>
                      <a:pt x="131" y="75"/>
                    </a:cubicBezTo>
                    <a:cubicBezTo>
                      <a:pt x="130" y="73"/>
                      <a:pt x="131" y="70"/>
                      <a:pt x="129" y="69"/>
                    </a:cubicBezTo>
                    <a:cubicBezTo>
                      <a:pt x="128" y="68"/>
                      <a:pt x="125" y="70"/>
                      <a:pt x="124" y="69"/>
                    </a:cubicBezTo>
                    <a:cubicBezTo>
                      <a:pt x="122" y="67"/>
                      <a:pt x="122" y="63"/>
                      <a:pt x="122" y="60"/>
                    </a:cubicBezTo>
                    <a:cubicBezTo>
                      <a:pt x="122" y="59"/>
                      <a:pt x="124" y="58"/>
                      <a:pt x="124" y="56"/>
                    </a:cubicBezTo>
                    <a:cubicBezTo>
                      <a:pt x="124" y="54"/>
                      <a:pt x="124" y="52"/>
                      <a:pt x="123" y="50"/>
                    </a:cubicBezTo>
                    <a:cubicBezTo>
                      <a:pt x="121" y="47"/>
                      <a:pt x="120" y="43"/>
                      <a:pt x="117" y="40"/>
                    </a:cubicBezTo>
                    <a:cubicBezTo>
                      <a:pt x="116" y="39"/>
                      <a:pt x="114" y="41"/>
                      <a:pt x="113" y="40"/>
                    </a:cubicBezTo>
                    <a:cubicBezTo>
                      <a:pt x="111" y="39"/>
                      <a:pt x="113" y="35"/>
                      <a:pt x="111" y="34"/>
                    </a:cubicBezTo>
                    <a:cubicBezTo>
                      <a:pt x="108" y="34"/>
                      <a:pt x="106" y="39"/>
                      <a:pt x="103" y="38"/>
                    </a:cubicBezTo>
                    <a:lnTo>
                      <a:pt x="81" y="36"/>
                    </a:lnTo>
                    <a:cubicBezTo>
                      <a:pt x="77" y="37"/>
                      <a:pt x="73" y="38"/>
                      <a:pt x="70" y="39"/>
                    </a:cubicBezTo>
                    <a:cubicBezTo>
                      <a:pt x="67" y="34"/>
                      <a:pt x="65" y="29"/>
                      <a:pt x="62" y="24"/>
                    </a:cubicBezTo>
                    <a:cubicBezTo>
                      <a:pt x="52" y="16"/>
                      <a:pt x="41" y="8"/>
                      <a:pt x="30" y="0"/>
                    </a:cubicBezTo>
                    <a:cubicBezTo>
                      <a:pt x="25" y="1"/>
                      <a:pt x="20" y="2"/>
                      <a:pt x="15" y="3"/>
                    </a:cubicBezTo>
                    <a:cubicBezTo>
                      <a:pt x="10" y="5"/>
                      <a:pt x="5" y="7"/>
                      <a:pt x="0" y="9"/>
                    </a:cubicBezTo>
                    <a:cubicBezTo>
                      <a:pt x="1" y="30"/>
                      <a:pt x="3" y="52"/>
                      <a:pt x="4" y="73"/>
                    </a:cubicBezTo>
                    <a:cubicBezTo>
                      <a:pt x="5" y="74"/>
                      <a:pt x="7" y="73"/>
                      <a:pt x="8" y="74"/>
                    </a:cubicBezTo>
                    <a:cubicBezTo>
                      <a:pt x="11" y="75"/>
                      <a:pt x="14" y="76"/>
                      <a:pt x="17" y="76"/>
                    </a:cubicBezTo>
                    <a:cubicBezTo>
                      <a:pt x="18" y="76"/>
                      <a:pt x="19" y="76"/>
                      <a:pt x="19" y="75"/>
                    </a:cubicBezTo>
                    <a:cubicBezTo>
                      <a:pt x="19" y="73"/>
                      <a:pt x="17" y="70"/>
                      <a:pt x="17" y="67"/>
                    </a:cubicBezTo>
                    <a:cubicBezTo>
                      <a:pt x="16" y="65"/>
                      <a:pt x="16" y="62"/>
                      <a:pt x="18" y="60"/>
                    </a:cubicBezTo>
                    <a:cubicBezTo>
                      <a:pt x="19" y="59"/>
                      <a:pt x="22" y="60"/>
                      <a:pt x="23" y="59"/>
                    </a:cubicBezTo>
                    <a:cubicBezTo>
                      <a:pt x="25" y="58"/>
                      <a:pt x="24" y="54"/>
                      <a:pt x="26" y="54"/>
                    </a:cubicBezTo>
                    <a:cubicBezTo>
                      <a:pt x="29" y="53"/>
                      <a:pt x="30" y="59"/>
                      <a:pt x="32" y="58"/>
                    </a:cubicBezTo>
                    <a:cubicBezTo>
                      <a:pt x="34" y="57"/>
                      <a:pt x="29" y="54"/>
                      <a:pt x="30" y="52"/>
                    </a:cubicBezTo>
                    <a:cubicBezTo>
                      <a:pt x="30" y="50"/>
                      <a:pt x="34" y="50"/>
                      <a:pt x="36" y="51"/>
                    </a:cubicBezTo>
                    <a:cubicBezTo>
                      <a:pt x="37" y="51"/>
                      <a:pt x="36" y="53"/>
                      <a:pt x="37" y="54"/>
                    </a:cubicBezTo>
                    <a:cubicBezTo>
                      <a:pt x="38" y="56"/>
                      <a:pt x="41" y="57"/>
                      <a:pt x="42" y="58"/>
                    </a:cubicBezTo>
                    <a:cubicBezTo>
                      <a:pt x="46" y="59"/>
                      <a:pt x="50" y="60"/>
                      <a:pt x="52" y="62"/>
                    </a:cubicBezTo>
                    <a:cubicBezTo>
                      <a:pt x="52" y="65"/>
                      <a:pt x="50" y="65"/>
                      <a:pt x="50" y="66"/>
                    </a:cubicBezTo>
                    <a:cubicBezTo>
                      <a:pt x="52" y="68"/>
                      <a:pt x="56" y="68"/>
                      <a:pt x="57" y="71"/>
                    </a:cubicBezTo>
                    <a:cubicBezTo>
                      <a:pt x="58" y="73"/>
                      <a:pt x="54" y="73"/>
                      <a:pt x="54" y="75"/>
                    </a:cubicBezTo>
                    <a:cubicBezTo>
                      <a:pt x="54" y="77"/>
                      <a:pt x="57" y="76"/>
                      <a:pt x="58" y="76"/>
                    </a:cubicBezTo>
                    <a:cubicBezTo>
                      <a:pt x="62" y="76"/>
                      <a:pt x="66" y="76"/>
                      <a:pt x="70" y="75"/>
                    </a:cubicBezTo>
                    <a:cubicBezTo>
                      <a:pt x="72" y="75"/>
                      <a:pt x="72" y="71"/>
                      <a:pt x="73" y="72"/>
                    </a:cubicBezTo>
                    <a:cubicBezTo>
                      <a:pt x="76" y="73"/>
                      <a:pt x="78" y="76"/>
                      <a:pt x="80" y="79"/>
                    </a:cubicBezTo>
                    <a:cubicBezTo>
                      <a:pt x="81" y="80"/>
                      <a:pt x="80" y="80"/>
                      <a:pt x="81" y="81"/>
                    </a:cubicBezTo>
                    <a:cubicBezTo>
                      <a:pt x="81" y="83"/>
                      <a:pt x="82" y="86"/>
                      <a:pt x="84" y="88"/>
                    </a:cubicBezTo>
                    <a:cubicBezTo>
                      <a:pt x="84" y="89"/>
                      <a:pt x="86" y="87"/>
                      <a:pt x="87" y="88"/>
                    </a:cubicBezTo>
                    <a:cubicBezTo>
                      <a:pt x="88" y="90"/>
                      <a:pt x="86" y="92"/>
                      <a:pt x="87" y="94"/>
                    </a:cubicBezTo>
                    <a:cubicBezTo>
                      <a:pt x="87" y="95"/>
                      <a:pt x="88" y="97"/>
                      <a:pt x="90" y="98"/>
                    </a:cubicBezTo>
                    <a:cubicBezTo>
                      <a:pt x="93" y="101"/>
                      <a:pt x="96" y="104"/>
                      <a:pt x="100" y="107"/>
                    </a:cubicBezTo>
                    <a:cubicBezTo>
                      <a:pt x="104" y="109"/>
                      <a:pt x="107" y="112"/>
                      <a:pt x="111" y="114"/>
                    </a:cubicBezTo>
                    <a:cubicBezTo>
                      <a:pt x="116" y="118"/>
                      <a:pt x="122" y="122"/>
                      <a:pt x="127" y="125"/>
                    </a:cubicBezTo>
                    <a:cubicBezTo>
                      <a:pt x="128" y="125"/>
                      <a:pt x="130" y="124"/>
                      <a:pt x="131" y="125"/>
                    </a:cubicBezTo>
                    <a:cubicBezTo>
                      <a:pt x="134" y="126"/>
                      <a:pt x="136" y="128"/>
                      <a:pt x="139" y="130"/>
                    </a:cubicBezTo>
                    <a:cubicBezTo>
                      <a:pt x="139" y="130"/>
                      <a:pt x="140" y="130"/>
                      <a:pt x="140" y="131"/>
                    </a:cubicBezTo>
                    <a:cubicBezTo>
                      <a:pt x="141" y="132"/>
                      <a:pt x="140" y="134"/>
                      <a:pt x="140" y="136"/>
                    </a:cubicBezTo>
                    <a:cubicBezTo>
                      <a:pt x="140" y="137"/>
                      <a:pt x="140" y="138"/>
                      <a:pt x="141" y="13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2" name="Freeform 2623"/>
              <p:cNvSpPr>
                <a:spLocks noChangeAspect="1"/>
              </p:cNvSpPr>
              <p:nvPr/>
            </p:nvSpPr>
            <p:spPr bwMode="auto">
              <a:xfrm>
                <a:off x="5917383" y="2913540"/>
                <a:ext cx="340202" cy="274479"/>
              </a:xfrm>
              <a:custGeom>
                <a:avLst/>
                <a:gdLst>
                  <a:gd name="T0" fmla="*/ 23 w 173"/>
                  <a:gd name="T1" fmla="*/ 164 h 141"/>
                  <a:gd name="T2" fmla="*/ 59 w 173"/>
                  <a:gd name="T3" fmla="*/ 167 h 141"/>
                  <a:gd name="T4" fmla="*/ 66 w 173"/>
                  <a:gd name="T5" fmla="*/ 167 h 141"/>
                  <a:gd name="T6" fmla="*/ 93 w 173"/>
                  <a:gd name="T7" fmla="*/ 162 h 141"/>
                  <a:gd name="T8" fmla="*/ 91 w 173"/>
                  <a:gd name="T9" fmla="*/ 150 h 141"/>
                  <a:gd name="T10" fmla="*/ 105 w 173"/>
                  <a:gd name="T11" fmla="*/ 137 h 141"/>
                  <a:gd name="T12" fmla="*/ 111 w 173"/>
                  <a:gd name="T13" fmla="*/ 137 h 141"/>
                  <a:gd name="T14" fmla="*/ 115 w 173"/>
                  <a:gd name="T15" fmla="*/ 133 h 141"/>
                  <a:gd name="T16" fmla="*/ 125 w 173"/>
                  <a:gd name="T17" fmla="*/ 128 h 141"/>
                  <a:gd name="T18" fmla="*/ 135 w 173"/>
                  <a:gd name="T19" fmla="*/ 126 h 141"/>
                  <a:gd name="T20" fmla="*/ 133 w 173"/>
                  <a:gd name="T21" fmla="*/ 115 h 141"/>
                  <a:gd name="T22" fmla="*/ 145 w 173"/>
                  <a:gd name="T23" fmla="*/ 104 h 141"/>
                  <a:gd name="T24" fmla="*/ 141 w 173"/>
                  <a:gd name="T25" fmla="*/ 89 h 141"/>
                  <a:gd name="T26" fmla="*/ 149 w 173"/>
                  <a:gd name="T27" fmla="*/ 89 h 141"/>
                  <a:gd name="T28" fmla="*/ 160 w 173"/>
                  <a:gd name="T29" fmla="*/ 79 h 141"/>
                  <a:gd name="T30" fmla="*/ 165 w 173"/>
                  <a:gd name="T31" fmla="*/ 68 h 141"/>
                  <a:gd name="T32" fmla="*/ 156 w 173"/>
                  <a:gd name="T33" fmla="*/ 50 h 141"/>
                  <a:gd name="T34" fmla="*/ 166 w 173"/>
                  <a:gd name="T35" fmla="*/ 43 h 141"/>
                  <a:gd name="T36" fmla="*/ 194 w 173"/>
                  <a:gd name="T37" fmla="*/ 31 h 141"/>
                  <a:gd name="T38" fmla="*/ 207 w 173"/>
                  <a:gd name="T39" fmla="*/ 29 h 141"/>
                  <a:gd name="T40" fmla="*/ 208 w 173"/>
                  <a:gd name="T41" fmla="*/ 22 h 141"/>
                  <a:gd name="T42" fmla="*/ 194 w 173"/>
                  <a:gd name="T43" fmla="*/ 26 h 141"/>
                  <a:gd name="T44" fmla="*/ 180 w 173"/>
                  <a:gd name="T45" fmla="*/ 26 h 141"/>
                  <a:gd name="T46" fmla="*/ 168 w 173"/>
                  <a:gd name="T47" fmla="*/ 30 h 141"/>
                  <a:gd name="T48" fmla="*/ 161 w 173"/>
                  <a:gd name="T49" fmla="*/ 31 h 141"/>
                  <a:gd name="T50" fmla="*/ 159 w 173"/>
                  <a:gd name="T51" fmla="*/ 12 h 141"/>
                  <a:gd name="T52" fmla="*/ 153 w 173"/>
                  <a:gd name="T53" fmla="*/ 5 h 141"/>
                  <a:gd name="T54" fmla="*/ 135 w 173"/>
                  <a:gd name="T55" fmla="*/ 12 h 141"/>
                  <a:gd name="T56" fmla="*/ 131 w 173"/>
                  <a:gd name="T57" fmla="*/ 17 h 141"/>
                  <a:gd name="T58" fmla="*/ 127 w 173"/>
                  <a:gd name="T59" fmla="*/ 28 h 141"/>
                  <a:gd name="T60" fmla="*/ 113 w 173"/>
                  <a:gd name="T61" fmla="*/ 30 h 141"/>
                  <a:gd name="T62" fmla="*/ 102 w 173"/>
                  <a:gd name="T63" fmla="*/ 22 h 141"/>
                  <a:gd name="T64" fmla="*/ 93 w 173"/>
                  <a:gd name="T65" fmla="*/ 22 h 141"/>
                  <a:gd name="T66" fmla="*/ 82 w 173"/>
                  <a:gd name="T67" fmla="*/ 23 h 141"/>
                  <a:gd name="T68" fmla="*/ 70 w 173"/>
                  <a:gd name="T69" fmla="*/ 23 h 141"/>
                  <a:gd name="T70" fmla="*/ 61 w 173"/>
                  <a:gd name="T71" fmla="*/ 24 h 141"/>
                  <a:gd name="T72" fmla="*/ 55 w 173"/>
                  <a:gd name="T73" fmla="*/ 40 h 141"/>
                  <a:gd name="T74" fmla="*/ 38 w 173"/>
                  <a:gd name="T75" fmla="*/ 52 h 141"/>
                  <a:gd name="T76" fmla="*/ 32 w 173"/>
                  <a:gd name="T77" fmla="*/ 62 h 141"/>
                  <a:gd name="T78" fmla="*/ 24 w 173"/>
                  <a:gd name="T79" fmla="*/ 61 h 141"/>
                  <a:gd name="T80" fmla="*/ 12 w 173"/>
                  <a:gd name="T81" fmla="*/ 58 h 141"/>
                  <a:gd name="T82" fmla="*/ 4 w 173"/>
                  <a:gd name="T83" fmla="*/ 74 h 141"/>
                  <a:gd name="T84" fmla="*/ 2 w 173"/>
                  <a:gd name="T85" fmla="*/ 78 h 141"/>
                  <a:gd name="T86" fmla="*/ 5 w 173"/>
                  <a:gd name="T87" fmla="*/ 96 h 141"/>
                  <a:gd name="T88" fmla="*/ 5 w 173"/>
                  <a:gd name="T89" fmla="*/ 108 h 141"/>
                  <a:gd name="T90" fmla="*/ 11 w 173"/>
                  <a:gd name="T91" fmla="*/ 133 h 141"/>
                  <a:gd name="T92" fmla="*/ 23 w 173"/>
                  <a:gd name="T93" fmla="*/ 143 h 141"/>
                  <a:gd name="T94" fmla="*/ 12 w 173"/>
                  <a:gd name="T95" fmla="*/ 162 h 14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73"/>
                  <a:gd name="T145" fmla="*/ 0 h 141"/>
                  <a:gd name="T146" fmla="*/ 173 w 173"/>
                  <a:gd name="T147" fmla="*/ 141 h 14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73" h="141">
                    <a:moveTo>
                      <a:pt x="10" y="135"/>
                    </a:moveTo>
                    <a:cubicBezTo>
                      <a:pt x="13" y="136"/>
                      <a:pt x="16" y="136"/>
                      <a:pt x="19" y="137"/>
                    </a:cubicBezTo>
                    <a:cubicBezTo>
                      <a:pt x="23" y="138"/>
                      <a:pt x="28" y="139"/>
                      <a:pt x="32" y="140"/>
                    </a:cubicBezTo>
                    <a:cubicBezTo>
                      <a:pt x="38" y="140"/>
                      <a:pt x="43" y="138"/>
                      <a:pt x="49" y="139"/>
                    </a:cubicBezTo>
                    <a:cubicBezTo>
                      <a:pt x="50" y="139"/>
                      <a:pt x="51" y="140"/>
                      <a:pt x="53" y="140"/>
                    </a:cubicBezTo>
                    <a:cubicBezTo>
                      <a:pt x="54" y="140"/>
                      <a:pt x="54" y="139"/>
                      <a:pt x="55" y="139"/>
                    </a:cubicBezTo>
                    <a:cubicBezTo>
                      <a:pt x="57" y="139"/>
                      <a:pt x="59" y="141"/>
                      <a:pt x="62" y="141"/>
                    </a:cubicBezTo>
                    <a:cubicBezTo>
                      <a:pt x="67" y="140"/>
                      <a:pt x="73" y="138"/>
                      <a:pt x="77" y="135"/>
                    </a:cubicBezTo>
                    <a:cubicBezTo>
                      <a:pt x="79" y="134"/>
                      <a:pt x="78" y="132"/>
                      <a:pt x="78" y="131"/>
                    </a:cubicBezTo>
                    <a:cubicBezTo>
                      <a:pt x="77" y="129"/>
                      <a:pt x="76" y="127"/>
                      <a:pt x="76" y="125"/>
                    </a:cubicBezTo>
                    <a:cubicBezTo>
                      <a:pt x="77" y="122"/>
                      <a:pt x="79" y="119"/>
                      <a:pt x="81" y="116"/>
                    </a:cubicBezTo>
                    <a:cubicBezTo>
                      <a:pt x="82" y="114"/>
                      <a:pt x="85" y="114"/>
                      <a:pt x="87" y="114"/>
                    </a:cubicBezTo>
                    <a:cubicBezTo>
                      <a:pt x="87" y="114"/>
                      <a:pt x="86" y="116"/>
                      <a:pt x="87" y="116"/>
                    </a:cubicBezTo>
                    <a:cubicBezTo>
                      <a:pt x="89" y="116"/>
                      <a:pt x="91" y="115"/>
                      <a:pt x="92" y="114"/>
                    </a:cubicBezTo>
                    <a:cubicBezTo>
                      <a:pt x="93" y="113"/>
                      <a:pt x="90" y="111"/>
                      <a:pt x="90" y="111"/>
                    </a:cubicBezTo>
                    <a:cubicBezTo>
                      <a:pt x="92" y="109"/>
                      <a:pt x="94" y="112"/>
                      <a:pt x="96" y="111"/>
                    </a:cubicBezTo>
                    <a:cubicBezTo>
                      <a:pt x="98" y="109"/>
                      <a:pt x="98" y="106"/>
                      <a:pt x="100" y="105"/>
                    </a:cubicBezTo>
                    <a:cubicBezTo>
                      <a:pt x="102" y="104"/>
                      <a:pt x="103" y="106"/>
                      <a:pt x="104" y="107"/>
                    </a:cubicBezTo>
                    <a:cubicBezTo>
                      <a:pt x="106" y="108"/>
                      <a:pt x="107" y="110"/>
                      <a:pt x="108" y="110"/>
                    </a:cubicBezTo>
                    <a:cubicBezTo>
                      <a:pt x="110" y="109"/>
                      <a:pt x="112" y="107"/>
                      <a:pt x="112" y="105"/>
                    </a:cubicBezTo>
                    <a:cubicBezTo>
                      <a:pt x="113" y="104"/>
                      <a:pt x="110" y="104"/>
                      <a:pt x="110" y="102"/>
                    </a:cubicBezTo>
                    <a:cubicBezTo>
                      <a:pt x="110" y="100"/>
                      <a:pt x="110" y="98"/>
                      <a:pt x="111" y="96"/>
                    </a:cubicBezTo>
                    <a:cubicBezTo>
                      <a:pt x="112" y="93"/>
                      <a:pt x="112" y="89"/>
                      <a:pt x="114" y="88"/>
                    </a:cubicBezTo>
                    <a:cubicBezTo>
                      <a:pt x="116" y="86"/>
                      <a:pt x="120" y="89"/>
                      <a:pt x="121" y="87"/>
                    </a:cubicBezTo>
                    <a:cubicBezTo>
                      <a:pt x="123" y="86"/>
                      <a:pt x="122" y="83"/>
                      <a:pt x="121" y="81"/>
                    </a:cubicBezTo>
                    <a:cubicBezTo>
                      <a:pt x="120" y="78"/>
                      <a:pt x="118" y="76"/>
                      <a:pt x="117" y="74"/>
                    </a:cubicBezTo>
                    <a:cubicBezTo>
                      <a:pt x="117" y="73"/>
                      <a:pt x="117" y="71"/>
                      <a:pt x="118" y="71"/>
                    </a:cubicBezTo>
                    <a:cubicBezTo>
                      <a:pt x="120" y="71"/>
                      <a:pt x="121" y="74"/>
                      <a:pt x="124" y="74"/>
                    </a:cubicBezTo>
                    <a:cubicBezTo>
                      <a:pt x="126" y="74"/>
                      <a:pt x="129" y="73"/>
                      <a:pt x="130" y="72"/>
                    </a:cubicBezTo>
                    <a:cubicBezTo>
                      <a:pt x="132" y="70"/>
                      <a:pt x="132" y="68"/>
                      <a:pt x="133" y="66"/>
                    </a:cubicBezTo>
                    <a:cubicBezTo>
                      <a:pt x="133" y="65"/>
                      <a:pt x="132" y="64"/>
                      <a:pt x="133" y="63"/>
                    </a:cubicBezTo>
                    <a:cubicBezTo>
                      <a:pt x="134" y="61"/>
                      <a:pt x="137" y="59"/>
                      <a:pt x="137" y="57"/>
                    </a:cubicBezTo>
                    <a:cubicBezTo>
                      <a:pt x="138" y="53"/>
                      <a:pt x="136" y="49"/>
                      <a:pt x="134" y="45"/>
                    </a:cubicBezTo>
                    <a:cubicBezTo>
                      <a:pt x="134" y="43"/>
                      <a:pt x="131" y="43"/>
                      <a:pt x="130" y="42"/>
                    </a:cubicBezTo>
                    <a:cubicBezTo>
                      <a:pt x="130" y="40"/>
                      <a:pt x="131" y="37"/>
                      <a:pt x="133" y="36"/>
                    </a:cubicBezTo>
                    <a:cubicBezTo>
                      <a:pt x="135" y="35"/>
                      <a:pt x="137" y="37"/>
                      <a:pt x="138" y="36"/>
                    </a:cubicBezTo>
                    <a:cubicBezTo>
                      <a:pt x="143" y="34"/>
                      <a:pt x="145" y="29"/>
                      <a:pt x="149" y="27"/>
                    </a:cubicBezTo>
                    <a:cubicBezTo>
                      <a:pt x="153" y="25"/>
                      <a:pt x="157" y="26"/>
                      <a:pt x="161" y="26"/>
                    </a:cubicBezTo>
                    <a:cubicBezTo>
                      <a:pt x="162" y="26"/>
                      <a:pt x="164" y="27"/>
                      <a:pt x="166" y="27"/>
                    </a:cubicBezTo>
                    <a:cubicBezTo>
                      <a:pt x="168" y="27"/>
                      <a:pt x="170" y="25"/>
                      <a:pt x="172" y="24"/>
                    </a:cubicBezTo>
                    <a:cubicBezTo>
                      <a:pt x="171" y="24"/>
                      <a:pt x="171" y="23"/>
                      <a:pt x="171" y="22"/>
                    </a:cubicBezTo>
                    <a:cubicBezTo>
                      <a:pt x="171" y="21"/>
                      <a:pt x="172" y="20"/>
                      <a:pt x="173" y="18"/>
                    </a:cubicBezTo>
                    <a:cubicBezTo>
                      <a:pt x="172" y="18"/>
                      <a:pt x="171" y="18"/>
                      <a:pt x="170" y="18"/>
                    </a:cubicBezTo>
                    <a:cubicBezTo>
                      <a:pt x="167" y="19"/>
                      <a:pt x="164" y="22"/>
                      <a:pt x="161" y="22"/>
                    </a:cubicBezTo>
                    <a:cubicBezTo>
                      <a:pt x="159" y="22"/>
                      <a:pt x="159" y="19"/>
                      <a:pt x="157" y="19"/>
                    </a:cubicBezTo>
                    <a:cubicBezTo>
                      <a:pt x="155" y="19"/>
                      <a:pt x="152" y="21"/>
                      <a:pt x="150" y="22"/>
                    </a:cubicBezTo>
                    <a:cubicBezTo>
                      <a:pt x="148" y="23"/>
                      <a:pt x="146" y="24"/>
                      <a:pt x="144" y="24"/>
                    </a:cubicBezTo>
                    <a:cubicBezTo>
                      <a:pt x="143" y="25"/>
                      <a:pt x="141" y="24"/>
                      <a:pt x="140" y="25"/>
                    </a:cubicBezTo>
                    <a:cubicBezTo>
                      <a:pt x="139" y="26"/>
                      <a:pt x="139" y="29"/>
                      <a:pt x="137" y="30"/>
                    </a:cubicBezTo>
                    <a:cubicBezTo>
                      <a:pt x="135" y="30"/>
                      <a:pt x="135" y="27"/>
                      <a:pt x="134" y="26"/>
                    </a:cubicBezTo>
                    <a:cubicBezTo>
                      <a:pt x="133" y="23"/>
                      <a:pt x="132" y="21"/>
                      <a:pt x="132" y="19"/>
                    </a:cubicBezTo>
                    <a:cubicBezTo>
                      <a:pt x="131" y="16"/>
                      <a:pt x="133" y="12"/>
                      <a:pt x="132" y="10"/>
                    </a:cubicBezTo>
                    <a:cubicBezTo>
                      <a:pt x="131" y="8"/>
                      <a:pt x="128" y="11"/>
                      <a:pt x="127" y="10"/>
                    </a:cubicBezTo>
                    <a:cubicBezTo>
                      <a:pt x="126" y="8"/>
                      <a:pt x="128" y="6"/>
                      <a:pt x="127" y="4"/>
                    </a:cubicBezTo>
                    <a:cubicBezTo>
                      <a:pt x="126" y="2"/>
                      <a:pt x="123" y="0"/>
                      <a:pt x="120" y="1"/>
                    </a:cubicBezTo>
                    <a:cubicBezTo>
                      <a:pt x="116" y="2"/>
                      <a:pt x="113" y="6"/>
                      <a:pt x="112" y="10"/>
                    </a:cubicBezTo>
                    <a:cubicBezTo>
                      <a:pt x="112" y="12"/>
                      <a:pt x="117" y="12"/>
                      <a:pt x="116" y="13"/>
                    </a:cubicBezTo>
                    <a:cubicBezTo>
                      <a:pt x="115" y="15"/>
                      <a:pt x="111" y="13"/>
                      <a:pt x="109" y="14"/>
                    </a:cubicBezTo>
                    <a:cubicBezTo>
                      <a:pt x="107" y="15"/>
                      <a:pt x="107" y="17"/>
                      <a:pt x="106" y="19"/>
                    </a:cubicBezTo>
                    <a:cubicBezTo>
                      <a:pt x="106" y="20"/>
                      <a:pt x="107" y="23"/>
                      <a:pt x="106" y="23"/>
                    </a:cubicBezTo>
                    <a:cubicBezTo>
                      <a:pt x="104" y="22"/>
                      <a:pt x="104" y="18"/>
                      <a:pt x="102" y="19"/>
                    </a:cubicBezTo>
                    <a:cubicBezTo>
                      <a:pt x="99" y="19"/>
                      <a:pt x="97" y="24"/>
                      <a:pt x="94" y="25"/>
                    </a:cubicBezTo>
                    <a:cubicBezTo>
                      <a:pt x="92" y="25"/>
                      <a:pt x="90" y="24"/>
                      <a:pt x="88" y="23"/>
                    </a:cubicBezTo>
                    <a:cubicBezTo>
                      <a:pt x="87" y="21"/>
                      <a:pt x="86" y="20"/>
                      <a:pt x="85" y="18"/>
                    </a:cubicBezTo>
                    <a:cubicBezTo>
                      <a:pt x="84" y="19"/>
                      <a:pt x="82" y="20"/>
                      <a:pt x="81" y="20"/>
                    </a:cubicBezTo>
                    <a:cubicBezTo>
                      <a:pt x="79" y="20"/>
                      <a:pt x="79" y="18"/>
                      <a:pt x="77" y="18"/>
                    </a:cubicBezTo>
                    <a:cubicBezTo>
                      <a:pt x="75" y="18"/>
                      <a:pt x="73" y="19"/>
                      <a:pt x="72" y="19"/>
                    </a:cubicBezTo>
                    <a:cubicBezTo>
                      <a:pt x="70" y="19"/>
                      <a:pt x="69" y="19"/>
                      <a:pt x="68" y="19"/>
                    </a:cubicBezTo>
                    <a:cubicBezTo>
                      <a:pt x="66" y="18"/>
                      <a:pt x="64" y="16"/>
                      <a:pt x="61" y="16"/>
                    </a:cubicBezTo>
                    <a:cubicBezTo>
                      <a:pt x="60" y="16"/>
                      <a:pt x="59" y="18"/>
                      <a:pt x="58" y="19"/>
                    </a:cubicBezTo>
                    <a:cubicBezTo>
                      <a:pt x="58" y="20"/>
                      <a:pt x="57" y="20"/>
                      <a:pt x="56" y="20"/>
                    </a:cubicBezTo>
                    <a:cubicBezTo>
                      <a:pt x="54" y="20"/>
                      <a:pt x="53" y="20"/>
                      <a:pt x="51" y="20"/>
                    </a:cubicBezTo>
                    <a:cubicBezTo>
                      <a:pt x="50" y="21"/>
                      <a:pt x="49" y="22"/>
                      <a:pt x="49" y="23"/>
                    </a:cubicBezTo>
                    <a:cubicBezTo>
                      <a:pt x="47" y="26"/>
                      <a:pt x="48" y="30"/>
                      <a:pt x="46" y="33"/>
                    </a:cubicBezTo>
                    <a:cubicBezTo>
                      <a:pt x="44" y="36"/>
                      <a:pt x="41" y="39"/>
                      <a:pt x="37" y="41"/>
                    </a:cubicBezTo>
                    <a:cubicBezTo>
                      <a:pt x="36" y="42"/>
                      <a:pt x="33" y="42"/>
                      <a:pt x="32" y="43"/>
                    </a:cubicBezTo>
                    <a:cubicBezTo>
                      <a:pt x="31" y="44"/>
                      <a:pt x="32" y="46"/>
                      <a:pt x="31" y="47"/>
                    </a:cubicBezTo>
                    <a:cubicBezTo>
                      <a:pt x="30" y="49"/>
                      <a:pt x="29" y="51"/>
                      <a:pt x="27" y="52"/>
                    </a:cubicBezTo>
                    <a:cubicBezTo>
                      <a:pt x="26" y="52"/>
                      <a:pt x="25" y="51"/>
                      <a:pt x="24" y="51"/>
                    </a:cubicBezTo>
                    <a:cubicBezTo>
                      <a:pt x="23" y="51"/>
                      <a:pt x="21" y="52"/>
                      <a:pt x="20" y="51"/>
                    </a:cubicBezTo>
                    <a:cubicBezTo>
                      <a:pt x="18" y="51"/>
                      <a:pt x="16" y="50"/>
                      <a:pt x="14" y="49"/>
                    </a:cubicBezTo>
                    <a:cubicBezTo>
                      <a:pt x="13" y="49"/>
                      <a:pt x="11" y="48"/>
                      <a:pt x="10" y="48"/>
                    </a:cubicBezTo>
                    <a:cubicBezTo>
                      <a:pt x="9" y="50"/>
                      <a:pt x="9" y="53"/>
                      <a:pt x="8" y="55"/>
                    </a:cubicBezTo>
                    <a:cubicBezTo>
                      <a:pt x="7" y="57"/>
                      <a:pt x="4" y="59"/>
                      <a:pt x="3" y="62"/>
                    </a:cubicBezTo>
                    <a:cubicBezTo>
                      <a:pt x="3" y="63"/>
                      <a:pt x="5" y="64"/>
                      <a:pt x="5" y="65"/>
                    </a:cubicBezTo>
                    <a:cubicBezTo>
                      <a:pt x="4" y="66"/>
                      <a:pt x="2" y="64"/>
                      <a:pt x="2" y="65"/>
                    </a:cubicBezTo>
                    <a:cubicBezTo>
                      <a:pt x="1" y="68"/>
                      <a:pt x="0" y="72"/>
                      <a:pt x="1" y="75"/>
                    </a:cubicBezTo>
                    <a:cubicBezTo>
                      <a:pt x="1" y="77"/>
                      <a:pt x="4" y="78"/>
                      <a:pt x="4" y="80"/>
                    </a:cubicBezTo>
                    <a:cubicBezTo>
                      <a:pt x="4" y="82"/>
                      <a:pt x="1" y="82"/>
                      <a:pt x="1" y="84"/>
                    </a:cubicBezTo>
                    <a:cubicBezTo>
                      <a:pt x="1" y="86"/>
                      <a:pt x="4" y="88"/>
                      <a:pt x="4" y="90"/>
                    </a:cubicBezTo>
                    <a:cubicBezTo>
                      <a:pt x="5" y="94"/>
                      <a:pt x="6" y="100"/>
                      <a:pt x="4" y="104"/>
                    </a:cubicBezTo>
                    <a:cubicBezTo>
                      <a:pt x="5" y="107"/>
                      <a:pt x="7" y="109"/>
                      <a:pt x="9" y="111"/>
                    </a:cubicBezTo>
                    <a:cubicBezTo>
                      <a:pt x="11" y="112"/>
                      <a:pt x="15" y="109"/>
                      <a:pt x="17" y="111"/>
                    </a:cubicBezTo>
                    <a:cubicBezTo>
                      <a:pt x="19" y="112"/>
                      <a:pt x="20" y="116"/>
                      <a:pt x="19" y="119"/>
                    </a:cubicBezTo>
                    <a:cubicBezTo>
                      <a:pt x="18" y="123"/>
                      <a:pt x="14" y="126"/>
                      <a:pt x="12" y="130"/>
                    </a:cubicBezTo>
                    <a:cubicBezTo>
                      <a:pt x="11" y="131"/>
                      <a:pt x="11" y="133"/>
                      <a:pt x="10" y="13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3" name="Freeform 2624"/>
              <p:cNvSpPr>
                <a:spLocks noChangeAspect="1"/>
              </p:cNvSpPr>
              <p:nvPr/>
            </p:nvSpPr>
            <p:spPr bwMode="auto">
              <a:xfrm>
                <a:off x="5937010" y="2960640"/>
                <a:ext cx="395812" cy="402785"/>
              </a:xfrm>
              <a:custGeom>
                <a:avLst/>
                <a:gdLst>
                  <a:gd name="T0" fmla="*/ 237 w 201"/>
                  <a:gd name="T1" fmla="*/ 40 h 207"/>
                  <a:gd name="T2" fmla="*/ 224 w 201"/>
                  <a:gd name="T3" fmla="*/ 50 h 207"/>
                  <a:gd name="T4" fmla="*/ 200 w 201"/>
                  <a:gd name="T5" fmla="*/ 46 h 207"/>
                  <a:gd name="T6" fmla="*/ 195 w 201"/>
                  <a:gd name="T7" fmla="*/ 59 h 207"/>
                  <a:gd name="T8" fmla="*/ 202 w 201"/>
                  <a:gd name="T9" fmla="*/ 80 h 207"/>
                  <a:gd name="T10" fmla="*/ 212 w 201"/>
                  <a:gd name="T11" fmla="*/ 83 h 207"/>
                  <a:gd name="T12" fmla="*/ 208 w 201"/>
                  <a:gd name="T13" fmla="*/ 95 h 207"/>
                  <a:gd name="T14" fmla="*/ 206 w 201"/>
                  <a:gd name="T15" fmla="*/ 105 h 207"/>
                  <a:gd name="T16" fmla="*/ 206 w 201"/>
                  <a:gd name="T17" fmla="*/ 114 h 207"/>
                  <a:gd name="T18" fmla="*/ 197 w 201"/>
                  <a:gd name="T19" fmla="*/ 125 h 207"/>
                  <a:gd name="T20" fmla="*/ 188 w 201"/>
                  <a:gd name="T21" fmla="*/ 134 h 207"/>
                  <a:gd name="T22" fmla="*/ 178 w 201"/>
                  <a:gd name="T23" fmla="*/ 155 h 207"/>
                  <a:gd name="T24" fmla="*/ 169 w 201"/>
                  <a:gd name="T25" fmla="*/ 163 h 207"/>
                  <a:gd name="T26" fmla="*/ 161 w 201"/>
                  <a:gd name="T27" fmla="*/ 171 h 207"/>
                  <a:gd name="T28" fmla="*/ 149 w 201"/>
                  <a:gd name="T29" fmla="*/ 171 h 207"/>
                  <a:gd name="T30" fmla="*/ 132 w 201"/>
                  <a:gd name="T31" fmla="*/ 189 h 207"/>
                  <a:gd name="T32" fmla="*/ 141 w 201"/>
                  <a:gd name="T33" fmla="*/ 195 h 207"/>
                  <a:gd name="T34" fmla="*/ 144 w 201"/>
                  <a:gd name="T35" fmla="*/ 206 h 207"/>
                  <a:gd name="T36" fmla="*/ 155 w 201"/>
                  <a:gd name="T37" fmla="*/ 214 h 207"/>
                  <a:gd name="T38" fmla="*/ 163 w 201"/>
                  <a:gd name="T39" fmla="*/ 232 h 207"/>
                  <a:gd name="T40" fmla="*/ 161 w 201"/>
                  <a:gd name="T41" fmla="*/ 238 h 207"/>
                  <a:gd name="T42" fmla="*/ 157 w 201"/>
                  <a:gd name="T43" fmla="*/ 236 h 207"/>
                  <a:gd name="T44" fmla="*/ 140 w 201"/>
                  <a:gd name="T45" fmla="*/ 240 h 207"/>
                  <a:gd name="T46" fmla="*/ 126 w 201"/>
                  <a:gd name="T47" fmla="*/ 242 h 207"/>
                  <a:gd name="T48" fmla="*/ 117 w 201"/>
                  <a:gd name="T49" fmla="*/ 248 h 207"/>
                  <a:gd name="T50" fmla="*/ 102 w 201"/>
                  <a:gd name="T51" fmla="*/ 230 h 207"/>
                  <a:gd name="T52" fmla="*/ 92 w 201"/>
                  <a:gd name="T53" fmla="*/ 219 h 207"/>
                  <a:gd name="T54" fmla="*/ 67 w 201"/>
                  <a:gd name="T55" fmla="*/ 218 h 207"/>
                  <a:gd name="T56" fmla="*/ 47 w 201"/>
                  <a:gd name="T57" fmla="*/ 220 h 207"/>
                  <a:gd name="T58" fmla="*/ 31 w 201"/>
                  <a:gd name="T59" fmla="*/ 220 h 207"/>
                  <a:gd name="T60" fmla="*/ 19 w 201"/>
                  <a:gd name="T61" fmla="*/ 219 h 207"/>
                  <a:gd name="T62" fmla="*/ 20 w 201"/>
                  <a:gd name="T63" fmla="*/ 201 h 207"/>
                  <a:gd name="T64" fmla="*/ 37 w 201"/>
                  <a:gd name="T65" fmla="*/ 195 h 207"/>
                  <a:gd name="T66" fmla="*/ 39 w 201"/>
                  <a:gd name="T67" fmla="*/ 185 h 207"/>
                  <a:gd name="T68" fmla="*/ 29 w 201"/>
                  <a:gd name="T69" fmla="*/ 164 h 207"/>
                  <a:gd name="T70" fmla="*/ 16 w 201"/>
                  <a:gd name="T71" fmla="*/ 158 h 207"/>
                  <a:gd name="T72" fmla="*/ 10 w 201"/>
                  <a:gd name="T73" fmla="*/ 144 h 207"/>
                  <a:gd name="T74" fmla="*/ 11 w 201"/>
                  <a:gd name="T75" fmla="*/ 135 h 207"/>
                  <a:gd name="T76" fmla="*/ 47 w 201"/>
                  <a:gd name="T77" fmla="*/ 138 h 207"/>
                  <a:gd name="T78" fmla="*/ 54 w 201"/>
                  <a:gd name="T79" fmla="*/ 138 h 207"/>
                  <a:gd name="T80" fmla="*/ 81 w 201"/>
                  <a:gd name="T81" fmla="*/ 133 h 207"/>
                  <a:gd name="T82" fmla="*/ 79 w 201"/>
                  <a:gd name="T83" fmla="*/ 121 h 207"/>
                  <a:gd name="T84" fmla="*/ 93 w 201"/>
                  <a:gd name="T85" fmla="*/ 108 h 207"/>
                  <a:gd name="T86" fmla="*/ 99 w 201"/>
                  <a:gd name="T87" fmla="*/ 108 h 207"/>
                  <a:gd name="T88" fmla="*/ 104 w 201"/>
                  <a:gd name="T89" fmla="*/ 104 h 207"/>
                  <a:gd name="T90" fmla="*/ 113 w 201"/>
                  <a:gd name="T91" fmla="*/ 99 h 207"/>
                  <a:gd name="T92" fmla="*/ 123 w 201"/>
                  <a:gd name="T93" fmla="*/ 97 h 207"/>
                  <a:gd name="T94" fmla="*/ 122 w 201"/>
                  <a:gd name="T95" fmla="*/ 86 h 207"/>
                  <a:gd name="T96" fmla="*/ 134 w 201"/>
                  <a:gd name="T97" fmla="*/ 75 h 207"/>
                  <a:gd name="T98" fmla="*/ 129 w 201"/>
                  <a:gd name="T99" fmla="*/ 60 h 207"/>
                  <a:gd name="T100" fmla="*/ 137 w 201"/>
                  <a:gd name="T101" fmla="*/ 60 h 207"/>
                  <a:gd name="T102" fmla="*/ 148 w 201"/>
                  <a:gd name="T103" fmla="*/ 50 h 207"/>
                  <a:gd name="T104" fmla="*/ 153 w 201"/>
                  <a:gd name="T105" fmla="*/ 40 h 207"/>
                  <a:gd name="T106" fmla="*/ 144 w 201"/>
                  <a:gd name="T107" fmla="*/ 22 h 207"/>
                  <a:gd name="T108" fmla="*/ 154 w 201"/>
                  <a:gd name="T109" fmla="*/ 14 h 207"/>
                  <a:gd name="T110" fmla="*/ 182 w 201"/>
                  <a:gd name="T111" fmla="*/ 2 h 207"/>
                  <a:gd name="T112" fmla="*/ 195 w 201"/>
                  <a:gd name="T113" fmla="*/ 0 h 207"/>
                  <a:gd name="T114" fmla="*/ 206 w 201"/>
                  <a:gd name="T115" fmla="*/ 1 h 207"/>
                  <a:gd name="T116" fmla="*/ 217 w 201"/>
                  <a:gd name="T117" fmla="*/ 20 h 207"/>
                  <a:gd name="T118" fmla="*/ 230 w 201"/>
                  <a:gd name="T119" fmla="*/ 25 h 207"/>
                  <a:gd name="T120" fmla="*/ 242 w 201"/>
                  <a:gd name="T121" fmla="*/ 32 h 20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01"/>
                  <a:gd name="T184" fmla="*/ 0 h 207"/>
                  <a:gd name="T185" fmla="*/ 201 w 201"/>
                  <a:gd name="T186" fmla="*/ 207 h 20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01" h="207">
                    <a:moveTo>
                      <a:pt x="201" y="27"/>
                    </a:moveTo>
                    <a:cubicBezTo>
                      <a:pt x="200" y="29"/>
                      <a:pt x="199" y="31"/>
                      <a:pt x="197" y="33"/>
                    </a:cubicBezTo>
                    <a:cubicBezTo>
                      <a:pt x="196" y="35"/>
                      <a:pt x="195" y="37"/>
                      <a:pt x="194" y="38"/>
                    </a:cubicBezTo>
                    <a:cubicBezTo>
                      <a:pt x="192" y="40"/>
                      <a:pt x="189" y="41"/>
                      <a:pt x="186" y="42"/>
                    </a:cubicBezTo>
                    <a:cubicBezTo>
                      <a:pt x="182" y="42"/>
                      <a:pt x="178" y="43"/>
                      <a:pt x="174" y="42"/>
                    </a:cubicBezTo>
                    <a:cubicBezTo>
                      <a:pt x="171" y="41"/>
                      <a:pt x="169" y="38"/>
                      <a:pt x="166" y="38"/>
                    </a:cubicBezTo>
                    <a:cubicBezTo>
                      <a:pt x="164" y="38"/>
                      <a:pt x="162" y="39"/>
                      <a:pt x="162" y="40"/>
                    </a:cubicBezTo>
                    <a:cubicBezTo>
                      <a:pt x="161" y="43"/>
                      <a:pt x="162" y="46"/>
                      <a:pt x="162" y="49"/>
                    </a:cubicBezTo>
                    <a:cubicBezTo>
                      <a:pt x="162" y="53"/>
                      <a:pt x="161" y="58"/>
                      <a:pt x="162" y="62"/>
                    </a:cubicBezTo>
                    <a:cubicBezTo>
                      <a:pt x="163" y="64"/>
                      <a:pt x="166" y="65"/>
                      <a:pt x="168" y="67"/>
                    </a:cubicBezTo>
                    <a:cubicBezTo>
                      <a:pt x="168" y="68"/>
                      <a:pt x="167" y="69"/>
                      <a:pt x="168" y="70"/>
                    </a:cubicBezTo>
                    <a:cubicBezTo>
                      <a:pt x="170" y="70"/>
                      <a:pt x="173" y="68"/>
                      <a:pt x="176" y="69"/>
                    </a:cubicBezTo>
                    <a:cubicBezTo>
                      <a:pt x="178" y="70"/>
                      <a:pt x="182" y="72"/>
                      <a:pt x="181" y="75"/>
                    </a:cubicBezTo>
                    <a:cubicBezTo>
                      <a:pt x="180" y="77"/>
                      <a:pt x="176" y="77"/>
                      <a:pt x="173" y="79"/>
                    </a:cubicBezTo>
                    <a:cubicBezTo>
                      <a:pt x="172" y="80"/>
                      <a:pt x="170" y="82"/>
                      <a:pt x="170" y="84"/>
                    </a:cubicBezTo>
                    <a:cubicBezTo>
                      <a:pt x="169" y="85"/>
                      <a:pt x="171" y="87"/>
                      <a:pt x="171" y="88"/>
                    </a:cubicBezTo>
                    <a:cubicBezTo>
                      <a:pt x="171" y="90"/>
                      <a:pt x="169" y="91"/>
                      <a:pt x="169" y="92"/>
                    </a:cubicBezTo>
                    <a:cubicBezTo>
                      <a:pt x="169" y="94"/>
                      <a:pt x="172" y="94"/>
                      <a:pt x="171" y="95"/>
                    </a:cubicBezTo>
                    <a:cubicBezTo>
                      <a:pt x="171" y="97"/>
                      <a:pt x="169" y="96"/>
                      <a:pt x="168" y="97"/>
                    </a:cubicBezTo>
                    <a:cubicBezTo>
                      <a:pt x="166" y="99"/>
                      <a:pt x="165" y="102"/>
                      <a:pt x="164" y="104"/>
                    </a:cubicBezTo>
                    <a:cubicBezTo>
                      <a:pt x="163" y="105"/>
                      <a:pt x="164" y="107"/>
                      <a:pt x="164" y="108"/>
                    </a:cubicBezTo>
                    <a:cubicBezTo>
                      <a:pt x="162" y="109"/>
                      <a:pt x="157" y="109"/>
                      <a:pt x="156" y="112"/>
                    </a:cubicBezTo>
                    <a:cubicBezTo>
                      <a:pt x="155" y="115"/>
                      <a:pt x="158" y="120"/>
                      <a:pt x="156" y="123"/>
                    </a:cubicBezTo>
                    <a:cubicBezTo>
                      <a:pt x="155" y="126"/>
                      <a:pt x="150" y="126"/>
                      <a:pt x="148" y="129"/>
                    </a:cubicBezTo>
                    <a:cubicBezTo>
                      <a:pt x="146" y="130"/>
                      <a:pt x="146" y="133"/>
                      <a:pt x="144" y="135"/>
                    </a:cubicBezTo>
                    <a:cubicBezTo>
                      <a:pt x="143" y="136"/>
                      <a:pt x="141" y="135"/>
                      <a:pt x="140" y="136"/>
                    </a:cubicBezTo>
                    <a:cubicBezTo>
                      <a:pt x="140" y="139"/>
                      <a:pt x="142" y="142"/>
                      <a:pt x="140" y="144"/>
                    </a:cubicBezTo>
                    <a:cubicBezTo>
                      <a:pt x="139" y="146"/>
                      <a:pt x="136" y="143"/>
                      <a:pt x="134" y="143"/>
                    </a:cubicBezTo>
                    <a:cubicBezTo>
                      <a:pt x="132" y="144"/>
                      <a:pt x="131" y="147"/>
                      <a:pt x="129" y="147"/>
                    </a:cubicBezTo>
                    <a:cubicBezTo>
                      <a:pt x="127" y="146"/>
                      <a:pt x="126" y="143"/>
                      <a:pt x="124" y="143"/>
                    </a:cubicBezTo>
                    <a:cubicBezTo>
                      <a:pt x="123" y="142"/>
                      <a:pt x="122" y="143"/>
                      <a:pt x="121" y="143"/>
                    </a:cubicBezTo>
                    <a:cubicBezTo>
                      <a:pt x="117" y="148"/>
                      <a:pt x="112" y="152"/>
                      <a:pt x="110" y="158"/>
                    </a:cubicBezTo>
                    <a:cubicBezTo>
                      <a:pt x="109" y="160"/>
                      <a:pt x="110" y="162"/>
                      <a:pt x="112" y="163"/>
                    </a:cubicBezTo>
                    <a:cubicBezTo>
                      <a:pt x="113" y="164"/>
                      <a:pt x="115" y="163"/>
                      <a:pt x="117" y="163"/>
                    </a:cubicBezTo>
                    <a:cubicBezTo>
                      <a:pt x="118" y="164"/>
                      <a:pt x="120" y="164"/>
                      <a:pt x="120" y="165"/>
                    </a:cubicBezTo>
                    <a:cubicBezTo>
                      <a:pt x="121" y="168"/>
                      <a:pt x="119" y="170"/>
                      <a:pt x="120" y="172"/>
                    </a:cubicBezTo>
                    <a:cubicBezTo>
                      <a:pt x="121" y="175"/>
                      <a:pt x="122" y="178"/>
                      <a:pt x="125" y="179"/>
                    </a:cubicBezTo>
                    <a:cubicBezTo>
                      <a:pt x="126" y="180"/>
                      <a:pt x="128" y="179"/>
                      <a:pt x="129" y="179"/>
                    </a:cubicBezTo>
                    <a:cubicBezTo>
                      <a:pt x="130" y="180"/>
                      <a:pt x="128" y="182"/>
                      <a:pt x="129" y="183"/>
                    </a:cubicBezTo>
                    <a:cubicBezTo>
                      <a:pt x="130" y="187"/>
                      <a:pt x="134" y="190"/>
                      <a:pt x="135" y="194"/>
                    </a:cubicBezTo>
                    <a:cubicBezTo>
                      <a:pt x="135" y="194"/>
                      <a:pt x="132" y="194"/>
                      <a:pt x="132" y="195"/>
                    </a:cubicBezTo>
                    <a:cubicBezTo>
                      <a:pt x="132" y="196"/>
                      <a:pt x="135" y="198"/>
                      <a:pt x="134" y="199"/>
                    </a:cubicBezTo>
                    <a:cubicBezTo>
                      <a:pt x="134" y="200"/>
                      <a:pt x="131" y="201"/>
                      <a:pt x="130" y="200"/>
                    </a:cubicBezTo>
                    <a:cubicBezTo>
                      <a:pt x="128" y="200"/>
                      <a:pt x="131" y="197"/>
                      <a:pt x="130" y="197"/>
                    </a:cubicBezTo>
                    <a:cubicBezTo>
                      <a:pt x="127" y="197"/>
                      <a:pt x="125" y="201"/>
                      <a:pt x="122" y="201"/>
                    </a:cubicBezTo>
                    <a:cubicBezTo>
                      <a:pt x="120" y="201"/>
                      <a:pt x="118" y="200"/>
                      <a:pt x="116" y="200"/>
                    </a:cubicBezTo>
                    <a:cubicBezTo>
                      <a:pt x="112" y="199"/>
                      <a:pt x="109" y="198"/>
                      <a:pt x="105" y="199"/>
                    </a:cubicBezTo>
                    <a:cubicBezTo>
                      <a:pt x="104" y="199"/>
                      <a:pt x="106" y="201"/>
                      <a:pt x="105" y="202"/>
                    </a:cubicBezTo>
                    <a:cubicBezTo>
                      <a:pt x="104" y="203"/>
                      <a:pt x="102" y="203"/>
                      <a:pt x="101" y="204"/>
                    </a:cubicBezTo>
                    <a:cubicBezTo>
                      <a:pt x="100" y="205"/>
                      <a:pt x="98" y="206"/>
                      <a:pt x="97" y="207"/>
                    </a:cubicBezTo>
                    <a:cubicBezTo>
                      <a:pt x="95" y="206"/>
                      <a:pt x="92" y="205"/>
                      <a:pt x="90" y="203"/>
                    </a:cubicBezTo>
                    <a:cubicBezTo>
                      <a:pt x="88" y="200"/>
                      <a:pt x="88" y="195"/>
                      <a:pt x="85" y="192"/>
                    </a:cubicBezTo>
                    <a:cubicBezTo>
                      <a:pt x="83" y="190"/>
                      <a:pt x="79" y="190"/>
                      <a:pt x="76" y="188"/>
                    </a:cubicBezTo>
                    <a:cubicBezTo>
                      <a:pt x="75" y="187"/>
                      <a:pt x="77" y="184"/>
                      <a:pt x="76" y="183"/>
                    </a:cubicBezTo>
                    <a:cubicBezTo>
                      <a:pt x="74" y="181"/>
                      <a:pt x="71" y="180"/>
                      <a:pt x="68" y="180"/>
                    </a:cubicBezTo>
                    <a:cubicBezTo>
                      <a:pt x="64" y="180"/>
                      <a:pt x="60" y="181"/>
                      <a:pt x="56" y="182"/>
                    </a:cubicBezTo>
                    <a:cubicBezTo>
                      <a:pt x="54" y="182"/>
                      <a:pt x="52" y="183"/>
                      <a:pt x="50" y="184"/>
                    </a:cubicBezTo>
                    <a:cubicBezTo>
                      <a:pt x="46" y="184"/>
                      <a:pt x="43" y="184"/>
                      <a:pt x="39" y="184"/>
                    </a:cubicBezTo>
                    <a:cubicBezTo>
                      <a:pt x="37" y="184"/>
                      <a:pt x="35" y="184"/>
                      <a:pt x="33" y="184"/>
                    </a:cubicBezTo>
                    <a:cubicBezTo>
                      <a:pt x="31" y="184"/>
                      <a:pt x="28" y="184"/>
                      <a:pt x="26" y="184"/>
                    </a:cubicBezTo>
                    <a:cubicBezTo>
                      <a:pt x="23" y="185"/>
                      <a:pt x="21" y="188"/>
                      <a:pt x="18" y="187"/>
                    </a:cubicBezTo>
                    <a:cubicBezTo>
                      <a:pt x="16" y="187"/>
                      <a:pt x="16" y="184"/>
                      <a:pt x="16" y="183"/>
                    </a:cubicBezTo>
                    <a:cubicBezTo>
                      <a:pt x="16" y="181"/>
                      <a:pt x="15" y="178"/>
                      <a:pt x="15" y="176"/>
                    </a:cubicBezTo>
                    <a:cubicBezTo>
                      <a:pt x="15" y="173"/>
                      <a:pt x="16" y="170"/>
                      <a:pt x="17" y="168"/>
                    </a:cubicBezTo>
                    <a:cubicBezTo>
                      <a:pt x="19" y="166"/>
                      <a:pt x="21" y="165"/>
                      <a:pt x="24" y="164"/>
                    </a:cubicBezTo>
                    <a:cubicBezTo>
                      <a:pt x="26" y="163"/>
                      <a:pt x="29" y="164"/>
                      <a:pt x="31" y="163"/>
                    </a:cubicBezTo>
                    <a:cubicBezTo>
                      <a:pt x="32" y="162"/>
                      <a:pt x="31" y="161"/>
                      <a:pt x="31" y="160"/>
                    </a:cubicBezTo>
                    <a:cubicBezTo>
                      <a:pt x="32" y="158"/>
                      <a:pt x="33" y="155"/>
                      <a:pt x="32" y="154"/>
                    </a:cubicBezTo>
                    <a:cubicBezTo>
                      <a:pt x="31" y="152"/>
                      <a:pt x="27" y="154"/>
                      <a:pt x="26" y="152"/>
                    </a:cubicBezTo>
                    <a:cubicBezTo>
                      <a:pt x="23" y="148"/>
                      <a:pt x="25" y="142"/>
                      <a:pt x="24" y="137"/>
                    </a:cubicBezTo>
                    <a:cubicBezTo>
                      <a:pt x="23" y="136"/>
                      <a:pt x="22" y="135"/>
                      <a:pt x="20" y="134"/>
                    </a:cubicBezTo>
                    <a:cubicBezTo>
                      <a:pt x="18" y="133"/>
                      <a:pt x="15" y="133"/>
                      <a:pt x="13" y="132"/>
                    </a:cubicBezTo>
                    <a:cubicBezTo>
                      <a:pt x="12" y="131"/>
                      <a:pt x="10" y="130"/>
                      <a:pt x="10" y="128"/>
                    </a:cubicBezTo>
                    <a:cubicBezTo>
                      <a:pt x="9" y="126"/>
                      <a:pt x="10" y="123"/>
                      <a:pt x="8" y="120"/>
                    </a:cubicBezTo>
                    <a:cubicBezTo>
                      <a:pt x="6" y="117"/>
                      <a:pt x="3" y="114"/>
                      <a:pt x="0" y="111"/>
                    </a:cubicBezTo>
                    <a:cubicBezTo>
                      <a:pt x="3" y="112"/>
                      <a:pt x="6" y="112"/>
                      <a:pt x="9" y="113"/>
                    </a:cubicBezTo>
                    <a:cubicBezTo>
                      <a:pt x="13" y="114"/>
                      <a:pt x="18" y="115"/>
                      <a:pt x="22" y="116"/>
                    </a:cubicBezTo>
                    <a:cubicBezTo>
                      <a:pt x="28" y="116"/>
                      <a:pt x="33" y="114"/>
                      <a:pt x="39" y="115"/>
                    </a:cubicBezTo>
                    <a:cubicBezTo>
                      <a:pt x="40" y="115"/>
                      <a:pt x="41" y="116"/>
                      <a:pt x="43" y="116"/>
                    </a:cubicBezTo>
                    <a:cubicBezTo>
                      <a:pt x="44" y="116"/>
                      <a:pt x="44" y="115"/>
                      <a:pt x="45" y="115"/>
                    </a:cubicBezTo>
                    <a:cubicBezTo>
                      <a:pt x="47" y="115"/>
                      <a:pt x="49" y="117"/>
                      <a:pt x="52" y="117"/>
                    </a:cubicBezTo>
                    <a:cubicBezTo>
                      <a:pt x="57" y="116"/>
                      <a:pt x="63" y="114"/>
                      <a:pt x="67" y="111"/>
                    </a:cubicBezTo>
                    <a:cubicBezTo>
                      <a:pt x="69" y="110"/>
                      <a:pt x="68" y="108"/>
                      <a:pt x="68" y="107"/>
                    </a:cubicBezTo>
                    <a:cubicBezTo>
                      <a:pt x="67" y="105"/>
                      <a:pt x="66" y="103"/>
                      <a:pt x="66" y="101"/>
                    </a:cubicBezTo>
                    <a:cubicBezTo>
                      <a:pt x="67" y="98"/>
                      <a:pt x="69" y="95"/>
                      <a:pt x="71" y="92"/>
                    </a:cubicBezTo>
                    <a:cubicBezTo>
                      <a:pt x="72" y="90"/>
                      <a:pt x="75" y="90"/>
                      <a:pt x="77" y="90"/>
                    </a:cubicBezTo>
                    <a:cubicBezTo>
                      <a:pt x="77" y="90"/>
                      <a:pt x="76" y="92"/>
                      <a:pt x="77" y="92"/>
                    </a:cubicBezTo>
                    <a:cubicBezTo>
                      <a:pt x="79" y="92"/>
                      <a:pt x="81" y="91"/>
                      <a:pt x="82" y="90"/>
                    </a:cubicBezTo>
                    <a:cubicBezTo>
                      <a:pt x="83" y="89"/>
                      <a:pt x="80" y="87"/>
                      <a:pt x="80" y="87"/>
                    </a:cubicBezTo>
                    <a:cubicBezTo>
                      <a:pt x="82" y="85"/>
                      <a:pt x="84" y="88"/>
                      <a:pt x="86" y="87"/>
                    </a:cubicBezTo>
                    <a:cubicBezTo>
                      <a:pt x="88" y="85"/>
                      <a:pt x="88" y="82"/>
                      <a:pt x="90" y="81"/>
                    </a:cubicBezTo>
                    <a:cubicBezTo>
                      <a:pt x="92" y="80"/>
                      <a:pt x="93" y="82"/>
                      <a:pt x="94" y="83"/>
                    </a:cubicBezTo>
                    <a:cubicBezTo>
                      <a:pt x="96" y="84"/>
                      <a:pt x="97" y="86"/>
                      <a:pt x="98" y="86"/>
                    </a:cubicBezTo>
                    <a:cubicBezTo>
                      <a:pt x="100" y="85"/>
                      <a:pt x="102" y="83"/>
                      <a:pt x="102" y="81"/>
                    </a:cubicBezTo>
                    <a:cubicBezTo>
                      <a:pt x="103" y="80"/>
                      <a:pt x="100" y="80"/>
                      <a:pt x="100" y="78"/>
                    </a:cubicBezTo>
                    <a:cubicBezTo>
                      <a:pt x="100" y="76"/>
                      <a:pt x="100" y="74"/>
                      <a:pt x="101" y="72"/>
                    </a:cubicBezTo>
                    <a:cubicBezTo>
                      <a:pt x="102" y="69"/>
                      <a:pt x="102" y="65"/>
                      <a:pt x="104" y="64"/>
                    </a:cubicBezTo>
                    <a:cubicBezTo>
                      <a:pt x="106" y="62"/>
                      <a:pt x="110" y="65"/>
                      <a:pt x="111" y="63"/>
                    </a:cubicBezTo>
                    <a:cubicBezTo>
                      <a:pt x="113" y="62"/>
                      <a:pt x="112" y="59"/>
                      <a:pt x="111" y="57"/>
                    </a:cubicBezTo>
                    <a:cubicBezTo>
                      <a:pt x="110" y="54"/>
                      <a:pt x="108" y="52"/>
                      <a:pt x="107" y="50"/>
                    </a:cubicBezTo>
                    <a:cubicBezTo>
                      <a:pt x="107" y="49"/>
                      <a:pt x="107" y="47"/>
                      <a:pt x="108" y="47"/>
                    </a:cubicBezTo>
                    <a:cubicBezTo>
                      <a:pt x="110" y="47"/>
                      <a:pt x="111" y="50"/>
                      <a:pt x="114" y="50"/>
                    </a:cubicBezTo>
                    <a:cubicBezTo>
                      <a:pt x="116" y="50"/>
                      <a:pt x="119" y="49"/>
                      <a:pt x="120" y="48"/>
                    </a:cubicBezTo>
                    <a:cubicBezTo>
                      <a:pt x="122" y="46"/>
                      <a:pt x="122" y="44"/>
                      <a:pt x="123" y="42"/>
                    </a:cubicBezTo>
                    <a:cubicBezTo>
                      <a:pt x="123" y="41"/>
                      <a:pt x="122" y="40"/>
                      <a:pt x="123" y="39"/>
                    </a:cubicBezTo>
                    <a:cubicBezTo>
                      <a:pt x="124" y="37"/>
                      <a:pt x="127" y="35"/>
                      <a:pt x="127" y="33"/>
                    </a:cubicBezTo>
                    <a:cubicBezTo>
                      <a:pt x="128" y="29"/>
                      <a:pt x="126" y="25"/>
                      <a:pt x="124" y="21"/>
                    </a:cubicBezTo>
                    <a:cubicBezTo>
                      <a:pt x="124" y="19"/>
                      <a:pt x="121" y="19"/>
                      <a:pt x="120" y="18"/>
                    </a:cubicBezTo>
                    <a:cubicBezTo>
                      <a:pt x="120" y="16"/>
                      <a:pt x="121" y="13"/>
                      <a:pt x="123" y="12"/>
                    </a:cubicBezTo>
                    <a:cubicBezTo>
                      <a:pt x="125" y="11"/>
                      <a:pt x="127" y="13"/>
                      <a:pt x="128" y="12"/>
                    </a:cubicBezTo>
                    <a:cubicBezTo>
                      <a:pt x="133" y="10"/>
                      <a:pt x="135" y="5"/>
                      <a:pt x="139" y="3"/>
                    </a:cubicBezTo>
                    <a:cubicBezTo>
                      <a:pt x="143" y="1"/>
                      <a:pt x="147" y="2"/>
                      <a:pt x="151" y="2"/>
                    </a:cubicBezTo>
                    <a:cubicBezTo>
                      <a:pt x="152" y="2"/>
                      <a:pt x="154" y="3"/>
                      <a:pt x="156" y="3"/>
                    </a:cubicBezTo>
                    <a:cubicBezTo>
                      <a:pt x="158" y="3"/>
                      <a:pt x="160" y="1"/>
                      <a:pt x="162" y="0"/>
                    </a:cubicBezTo>
                    <a:cubicBezTo>
                      <a:pt x="164" y="1"/>
                      <a:pt x="166" y="2"/>
                      <a:pt x="168" y="3"/>
                    </a:cubicBezTo>
                    <a:cubicBezTo>
                      <a:pt x="169" y="3"/>
                      <a:pt x="170" y="1"/>
                      <a:pt x="171" y="1"/>
                    </a:cubicBezTo>
                    <a:cubicBezTo>
                      <a:pt x="175" y="4"/>
                      <a:pt x="178" y="7"/>
                      <a:pt x="180" y="11"/>
                    </a:cubicBezTo>
                    <a:cubicBezTo>
                      <a:pt x="181" y="12"/>
                      <a:pt x="179" y="15"/>
                      <a:pt x="180" y="17"/>
                    </a:cubicBezTo>
                    <a:cubicBezTo>
                      <a:pt x="180" y="18"/>
                      <a:pt x="181" y="20"/>
                      <a:pt x="182" y="21"/>
                    </a:cubicBezTo>
                    <a:cubicBezTo>
                      <a:pt x="185" y="22"/>
                      <a:pt x="188" y="20"/>
                      <a:pt x="191" y="21"/>
                    </a:cubicBezTo>
                    <a:cubicBezTo>
                      <a:pt x="192" y="22"/>
                      <a:pt x="191" y="25"/>
                      <a:pt x="192" y="26"/>
                    </a:cubicBezTo>
                    <a:cubicBezTo>
                      <a:pt x="195" y="27"/>
                      <a:pt x="198" y="27"/>
                      <a:pt x="201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4" name="Freeform 2625"/>
              <p:cNvSpPr>
                <a:spLocks noChangeAspect="1"/>
              </p:cNvSpPr>
              <p:nvPr/>
            </p:nvSpPr>
            <p:spPr bwMode="auto">
              <a:xfrm>
                <a:off x="6224874" y="2418181"/>
                <a:ext cx="1398428" cy="1052437"/>
              </a:xfrm>
              <a:custGeom>
                <a:avLst/>
                <a:gdLst>
                  <a:gd name="T0" fmla="*/ 49 w 713"/>
                  <a:gd name="T1" fmla="*/ 254 h 540"/>
                  <a:gd name="T2" fmla="*/ 1 w 713"/>
                  <a:gd name="T3" fmla="*/ 276 h 540"/>
                  <a:gd name="T4" fmla="*/ 20 w 713"/>
                  <a:gd name="T5" fmla="*/ 326 h 540"/>
                  <a:gd name="T6" fmla="*/ 54 w 713"/>
                  <a:gd name="T7" fmla="*/ 359 h 540"/>
                  <a:gd name="T8" fmla="*/ 88 w 713"/>
                  <a:gd name="T9" fmla="*/ 401 h 540"/>
                  <a:gd name="T10" fmla="*/ 89 w 713"/>
                  <a:gd name="T11" fmla="*/ 437 h 540"/>
                  <a:gd name="T12" fmla="*/ 132 w 713"/>
                  <a:gd name="T13" fmla="*/ 463 h 540"/>
                  <a:gd name="T14" fmla="*/ 176 w 713"/>
                  <a:gd name="T15" fmla="*/ 491 h 540"/>
                  <a:gd name="T16" fmla="*/ 219 w 713"/>
                  <a:gd name="T17" fmla="*/ 509 h 540"/>
                  <a:gd name="T18" fmla="*/ 252 w 713"/>
                  <a:gd name="T19" fmla="*/ 510 h 540"/>
                  <a:gd name="T20" fmla="*/ 287 w 713"/>
                  <a:gd name="T21" fmla="*/ 509 h 540"/>
                  <a:gd name="T22" fmla="*/ 330 w 713"/>
                  <a:gd name="T23" fmla="*/ 481 h 540"/>
                  <a:gd name="T24" fmla="*/ 363 w 713"/>
                  <a:gd name="T25" fmla="*/ 499 h 540"/>
                  <a:gd name="T26" fmla="*/ 396 w 713"/>
                  <a:gd name="T27" fmla="*/ 538 h 540"/>
                  <a:gd name="T28" fmla="*/ 392 w 713"/>
                  <a:gd name="T29" fmla="*/ 576 h 540"/>
                  <a:gd name="T30" fmla="*/ 421 w 713"/>
                  <a:gd name="T31" fmla="*/ 613 h 540"/>
                  <a:gd name="T32" fmla="*/ 451 w 713"/>
                  <a:gd name="T33" fmla="*/ 625 h 540"/>
                  <a:gd name="T34" fmla="*/ 462 w 713"/>
                  <a:gd name="T35" fmla="*/ 602 h 540"/>
                  <a:gd name="T36" fmla="*/ 488 w 713"/>
                  <a:gd name="T37" fmla="*/ 602 h 540"/>
                  <a:gd name="T38" fmla="*/ 523 w 713"/>
                  <a:gd name="T39" fmla="*/ 601 h 540"/>
                  <a:gd name="T40" fmla="*/ 570 w 713"/>
                  <a:gd name="T41" fmla="*/ 622 h 540"/>
                  <a:gd name="T42" fmla="*/ 583 w 713"/>
                  <a:gd name="T43" fmla="*/ 628 h 540"/>
                  <a:gd name="T44" fmla="*/ 621 w 713"/>
                  <a:gd name="T45" fmla="*/ 613 h 540"/>
                  <a:gd name="T46" fmla="*/ 651 w 713"/>
                  <a:gd name="T47" fmla="*/ 605 h 540"/>
                  <a:gd name="T48" fmla="*/ 710 w 713"/>
                  <a:gd name="T49" fmla="*/ 541 h 540"/>
                  <a:gd name="T50" fmla="*/ 733 w 713"/>
                  <a:gd name="T51" fmla="*/ 491 h 540"/>
                  <a:gd name="T52" fmla="*/ 709 w 713"/>
                  <a:gd name="T53" fmla="*/ 460 h 540"/>
                  <a:gd name="T54" fmla="*/ 706 w 713"/>
                  <a:gd name="T55" fmla="*/ 426 h 540"/>
                  <a:gd name="T56" fmla="*/ 710 w 713"/>
                  <a:gd name="T57" fmla="*/ 412 h 540"/>
                  <a:gd name="T58" fmla="*/ 693 w 713"/>
                  <a:gd name="T59" fmla="*/ 355 h 540"/>
                  <a:gd name="T60" fmla="*/ 716 w 713"/>
                  <a:gd name="T61" fmla="*/ 334 h 540"/>
                  <a:gd name="T62" fmla="*/ 696 w 713"/>
                  <a:gd name="T63" fmla="*/ 317 h 540"/>
                  <a:gd name="T64" fmla="*/ 644 w 713"/>
                  <a:gd name="T65" fmla="*/ 305 h 540"/>
                  <a:gd name="T66" fmla="*/ 705 w 713"/>
                  <a:gd name="T67" fmla="*/ 266 h 540"/>
                  <a:gd name="T68" fmla="*/ 717 w 713"/>
                  <a:gd name="T69" fmla="*/ 282 h 540"/>
                  <a:gd name="T70" fmla="*/ 771 w 713"/>
                  <a:gd name="T71" fmla="*/ 244 h 540"/>
                  <a:gd name="T72" fmla="*/ 807 w 713"/>
                  <a:gd name="T73" fmla="*/ 215 h 540"/>
                  <a:gd name="T74" fmla="*/ 815 w 713"/>
                  <a:gd name="T75" fmla="*/ 180 h 540"/>
                  <a:gd name="T76" fmla="*/ 850 w 713"/>
                  <a:gd name="T77" fmla="*/ 145 h 540"/>
                  <a:gd name="T78" fmla="*/ 791 w 713"/>
                  <a:gd name="T79" fmla="*/ 110 h 540"/>
                  <a:gd name="T80" fmla="*/ 739 w 713"/>
                  <a:gd name="T81" fmla="*/ 71 h 540"/>
                  <a:gd name="T82" fmla="*/ 710 w 713"/>
                  <a:gd name="T83" fmla="*/ 23 h 540"/>
                  <a:gd name="T84" fmla="*/ 630 w 713"/>
                  <a:gd name="T85" fmla="*/ 7 h 540"/>
                  <a:gd name="T86" fmla="*/ 622 w 713"/>
                  <a:gd name="T87" fmla="*/ 71 h 540"/>
                  <a:gd name="T88" fmla="*/ 586 w 713"/>
                  <a:gd name="T89" fmla="*/ 120 h 540"/>
                  <a:gd name="T90" fmla="*/ 643 w 713"/>
                  <a:gd name="T91" fmla="*/ 145 h 540"/>
                  <a:gd name="T92" fmla="*/ 598 w 713"/>
                  <a:gd name="T93" fmla="*/ 162 h 540"/>
                  <a:gd name="T94" fmla="*/ 540 w 713"/>
                  <a:gd name="T95" fmla="*/ 194 h 540"/>
                  <a:gd name="T96" fmla="*/ 442 w 713"/>
                  <a:gd name="T97" fmla="*/ 241 h 540"/>
                  <a:gd name="T98" fmla="*/ 324 w 713"/>
                  <a:gd name="T99" fmla="*/ 223 h 540"/>
                  <a:gd name="T100" fmla="*/ 265 w 713"/>
                  <a:gd name="T101" fmla="*/ 176 h 540"/>
                  <a:gd name="T102" fmla="*/ 224 w 713"/>
                  <a:gd name="T103" fmla="*/ 134 h 540"/>
                  <a:gd name="T104" fmla="*/ 179 w 713"/>
                  <a:gd name="T105" fmla="*/ 98 h 540"/>
                  <a:gd name="T106" fmla="*/ 149 w 713"/>
                  <a:gd name="T107" fmla="*/ 119 h 540"/>
                  <a:gd name="T108" fmla="*/ 109 w 713"/>
                  <a:gd name="T109" fmla="*/ 174 h 540"/>
                  <a:gd name="T110" fmla="*/ 91 w 713"/>
                  <a:gd name="T111" fmla="*/ 212 h 54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713"/>
                  <a:gd name="T169" fmla="*/ 0 h 540"/>
                  <a:gd name="T170" fmla="*/ 713 w 713"/>
                  <a:gd name="T171" fmla="*/ 540 h 54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713" h="540">
                    <a:moveTo>
                      <a:pt x="72" y="191"/>
                    </a:moveTo>
                    <a:cubicBezTo>
                      <a:pt x="72" y="191"/>
                      <a:pt x="74" y="193"/>
                      <a:pt x="74" y="193"/>
                    </a:cubicBezTo>
                    <a:cubicBezTo>
                      <a:pt x="73" y="194"/>
                      <a:pt x="71" y="194"/>
                      <a:pt x="70" y="196"/>
                    </a:cubicBezTo>
                    <a:cubicBezTo>
                      <a:pt x="68" y="197"/>
                      <a:pt x="69" y="200"/>
                      <a:pt x="67" y="201"/>
                    </a:cubicBezTo>
                    <a:cubicBezTo>
                      <a:pt x="65" y="201"/>
                      <a:pt x="64" y="198"/>
                      <a:pt x="63" y="199"/>
                    </a:cubicBezTo>
                    <a:cubicBezTo>
                      <a:pt x="59" y="200"/>
                      <a:pt x="57" y="203"/>
                      <a:pt x="55" y="206"/>
                    </a:cubicBezTo>
                    <a:cubicBezTo>
                      <a:pt x="53" y="207"/>
                      <a:pt x="54" y="211"/>
                      <a:pt x="52" y="212"/>
                    </a:cubicBezTo>
                    <a:cubicBezTo>
                      <a:pt x="49" y="213"/>
                      <a:pt x="45" y="211"/>
                      <a:pt x="41" y="212"/>
                    </a:cubicBezTo>
                    <a:cubicBezTo>
                      <a:pt x="39" y="212"/>
                      <a:pt x="37" y="212"/>
                      <a:pt x="36" y="213"/>
                    </a:cubicBezTo>
                    <a:cubicBezTo>
                      <a:pt x="33" y="216"/>
                      <a:pt x="35" y="220"/>
                      <a:pt x="32" y="223"/>
                    </a:cubicBezTo>
                    <a:cubicBezTo>
                      <a:pt x="30" y="225"/>
                      <a:pt x="26" y="226"/>
                      <a:pt x="23" y="225"/>
                    </a:cubicBezTo>
                    <a:cubicBezTo>
                      <a:pt x="22" y="225"/>
                      <a:pt x="24" y="221"/>
                      <a:pt x="22" y="220"/>
                    </a:cubicBezTo>
                    <a:cubicBezTo>
                      <a:pt x="20" y="220"/>
                      <a:pt x="19" y="223"/>
                      <a:pt x="18" y="224"/>
                    </a:cubicBezTo>
                    <a:cubicBezTo>
                      <a:pt x="16" y="224"/>
                      <a:pt x="14" y="222"/>
                      <a:pt x="13" y="223"/>
                    </a:cubicBezTo>
                    <a:cubicBezTo>
                      <a:pt x="11" y="224"/>
                      <a:pt x="9" y="226"/>
                      <a:pt x="7" y="227"/>
                    </a:cubicBezTo>
                    <a:cubicBezTo>
                      <a:pt x="5" y="228"/>
                      <a:pt x="2" y="228"/>
                      <a:pt x="1" y="230"/>
                    </a:cubicBezTo>
                    <a:cubicBezTo>
                      <a:pt x="0" y="232"/>
                      <a:pt x="1" y="236"/>
                      <a:pt x="1" y="239"/>
                    </a:cubicBezTo>
                    <a:cubicBezTo>
                      <a:pt x="1" y="240"/>
                      <a:pt x="3" y="243"/>
                      <a:pt x="3" y="245"/>
                    </a:cubicBezTo>
                    <a:cubicBezTo>
                      <a:pt x="3" y="246"/>
                      <a:pt x="3" y="247"/>
                      <a:pt x="2" y="248"/>
                    </a:cubicBezTo>
                    <a:cubicBezTo>
                      <a:pt x="2" y="250"/>
                      <a:pt x="1" y="253"/>
                      <a:pt x="2" y="253"/>
                    </a:cubicBezTo>
                    <a:cubicBezTo>
                      <a:pt x="5" y="253"/>
                      <a:pt x="8" y="249"/>
                      <a:pt x="11" y="249"/>
                    </a:cubicBezTo>
                    <a:cubicBezTo>
                      <a:pt x="14" y="250"/>
                      <a:pt x="16" y="254"/>
                      <a:pt x="17" y="256"/>
                    </a:cubicBezTo>
                    <a:cubicBezTo>
                      <a:pt x="19" y="260"/>
                      <a:pt x="22" y="264"/>
                      <a:pt x="22" y="269"/>
                    </a:cubicBezTo>
                    <a:cubicBezTo>
                      <a:pt x="22" y="271"/>
                      <a:pt x="18" y="271"/>
                      <a:pt x="17" y="272"/>
                    </a:cubicBezTo>
                    <a:cubicBezTo>
                      <a:pt x="16" y="274"/>
                      <a:pt x="15" y="275"/>
                      <a:pt x="15" y="276"/>
                    </a:cubicBezTo>
                    <a:cubicBezTo>
                      <a:pt x="15" y="277"/>
                      <a:pt x="15" y="278"/>
                      <a:pt x="16" y="278"/>
                    </a:cubicBezTo>
                    <a:cubicBezTo>
                      <a:pt x="18" y="279"/>
                      <a:pt x="20" y="280"/>
                      <a:pt x="22" y="281"/>
                    </a:cubicBezTo>
                    <a:cubicBezTo>
                      <a:pt x="23" y="281"/>
                      <a:pt x="24" y="279"/>
                      <a:pt x="25" y="279"/>
                    </a:cubicBezTo>
                    <a:cubicBezTo>
                      <a:pt x="29" y="282"/>
                      <a:pt x="32" y="285"/>
                      <a:pt x="34" y="289"/>
                    </a:cubicBezTo>
                    <a:cubicBezTo>
                      <a:pt x="35" y="290"/>
                      <a:pt x="33" y="293"/>
                      <a:pt x="34" y="295"/>
                    </a:cubicBezTo>
                    <a:cubicBezTo>
                      <a:pt x="34" y="296"/>
                      <a:pt x="35" y="298"/>
                      <a:pt x="36" y="299"/>
                    </a:cubicBezTo>
                    <a:cubicBezTo>
                      <a:pt x="39" y="300"/>
                      <a:pt x="42" y="298"/>
                      <a:pt x="45" y="299"/>
                    </a:cubicBezTo>
                    <a:cubicBezTo>
                      <a:pt x="46" y="300"/>
                      <a:pt x="45" y="303"/>
                      <a:pt x="46" y="304"/>
                    </a:cubicBezTo>
                    <a:cubicBezTo>
                      <a:pt x="49" y="305"/>
                      <a:pt x="52" y="305"/>
                      <a:pt x="55" y="305"/>
                    </a:cubicBezTo>
                    <a:cubicBezTo>
                      <a:pt x="57" y="305"/>
                      <a:pt x="59" y="303"/>
                      <a:pt x="61" y="304"/>
                    </a:cubicBezTo>
                    <a:cubicBezTo>
                      <a:pt x="63" y="306"/>
                      <a:pt x="62" y="310"/>
                      <a:pt x="64" y="312"/>
                    </a:cubicBezTo>
                    <a:cubicBezTo>
                      <a:pt x="66" y="315"/>
                      <a:pt x="69" y="316"/>
                      <a:pt x="71" y="319"/>
                    </a:cubicBezTo>
                    <a:cubicBezTo>
                      <a:pt x="72" y="321"/>
                      <a:pt x="74" y="322"/>
                      <a:pt x="74" y="325"/>
                    </a:cubicBezTo>
                    <a:cubicBezTo>
                      <a:pt x="73" y="326"/>
                      <a:pt x="69" y="323"/>
                      <a:pt x="69" y="325"/>
                    </a:cubicBezTo>
                    <a:cubicBezTo>
                      <a:pt x="69" y="328"/>
                      <a:pt x="71" y="331"/>
                      <a:pt x="73" y="334"/>
                    </a:cubicBezTo>
                    <a:cubicBezTo>
                      <a:pt x="74" y="336"/>
                      <a:pt x="77" y="337"/>
                      <a:pt x="79" y="339"/>
                    </a:cubicBezTo>
                    <a:cubicBezTo>
                      <a:pt x="82" y="342"/>
                      <a:pt x="86" y="345"/>
                      <a:pt x="86" y="348"/>
                    </a:cubicBezTo>
                    <a:cubicBezTo>
                      <a:pt x="86" y="352"/>
                      <a:pt x="81" y="354"/>
                      <a:pt x="78" y="355"/>
                    </a:cubicBezTo>
                    <a:cubicBezTo>
                      <a:pt x="76" y="355"/>
                      <a:pt x="75" y="353"/>
                      <a:pt x="74" y="352"/>
                    </a:cubicBezTo>
                    <a:cubicBezTo>
                      <a:pt x="74" y="351"/>
                      <a:pt x="75" y="349"/>
                      <a:pt x="74" y="349"/>
                    </a:cubicBezTo>
                    <a:cubicBezTo>
                      <a:pt x="73" y="349"/>
                      <a:pt x="72" y="351"/>
                      <a:pt x="71" y="352"/>
                    </a:cubicBezTo>
                    <a:cubicBezTo>
                      <a:pt x="70" y="353"/>
                      <a:pt x="70" y="354"/>
                      <a:pt x="70" y="355"/>
                    </a:cubicBezTo>
                    <a:cubicBezTo>
                      <a:pt x="71" y="358"/>
                      <a:pt x="73" y="361"/>
                      <a:pt x="74" y="364"/>
                    </a:cubicBezTo>
                    <a:cubicBezTo>
                      <a:pt x="75" y="366"/>
                      <a:pt x="75" y="369"/>
                      <a:pt x="77" y="370"/>
                    </a:cubicBezTo>
                    <a:cubicBezTo>
                      <a:pt x="78" y="371"/>
                      <a:pt x="80" y="369"/>
                      <a:pt x="81" y="370"/>
                    </a:cubicBezTo>
                    <a:cubicBezTo>
                      <a:pt x="84" y="372"/>
                      <a:pt x="84" y="375"/>
                      <a:pt x="87" y="377"/>
                    </a:cubicBezTo>
                    <a:cubicBezTo>
                      <a:pt x="88" y="378"/>
                      <a:pt x="90" y="377"/>
                      <a:pt x="92" y="377"/>
                    </a:cubicBezTo>
                    <a:cubicBezTo>
                      <a:pt x="95" y="379"/>
                      <a:pt x="98" y="382"/>
                      <a:pt x="101" y="384"/>
                    </a:cubicBezTo>
                    <a:cubicBezTo>
                      <a:pt x="103" y="385"/>
                      <a:pt x="104" y="386"/>
                      <a:pt x="106" y="387"/>
                    </a:cubicBezTo>
                    <a:cubicBezTo>
                      <a:pt x="107" y="388"/>
                      <a:pt x="108" y="391"/>
                      <a:pt x="110" y="390"/>
                    </a:cubicBezTo>
                    <a:cubicBezTo>
                      <a:pt x="111" y="390"/>
                      <a:pt x="109" y="387"/>
                      <a:pt x="110" y="386"/>
                    </a:cubicBezTo>
                    <a:cubicBezTo>
                      <a:pt x="111" y="385"/>
                      <a:pt x="113" y="386"/>
                      <a:pt x="114" y="386"/>
                    </a:cubicBezTo>
                    <a:cubicBezTo>
                      <a:pt x="116" y="387"/>
                      <a:pt x="119" y="388"/>
                      <a:pt x="122" y="389"/>
                    </a:cubicBezTo>
                    <a:cubicBezTo>
                      <a:pt x="125" y="391"/>
                      <a:pt x="129" y="394"/>
                      <a:pt x="132" y="396"/>
                    </a:cubicBezTo>
                    <a:cubicBezTo>
                      <a:pt x="134" y="398"/>
                      <a:pt x="135" y="402"/>
                      <a:pt x="138" y="403"/>
                    </a:cubicBezTo>
                    <a:cubicBezTo>
                      <a:pt x="140" y="403"/>
                      <a:pt x="140" y="399"/>
                      <a:pt x="141" y="399"/>
                    </a:cubicBezTo>
                    <a:cubicBezTo>
                      <a:pt x="142" y="398"/>
                      <a:pt x="144" y="398"/>
                      <a:pt x="145" y="399"/>
                    </a:cubicBezTo>
                    <a:cubicBezTo>
                      <a:pt x="146" y="401"/>
                      <a:pt x="144" y="403"/>
                      <a:pt x="145" y="405"/>
                    </a:cubicBezTo>
                    <a:cubicBezTo>
                      <a:pt x="145" y="407"/>
                      <a:pt x="146" y="408"/>
                      <a:pt x="147" y="409"/>
                    </a:cubicBezTo>
                    <a:cubicBezTo>
                      <a:pt x="150" y="410"/>
                      <a:pt x="155" y="409"/>
                      <a:pt x="158" y="410"/>
                    </a:cubicBezTo>
                    <a:cubicBezTo>
                      <a:pt x="159" y="411"/>
                      <a:pt x="157" y="414"/>
                      <a:pt x="158" y="415"/>
                    </a:cubicBezTo>
                    <a:cubicBezTo>
                      <a:pt x="159" y="416"/>
                      <a:pt x="162" y="415"/>
                      <a:pt x="164" y="416"/>
                    </a:cubicBezTo>
                    <a:cubicBezTo>
                      <a:pt x="166" y="417"/>
                      <a:pt x="166" y="420"/>
                      <a:pt x="168" y="421"/>
                    </a:cubicBezTo>
                    <a:cubicBezTo>
                      <a:pt x="169" y="422"/>
                      <a:pt x="171" y="419"/>
                      <a:pt x="172" y="420"/>
                    </a:cubicBezTo>
                    <a:cubicBezTo>
                      <a:pt x="173" y="420"/>
                      <a:pt x="173" y="423"/>
                      <a:pt x="175" y="423"/>
                    </a:cubicBezTo>
                    <a:cubicBezTo>
                      <a:pt x="176" y="423"/>
                      <a:pt x="177" y="420"/>
                      <a:pt x="179" y="420"/>
                    </a:cubicBezTo>
                    <a:cubicBezTo>
                      <a:pt x="181" y="420"/>
                      <a:pt x="181" y="423"/>
                      <a:pt x="183" y="424"/>
                    </a:cubicBezTo>
                    <a:cubicBezTo>
                      <a:pt x="184" y="425"/>
                      <a:pt x="186" y="426"/>
                      <a:pt x="187" y="426"/>
                    </a:cubicBezTo>
                    <a:cubicBezTo>
                      <a:pt x="189" y="426"/>
                      <a:pt x="191" y="424"/>
                      <a:pt x="193" y="423"/>
                    </a:cubicBezTo>
                    <a:cubicBezTo>
                      <a:pt x="194" y="423"/>
                      <a:pt x="195" y="424"/>
                      <a:pt x="196" y="424"/>
                    </a:cubicBezTo>
                    <a:cubicBezTo>
                      <a:pt x="198" y="422"/>
                      <a:pt x="199" y="420"/>
                      <a:pt x="201" y="419"/>
                    </a:cubicBezTo>
                    <a:cubicBezTo>
                      <a:pt x="202" y="419"/>
                      <a:pt x="204" y="418"/>
                      <a:pt x="205" y="419"/>
                    </a:cubicBezTo>
                    <a:cubicBezTo>
                      <a:pt x="206" y="421"/>
                      <a:pt x="205" y="424"/>
                      <a:pt x="205" y="426"/>
                    </a:cubicBezTo>
                    <a:cubicBezTo>
                      <a:pt x="205" y="429"/>
                      <a:pt x="206" y="431"/>
                      <a:pt x="206" y="433"/>
                    </a:cubicBezTo>
                    <a:cubicBezTo>
                      <a:pt x="208" y="431"/>
                      <a:pt x="210" y="427"/>
                      <a:pt x="210" y="425"/>
                    </a:cubicBezTo>
                    <a:cubicBezTo>
                      <a:pt x="211" y="423"/>
                      <a:pt x="210" y="422"/>
                      <a:pt x="211" y="420"/>
                    </a:cubicBezTo>
                    <a:cubicBezTo>
                      <a:pt x="212" y="419"/>
                      <a:pt x="214" y="418"/>
                      <a:pt x="215" y="417"/>
                    </a:cubicBezTo>
                    <a:cubicBezTo>
                      <a:pt x="217" y="417"/>
                      <a:pt x="218" y="418"/>
                      <a:pt x="219" y="418"/>
                    </a:cubicBezTo>
                    <a:cubicBezTo>
                      <a:pt x="221" y="418"/>
                      <a:pt x="222" y="416"/>
                      <a:pt x="223" y="417"/>
                    </a:cubicBezTo>
                    <a:cubicBezTo>
                      <a:pt x="225" y="417"/>
                      <a:pt x="226" y="419"/>
                      <a:pt x="227" y="420"/>
                    </a:cubicBezTo>
                    <a:cubicBezTo>
                      <a:pt x="229" y="421"/>
                      <a:pt x="231" y="421"/>
                      <a:pt x="234" y="421"/>
                    </a:cubicBezTo>
                    <a:cubicBezTo>
                      <a:pt x="235" y="421"/>
                      <a:pt x="237" y="420"/>
                      <a:pt x="238" y="420"/>
                    </a:cubicBezTo>
                    <a:cubicBezTo>
                      <a:pt x="239" y="421"/>
                      <a:pt x="239" y="423"/>
                      <a:pt x="239" y="424"/>
                    </a:cubicBezTo>
                    <a:cubicBezTo>
                      <a:pt x="242" y="424"/>
                      <a:pt x="244" y="423"/>
                      <a:pt x="247" y="423"/>
                    </a:cubicBezTo>
                    <a:cubicBezTo>
                      <a:pt x="249" y="422"/>
                      <a:pt x="252" y="424"/>
                      <a:pt x="253" y="423"/>
                    </a:cubicBezTo>
                    <a:cubicBezTo>
                      <a:pt x="254" y="422"/>
                      <a:pt x="251" y="419"/>
                      <a:pt x="252" y="418"/>
                    </a:cubicBezTo>
                    <a:cubicBezTo>
                      <a:pt x="253" y="416"/>
                      <a:pt x="256" y="416"/>
                      <a:pt x="258" y="414"/>
                    </a:cubicBezTo>
                    <a:cubicBezTo>
                      <a:pt x="259" y="413"/>
                      <a:pt x="258" y="410"/>
                      <a:pt x="259" y="409"/>
                    </a:cubicBezTo>
                    <a:cubicBezTo>
                      <a:pt x="262" y="407"/>
                      <a:pt x="266" y="409"/>
                      <a:pt x="269" y="408"/>
                    </a:cubicBezTo>
                    <a:cubicBezTo>
                      <a:pt x="270" y="407"/>
                      <a:pt x="268" y="405"/>
                      <a:pt x="268" y="404"/>
                    </a:cubicBezTo>
                    <a:cubicBezTo>
                      <a:pt x="270" y="402"/>
                      <a:pt x="273" y="401"/>
                      <a:pt x="275" y="401"/>
                    </a:cubicBezTo>
                    <a:cubicBezTo>
                      <a:pt x="278" y="401"/>
                      <a:pt x="280" y="404"/>
                      <a:pt x="283" y="404"/>
                    </a:cubicBezTo>
                    <a:cubicBezTo>
                      <a:pt x="284" y="405"/>
                      <a:pt x="284" y="403"/>
                      <a:pt x="285" y="403"/>
                    </a:cubicBezTo>
                    <a:cubicBezTo>
                      <a:pt x="287" y="401"/>
                      <a:pt x="289" y="399"/>
                      <a:pt x="292" y="398"/>
                    </a:cubicBezTo>
                    <a:cubicBezTo>
                      <a:pt x="294" y="398"/>
                      <a:pt x="296" y="400"/>
                      <a:pt x="297" y="401"/>
                    </a:cubicBezTo>
                    <a:cubicBezTo>
                      <a:pt x="298" y="403"/>
                      <a:pt x="300" y="405"/>
                      <a:pt x="300" y="408"/>
                    </a:cubicBezTo>
                    <a:cubicBezTo>
                      <a:pt x="299" y="410"/>
                      <a:pt x="295" y="411"/>
                      <a:pt x="295" y="414"/>
                    </a:cubicBezTo>
                    <a:cubicBezTo>
                      <a:pt x="295" y="415"/>
                      <a:pt x="298" y="413"/>
                      <a:pt x="300" y="414"/>
                    </a:cubicBezTo>
                    <a:cubicBezTo>
                      <a:pt x="301" y="414"/>
                      <a:pt x="302" y="416"/>
                      <a:pt x="303" y="416"/>
                    </a:cubicBezTo>
                    <a:cubicBezTo>
                      <a:pt x="305" y="417"/>
                      <a:pt x="308" y="415"/>
                      <a:pt x="310" y="416"/>
                    </a:cubicBezTo>
                    <a:cubicBezTo>
                      <a:pt x="311" y="416"/>
                      <a:pt x="311" y="418"/>
                      <a:pt x="312" y="419"/>
                    </a:cubicBezTo>
                    <a:cubicBezTo>
                      <a:pt x="312" y="418"/>
                      <a:pt x="312" y="414"/>
                      <a:pt x="313" y="414"/>
                    </a:cubicBezTo>
                    <a:cubicBezTo>
                      <a:pt x="316" y="414"/>
                      <a:pt x="318" y="417"/>
                      <a:pt x="320" y="419"/>
                    </a:cubicBezTo>
                    <a:cubicBezTo>
                      <a:pt x="321" y="422"/>
                      <a:pt x="320" y="426"/>
                      <a:pt x="322" y="428"/>
                    </a:cubicBezTo>
                    <a:cubicBezTo>
                      <a:pt x="323" y="429"/>
                      <a:pt x="326" y="427"/>
                      <a:pt x="326" y="428"/>
                    </a:cubicBezTo>
                    <a:cubicBezTo>
                      <a:pt x="328" y="432"/>
                      <a:pt x="327" y="437"/>
                      <a:pt x="328" y="442"/>
                    </a:cubicBezTo>
                    <a:cubicBezTo>
                      <a:pt x="328" y="444"/>
                      <a:pt x="330" y="446"/>
                      <a:pt x="330" y="448"/>
                    </a:cubicBezTo>
                    <a:cubicBezTo>
                      <a:pt x="329" y="449"/>
                      <a:pt x="327" y="448"/>
                      <a:pt x="327" y="448"/>
                    </a:cubicBezTo>
                    <a:cubicBezTo>
                      <a:pt x="327" y="451"/>
                      <a:pt x="330" y="452"/>
                      <a:pt x="329" y="454"/>
                    </a:cubicBezTo>
                    <a:cubicBezTo>
                      <a:pt x="328" y="458"/>
                      <a:pt x="324" y="459"/>
                      <a:pt x="322" y="462"/>
                    </a:cubicBezTo>
                    <a:cubicBezTo>
                      <a:pt x="320" y="467"/>
                      <a:pt x="316" y="469"/>
                      <a:pt x="316" y="473"/>
                    </a:cubicBezTo>
                    <a:cubicBezTo>
                      <a:pt x="315" y="476"/>
                      <a:pt x="320" y="475"/>
                      <a:pt x="321" y="478"/>
                    </a:cubicBezTo>
                    <a:cubicBezTo>
                      <a:pt x="321" y="480"/>
                      <a:pt x="317" y="480"/>
                      <a:pt x="318" y="482"/>
                    </a:cubicBezTo>
                    <a:cubicBezTo>
                      <a:pt x="318" y="484"/>
                      <a:pt x="320" y="485"/>
                      <a:pt x="321" y="485"/>
                    </a:cubicBezTo>
                    <a:cubicBezTo>
                      <a:pt x="323" y="484"/>
                      <a:pt x="324" y="481"/>
                      <a:pt x="327" y="480"/>
                    </a:cubicBezTo>
                    <a:cubicBezTo>
                      <a:pt x="330" y="479"/>
                      <a:pt x="334" y="480"/>
                      <a:pt x="337" y="479"/>
                    </a:cubicBezTo>
                    <a:cubicBezTo>
                      <a:pt x="339" y="480"/>
                      <a:pt x="334" y="481"/>
                      <a:pt x="334" y="483"/>
                    </a:cubicBezTo>
                    <a:cubicBezTo>
                      <a:pt x="333" y="487"/>
                      <a:pt x="333" y="491"/>
                      <a:pt x="335" y="494"/>
                    </a:cubicBezTo>
                    <a:cubicBezTo>
                      <a:pt x="337" y="496"/>
                      <a:pt x="341" y="495"/>
                      <a:pt x="343" y="497"/>
                    </a:cubicBezTo>
                    <a:cubicBezTo>
                      <a:pt x="344" y="498"/>
                      <a:pt x="340" y="498"/>
                      <a:pt x="340" y="499"/>
                    </a:cubicBezTo>
                    <a:cubicBezTo>
                      <a:pt x="340" y="501"/>
                      <a:pt x="343" y="502"/>
                      <a:pt x="342" y="504"/>
                    </a:cubicBezTo>
                    <a:cubicBezTo>
                      <a:pt x="342" y="506"/>
                      <a:pt x="338" y="509"/>
                      <a:pt x="340" y="511"/>
                    </a:cubicBezTo>
                    <a:cubicBezTo>
                      <a:pt x="343" y="513"/>
                      <a:pt x="348" y="509"/>
                      <a:pt x="351" y="511"/>
                    </a:cubicBezTo>
                    <a:cubicBezTo>
                      <a:pt x="352" y="512"/>
                      <a:pt x="350" y="516"/>
                      <a:pt x="351" y="517"/>
                    </a:cubicBezTo>
                    <a:cubicBezTo>
                      <a:pt x="352" y="518"/>
                      <a:pt x="354" y="517"/>
                      <a:pt x="355" y="517"/>
                    </a:cubicBezTo>
                    <a:cubicBezTo>
                      <a:pt x="359" y="516"/>
                      <a:pt x="362" y="514"/>
                      <a:pt x="366" y="515"/>
                    </a:cubicBezTo>
                    <a:cubicBezTo>
                      <a:pt x="367" y="515"/>
                      <a:pt x="366" y="516"/>
                      <a:pt x="366" y="517"/>
                    </a:cubicBezTo>
                    <a:cubicBezTo>
                      <a:pt x="367" y="518"/>
                      <a:pt x="366" y="520"/>
                      <a:pt x="367" y="521"/>
                    </a:cubicBezTo>
                    <a:cubicBezTo>
                      <a:pt x="368" y="522"/>
                      <a:pt x="369" y="522"/>
                      <a:pt x="370" y="522"/>
                    </a:cubicBezTo>
                    <a:cubicBezTo>
                      <a:pt x="371" y="522"/>
                      <a:pt x="373" y="522"/>
                      <a:pt x="374" y="522"/>
                    </a:cubicBezTo>
                    <a:cubicBezTo>
                      <a:pt x="374" y="521"/>
                      <a:pt x="376" y="521"/>
                      <a:pt x="376" y="521"/>
                    </a:cubicBezTo>
                    <a:cubicBezTo>
                      <a:pt x="376" y="519"/>
                      <a:pt x="375" y="518"/>
                      <a:pt x="374" y="516"/>
                    </a:cubicBezTo>
                    <a:cubicBezTo>
                      <a:pt x="374" y="515"/>
                      <a:pt x="373" y="513"/>
                      <a:pt x="372" y="511"/>
                    </a:cubicBezTo>
                    <a:cubicBezTo>
                      <a:pt x="371" y="510"/>
                      <a:pt x="371" y="508"/>
                      <a:pt x="371" y="507"/>
                    </a:cubicBezTo>
                    <a:cubicBezTo>
                      <a:pt x="371" y="506"/>
                      <a:pt x="372" y="505"/>
                      <a:pt x="373" y="504"/>
                    </a:cubicBezTo>
                    <a:cubicBezTo>
                      <a:pt x="374" y="504"/>
                      <a:pt x="375" y="505"/>
                      <a:pt x="376" y="506"/>
                    </a:cubicBezTo>
                    <a:cubicBezTo>
                      <a:pt x="377" y="506"/>
                      <a:pt x="378" y="506"/>
                      <a:pt x="379" y="506"/>
                    </a:cubicBezTo>
                    <a:cubicBezTo>
                      <a:pt x="380" y="504"/>
                      <a:pt x="380" y="503"/>
                      <a:pt x="381" y="502"/>
                    </a:cubicBezTo>
                    <a:cubicBezTo>
                      <a:pt x="382" y="501"/>
                      <a:pt x="384" y="501"/>
                      <a:pt x="385" y="502"/>
                    </a:cubicBezTo>
                    <a:cubicBezTo>
                      <a:pt x="386" y="503"/>
                      <a:pt x="385" y="505"/>
                      <a:pt x="386" y="506"/>
                    </a:cubicBezTo>
                    <a:cubicBezTo>
                      <a:pt x="387" y="506"/>
                      <a:pt x="388" y="506"/>
                      <a:pt x="390" y="506"/>
                    </a:cubicBezTo>
                    <a:cubicBezTo>
                      <a:pt x="391" y="505"/>
                      <a:pt x="391" y="502"/>
                      <a:pt x="393" y="502"/>
                    </a:cubicBezTo>
                    <a:cubicBezTo>
                      <a:pt x="394" y="502"/>
                      <a:pt x="394" y="505"/>
                      <a:pt x="395" y="505"/>
                    </a:cubicBezTo>
                    <a:cubicBezTo>
                      <a:pt x="396" y="505"/>
                      <a:pt x="397" y="503"/>
                      <a:pt x="398" y="502"/>
                    </a:cubicBezTo>
                    <a:cubicBezTo>
                      <a:pt x="399" y="502"/>
                      <a:pt x="400" y="504"/>
                      <a:pt x="401" y="504"/>
                    </a:cubicBezTo>
                    <a:cubicBezTo>
                      <a:pt x="402" y="503"/>
                      <a:pt x="401" y="501"/>
                      <a:pt x="403" y="501"/>
                    </a:cubicBezTo>
                    <a:cubicBezTo>
                      <a:pt x="404" y="500"/>
                      <a:pt x="405" y="503"/>
                      <a:pt x="407" y="502"/>
                    </a:cubicBezTo>
                    <a:cubicBezTo>
                      <a:pt x="408" y="502"/>
                      <a:pt x="407" y="500"/>
                      <a:pt x="407" y="500"/>
                    </a:cubicBezTo>
                    <a:cubicBezTo>
                      <a:pt x="409" y="498"/>
                      <a:pt x="411" y="496"/>
                      <a:pt x="413" y="494"/>
                    </a:cubicBezTo>
                    <a:cubicBezTo>
                      <a:pt x="415" y="493"/>
                      <a:pt x="417" y="490"/>
                      <a:pt x="419" y="491"/>
                    </a:cubicBezTo>
                    <a:cubicBezTo>
                      <a:pt x="422" y="492"/>
                      <a:pt x="421" y="496"/>
                      <a:pt x="423" y="498"/>
                    </a:cubicBezTo>
                    <a:cubicBezTo>
                      <a:pt x="424" y="498"/>
                      <a:pt x="425" y="497"/>
                      <a:pt x="427" y="497"/>
                    </a:cubicBezTo>
                    <a:cubicBezTo>
                      <a:pt x="428" y="497"/>
                      <a:pt x="429" y="499"/>
                      <a:pt x="431" y="499"/>
                    </a:cubicBezTo>
                    <a:cubicBezTo>
                      <a:pt x="432" y="499"/>
                      <a:pt x="433" y="498"/>
                      <a:pt x="434" y="498"/>
                    </a:cubicBezTo>
                    <a:cubicBezTo>
                      <a:pt x="435" y="498"/>
                      <a:pt x="436" y="500"/>
                      <a:pt x="436" y="501"/>
                    </a:cubicBezTo>
                    <a:cubicBezTo>
                      <a:pt x="436" y="503"/>
                      <a:pt x="433" y="504"/>
                      <a:pt x="433" y="506"/>
                    </a:cubicBezTo>
                    <a:cubicBezTo>
                      <a:pt x="435" y="508"/>
                      <a:pt x="436" y="511"/>
                      <a:pt x="437" y="513"/>
                    </a:cubicBezTo>
                    <a:cubicBezTo>
                      <a:pt x="439" y="513"/>
                      <a:pt x="441" y="515"/>
                      <a:pt x="444" y="516"/>
                    </a:cubicBezTo>
                    <a:cubicBezTo>
                      <a:pt x="446" y="517"/>
                      <a:pt x="449" y="518"/>
                      <a:pt x="451" y="519"/>
                    </a:cubicBezTo>
                    <a:cubicBezTo>
                      <a:pt x="454" y="518"/>
                      <a:pt x="457" y="516"/>
                      <a:pt x="460" y="516"/>
                    </a:cubicBezTo>
                    <a:cubicBezTo>
                      <a:pt x="462" y="516"/>
                      <a:pt x="464" y="518"/>
                      <a:pt x="466" y="518"/>
                    </a:cubicBezTo>
                    <a:cubicBezTo>
                      <a:pt x="468" y="517"/>
                      <a:pt x="469" y="514"/>
                      <a:pt x="471" y="514"/>
                    </a:cubicBezTo>
                    <a:cubicBezTo>
                      <a:pt x="473" y="514"/>
                      <a:pt x="475" y="516"/>
                      <a:pt x="475" y="518"/>
                    </a:cubicBezTo>
                    <a:cubicBezTo>
                      <a:pt x="475" y="519"/>
                      <a:pt x="472" y="518"/>
                      <a:pt x="472" y="520"/>
                    </a:cubicBezTo>
                    <a:cubicBezTo>
                      <a:pt x="471" y="522"/>
                      <a:pt x="471" y="526"/>
                      <a:pt x="472" y="528"/>
                    </a:cubicBezTo>
                    <a:cubicBezTo>
                      <a:pt x="473" y="532"/>
                      <a:pt x="474" y="536"/>
                      <a:pt x="477" y="539"/>
                    </a:cubicBezTo>
                    <a:cubicBezTo>
                      <a:pt x="479" y="540"/>
                      <a:pt x="482" y="539"/>
                      <a:pt x="483" y="538"/>
                    </a:cubicBezTo>
                    <a:cubicBezTo>
                      <a:pt x="485" y="537"/>
                      <a:pt x="486" y="534"/>
                      <a:pt x="485" y="533"/>
                    </a:cubicBezTo>
                    <a:cubicBezTo>
                      <a:pt x="484" y="530"/>
                      <a:pt x="481" y="530"/>
                      <a:pt x="480" y="527"/>
                    </a:cubicBezTo>
                    <a:cubicBezTo>
                      <a:pt x="480" y="525"/>
                      <a:pt x="480" y="522"/>
                      <a:pt x="482" y="521"/>
                    </a:cubicBezTo>
                    <a:cubicBezTo>
                      <a:pt x="483" y="520"/>
                      <a:pt x="485" y="523"/>
                      <a:pt x="486" y="523"/>
                    </a:cubicBezTo>
                    <a:cubicBezTo>
                      <a:pt x="488" y="522"/>
                      <a:pt x="489" y="521"/>
                      <a:pt x="490" y="520"/>
                    </a:cubicBezTo>
                    <a:cubicBezTo>
                      <a:pt x="490" y="520"/>
                      <a:pt x="490" y="518"/>
                      <a:pt x="491" y="518"/>
                    </a:cubicBezTo>
                    <a:cubicBezTo>
                      <a:pt x="492" y="518"/>
                      <a:pt x="493" y="520"/>
                      <a:pt x="494" y="520"/>
                    </a:cubicBezTo>
                    <a:cubicBezTo>
                      <a:pt x="497" y="519"/>
                      <a:pt x="499" y="518"/>
                      <a:pt x="501" y="517"/>
                    </a:cubicBezTo>
                    <a:cubicBezTo>
                      <a:pt x="502" y="517"/>
                      <a:pt x="504" y="516"/>
                      <a:pt x="505" y="515"/>
                    </a:cubicBezTo>
                    <a:cubicBezTo>
                      <a:pt x="507" y="514"/>
                      <a:pt x="508" y="514"/>
                      <a:pt x="510" y="514"/>
                    </a:cubicBezTo>
                    <a:cubicBezTo>
                      <a:pt x="510" y="514"/>
                      <a:pt x="511" y="515"/>
                      <a:pt x="512" y="515"/>
                    </a:cubicBezTo>
                    <a:cubicBezTo>
                      <a:pt x="514" y="514"/>
                      <a:pt x="516" y="512"/>
                      <a:pt x="518" y="511"/>
                    </a:cubicBezTo>
                    <a:cubicBezTo>
                      <a:pt x="519" y="511"/>
                      <a:pt x="522" y="512"/>
                      <a:pt x="522" y="510"/>
                    </a:cubicBezTo>
                    <a:cubicBezTo>
                      <a:pt x="522" y="507"/>
                      <a:pt x="519" y="505"/>
                      <a:pt x="519" y="501"/>
                    </a:cubicBezTo>
                    <a:cubicBezTo>
                      <a:pt x="519" y="500"/>
                      <a:pt x="521" y="502"/>
                      <a:pt x="522" y="501"/>
                    </a:cubicBezTo>
                    <a:cubicBezTo>
                      <a:pt x="522" y="501"/>
                      <a:pt x="521" y="497"/>
                      <a:pt x="522" y="498"/>
                    </a:cubicBezTo>
                    <a:cubicBezTo>
                      <a:pt x="524" y="500"/>
                      <a:pt x="525" y="505"/>
                      <a:pt x="528" y="506"/>
                    </a:cubicBezTo>
                    <a:cubicBezTo>
                      <a:pt x="529" y="507"/>
                      <a:pt x="530" y="504"/>
                      <a:pt x="532" y="503"/>
                    </a:cubicBezTo>
                    <a:cubicBezTo>
                      <a:pt x="534" y="501"/>
                      <a:pt x="537" y="500"/>
                      <a:pt x="539" y="500"/>
                    </a:cubicBezTo>
                    <a:cubicBezTo>
                      <a:pt x="541" y="500"/>
                      <a:pt x="541" y="504"/>
                      <a:pt x="543" y="504"/>
                    </a:cubicBezTo>
                    <a:cubicBezTo>
                      <a:pt x="544" y="504"/>
                      <a:pt x="545" y="501"/>
                      <a:pt x="547" y="501"/>
                    </a:cubicBezTo>
                    <a:cubicBezTo>
                      <a:pt x="550" y="499"/>
                      <a:pt x="554" y="500"/>
                      <a:pt x="557" y="498"/>
                    </a:cubicBezTo>
                    <a:cubicBezTo>
                      <a:pt x="560" y="496"/>
                      <a:pt x="559" y="492"/>
                      <a:pt x="561" y="489"/>
                    </a:cubicBezTo>
                    <a:cubicBezTo>
                      <a:pt x="564" y="485"/>
                      <a:pt x="569" y="482"/>
                      <a:pt x="573" y="478"/>
                    </a:cubicBezTo>
                    <a:cubicBezTo>
                      <a:pt x="576" y="475"/>
                      <a:pt x="579" y="472"/>
                      <a:pt x="582" y="468"/>
                    </a:cubicBezTo>
                    <a:cubicBezTo>
                      <a:pt x="584" y="465"/>
                      <a:pt x="585" y="461"/>
                      <a:pt x="587" y="459"/>
                    </a:cubicBezTo>
                    <a:cubicBezTo>
                      <a:pt x="589" y="458"/>
                      <a:pt x="592" y="460"/>
                      <a:pt x="593" y="459"/>
                    </a:cubicBezTo>
                    <a:cubicBezTo>
                      <a:pt x="594" y="457"/>
                      <a:pt x="593" y="454"/>
                      <a:pt x="592" y="451"/>
                    </a:cubicBezTo>
                    <a:cubicBezTo>
                      <a:pt x="592" y="450"/>
                      <a:pt x="588" y="450"/>
                      <a:pt x="589" y="449"/>
                    </a:cubicBezTo>
                    <a:cubicBezTo>
                      <a:pt x="590" y="445"/>
                      <a:pt x="594" y="443"/>
                      <a:pt x="596" y="440"/>
                    </a:cubicBezTo>
                    <a:cubicBezTo>
                      <a:pt x="598" y="435"/>
                      <a:pt x="599" y="429"/>
                      <a:pt x="602" y="424"/>
                    </a:cubicBezTo>
                    <a:cubicBezTo>
                      <a:pt x="603" y="421"/>
                      <a:pt x="604" y="418"/>
                      <a:pt x="607" y="417"/>
                    </a:cubicBezTo>
                    <a:cubicBezTo>
                      <a:pt x="608" y="416"/>
                      <a:pt x="608" y="420"/>
                      <a:pt x="609" y="420"/>
                    </a:cubicBezTo>
                    <a:cubicBezTo>
                      <a:pt x="611" y="420"/>
                      <a:pt x="611" y="418"/>
                      <a:pt x="611" y="416"/>
                    </a:cubicBezTo>
                    <a:cubicBezTo>
                      <a:pt x="611" y="414"/>
                      <a:pt x="608" y="413"/>
                      <a:pt x="608" y="411"/>
                    </a:cubicBezTo>
                    <a:cubicBezTo>
                      <a:pt x="608" y="410"/>
                      <a:pt x="611" y="410"/>
                      <a:pt x="611" y="409"/>
                    </a:cubicBezTo>
                    <a:cubicBezTo>
                      <a:pt x="611" y="407"/>
                      <a:pt x="608" y="405"/>
                      <a:pt x="609" y="403"/>
                    </a:cubicBezTo>
                    <a:cubicBezTo>
                      <a:pt x="609" y="401"/>
                      <a:pt x="612" y="404"/>
                      <a:pt x="613" y="402"/>
                    </a:cubicBezTo>
                    <a:cubicBezTo>
                      <a:pt x="615" y="400"/>
                      <a:pt x="616" y="397"/>
                      <a:pt x="614" y="394"/>
                    </a:cubicBezTo>
                    <a:cubicBezTo>
                      <a:pt x="614" y="393"/>
                      <a:pt x="610" y="397"/>
                      <a:pt x="610" y="395"/>
                    </a:cubicBezTo>
                    <a:cubicBezTo>
                      <a:pt x="609" y="394"/>
                      <a:pt x="614" y="392"/>
                      <a:pt x="613" y="391"/>
                    </a:cubicBezTo>
                    <a:cubicBezTo>
                      <a:pt x="611" y="388"/>
                      <a:pt x="607" y="386"/>
                      <a:pt x="603" y="386"/>
                    </a:cubicBezTo>
                    <a:cubicBezTo>
                      <a:pt x="602" y="385"/>
                      <a:pt x="601" y="388"/>
                      <a:pt x="600" y="388"/>
                    </a:cubicBezTo>
                    <a:cubicBezTo>
                      <a:pt x="597" y="388"/>
                      <a:pt x="590" y="387"/>
                      <a:pt x="591" y="383"/>
                    </a:cubicBezTo>
                    <a:cubicBezTo>
                      <a:pt x="591" y="380"/>
                      <a:pt x="597" y="386"/>
                      <a:pt x="600" y="384"/>
                    </a:cubicBezTo>
                    <a:cubicBezTo>
                      <a:pt x="603" y="383"/>
                      <a:pt x="604" y="378"/>
                      <a:pt x="607" y="376"/>
                    </a:cubicBezTo>
                    <a:cubicBezTo>
                      <a:pt x="608" y="375"/>
                      <a:pt x="611" y="376"/>
                      <a:pt x="610" y="375"/>
                    </a:cubicBezTo>
                    <a:cubicBezTo>
                      <a:pt x="609" y="372"/>
                      <a:pt x="606" y="370"/>
                      <a:pt x="604" y="367"/>
                    </a:cubicBezTo>
                    <a:cubicBezTo>
                      <a:pt x="603" y="366"/>
                      <a:pt x="602" y="366"/>
                      <a:pt x="601" y="365"/>
                    </a:cubicBezTo>
                    <a:cubicBezTo>
                      <a:pt x="599" y="364"/>
                      <a:pt x="597" y="362"/>
                      <a:pt x="595" y="361"/>
                    </a:cubicBezTo>
                    <a:cubicBezTo>
                      <a:pt x="593" y="359"/>
                      <a:pt x="590" y="359"/>
                      <a:pt x="588" y="357"/>
                    </a:cubicBezTo>
                    <a:cubicBezTo>
                      <a:pt x="587" y="356"/>
                      <a:pt x="589" y="355"/>
                      <a:pt x="589" y="355"/>
                    </a:cubicBezTo>
                    <a:cubicBezTo>
                      <a:pt x="593" y="356"/>
                      <a:pt x="595" y="359"/>
                      <a:pt x="598" y="360"/>
                    </a:cubicBezTo>
                    <a:cubicBezTo>
                      <a:pt x="599" y="361"/>
                      <a:pt x="602" y="360"/>
                      <a:pt x="603" y="361"/>
                    </a:cubicBezTo>
                    <a:cubicBezTo>
                      <a:pt x="606" y="362"/>
                      <a:pt x="607" y="365"/>
                      <a:pt x="609" y="365"/>
                    </a:cubicBezTo>
                    <a:cubicBezTo>
                      <a:pt x="610" y="366"/>
                      <a:pt x="612" y="364"/>
                      <a:pt x="612" y="363"/>
                    </a:cubicBezTo>
                    <a:cubicBezTo>
                      <a:pt x="610" y="360"/>
                      <a:pt x="608" y="359"/>
                      <a:pt x="606" y="357"/>
                    </a:cubicBezTo>
                    <a:cubicBezTo>
                      <a:pt x="602" y="355"/>
                      <a:pt x="598" y="353"/>
                      <a:pt x="594" y="351"/>
                    </a:cubicBezTo>
                    <a:cubicBezTo>
                      <a:pt x="593" y="349"/>
                      <a:pt x="592" y="347"/>
                      <a:pt x="592" y="346"/>
                    </a:cubicBezTo>
                    <a:cubicBezTo>
                      <a:pt x="591" y="345"/>
                      <a:pt x="592" y="344"/>
                      <a:pt x="592" y="343"/>
                    </a:cubicBezTo>
                    <a:cubicBezTo>
                      <a:pt x="591" y="341"/>
                      <a:pt x="589" y="340"/>
                      <a:pt x="589" y="338"/>
                    </a:cubicBezTo>
                    <a:cubicBezTo>
                      <a:pt x="587" y="335"/>
                      <a:pt x="587" y="331"/>
                      <a:pt x="585" y="329"/>
                    </a:cubicBezTo>
                    <a:cubicBezTo>
                      <a:pt x="583" y="326"/>
                      <a:pt x="580" y="323"/>
                      <a:pt x="578" y="320"/>
                    </a:cubicBezTo>
                    <a:cubicBezTo>
                      <a:pt x="576" y="319"/>
                      <a:pt x="573" y="318"/>
                      <a:pt x="571" y="316"/>
                    </a:cubicBezTo>
                    <a:cubicBezTo>
                      <a:pt x="570" y="316"/>
                      <a:pt x="568" y="315"/>
                      <a:pt x="567" y="314"/>
                    </a:cubicBezTo>
                    <a:cubicBezTo>
                      <a:pt x="567" y="312"/>
                      <a:pt x="569" y="310"/>
                      <a:pt x="569" y="309"/>
                    </a:cubicBezTo>
                    <a:cubicBezTo>
                      <a:pt x="570" y="307"/>
                      <a:pt x="570" y="304"/>
                      <a:pt x="571" y="303"/>
                    </a:cubicBezTo>
                    <a:cubicBezTo>
                      <a:pt x="573" y="300"/>
                      <a:pt x="577" y="299"/>
                      <a:pt x="578" y="296"/>
                    </a:cubicBezTo>
                    <a:cubicBezTo>
                      <a:pt x="578" y="294"/>
                      <a:pt x="574" y="293"/>
                      <a:pt x="574" y="292"/>
                    </a:cubicBezTo>
                    <a:cubicBezTo>
                      <a:pt x="575" y="290"/>
                      <a:pt x="578" y="290"/>
                      <a:pt x="579" y="290"/>
                    </a:cubicBezTo>
                    <a:cubicBezTo>
                      <a:pt x="581" y="290"/>
                      <a:pt x="582" y="293"/>
                      <a:pt x="583" y="292"/>
                    </a:cubicBezTo>
                    <a:cubicBezTo>
                      <a:pt x="584" y="290"/>
                      <a:pt x="581" y="287"/>
                      <a:pt x="582" y="285"/>
                    </a:cubicBezTo>
                    <a:cubicBezTo>
                      <a:pt x="584" y="283"/>
                      <a:pt x="587" y="282"/>
                      <a:pt x="590" y="281"/>
                    </a:cubicBezTo>
                    <a:cubicBezTo>
                      <a:pt x="591" y="281"/>
                      <a:pt x="591" y="284"/>
                      <a:pt x="592" y="283"/>
                    </a:cubicBezTo>
                    <a:cubicBezTo>
                      <a:pt x="594" y="282"/>
                      <a:pt x="594" y="280"/>
                      <a:pt x="595" y="278"/>
                    </a:cubicBezTo>
                    <a:cubicBezTo>
                      <a:pt x="596" y="278"/>
                      <a:pt x="597" y="278"/>
                      <a:pt x="597" y="278"/>
                    </a:cubicBezTo>
                    <a:cubicBezTo>
                      <a:pt x="598" y="279"/>
                      <a:pt x="597" y="281"/>
                      <a:pt x="599" y="281"/>
                    </a:cubicBezTo>
                    <a:cubicBezTo>
                      <a:pt x="600" y="281"/>
                      <a:pt x="602" y="280"/>
                      <a:pt x="603" y="278"/>
                    </a:cubicBezTo>
                    <a:cubicBezTo>
                      <a:pt x="603" y="277"/>
                      <a:pt x="601" y="276"/>
                      <a:pt x="601" y="274"/>
                    </a:cubicBezTo>
                    <a:cubicBezTo>
                      <a:pt x="601" y="273"/>
                      <a:pt x="602" y="273"/>
                      <a:pt x="602" y="272"/>
                    </a:cubicBezTo>
                    <a:cubicBezTo>
                      <a:pt x="602" y="270"/>
                      <a:pt x="603" y="268"/>
                      <a:pt x="602" y="267"/>
                    </a:cubicBezTo>
                    <a:cubicBezTo>
                      <a:pt x="600" y="266"/>
                      <a:pt x="597" y="268"/>
                      <a:pt x="595" y="268"/>
                    </a:cubicBezTo>
                    <a:cubicBezTo>
                      <a:pt x="593" y="268"/>
                      <a:pt x="590" y="269"/>
                      <a:pt x="588" y="269"/>
                    </a:cubicBezTo>
                    <a:cubicBezTo>
                      <a:pt x="585" y="268"/>
                      <a:pt x="583" y="264"/>
                      <a:pt x="580" y="264"/>
                    </a:cubicBezTo>
                    <a:cubicBezTo>
                      <a:pt x="578" y="263"/>
                      <a:pt x="575" y="263"/>
                      <a:pt x="573" y="265"/>
                    </a:cubicBezTo>
                    <a:cubicBezTo>
                      <a:pt x="570" y="267"/>
                      <a:pt x="570" y="272"/>
                      <a:pt x="567" y="274"/>
                    </a:cubicBezTo>
                    <a:cubicBezTo>
                      <a:pt x="566" y="275"/>
                      <a:pt x="565" y="273"/>
                      <a:pt x="564" y="272"/>
                    </a:cubicBezTo>
                    <a:cubicBezTo>
                      <a:pt x="561" y="271"/>
                      <a:pt x="558" y="271"/>
                      <a:pt x="557" y="269"/>
                    </a:cubicBezTo>
                    <a:cubicBezTo>
                      <a:pt x="556" y="268"/>
                      <a:pt x="557" y="267"/>
                      <a:pt x="557" y="265"/>
                    </a:cubicBezTo>
                    <a:cubicBezTo>
                      <a:pt x="556" y="263"/>
                      <a:pt x="557" y="261"/>
                      <a:pt x="555" y="260"/>
                    </a:cubicBezTo>
                    <a:cubicBezTo>
                      <a:pt x="552" y="259"/>
                      <a:pt x="548" y="261"/>
                      <a:pt x="545" y="260"/>
                    </a:cubicBezTo>
                    <a:cubicBezTo>
                      <a:pt x="542" y="259"/>
                      <a:pt x="538" y="257"/>
                      <a:pt x="537" y="254"/>
                    </a:cubicBezTo>
                    <a:cubicBezTo>
                      <a:pt x="536" y="250"/>
                      <a:pt x="538" y="245"/>
                      <a:pt x="541" y="243"/>
                    </a:cubicBezTo>
                    <a:cubicBezTo>
                      <a:pt x="543" y="241"/>
                      <a:pt x="545" y="245"/>
                      <a:pt x="548" y="246"/>
                    </a:cubicBezTo>
                    <a:cubicBezTo>
                      <a:pt x="550" y="246"/>
                      <a:pt x="553" y="246"/>
                      <a:pt x="555" y="244"/>
                    </a:cubicBezTo>
                    <a:cubicBezTo>
                      <a:pt x="557" y="241"/>
                      <a:pt x="556" y="236"/>
                      <a:pt x="559" y="233"/>
                    </a:cubicBezTo>
                    <a:cubicBezTo>
                      <a:pt x="561" y="230"/>
                      <a:pt x="566" y="229"/>
                      <a:pt x="569" y="225"/>
                    </a:cubicBezTo>
                    <a:cubicBezTo>
                      <a:pt x="571" y="222"/>
                      <a:pt x="571" y="217"/>
                      <a:pt x="574" y="214"/>
                    </a:cubicBezTo>
                    <a:cubicBezTo>
                      <a:pt x="577" y="213"/>
                      <a:pt x="580" y="214"/>
                      <a:pt x="583" y="215"/>
                    </a:cubicBezTo>
                    <a:cubicBezTo>
                      <a:pt x="586" y="216"/>
                      <a:pt x="588" y="219"/>
                      <a:pt x="588" y="222"/>
                    </a:cubicBezTo>
                    <a:cubicBezTo>
                      <a:pt x="589" y="225"/>
                      <a:pt x="588" y="229"/>
                      <a:pt x="586" y="231"/>
                    </a:cubicBezTo>
                    <a:cubicBezTo>
                      <a:pt x="585" y="232"/>
                      <a:pt x="583" y="231"/>
                      <a:pt x="582" y="232"/>
                    </a:cubicBezTo>
                    <a:cubicBezTo>
                      <a:pt x="581" y="234"/>
                      <a:pt x="579" y="238"/>
                      <a:pt x="581" y="240"/>
                    </a:cubicBezTo>
                    <a:cubicBezTo>
                      <a:pt x="582" y="242"/>
                      <a:pt x="586" y="238"/>
                      <a:pt x="586" y="240"/>
                    </a:cubicBezTo>
                    <a:cubicBezTo>
                      <a:pt x="587" y="243"/>
                      <a:pt x="582" y="243"/>
                      <a:pt x="581" y="246"/>
                    </a:cubicBezTo>
                    <a:cubicBezTo>
                      <a:pt x="580" y="247"/>
                      <a:pt x="580" y="250"/>
                      <a:pt x="581" y="250"/>
                    </a:cubicBezTo>
                    <a:cubicBezTo>
                      <a:pt x="585" y="250"/>
                      <a:pt x="588" y="247"/>
                      <a:pt x="591" y="244"/>
                    </a:cubicBezTo>
                    <a:cubicBezTo>
                      <a:pt x="594" y="242"/>
                      <a:pt x="595" y="237"/>
                      <a:pt x="598" y="235"/>
                    </a:cubicBezTo>
                    <a:cubicBezTo>
                      <a:pt x="601" y="233"/>
                      <a:pt x="604" y="233"/>
                      <a:pt x="608" y="232"/>
                    </a:cubicBezTo>
                    <a:cubicBezTo>
                      <a:pt x="610" y="232"/>
                      <a:pt x="613" y="231"/>
                      <a:pt x="616" y="231"/>
                    </a:cubicBezTo>
                    <a:cubicBezTo>
                      <a:pt x="620" y="227"/>
                      <a:pt x="624" y="223"/>
                      <a:pt x="628" y="219"/>
                    </a:cubicBezTo>
                    <a:cubicBezTo>
                      <a:pt x="630" y="217"/>
                      <a:pt x="632" y="217"/>
                      <a:pt x="633" y="215"/>
                    </a:cubicBezTo>
                    <a:cubicBezTo>
                      <a:pt x="635" y="214"/>
                      <a:pt x="637" y="211"/>
                      <a:pt x="637" y="209"/>
                    </a:cubicBezTo>
                    <a:cubicBezTo>
                      <a:pt x="638" y="206"/>
                      <a:pt x="636" y="204"/>
                      <a:pt x="637" y="202"/>
                    </a:cubicBezTo>
                    <a:cubicBezTo>
                      <a:pt x="638" y="200"/>
                      <a:pt x="640" y="200"/>
                      <a:pt x="642" y="200"/>
                    </a:cubicBezTo>
                    <a:cubicBezTo>
                      <a:pt x="643" y="200"/>
                      <a:pt x="643" y="202"/>
                      <a:pt x="643" y="203"/>
                    </a:cubicBezTo>
                    <a:cubicBezTo>
                      <a:pt x="645" y="204"/>
                      <a:pt x="646" y="205"/>
                      <a:pt x="648" y="205"/>
                    </a:cubicBezTo>
                    <a:cubicBezTo>
                      <a:pt x="650" y="205"/>
                      <a:pt x="653" y="206"/>
                      <a:pt x="655" y="205"/>
                    </a:cubicBezTo>
                    <a:cubicBezTo>
                      <a:pt x="656" y="204"/>
                      <a:pt x="655" y="202"/>
                      <a:pt x="655" y="201"/>
                    </a:cubicBezTo>
                    <a:cubicBezTo>
                      <a:pt x="655" y="200"/>
                      <a:pt x="654" y="198"/>
                      <a:pt x="655" y="197"/>
                    </a:cubicBezTo>
                    <a:cubicBezTo>
                      <a:pt x="657" y="196"/>
                      <a:pt x="661" y="199"/>
                      <a:pt x="663" y="197"/>
                    </a:cubicBezTo>
                    <a:cubicBezTo>
                      <a:pt x="667" y="195"/>
                      <a:pt x="667" y="190"/>
                      <a:pt x="669" y="186"/>
                    </a:cubicBezTo>
                    <a:cubicBezTo>
                      <a:pt x="670" y="186"/>
                      <a:pt x="672" y="187"/>
                      <a:pt x="672" y="186"/>
                    </a:cubicBezTo>
                    <a:cubicBezTo>
                      <a:pt x="673" y="184"/>
                      <a:pt x="672" y="181"/>
                      <a:pt x="673" y="179"/>
                    </a:cubicBezTo>
                    <a:cubicBezTo>
                      <a:pt x="674" y="178"/>
                      <a:pt x="676" y="178"/>
                      <a:pt x="677" y="179"/>
                    </a:cubicBezTo>
                    <a:cubicBezTo>
                      <a:pt x="678" y="181"/>
                      <a:pt x="678" y="183"/>
                      <a:pt x="678" y="185"/>
                    </a:cubicBezTo>
                    <a:cubicBezTo>
                      <a:pt x="679" y="186"/>
                      <a:pt x="680" y="187"/>
                      <a:pt x="681" y="189"/>
                    </a:cubicBezTo>
                    <a:cubicBezTo>
                      <a:pt x="681" y="187"/>
                      <a:pt x="681" y="185"/>
                      <a:pt x="682" y="184"/>
                    </a:cubicBezTo>
                    <a:cubicBezTo>
                      <a:pt x="683" y="182"/>
                      <a:pt x="686" y="183"/>
                      <a:pt x="686" y="181"/>
                    </a:cubicBezTo>
                    <a:cubicBezTo>
                      <a:pt x="687" y="175"/>
                      <a:pt x="688" y="169"/>
                      <a:pt x="686" y="164"/>
                    </a:cubicBezTo>
                    <a:cubicBezTo>
                      <a:pt x="686" y="160"/>
                      <a:pt x="682" y="156"/>
                      <a:pt x="681" y="152"/>
                    </a:cubicBezTo>
                    <a:cubicBezTo>
                      <a:pt x="680" y="152"/>
                      <a:pt x="679" y="150"/>
                      <a:pt x="680" y="150"/>
                    </a:cubicBezTo>
                    <a:cubicBezTo>
                      <a:pt x="681" y="148"/>
                      <a:pt x="684" y="148"/>
                      <a:pt x="686" y="147"/>
                    </a:cubicBezTo>
                    <a:cubicBezTo>
                      <a:pt x="687" y="145"/>
                      <a:pt x="687" y="142"/>
                      <a:pt x="689" y="141"/>
                    </a:cubicBezTo>
                    <a:cubicBezTo>
                      <a:pt x="692" y="141"/>
                      <a:pt x="695" y="144"/>
                      <a:pt x="699" y="145"/>
                    </a:cubicBezTo>
                    <a:cubicBezTo>
                      <a:pt x="700" y="145"/>
                      <a:pt x="702" y="145"/>
                      <a:pt x="703" y="144"/>
                    </a:cubicBezTo>
                    <a:cubicBezTo>
                      <a:pt x="705" y="143"/>
                      <a:pt x="704" y="140"/>
                      <a:pt x="704" y="139"/>
                    </a:cubicBezTo>
                    <a:cubicBezTo>
                      <a:pt x="705" y="137"/>
                      <a:pt x="707" y="137"/>
                      <a:pt x="707" y="136"/>
                    </a:cubicBezTo>
                    <a:cubicBezTo>
                      <a:pt x="708" y="134"/>
                      <a:pt x="708" y="131"/>
                      <a:pt x="708" y="129"/>
                    </a:cubicBezTo>
                    <a:cubicBezTo>
                      <a:pt x="709" y="126"/>
                      <a:pt x="709" y="124"/>
                      <a:pt x="709" y="121"/>
                    </a:cubicBezTo>
                    <a:cubicBezTo>
                      <a:pt x="709" y="117"/>
                      <a:pt x="708" y="113"/>
                      <a:pt x="709" y="109"/>
                    </a:cubicBezTo>
                    <a:cubicBezTo>
                      <a:pt x="709" y="107"/>
                      <a:pt x="713" y="105"/>
                      <a:pt x="713" y="102"/>
                    </a:cubicBezTo>
                    <a:cubicBezTo>
                      <a:pt x="713" y="99"/>
                      <a:pt x="711" y="96"/>
                      <a:pt x="710" y="93"/>
                    </a:cubicBezTo>
                    <a:cubicBezTo>
                      <a:pt x="709" y="92"/>
                      <a:pt x="711" y="88"/>
                      <a:pt x="709" y="88"/>
                    </a:cubicBezTo>
                    <a:cubicBezTo>
                      <a:pt x="702" y="89"/>
                      <a:pt x="696" y="92"/>
                      <a:pt x="689" y="94"/>
                    </a:cubicBezTo>
                    <a:cubicBezTo>
                      <a:pt x="687" y="95"/>
                      <a:pt x="687" y="100"/>
                      <a:pt x="685" y="100"/>
                    </a:cubicBezTo>
                    <a:cubicBezTo>
                      <a:pt x="679" y="100"/>
                      <a:pt x="672" y="101"/>
                      <a:pt x="666" y="100"/>
                    </a:cubicBezTo>
                    <a:cubicBezTo>
                      <a:pt x="663" y="100"/>
                      <a:pt x="661" y="95"/>
                      <a:pt x="660" y="92"/>
                    </a:cubicBezTo>
                    <a:cubicBezTo>
                      <a:pt x="659" y="90"/>
                      <a:pt x="660" y="88"/>
                      <a:pt x="660" y="87"/>
                    </a:cubicBezTo>
                    <a:cubicBezTo>
                      <a:pt x="659" y="84"/>
                      <a:pt x="659" y="81"/>
                      <a:pt x="658" y="79"/>
                    </a:cubicBezTo>
                    <a:cubicBezTo>
                      <a:pt x="656" y="78"/>
                      <a:pt x="653" y="79"/>
                      <a:pt x="652" y="78"/>
                    </a:cubicBezTo>
                    <a:cubicBezTo>
                      <a:pt x="648" y="75"/>
                      <a:pt x="646" y="70"/>
                      <a:pt x="642" y="68"/>
                    </a:cubicBezTo>
                    <a:cubicBezTo>
                      <a:pt x="640" y="67"/>
                      <a:pt x="639" y="70"/>
                      <a:pt x="637" y="70"/>
                    </a:cubicBezTo>
                    <a:cubicBezTo>
                      <a:pt x="634" y="70"/>
                      <a:pt x="632" y="67"/>
                      <a:pt x="629" y="67"/>
                    </a:cubicBezTo>
                    <a:cubicBezTo>
                      <a:pt x="626" y="65"/>
                      <a:pt x="622" y="66"/>
                      <a:pt x="619" y="65"/>
                    </a:cubicBezTo>
                    <a:cubicBezTo>
                      <a:pt x="617" y="64"/>
                      <a:pt x="616" y="61"/>
                      <a:pt x="616" y="59"/>
                    </a:cubicBezTo>
                    <a:cubicBezTo>
                      <a:pt x="615" y="58"/>
                      <a:pt x="617" y="57"/>
                      <a:pt x="617" y="56"/>
                    </a:cubicBezTo>
                    <a:cubicBezTo>
                      <a:pt x="616" y="55"/>
                      <a:pt x="613" y="56"/>
                      <a:pt x="612" y="54"/>
                    </a:cubicBezTo>
                    <a:cubicBezTo>
                      <a:pt x="611" y="50"/>
                      <a:pt x="609" y="47"/>
                      <a:pt x="607" y="43"/>
                    </a:cubicBezTo>
                    <a:cubicBezTo>
                      <a:pt x="606" y="42"/>
                      <a:pt x="604" y="41"/>
                      <a:pt x="603" y="39"/>
                    </a:cubicBezTo>
                    <a:cubicBezTo>
                      <a:pt x="602" y="38"/>
                      <a:pt x="603" y="36"/>
                      <a:pt x="602" y="35"/>
                    </a:cubicBezTo>
                    <a:cubicBezTo>
                      <a:pt x="599" y="31"/>
                      <a:pt x="595" y="28"/>
                      <a:pt x="593" y="24"/>
                    </a:cubicBezTo>
                    <a:cubicBezTo>
                      <a:pt x="592" y="23"/>
                      <a:pt x="594" y="22"/>
                      <a:pt x="594" y="21"/>
                    </a:cubicBezTo>
                    <a:cubicBezTo>
                      <a:pt x="594" y="20"/>
                      <a:pt x="592" y="20"/>
                      <a:pt x="592" y="19"/>
                    </a:cubicBezTo>
                    <a:cubicBezTo>
                      <a:pt x="590" y="17"/>
                      <a:pt x="590" y="13"/>
                      <a:pt x="588" y="11"/>
                    </a:cubicBezTo>
                    <a:cubicBezTo>
                      <a:pt x="584" y="8"/>
                      <a:pt x="579" y="5"/>
                      <a:pt x="575" y="3"/>
                    </a:cubicBezTo>
                    <a:cubicBezTo>
                      <a:pt x="574" y="3"/>
                      <a:pt x="573" y="4"/>
                      <a:pt x="571" y="4"/>
                    </a:cubicBezTo>
                    <a:cubicBezTo>
                      <a:pt x="570" y="4"/>
                      <a:pt x="568" y="4"/>
                      <a:pt x="567" y="3"/>
                    </a:cubicBezTo>
                    <a:cubicBezTo>
                      <a:pt x="563" y="2"/>
                      <a:pt x="560" y="0"/>
                      <a:pt x="556" y="0"/>
                    </a:cubicBezTo>
                    <a:cubicBezTo>
                      <a:pt x="550" y="0"/>
                      <a:pt x="544" y="1"/>
                      <a:pt x="539" y="2"/>
                    </a:cubicBezTo>
                    <a:cubicBezTo>
                      <a:pt x="536" y="3"/>
                      <a:pt x="534" y="5"/>
                      <a:pt x="532" y="6"/>
                    </a:cubicBezTo>
                    <a:cubicBezTo>
                      <a:pt x="530" y="6"/>
                      <a:pt x="527" y="4"/>
                      <a:pt x="525" y="6"/>
                    </a:cubicBezTo>
                    <a:cubicBezTo>
                      <a:pt x="522" y="7"/>
                      <a:pt x="519" y="10"/>
                      <a:pt x="518" y="14"/>
                    </a:cubicBezTo>
                    <a:cubicBezTo>
                      <a:pt x="517" y="15"/>
                      <a:pt x="519" y="17"/>
                      <a:pt x="521" y="18"/>
                    </a:cubicBezTo>
                    <a:cubicBezTo>
                      <a:pt x="523" y="18"/>
                      <a:pt x="525" y="13"/>
                      <a:pt x="527" y="15"/>
                    </a:cubicBezTo>
                    <a:cubicBezTo>
                      <a:pt x="529" y="18"/>
                      <a:pt x="529" y="23"/>
                      <a:pt x="528" y="27"/>
                    </a:cubicBezTo>
                    <a:cubicBezTo>
                      <a:pt x="527" y="31"/>
                      <a:pt x="523" y="32"/>
                      <a:pt x="522" y="35"/>
                    </a:cubicBezTo>
                    <a:cubicBezTo>
                      <a:pt x="520" y="40"/>
                      <a:pt x="522" y="44"/>
                      <a:pt x="522" y="48"/>
                    </a:cubicBezTo>
                    <a:cubicBezTo>
                      <a:pt x="521" y="51"/>
                      <a:pt x="519" y="53"/>
                      <a:pt x="518" y="55"/>
                    </a:cubicBezTo>
                    <a:cubicBezTo>
                      <a:pt x="518" y="56"/>
                      <a:pt x="520" y="58"/>
                      <a:pt x="519" y="59"/>
                    </a:cubicBezTo>
                    <a:cubicBezTo>
                      <a:pt x="516" y="62"/>
                      <a:pt x="510" y="64"/>
                      <a:pt x="506" y="67"/>
                    </a:cubicBezTo>
                    <a:cubicBezTo>
                      <a:pt x="501" y="66"/>
                      <a:pt x="495" y="65"/>
                      <a:pt x="490" y="63"/>
                    </a:cubicBezTo>
                    <a:cubicBezTo>
                      <a:pt x="489" y="67"/>
                      <a:pt x="486" y="71"/>
                      <a:pt x="485" y="76"/>
                    </a:cubicBezTo>
                    <a:cubicBezTo>
                      <a:pt x="484" y="79"/>
                      <a:pt x="485" y="82"/>
                      <a:pt x="485" y="85"/>
                    </a:cubicBezTo>
                    <a:cubicBezTo>
                      <a:pt x="485" y="87"/>
                      <a:pt x="486" y="90"/>
                      <a:pt x="485" y="92"/>
                    </a:cubicBezTo>
                    <a:cubicBezTo>
                      <a:pt x="485" y="93"/>
                      <a:pt x="483" y="93"/>
                      <a:pt x="483" y="94"/>
                    </a:cubicBezTo>
                    <a:cubicBezTo>
                      <a:pt x="483" y="95"/>
                      <a:pt x="483" y="97"/>
                      <a:pt x="484" y="98"/>
                    </a:cubicBezTo>
                    <a:cubicBezTo>
                      <a:pt x="485" y="100"/>
                      <a:pt x="487" y="100"/>
                      <a:pt x="489" y="100"/>
                    </a:cubicBezTo>
                    <a:cubicBezTo>
                      <a:pt x="492" y="100"/>
                      <a:pt x="495" y="96"/>
                      <a:pt x="499" y="96"/>
                    </a:cubicBezTo>
                    <a:cubicBezTo>
                      <a:pt x="502" y="97"/>
                      <a:pt x="502" y="102"/>
                      <a:pt x="505" y="102"/>
                    </a:cubicBezTo>
                    <a:cubicBezTo>
                      <a:pt x="507" y="102"/>
                      <a:pt x="508" y="98"/>
                      <a:pt x="510" y="96"/>
                    </a:cubicBezTo>
                    <a:cubicBezTo>
                      <a:pt x="510" y="95"/>
                      <a:pt x="509" y="93"/>
                      <a:pt x="510" y="93"/>
                    </a:cubicBezTo>
                    <a:cubicBezTo>
                      <a:pt x="514" y="93"/>
                      <a:pt x="518" y="94"/>
                      <a:pt x="522" y="96"/>
                    </a:cubicBezTo>
                    <a:cubicBezTo>
                      <a:pt x="524" y="100"/>
                      <a:pt x="530" y="104"/>
                      <a:pt x="533" y="107"/>
                    </a:cubicBezTo>
                    <a:cubicBezTo>
                      <a:pt x="536" y="110"/>
                      <a:pt x="539" y="112"/>
                      <a:pt x="540" y="116"/>
                    </a:cubicBezTo>
                    <a:cubicBezTo>
                      <a:pt x="539" y="117"/>
                      <a:pt x="537" y="120"/>
                      <a:pt x="536" y="121"/>
                    </a:cubicBezTo>
                    <a:cubicBezTo>
                      <a:pt x="533" y="122"/>
                      <a:pt x="531" y="118"/>
                      <a:pt x="528" y="118"/>
                    </a:cubicBezTo>
                    <a:cubicBezTo>
                      <a:pt x="525" y="118"/>
                      <a:pt x="522" y="118"/>
                      <a:pt x="520" y="119"/>
                    </a:cubicBezTo>
                    <a:cubicBezTo>
                      <a:pt x="518" y="120"/>
                      <a:pt x="517" y="122"/>
                      <a:pt x="516" y="123"/>
                    </a:cubicBezTo>
                    <a:cubicBezTo>
                      <a:pt x="514" y="123"/>
                      <a:pt x="513" y="120"/>
                      <a:pt x="512" y="121"/>
                    </a:cubicBezTo>
                    <a:cubicBezTo>
                      <a:pt x="511" y="122"/>
                      <a:pt x="513" y="126"/>
                      <a:pt x="511" y="127"/>
                    </a:cubicBezTo>
                    <a:cubicBezTo>
                      <a:pt x="509" y="128"/>
                      <a:pt x="508" y="124"/>
                      <a:pt x="506" y="124"/>
                    </a:cubicBezTo>
                    <a:cubicBezTo>
                      <a:pt x="503" y="126"/>
                      <a:pt x="500" y="128"/>
                      <a:pt x="499" y="131"/>
                    </a:cubicBezTo>
                    <a:cubicBezTo>
                      <a:pt x="498" y="132"/>
                      <a:pt x="500" y="134"/>
                      <a:pt x="499" y="135"/>
                    </a:cubicBezTo>
                    <a:cubicBezTo>
                      <a:pt x="497" y="138"/>
                      <a:pt x="495" y="140"/>
                      <a:pt x="492" y="141"/>
                    </a:cubicBezTo>
                    <a:cubicBezTo>
                      <a:pt x="489" y="142"/>
                      <a:pt x="486" y="139"/>
                      <a:pt x="483" y="140"/>
                    </a:cubicBezTo>
                    <a:cubicBezTo>
                      <a:pt x="480" y="142"/>
                      <a:pt x="480" y="147"/>
                      <a:pt x="477" y="149"/>
                    </a:cubicBezTo>
                    <a:cubicBezTo>
                      <a:pt x="474" y="151"/>
                      <a:pt x="470" y="153"/>
                      <a:pt x="467" y="152"/>
                    </a:cubicBezTo>
                    <a:cubicBezTo>
                      <a:pt x="464" y="152"/>
                      <a:pt x="462" y="148"/>
                      <a:pt x="458" y="147"/>
                    </a:cubicBezTo>
                    <a:cubicBezTo>
                      <a:pt x="456" y="146"/>
                      <a:pt x="452" y="146"/>
                      <a:pt x="450" y="147"/>
                    </a:cubicBezTo>
                    <a:cubicBezTo>
                      <a:pt x="448" y="149"/>
                      <a:pt x="447" y="152"/>
                      <a:pt x="447" y="155"/>
                    </a:cubicBezTo>
                    <a:cubicBezTo>
                      <a:pt x="447" y="157"/>
                      <a:pt x="448" y="160"/>
                      <a:pt x="450" y="162"/>
                    </a:cubicBezTo>
                    <a:cubicBezTo>
                      <a:pt x="451" y="163"/>
                      <a:pt x="455" y="162"/>
                      <a:pt x="454" y="164"/>
                    </a:cubicBezTo>
                    <a:cubicBezTo>
                      <a:pt x="453" y="169"/>
                      <a:pt x="448" y="171"/>
                      <a:pt x="445" y="176"/>
                    </a:cubicBezTo>
                    <a:cubicBezTo>
                      <a:pt x="443" y="179"/>
                      <a:pt x="442" y="182"/>
                      <a:pt x="439" y="185"/>
                    </a:cubicBezTo>
                    <a:cubicBezTo>
                      <a:pt x="435" y="188"/>
                      <a:pt x="431" y="192"/>
                      <a:pt x="426" y="192"/>
                    </a:cubicBezTo>
                    <a:cubicBezTo>
                      <a:pt x="423" y="193"/>
                      <a:pt x="420" y="190"/>
                      <a:pt x="416" y="190"/>
                    </a:cubicBezTo>
                    <a:cubicBezTo>
                      <a:pt x="409" y="189"/>
                      <a:pt x="402" y="189"/>
                      <a:pt x="396" y="191"/>
                    </a:cubicBezTo>
                    <a:cubicBezTo>
                      <a:pt x="389" y="194"/>
                      <a:pt x="385" y="202"/>
                      <a:pt x="378" y="204"/>
                    </a:cubicBezTo>
                    <a:cubicBezTo>
                      <a:pt x="375" y="205"/>
                      <a:pt x="372" y="202"/>
                      <a:pt x="369" y="201"/>
                    </a:cubicBezTo>
                    <a:cubicBezTo>
                      <a:pt x="367" y="199"/>
                      <a:pt x="363" y="201"/>
                      <a:pt x="360" y="200"/>
                    </a:cubicBezTo>
                    <a:cubicBezTo>
                      <a:pt x="353" y="198"/>
                      <a:pt x="346" y="196"/>
                      <a:pt x="340" y="193"/>
                    </a:cubicBezTo>
                    <a:cubicBezTo>
                      <a:pt x="338" y="192"/>
                      <a:pt x="337" y="188"/>
                      <a:pt x="335" y="188"/>
                    </a:cubicBezTo>
                    <a:cubicBezTo>
                      <a:pt x="329" y="186"/>
                      <a:pt x="322" y="185"/>
                      <a:pt x="315" y="185"/>
                    </a:cubicBezTo>
                    <a:cubicBezTo>
                      <a:pt x="311" y="185"/>
                      <a:pt x="308" y="188"/>
                      <a:pt x="304" y="188"/>
                    </a:cubicBezTo>
                    <a:cubicBezTo>
                      <a:pt x="298" y="188"/>
                      <a:pt x="293" y="186"/>
                      <a:pt x="288" y="185"/>
                    </a:cubicBezTo>
                    <a:cubicBezTo>
                      <a:pt x="285" y="185"/>
                      <a:pt x="283" y="187"/>
                      <a:pt x="280" y="187"/>
                    </a:cubicBezTo>
                    <a:cubicBezTo>
                      <a:pt x="277" y="187"/>
                      <a:pt x="273" y="187"/>
                      <a:pt x="270" y="186"/>
                    </a:cubicBezTo>
                    <a:cubicBezTo>
                      <a:pt x="268" y="186"/>
                      <a:pt x="269" y="183"/>
                      <a:pt x="267" y="182"/>
                    </a:cubicBezTo>
                    <a:cubicBezTo>
                      <a:pt x="266" y="181"/>
                      <a:pt x="264" y="180"/>
                      <a:pt x="263" y="179"/>
                    </a:cubicBezTo>
                    <a:cubicBezTo>
                      <a:pt x="261" y="175"/>
                      <a:pt x="261" y="170"/>
                      <a:pt x="258" y="166"/>
                    </a:cubicBezTo>
                    <a:cubicBezTo>
                      <a:pt x="256" y="164"/>
                      <a:pt x="253" y="166"/>
                      <a:pt x="252" y="164"/>
                    </a:cubicBezTo>
                    <a:cubicBezTo>
                      <a:pt x="251" y="163"/>
                      <a:pt x="253" y="161"/>
                      <a:pt x="252" y="160"/>
                    </a:cubicBezTo>
                    <a:cubicBezTo>
                      <a:pt x="250" y="159"/>
                      <a:pt x="247" y="161"/>
                      <a:pt x="244" y="160"/>
                    </a:cubicBezTo>
                    <a:cubicBezTo>
                      <a:pt x="240" y="158"/>
                      <a:pt x="237" y="155"/>
                      <a:pt x="233" y="153"/>
                    </a:cubicBezTo>
                    <a:cubicBezTo>
                      <a:pt x="229" y="150"/>
                      <a:pt x="226" y="147"/>
                      <a:pt x="221" y="147"/>
                    </a:cubicBezTo>
                    <a:cubicBezTo>
                      <a:pt x="217" y="146"/>
                      <a:pt x="212" y="149"/>
                      <a:pt x="208" y="149"/>
                    </a:cubicBezTo>
                    <a:cubicBezTo>
                      <a:pt x="205" y="149"/>
                      <a:pt x="202" y="147"/>
                      <a:pt x="200" y="146"/>
                    </a:cubicBezTo>
                    <a:cubicBezTo>
                      <a:pt x="197" y="146"/>
                      <a:pt x="195" y="145"/>
                      <a:pt x="193" y="144"/>
                    </a:cubicBezTo>
                    <a:cubicBezTo>
                      <a:pt x="192" y="143"/>
                      <a:pt x="192" y="141"/>
                      <a:pt x="192" y="140"/>
                    </a:cubicBezTo>
                    <a:cubicBezTo>
                      <a:pt x="192" y="135"/>
                      <a:pt x="194" y="130"/>
                      <a:pt x="192" y="125"/>
                    </a:cubicBezTo>
                    <a:cubicBezTo>
                      <a:pt x="192" y="123"/>
                      <a:pt x="193" y="122"/>
                      <a:pt x="193" y="120"/>
                    </a:cubicBezTo>
                    <a:cubicBezTo>
                      <a:pt x="193" y="118"/>
                      <a:pt x="194" y="116"/>
                      <a:pt x="193" y="114"/>
                    </a:cubicBezTo>
                    <a:cubicBezTo>
                      <a:pt x="192" y="112"/>
                      <a:pt x="188" y="114"/>
                      <a:pt x="187" y="112"/>
                    </a:cubicBezTo>
                    <a:cubicBezTo>
                      <a:pt x="186" y="110"/>
                      <a:pt x="186" y="106"/>
                      <a:pt x="185" y="103"/>
                    </a:cubicBezTo>
                    <a:cubicBezTo>
                      <a:pt x="183" y="101"/>
                      <a:pt x="180" y="99"/>
                      <a:pt x="178" y="98"/>
                    </a:cubicBezTo>
                    <a:cubicBezTo>
                      <a:pt x="176" y="97"/>
                      <a:pt x="173" y="99"/>
                      <a:pt x="172" y="98"/>
                    </a:cubicBezTo>
                    <a:cubicBezTo>
                      <a:pt x="170" y="98"/>
                      <a:pt x="171" y="95"/>
                      <a:pt x="170" y="95"/>
                    </a:cubicBezTo>
                    <a:cubicBezTo>
                      <a:pt x="168" y="95"/>
                      <a:pt x="167" y="98"/>
                      <a:pt x="165" y="97"/>
                    </a:cubicBezTo>
                    <a:cubicBezTo>
                      <a:pt x="162" y="97"/>
                      <a:pt x="161" y="94"/>
                      <a:pt x="159" y="92"/>
                    </a:cubicBezTo>
                    <a:cubicBezTo>
                      <a:pt x="157" y="91"/>
                      <a:pt x="155" y="90"/>
                      <a:pt x="153" y="88"/>
                    </a:cubicBezTo>
                    <a:cubicBezTo>
                      <a:pt x="152" y="86"/>
                      <a:pt x="150" y="84"/>
                      <a:pt x="149" y="82"/>
                    </a:cubicBezTo>
                    <a:cubicBezTo>
                      <a:pt x="148" y="82"/>
                      <a:pt x="147" y="81"/>
                      <a:pt x="147" y="80"/>
                    </a:cubicBezTo>
                    <a:cubicBezTo>
                      <a:pt x="147" y="78"/>
                      <a:pt x="148" y="77"/>
                      <a:pt x="148" y="75"/>
                    </a:cubicBezTo>
                    <a:cubicBezTo>
                      <a:pt x="145" y="75"/>
                      <a:pt x="142" y="75"/>
                      <a:pt x="140" y="75"/>
                    </a:cubicBezTo>
                    <a:cubicBezTo>
                      <a:pt x="138" y="76"/>
                      <a:pt x="136" y="76"/>
                      <a:pt x="135" y="78"/>
                    </a:cubicBezTo>
                    <a:cubicBezTo>
                      <a:pt x="134" y="80"/>
                      <a:pt x="135" y="81"/>
                      <a:pt x="135" y="83"/>
                    </a:cubicBezTo>
                    <a:cubicBezTo>
                      <a:pt x="135" y="85"/>
                      <a:pt x="136" y="87"/>
                      <a:pt x="134" y="88"/>
                    </a:cubicBezTo>
                    <a:cubicBezTo>
                      <a:pt x="132" y="89"/>
                      <a:pt x="127" y="86"/>
                      <a:pt x="125" y="88"/>
                    </a:cubicBezTo>
                    <a:cubicBezTo>
                      <a:pt x="123" y="91"/>
                      <a:pt x="123" y="96"/>
                      <a:pt x="124" y="99"/>
                    </a:cubicBezTo>
                    <a:cubicBezTo>
                      <a:pt x="124" y="103"/>
                      <a:pt x="127" y="106"/>
                      <a:pt x="127" y="110"/>
                    </a:cubicBezTo>
                    <a:cubicBezTo>
                      <a:pt x="126" y="112"/>
                      <a:pt x="124" y="112"/>
                      <a:pt x="122" y="113"/>
                    </a:cubicBezTo>
                    <a:cubicBezTo>
                      <a:pt x="118" y="114"/>
                      <a:pt x="113" y="115"/>
                      <a:pt x="109" y="114"/>
                    </a:cubicBezTo>
                    <a:cubicBezTo>
                      <a:pt x="105" y="114"/>
                      <a:pt x="100" y="109"/>
                      <a:pt x="96" y="111"/>
                    </a:cubicBezTo>
                    <a:cubicBezTo>
                      <a:pt x="92" y="113"/>
                      <a:pt x="93" y="119"/>
                      <a:pt x="93" y="123"/>
                    </a:cubicBezTo>
                    <a:cubicBezTo>
                      <a:pt x="92" y="128"/>
                      <a:pt x="91" y="133"/>
                      <a:pt x="92" y="138"/>
                    </a:cubicBezTo>
                    <a:cubicBezTo>
                      <a:pt x="92" y="141"/>
                      <a:pt x="95" y="142"/>
                      <a:pt x="95" y="144"/>
                    </a:cubicBezTo>
                    <a:cubicBezTo>
                      <a:pt x="94" y="145"/>
                      <a:pt x="92" y="145"/>
                      <a:pt x="91" y="145"/>
                    </a:cubicBezTo>
                    <a:cubicBezTo>
                      <a:pt x="89" y="144"/>
                      <a:pt x="87" y="142"/>
                      <a:pt x="84" y="142"/>
                    </a:cubicBezTo>
                    <a:cubicBezTo>
                      <a:pt x="81" y="142"/>
                      <a:pt x="79" y="145"/>
                      <a:pt x="76" y="145"/>
                    </a:cubicBezTo>
                    <a:cubicBezTo>
                      <a:pt x="72" y="146"/>
                      <a:pt x="68" y="146"/>
                      <a:pt x="65" y="147"/>
                    </a:cubicBezTo>
                    <a:cubicBezTo>
                      <a:pt x="64" y="147"/>
                      <a:pt x="61" y="148"/>
                      <a:pt x="62" y="149"/>
                    </a:cubicBezTo>
                    <a:cubicBezTo>
                      <a:pt x="64" y="151"/>
                      <a:pt x="67" y="149"/>
                      <a:pt x="68" y="151"/>
                    </a:cubicBezTo>
                    <a:cubicBezTo>
                      <a:pt x="69" y="151"/>
                      <a:pt x="68" y="153"/>
                      <a:pt x="68" y="154"/>
                    </a:cubicBezTo>
                    <a:cubicBezTo>
                      <a:pt x="68" y="157"/>
                      <a:pt x="68" y="161"/>
                      <a:pt x="69" y="164"/>
                    </a:cubicBezTo>
                    <a:cubicBezTo>
                      <a:pt x="71" y="169"/>
                      <a:pt x="75" y="172"/>
                      <a:pt x="76" y="177"/>
                    </a:cubicBezTo>
                    <a:cubicBezTo>
                      <a:pt x="76" y="180"/>
                      <a:pt x="72" y="182"/>
                      <a:pt x="71" y="184"/>
                    </a:cubicBezTo>
                    <a:cubicBezTo>
                      <a:pt x="71" y="186"/>
                      <a:pt x="71" y="189"/>
                      <a:pt x="72" y="1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5" name="Freeform 2626"/>
              <p:cNvSpPr>
                <a:spLocks noChangeAspect="1"/>
              </p:cNvSpPr>
              <p:nvPr/>
            </p:nvSpPr>
            <p:spPr bwMode="auto">
              <a:xfrm>
                <a:off x="6512737" y="2457160"/>
                <a:ext cx="771998" cy="360557"/>
              </a:xfrm>
              <a:custGeom>
                <a:avLst/>
                <a:gdLst>
                  <a:gd name="T0" fmla="*/ 407 w 393"/>
                  <a:gd name="T1" fmla="*/ 49 h 185"/>
                  <a:gd name="T2" fmla="*/ 390 w 393"/>
                  <a:gd name="T3" fmla="*/ 48 h 185"/>
                  <a:gd name="T4" fmla="*/ 372 w 393"/>
                  <a:gd name="T5" fmla="*/ 46 h 185"/>
                  <a:gd name="T6" fmla="*/ 357 w 393"/>
                  <a:gd name="T7" fmla="*/ 55 h 185"/>
                  <a:gd name="T8" fmla="*/ 335 w 393"/>
                  <a:gd name="T9" fmla="*/ 60 h 185"/>
                  <a:gd name="T10" fmla="*/ 322 w 393"/>
                  <a:gd name="T11" fmla="*/ 64 h 185"/>
                  <a:gd name="T12" fmla="*/ 288 w 393"/>
                  <a:gd name="T13" fmla="*/ 55 h 185"/>
                  <a:gd name="T14" fmla="*/ 276 w 393"/>
                  <a:gd name="T15" fmla="*/ 46 h 185"/>
                  <a:gd name="T16" fmla="*/ 245 w 393"/>
                  <a:gd name="T17" fmla="*/ 42 h 185"/>
                  <a:gd name="T18" fmla="*/ 226 w 393"/>
                  <a:gd name="T19" fmla="*/ 44 h 185"/>
                  <a:gd name="T20" fmla="*/ 219 w 393"/>
                  <a:gd name="T21" fmla="*/ 41 h 185"/>
                  <a:gd name="T22" fmla="*/ 202 w 393"/>
                  <a:gd name="T23" fmla="*/ 35 h 185"/>
                  <a:gd name="T24" fmla="*/ 192 w 393"/>
                  <a:gd name="T25" fmla="*/ 14 h 185"/>
                  <a:gd name="T26" fmla="*/ 173 w 393"/>
                  <a:gd name="T27" fmla="*/ 7 h 185"/>
                  <a:gd name="T28" fmla="*/ 145 w 393"/>
                  <a:gd name="T29" fmla="*/ 1 h 185"/>
                  <a:gd name="T30" fmla="*/ 139 w 393"/>
                  <a:gd name="T31" fmla="*/ 14 h 185"/>
                  <a:gd name="T32" fmla="*/ 141 w 393"/>
                  <a:gd name="T33" fmla="*/ 34 h 185"/>
                  <a:gd name="T34" fmla="*/ 142 w 393"/>
                  <a:gd name="T35" fmla="*/ 48 h 185"/>
                  <a:gd name="T36" fmla="*/ 129 w 393"/>
                  <a:gd name="T37" fmla="*/ 49 h 185"/>
                  <a:gd name="T38" fmla="*/ 106 w 393"/>
                  <a:gd name="T39" fmla="*/ 50 h 185"/>
                  <a:gd name="T40" fmla="*/ 89 w 393"/>
                  <a:gd name="T41" fmla="*/ 40 h 185"/>
                  <a:gd name="T42" fmla="*/ 72 w 393"/>
                  <a:gd name="T43" fmla="*/ 34 h 185"/>
                  <a:gd name="T44" fmla="*/ 64 w 393"/>
                  <a:gd name="T45" fmla="*/ 32 h 185"/>
                  <a:gd name="T46" fmla="*/ 56 w 393"/>
                  <a:gd name="T47" fmla="*/ 34 h 185"/>
                  <a:gd name="T48" fmla="*/ 47 w 393"/>
                  <a:gd name="T49" fmla="*/ 38 h 185"/>
                  <a:gd name="T50" fmla="*/ 29 w 393"/>
                  <a:gd name="T51" fmla="*/ 48 h 185"/>
                  <a:gd name="T52" fmla="*/ 10 w 393"/>
                  <a:gd name="T53" fmla="*/ 59 h 185"/>
                  <a:gd name="T54" fmla="*/ 0 w 393"/>
                  <a:gd name="T55" fmla="*/ 72 h 185"/>
                  <a:gd name="T56" fmla="*/ 7 w 393"/>
                  <a:gd name="T57" fmla="*/ 82 h 185"/>
                  <a:gd name="T58" fmla="*/ 22 w 393"/>
                  <a:gd name="T59" fmla="*/ 92 h 185"/>
                  <a:gd name="T60" fmla="*/ 30 w 393"/>
                  <a:gd name="T61" fmla="*/ 94 h 185"/>
                  <a:gd name="T62" fmla="*/ 46 w 393"/>
                  <a:gd name="T63" fmla="*/ 100 h 185"/>
                  <a:gd name="T64" fmla="*/ 55 w 393"/>
                  <a:gd name="T65" fmla="*/ 113 h 185"/>
                  <a:gd name="T66" fmla="*/ 54 w 393"/>
                  <a:gd name="T67" fmla="*/ 126 h 185"/>
                  <a:gd name="T68" fmla="*/ 55 w 393"/>
                  <a:gd name="T69" fmla="*/ 149 h 185"/>
                  <a:gd name="T70" fmla="*/ 73 w 393"/>
                  <a:gd name="T71" fmla="*/ 155 h 185"/>
                  <a:gd name="T72" fmla="*/ 103 w 393"/>
                  <a:gd name="T73" fmla="*/ 160 h 185"/>
                  <a:gd name="T74" fmla="*/ 126 w 393"/>
                  <a:gd name="T75" fmla="*/ 168 h 185"/>
                  <a:gd name="T76" fmla="*/ 133 w 393"/>
                  <a:gd name="T77" fmla="*/ 175 h 185"/>
                  <a:gd name="T78" fmla="*/ 144 w 393"/>
                  <a:gd name="T79" fmla="*/ 194 h 185"/>
                  <a:gd name="T80" fmla="*/ 160 w 393"/>
                  <a:gd name="T81" fmla="*/ 200 h 185"/>
                  <a:gd name="T82" fmla="*/ 189 w 393"/>
                  <a:gd name="T83" fmla="*/ 202 h 185"/>
                  <a:gd name="T84" fmla="*/ 226 w 393"/>
                  <a:gd name="T85" fmla="*/ 202 h 185"/>
                  <a:gd name="T86" fmla="*/ 256 w 393"/>
                  <a:gd name="T87" fmla="*/ 216 h 185"/>
                  <a:gd name="T88" fmla="*/ 277 w 393"/>
                  <a:gd name="T89" fmla="*/ 221 h 185"/>
                  <a:gd name="T90" fmla="*/ 323 w 393"/>
                  <a:gd name="T91" fmla="*/ 204 h 185"/>
                  <a:gd name="T92" fmla="*/ 351 w 393"/>
                  <a:gd name="T93" fmla="*/ 198 h 185"/>
                  <a:gd name="T94" fmla="*/ 369 w 393"/>
                  <a:gd name="T95" fmla="*/ 173 h 185"/>
                  <a:gd name="T96" fmla="*/ 360 w 393"/>
                  <a:gd name="T97" fmla="*/ 162 h 185"/>
                  <a:gd name="T98" fmla="*/ 374 w 393"/>
                  <a:gd name="T99" fmla="*/ 152 h 185"/>
                  <a:gd name="T100" fmla="*/ 396 w 393"/>
                  <a:gd name="T101" fmla="*/ 155 h 185"/>
                  <a:gd name="T102" fmla="*/ 414 w 393"/>
                  <a:gd name="T103" fmla="*/ 145 h 185"/>
                  <a:gd name="T104" fmla="*/ 423 w 393"/>
                  <a:gd name="T105" fmla="*/ 133 h 185"/>
                  <a:gd name="T106" fmla="*/ 437 w 393"/>
                  <a:gd name="T107" fmla="*/ 128 h 185"/>
                  <a:gd name="T108" fmla="*/ 443 w 393"/>
                  <a:gd name="T109" fmla="*/ 124 h 185"/>
                  <a:gd name="T110" fmla="*/ 458 w 393"/>
                  <a:gd name="T111" fmla="*/ 118 h 185"/>
                  <a:gd name="T112" fmla="*/ 472 w 393"/>
                  <a:gd name="T113" fmla="*/ 115 h 185"/>
                  <a:gd name="T114" fmla="*/ 450 w 393"/>
                  <a:gd name="T115" fmla="*/ 91 h 185"/>
                  <a:gd name="T116" fmla="*/ 436 w 393"/>
                  <a:gd name="T117" fmla="*/ 91 h 185"/>
                  <a:gd name="T118" fmla="*/ 423 w 393"/>
                  <a:gd name="T119" fmla="*/ 91 h 185"/>
                  <a:gd name="T120" fmla="*/ 405 w 393"/>
                  <a:gd name="T121" fmla="*/ 94 h 185"/>
                  <a:gd name="T122" fmla="*/ 406 w 393"/>
                  <a:gd name="T123" fmla="*/ 86 h 185"/>
                  <a:gd name="T124" fmla="*/ 406 w 393"/>
                  <a:gd name="T125" fmla="*/ 67 h 18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3"/>
                  <a:gd name="T190" fmla="*/ 0 h 185"/>
                  <a:gd name="T191" fmla="*/ 393 w 393"/>
                  <a:gd name="T192" fmla="*/ 185 h 18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3" h="185">
                    <a:moveTo>
                      <a:pt x="343" y="43"/>
                    </a:moveTo>
                    <a:cubicBezTo>
                      <a:pt x="342" y="43"/>
                      <a:pt x="341" y="41"/>
                      <a:pt x="339" y="41"/>
                    </a:cubicBezTo>
                    <a:cubicBezTo>
                      <a:pt x="337" y="41"/>
                      <a:pt x="334" y="42"/>
                      <a:pt x="332" y="42"/>
                    </a:cubicBezTo>
                    <a:cubicBezTo>
                      <a:pt x="329" y="42"/>
                      <a:pt x="327" y="41"/>
                      <a:pt x="325" y="40"/>
                    </a:cubicBezTo>
                    <a:cubicBezTo>
                      <a:pt x="322" y="39"/>
                      <a:pt x="320" y="36"/>
                      <a:pt x="317" y="36"/>
                    </a:cubicBezTo>
                    <a:cubicBezTo>
                      <a:pt x="315" y="35"/>
                      <a:pt x="312" y="37"/>
                      <a:pt x="310" y="38"/>
                    </a:cubicBezTo>
                    <a:cubicBezTo>
                      <a:pt x="307" y="39"/>
                      <a:pt x="304" y="40"/>
                      <a:pt x="301" y="42"/>
                    </a:cubicBezTo>
                    <a:cubicBezTo>
                      <a:pt x="300" y="43"/>
                      <a:pt x="299" y="44"/>
                      <a:pt x="297" y="46"/>
                    </a:cubicBezTo>
                    <a:cubicBezTo>
                      <a:pt x="295" y="47"/>
                      <a:pt x="293" y="49"/>
                      <a:pt x="291" y="49"/>
                    </a:cubicBezTo>
                    <a:cubicBezTo>
                      <a:pt x="287" y="50"/>
                      <a:pt x="283" y="49"/>
                      <a:pt x="279" y="50"/>
                    </a:cubicBezTo>
                    <a:cubicBezTo>
                      <a:pt x="277" y="50"/>
                      <a:pt x="276" y="53"/>
                      <a:pt x="273" y="54"/>
                    </a:cubicBezTo>
                    <a:cubicBezTo>
                      <a:pt x="271" y="55"/>
                      <a:pt x="269" y="53"/>
                      <a:pt x="268" y="53"/>
                    </a:cubicBezTo>
                    <a:cubicBezTo>
                      <a:pt x="260" y="52"/>
                      <a:pt x="253" y="54"/>
                      <a:pt x="246" y="52"/>
                    </a:cubicBezTo>
                    <a:cubicBezTo>
                      <a:pt x="243" y="51"/>
                      <a:pt x="241" y="49"/>
                      <a:pt x="240" y="46"/>
                    </a:cubicBezTo>
                    <a:cubicBezTo>
                      <a:pt x="239" y="45"/>
                      <a:pt x="241" y="42"/>
                      <a:pt x="240" y="40"/>
                    </a:cubicBezTo>
                    <a:cubicBezTo>
                      <a:pt x="237" y="38"/>
                      <a:pt x="233" y="39"/>
                      <a:pt x="230" y="38"/>
                    </a:cubicBezTo>
                    <a:cubicBezTo>
                      <a:pt x="227" y="37"/>
                      <a:pt x="224" y="35"/>
                      <a:pt x="221" y="35"/>
                    </a:cubicBezTo>
                    <a:cubicBezTo>
                      <a:pt x="216" y="34"/>
                      <a:pt x="210" y="35"/>
                      <a:pt x="204" y="35"/>
                    </a:cubicBezTo>
                    <a:cubicBezTo>
                      <a:pt x="203" y="35"/>
                      <a:pt x="203" y="36"/>
                      <a:pt x="202" y="36"/>
                    </a:cubicBezTo>
                    <a:cubicBezTo>
                      <a:pt x="197" y="37"/>
                      <a:pt x="193" y="37"/>
                      <a:pt x="188" y="37"/>
                    </a:cubicBezTo>
                    <a:cubicBezTo>
                      <a:pt x="186" y="37"/>
                      <a:pt x="184" y="37"/>
                      <a:pt x="182" y="36"/>
                    </a:cubicBezTo>
                    <a:cubicBezTo>
                      <a:pt x="181" y="36"/>
                      <a:pt x="182" y="34"/>
                      <a:pt x="182" y="34"/>
                    </a:cubicBezTo>
                    <a:cubicBezTo>
                      <a:pt x="180" y="34"/>
                      <a:pt x="178" y="37"/>
                      <a:pt x="176" y="36"/>
                    </a:cubicBezTo>
                    <a:cubicBezTo>
                      <a:pt x="173" y="35"/>
                      <a:pt x="170" y="32"/>
                      <a:pt x="168" y="29"/>
                    </a:cubicBezTo>
                    <a:cubicBezTo>
                      <a:pt x="166" y="26"/>
                      <a:pt x="168" y="21"/>
                      <a:pt x="167" y="18"/>
                    </a:cubicBezTo>
                    <a:cubicBezTo>
                      <a:pt x="166" y="15"/>
                      <a:pt x="163" y="13"/>
                      <a:pt x="160" y="12"/>
                    </a:cubicBezTo>
                    <a:cubicBezTo>
                      <a:pt x="158" y="10"/>
                      <a:pt x="154" y="12"/>
                      <a:pt x="151" y="11"/>
                    </a:cubicBezTo>
                    <a:cubicBezTo>
                      <a:pt x="149" y="10"/>
                      <a:pt x="147" y="6"/>
                      <a:pt x="144" y="6"/>
                    </a:cubicBezTo>
                    <a:cubicBezTo>
                      <a:pt x="140" y="5"/>
                      <a:pt x="136" y="9"/>
                      <a:pt x="132" y="8"/>
                    </a:cubicBezTo>
                    <a:cubicBezTo>
                      <a:pt x="128" y="7"/>
                      <a:pt x="125" y="0"/>
                      <a:pt x="121" y="1"/>
                    </a:cubicBezTo>
                    <a:cubicBezTo>
                      <a:pt x="118" y="2"/>
                      <a:pt x="120" y="8"/>
                      <a:pt x="119" y="11"/>
                    </a:cubicBezTo>
                    <a:cubicBezTo>
                      <a:pt x="118" y="12"/>
                      <a:pt x="116" y="11"/>
                      <a:pt x="116" y="12"/>
                    </a:cubicBezTo>
                    <a:cubicBezTo>
                      <a:pt x="115" y="14"/>
                      <a:pt x="114" y="17"/>
                      <a:pt x="114" y="20"/>
                    </a:cubicBezTo>
                    <a:cubicBezTo>
                      <a:pt x="115" y="22"/>
                      <a:pt x="116" y="25"/>
                      <a:pt x="117" y="28"/>
                    </a:cubicBezTo>
                    <a:cubicBezTo>
                      <a:pt x="118" y="30"/>
                      <a:pt x="121" y="31"/>
                      <a:pt x="121" y="34"/>
                    </a:cubicBezTo>
                    <a:cubicBezTo>
                      <a:pt x="122" y="36"/>
                      <a:pt x="120" y="39"/>
                      <a:pt x="118" y="40"/>
                    </a:cubicBezTo>
                    <a:cubicBezTo>
                      <a:pt x="117" y="42"/>
                      <a:pt x="115" y="43"/>
                      <a:pt x="113" y="43"/>
                    </a:cubicBezTo>
                    <a:cubicBezTo>
                      <a:pt x="111" y="43"/>
                      <a:pt x="109" y="42"/>
                      <a:pt x="107" y="41"/>
                    </a:cubicBezTo>
                    <a:cubicBezTo>
                      <a:pt x="103" y="41"/>
                      <a:pt x="100" y="41"/>
                      <a:pt x="96" y="41"/>
                    </a:cubicBezTo>
                    <a:cubicBezTo>
                      <a:pt x="94" y="41"/>
                      <a:pt x="91" y="42"/>
                      <a:pt x="88" y="42"/>
                    </a:cubicBezTo>
                    <a:cubicBezTo>
                      <a:pt x="85" y="41"/>
                      <a:pt x="81" y="40"/>
                      <a:pt x="78" y="38"/>
                    </a:cubicBezTo>
                    <a:cubicBezTo>
                      <a:pt x="76" y="37"/>
                      <a:pt x="75" y="35"/>
                      <a:pt x="74" y="33"/>
                    </a:cubicBezTo>
                    <a:cubicBezTo>
                      <a:pt x="74" y="32"/>
                      <a:pt x="75" y="30"/>
                      <a:pt x="74" y="30"/>
                    </a:cubicBezTo>
                    <a:cubicBezTo>
                      <a:pt x="69" y="28"/>
                      <a:pt x="64" y="29"/>
                      <a:pt x="60" y="28"/>
                    </a:cubicBezTo>
                    <a:cubicBezTo>
                      <a:pt x="58" y="28"/>
                      <a:pt x="58" y="26"/>
                      <a:pt x="56" y="25"/>
                    </a:cubicBezTo>
                    <a:cubicBezTo>
                      <a:pt x="55" y="25"/>
                      <a:pt x="54" y="27"/>
                      <a:pt x="53" y="27"/>
                    </a:cubicBezTo>
                    <a:cubicBezTo>
                      <a:pt x="52" y="27"/>
                      <a:pt x="51" y="26"/>
                      <a:pt x="50" y="26"/>
                    </a:cubicBezTo>
                    <a:cubicBezTo>
                      <a:pt x="49" y="26"/>
                      <a:pt x="48" y="28"/>
                      <a:pt x="47" y="28"/>
                    </a:cubicBezTo>
                    <a:cubicBezTo>
                      <a:pt x="45" y="29"/>
                      <a:pt x="43" y="27"/>
                      <a:pt x="42" y="28"/>
                    </a:cubicBezTo>
                    <a:cubicBezTo>
                      <a:pt x="40" y="29"/>
                      <a:pt x="40" y="31"/>
                      <a:pt x="39" y="32"/>
                    </a:cubicBezTo>
                    <a:cubicBezTo>
                      <a:pt x="37" y="33"/>
                      <a:pt x="35" y="31"/>
                      <a:pt x="33" y="32"/>
                    </a:cubicBezTo>
                    <a:cubicBezTo>
                      <a:pt x="30" y="34"/>
                      <a:pt x="27" y="37"/>
                      <a:pt x="24" y="40"/>
                    </a:cubicBezTo>
                    <a:cubicBezTo>
                      <a:pt x="22" y="42"/>
                      <a:pt x="20" y="45"/>
                      <a:pt x="18" y="46"/>
                    </a:cubicBezTo>
                    <a:cubicBezTo>
                      <a:pt x="15" y="48"/>
                      <a:pt x="11" y="47"/>
                      <a:pt x="8" y="49"/>
                    </a:cubicBezTo>
                    <a:cubicBezTo>
                      <a:pt x="6" y="50"/>
                      <a:pt x="3" y="53"/>
                      <a:pt x="1" y="55"/>
                    </a:cubicBezTo>
                    <a:cubicBezTo>
                      <a:pt x="1" y="57"/>
                      <a:pt x="0" y="58"/>
                      <a:pt x="0" y="60"/>
                    </a:cubicBezTo>
                    <a:cubicBezTo>
                      <a:pt x="0" y="61"/>
                      <a:pt x="1" y="62"/>
                      <a:pt x="2" y="62"/>
                    </a:cubicBezTo>
                    <a:cubicBezTo>
                      <a:pt x="3" y="64"/>
                      <a:pt x="5" y="66"/>
                      <a:pt x="6" y="68"/>
                    </a:cubicBezTo>
                    <a:cubicBezTo>
                      <a:pt x="8" y="70"/>
                      <a:pt x="10" y="71"/>
                      <a:pt x="12" y="72"/>
                    </a:cubicBezTo>
                    <a:cubicBezTo>
                      <a:pt x="14" y="74"/>
                      <a:pt x="15" y="77"/>
                      <a:pt x="18" y="77"/>
                    </a:cubicBezTo>
                    <a:cubicBezTo>
                      <a:pt x="20" y="78"/>
                      <a:pt x="21" y="75"/>
                      <a:pt x="23" y="75"/>
                    </a:cubicBezTo>
                    <a:cubicBezTo>
                      <a:pt x="24" y="75"/>
                      <a:pt x="23" y="78"/>
                      <a:pt x="25" y="78"/>
                    </a:cubicBezTo>
                    <a:cubicBezTo>
                      <a:pt x="26" y="79"/>
                      <a:pt x="29" y="77"/>
                      <a:pt x="31" y="78"/>
                    </a:cubicBezTo>
                    <a:cubicBezTo>
                      <a:pt x="33" y="79"/>
                      <a:pt x="36" y="81"/>
                      <a:pt x="38" y="83"/>
                    </a:cubicBezTo>
                    <a:cubicBezTo>
                      <a:pt x="39" y="86"/>
                      <a:pt x="39" y="90"/>
                      <a:pt x="40" y="92"/>
                    </a:cubicBezTo>
                    <a:cubicBezTo>
                      <a:pt x="41" y="94"/>
                      <a:pt x="45" y="92"/>
                      <a:pt x="46" y="94"/>
                    </a:cubicBezTo>
                    <a:cubicBezTo>
                      <a:pt x="47" y="96"/>
                      <a:pt x="46" y="98"/>
                      <a:pt x="46" y="100"/>
                    </a:cubicBezTo>
                    <a:cubicBezTo>
                      <a:pt x="46" y="102"/>
                      <a:pt x="45" y="103"/>
                      <a:pt x="45" y="105"/>
                    </a:cubicBezTo>
                    <a:cubicBezTo>
                      <a:pt x="47" y="110"/>
                      <a:pt x="45" y="115"/>
                      <a:pt x="45" y="120"/>
                    </a:cubicBezTo>
                    <a:cubicBezTo>
                      <a:pt x="45" y="121"/>
                      <a:pt x="45" y="123"/>
                      <a:pt x="46" y="124"/>
                    </a:cubicBezTo>
                    <a:cubicBezTo>
                      <a:pt x="48" y="125"/>
                      <a:pt x="50" y="126"/>
                      <a:pt x="53" y="126"/>
                    </a:cubicBezTo>
                    <a:cubicBezTo>
                      <a:pt x="55" y="127"/>
                      <a:pt x="58" y="129"/>
                      <a:pt x="61" y="129"/>
                    </a:cubicBezTo>
                    <a:cubicBezTo>
                      <a:pt x="65" y="129"/>
                      <a:pt x="70" y="126"/>
                      <a:pt x="74" y="127"/>
                    </a:cubicBezTo>
                    <a:cubicBezTo>
                      <a:pt x="79" y="127"/>
                      <a:pt x="82" y="130"/>
                      <a:pt x="86" y="133"/>
                    </a:cubicBezTo>
                    <a:cubicBezTo>
                      <a:pt x="90" y="135"/>
                      <a:pt x="93" y="138"/>
                      <a:pt x="97" y="140"/>
                    </a:cubicBezTo>
                    <a:cubicBezTo>
                      <a:pt x="100" y="141"/>
                      <a:pt x="103" y="139"/>
                      <a:pt x="105" y="140"/>
                    </a:cubicBezTo>
                    <a:cubicBezTo>
                      <a:pt x="106" y="141"/>
                      <a:pt x="104" y="143"/>
                      <a:pt x="105" y="144"/>
                    </a:cubicBezTo>
                    <a:cubicBezTo>
                      <a:pt x="106" y="146"/>
                      <a:pt x="109" y="144"/>
                      <a:pt x="111" y="146"/>
                    </a:cubicBezTo>
                    <a:cubicBezTo>
                      <a:pt x="114" y="150"/>
                      <a:pt x="114" y="155"/>
                      <a:pt x="116" y="159"/>
                    </a:cubicBezTo>
                    <a:cubicBezTo>
                      <a:pt x="117" y="160"/>
                      <a:pt x="119" y="161"/>
                      <a:pt x="120" y="162"/>
                    </a:cubicBezTo>
                    <a:cubicBezTo>
                      <a:pt x="122" y="163"/>
                      <a:pt x="121" y="166"/>
                      <a:pt x="123" y="166"/>
                    </a:cubicBezTo>
                    <a:cubicBezTo>
                      <a:pt x="126" y="167"/>
                      <a:pt x="130" y="167"/>
                      <a:pt x="133" y="167"/>
                    </a:cubicBezTo>
                    <a:cubicBezTo>
                      <a:pt x="136" y="167"/>
                      <a:pt x="138" y="165"/>
                      <a:pt x="141" y="165"/>
                    </a:cubicBezTo>
                    <a:cubicBezTo>
                      <a:pt x="146" y="166"/>
                      <a:pt x="151" y="168"/>
                      <a:pt x="157" y="168"/>
                    </a:cubicBezTo>
                    <a:cubicBezTo>
                      <a:pt x="161" y="168"/>
                      <a:pt x="164" y="165"/>
                      <a:pt x="168" y="165"/>
                    </a:cubicBezTo>
                    <a:cubicBezTo>
                      <a:pt x="175" y="165"/>
                      <a:pt x="182" y="166"/>
                      <a:pt x="188" y="168"/>
                    </a:cubicBezTo>
                    <a:cubicBezTo>
                      <a:pt x="190" y="168"/>
                      <a:pt x="191" y="172"/>
                      <a:pt x="193" y="173"/>
                    </a:cubicBezTo>
                    <a:cubicBezTo>
                      <a:pt x="199" y="176"/>
                      <a:pt x="206" y="178"/>
                      <a:pt x="213" y="180"/>
                    </a:cubicBezTo>
                    <a:cubicBezTo>
                      <a:pt x="216" y="181"/>
                      <a:pt x="220" y="179"/>
                      <a:pt x="222" y="181"/>
                    </a:cubicBezTo>
                    <a:cubicBezTo>
                      <a:pt x="225" y="182"/>
                      <a:pt x="228" y="185"/>
                      <a:pt x="231" y="184"/>
                    </a:cubicBezTo>
                    <a:cubicBezTo>
                      <a:pt x="238" y="182"/>
                      <a:pt x="242" y="174"/>
                      <a:pt x="249" y="171"/>
                    </a:cubicBezTo>
                    <a:cubicBezTo>
                      <a:pt x="255" y="169"/>
                      <a:pt x="262" y="169"/>
                      <a:pt x="269" y="170"/>
                    </a:cubicBezTo>
                    <a:cubicBezTo>
                      <a:pt x="273" y="170"/>
                      <a:pt x="276" y="173"/>
                      <a:pt x="279" y="172"/>
                    </a:cubicBezTo>
                    <a:cubicBezTo>
                      <a:pt x="284" y="172"/>
                      <a:pt x="288" y="168"/>
                      <a:pt x="292" y="165"/>
                    </a:cubicBezTo>
                    <a:cubicBezTo>
                      <a:pt x="295" y="162"/>
                      <a:pt x="296" y="159"/>
                      <a:pt x="298" y="156"/>
                    </a:cubicBezTo>
                    <a:cubicBezTo>
                      <a:pt x="301" y="151"/>
                      <a:pt x="306" y="149"/>
                      <a:pt x="307" y="144"/>
                    </a:cubicBezTo>
                    <a:cubicBezTo>
                      <a:pt x="308" y="142"/>
                      <a:pt x="304" y="143"/>
                      <a:pt x="303" y="142"/>
                    </a:cubicBezTo>
                    <a:cubicBezTo>
                      <a:pt x="301" y="140"/>
                      <a:pt x="300" y="137"/>
                      <a:pt x="300" y="135"/>
                    </a:cubicBezTo>
                    <a:cubicBezTo>
                      <a:pt x="300" y="132"/>
                      <a:pt x="301" y="129"/>
                      <a:pt x="303" y="127"/>
                    </a:cubicBezTo>
                    <a:cubicBezTo>
                      <a:pt x="305" y="126"/>
                      <a:pt x="309" y="126"/>
                      <a:pt x="311" y="127"/>
                    </a:cubicBezTo>
                    <a:cubicBezTo>
                      <a:pt x="315" y="128"/>
                      <a:pt x="317" y="132"/>
                      <a:pt x="320" y="132"/>
                    </a:cubicBezTo>
                    <a:cubicBezTo>
                      <a:pt x="323" y="133"/>
                      <a:pt x="327" y="131"/>
                      <a:pt x="330" y="129"/>
                    </a:cubicBezTo>
                    <a:cubicBezTo>
                      <a:pt x="333" y="127"/>
                      <a:pt x="333" y="122"/>
                      <a:pt x="336" y="120"/>
                    </a:cubicBezTo>
                    <a:cubicBezTo>
                      <a:pt x="339" y="119"/>
                      <a:pt x="342" y="122"/>
                      <a:pt x="345" y="121"/>
                    </a:cubicBezTo>
                    <a:cubicBezTo>
                      <a:pt x="348" y="120"/>
                      <a:pt x="350" y="118"/>
                      <a:pt x="352" y="115"/>
                    </a:cubicBezTo>
                    <a:cubicBezTo>
                      <a:pt x="353" y="114"/>
                      <a:pt x="351" y="112"/>
                      <a:pt x="352" y="111"/>
                    </a:cubicBezTo>
                    <a:cubicBezTo>
                      <a:pt x="353" y="108"/>
                      <a:pt x="356" y="106"/>
                      <a:pt x="359" y="104"/>
                    </a:cubicBezTo>
                    <a:cubicBezTo>
                      <a:pt x="361" y="104"/>
                      <a:pt x="362" y="108"/>
                      <a:pt x="364" y="107"/>
                    </a:cubicBezTo>
                    <a:cubicBezTo>
                      <a:pt x="366" y="106"/>
                      <a:pt x="364" y="102"/>
                      <a:pt x="365" y="101"/>
                    </a:cubicBezTo>
                    <a:cubicBezTo>
                      <a:pt x="366" y="100"/>
                      <a:pt x="367" y="103"/>
                      <a:pt x="369" y="103"/>
                    </a:cubicBezTo>
                    <a:cubicBezTo>
                      <a:pt x="370" y="102"/>
                      <a:pt x="371" y="100"/>
                      <a:pt x="373" y="99"/>
                    </a:cubicBezTo>
                    <a:cubicBezTo>
                      <a:pt x="375" y="98"/>
                      <a:pt x="378" y="98"/>
                      <a:pt x="381" y="98"/>
                    </a:cubicBezTo>
                    <a:cubicBezTo>
                      <a:pt x="384" y="98"/>
                      <a:pt x="386" y="102"/>
                      <a:pt x="389" y="101"/>
                    </a:cubicBezTo>
                    <a:cubicBezTo>
                      <a:pt x="390" y="100"/>
                      <a:pt x="392" y="97"/>
                      <a:pt x="393" y="96"/>
                    </a:cubicBezTo>
                    <a:cubicBezTo>
                      <a:pt x="392" y="92"/>
                      <a:pt x="389" y="90"/>
                      <a:pt x="386" y="87"/>
                    </a:cubicBezTo>
                    <a:cubicBezTo>
                      <a:pt x="383" y="84"/>
                      <a:pt x="377" y="80"/>
                      <a:pt x="375" y="76"/>
                    </a:cubicBezTo>
                    <a:cubicBezTo>
                      <a:pt x="371" y="74"/>
                      <a:pt x="367" y="73"/>
                      <a:pt x="363" y="73"/>
                    </a:cubicBezTo>
                    <a:cubicBezTo>
                      <a:pt x="362" y="73"/>
                      <a:pt x="363" y="75"/>
                      <a:pt x="363" y="76"/>
                    </a:cubicBezTo>
                    <a:cubicBezTo>
                      <a:pt x="361" y="78"/>
                      <a:pt x="360" y="82"/>
                      <a:pt x="358" y="82"/>
                    </a:cubicBezTo>
                    <a:cubicBezTo>
                      <a:pt x="355" y="82"/>
                      <a:pt x="355" y="77"/>
                      <a:pt x="352" y="76"/>
                    </a:cubicBezTo>
                    <a:cubicBezTo>
                      <a:pt x="348" y="76"/>
                      <a:pt x="345" y="80"/>
                      <a:pt x="342" y="80"/>
                    </a:cubicBezTo>
                    <a:cubicBezTo>
                      <a:pt x="340" y="80"/>
                      <a:pt x="338" y="80"/>
                      <a:pt x="337" y="78"/>
                    </a:cubicBezTo>
                    <a:cubicBezTo>
                      <a:pt x="336" y="77"/>
                      <a:pt x="336" y="75"/>
                      <a:pt x="336" y="74"/>
                    </a:cubicBezTo>
                    <a:cubicBezTo>
                      <a:pt x="336" y="73"/>
                      <a:pt x="338" y="73"/>
                      <a:pt x="338" y="72"/>
                    </a:cubicBezTo>
                    <a:cubicBezTo>
                      <a:pt x="339" y="70"/>
                      <a:pt x="338" y="67"/>
                      <a:pt x="338" y="65"/>
                    </a:cubicBezTo>
                    <a:cubicBezTo>
                      <a:pt x="338" y="62"/>
                      <a:pt x="337" y="59"/>
                      <a:pt x="338" y="56"/>
                    </a:cubicBezTo>
                    <a:cubicBezTo>
                      <a:pt x="339" y="51"/>
                      <a:pt x="342" y="47"/>
                      <a:pt x="343" y="4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6" name="Freeform 2627"/>
              <p:cNvSpPr>
                <a:spLocks noChangeAspect="1"/>
              </p:cNvSpPr>
              <p:nvPr/>
            </p:nvSpPr>
            <p:spPr bwMode="auto">
              <a:xfrm>
                <a:off x="6112019" y="2759248"/>
                <a:ext cx="256788" cy="131555"/>
              </a:xfrm>
              <a:custGeom>
                <a:avLst/>
                <a:gdLst>
                  <a:gd name="T0" fmla="*/ 70 w 131"/>
                  <a:gd name="T1" fmla="*/ 77 h 67"/>
                  <a:gd name="T2" fmla="*/ 70 w 131"/>
                  <a:gd name="T3" fmla="*/ 66 h 67"/>
                  <a:gd name="T4" fmla="*/ 77 w 131"/>
                  <a:gd name="T5" fmla="*/ 63 h 67"/>
                  <a:gd name="T6" fmla="*/ 84 w 131"/>
                  <a:gd name="T7" fmla="*/ 58 h 67"/>
                  <a:gd name="T8" fmla="*/ 90 w 131"/>
                  <a:gd name="T9" fmla="*/ 59 h 67"/>
                  <a:gd name="T10" fmla="*/ 95 w 131"/>
                  <a:gd name="T11" fmla="*/ 54 h 67"/>
                  <a:gd name="T12" fmla="*/ 96 w 131"/>
                  <a:gd name="T13" fmla="*/ 60 h 67"/>
                  <a:gd name="T14" fmla="*/ 107 w 131"/>
                  <a:gd name="T15" fmla="*/ 58 h 67"/>
                  <a:gd name="T16" fmla="*/ 111 w 131"/>
                  <a:gd name="T17" fmla="*/ 46 h 67"/>
                  <a:gd name="T18" fmla="*/ 117 w 131"/>
                  <a:gd name="T19" fmla="*/ 45 h 67"/>
                  <a:gd name="T20" fmla="*/ 131 w 131"/>
                  <a:gd name="T21" fmla="*/ 45 h 67"/>
                  <a:gd name="T22" fmla="*/ 134 w 131"/>
                  <a:gd name="T23" fmla="*/ 37 h 67"/>
                  <a:gd name="T24" fmla="*/ 144 w 131"/>
                  <a:gd name="T25" fmla="*/ 29 h 67"/>
                  <a:gd name="T26" fmla="*/ 149 w 131"/>
                  <a:gd name="T27" fmla="*/ 31 h 67"/>
                  <a:gd name="T28" fmla="*/ 152 w 131"/>
                  <a:gd name="T29" fmla="*/ 25 h 67"/>
                  <a:gd name="T30" fmla="*/ 157 w 131"/>
                  <a:gd name="T31" fmla="*/ 22 h 67"/>
                  <a:gd name="T32" fmla="*/ 155 w 131"/>
                  <a:gd name="T33" fmla="*/ 19 h 67"/>
                  <a:gd name="T34" fmla="*/ 151 w 131"/>
                  <a:gd name="T35" fmla="*/ 18 h 67"/>
                  <a:gd name="T36" fmla="*/ 143 w 131"/>
                  <a:gd name="T37" fmla="*/ 16 h 67"/>
                  <a:gd name="T38" fmla="*/ 141 w 131"/>
                  <a:gd name="T39" fmla="*/ 11 h 67"/>
                  <a:gd name="T40" fmla="*/ 138 w 131"/>
                  <a:gd name="T41" fmla="*/ 11 h 67"/>
                  <a:gd name="T42" fmla="*/ 131 w 131"/>
                  <a:gd name="T43" fmla="*/ 8 h 67"/>
                  <a:gd name="T44" fmla="*/ 119 w 131"/>
                  <a:gd name="T45" fmla="*/ 8 h 67"/>
                  <a:gd name="T46" fmla="*/ 105 w 131"/>
                  <a:gd name="T47" fmla="*/ 7 h 67"/>
                  <a:gd name="T48" fmla="*/ 95 w 131"/>
                  <a:gd name="T49" fmla="*/ 7 h 67"/>
                  <a:gd name="T50" fmla="*/ 93 w 131"/>
                  <a:gd name="T51" fmla="*/ 10 h 67"/>
                  <a:gd name="T52" fmla="*/ 80 w 131"/>
                  <a:gd name="T53" fmla="*/ 7 h 67"/>
                  <a:gd name="T54" fmla="*/ 68 w 131"/>
                  <a:gd name="T55" fmla="*/ 1 h 67"/>
                  <a:gd name="T56" fmla="*/ 60 w 131"/>
                  <a:gd name="T57" fmla="*/ 2 h 67"/>
                  <a:gd name="T58" fmla="*/ 55 w 131"/>
                  <a:gd name="T59" fmla="*/ 6 h 67"/>
                  <a:gd name="T60" fmla="*/ 55 w 131"/>
                  <a:gd name="T61" fmla="*/ 16 h 67"/>
                  <a:gd name="T62" fmla="*/ 49 w 131"/>
                  <a:gd name="T63" fmla="*/ 17 h 67"/>
                  <a:gd name="T64" fmla="*/ 32 w 131"/>
                  <a:gd name="T65" fmla="*/ 12 h 67"/>
                  <a:gd name="T66" fmla="*/ 26 w 131"/>
                  <a:gd name="T67" fmla="*/ 13 h 67"/>
                  <a:gd name="T68" fmla="*/ 19 w 131"/>
                  <a:gd name="T69" fmla="*/ 19 h 67"/>
                  <a:gd name="T70" fmla="*/ 26 w 131"/>
                  <a:gd name="T71" fmla="*/ 22 h 67"/>
                  <a:gd name="T72" fmla="*/ 13 w 131"/>
                  <a:gd name="T73" fmla="*/ 34 h 67"/>
                  <a:gd name="T74" fmla="*/ 13 w 131"/>
                  <a:gd name="T75" fmla="*/ 39 h 67"/>
                  <a:gd name="T76" fmla="*/ 20 w 131"/>
                  <a:gd name="T77" fmla="*/ 39 h 67"/>
                  <a:gd name="T78" fmla="*/ 20 w 131"/>
                  <a:gd name="T79" fmla="*/ 46 h 67"/>
                  <a:gd name="T80" fmla="*/ 30 w 131"/>
                  <a:gd name="T81" fmla="*/ 46 h 67"/>
                  <a:gd name="T82" fmla="*/ 32 w 131"/>
                  <a:gd name="T83" fmla="*/ 36 h 67"/>
                  <a:gd name="T84" fmla="*/ 40 w 131"/>
                  <a:gd name="T85" fmla="*/ 45 h 67"/>
                  <a:gd name="T86" fmla="*/ 48 w 131"/>
                  <a:gd name="T87" fmla="*/ 46 h 67"/>
                  <a:gd name="T88" fmla="*/ 56 w 131"/>
                  <a:gd name="T89" fmla="*/ 48 h 67"/>
                  <a:gd name="T90" fmla="*/ 53 w 131"/>
                  <a:gd name="T91" fmla="*/ 57 h 67"/>
                  <a:gd name="T92" fmla="*/ 46 w 131"/>
                  <a:gd name="T93" fmla="*/ 57 h 67"/>
                  <a:gd name="T94" fmla="*/ 38 w 131"/>
                  <a:gd name="T95" fmla="*/ 64 h 67"/>
                  <a:gd name="T96" fmla="*/ 34 w 131"/>
                  <a:gd name="T97" fmla="*/ 64 h 67"/>
                  <a:gd name="T98" fmla="*/ 30 w 131"/>
                  <a:gd name="T99" fmla="*/ 62 h 67"/>
                  <a:gd name="T100" fmla="*/ 26 w 131"/>
                  <a:gd name="T101" fmla="*/ 64 h 67"/>
                  <a:gd name="T102" fmla="*/ 23 w 131"/>
                  <a:gd name="T103" fmla="*/ 64 h 67"/>
                  <a:gd name="T104" fmla="*/ 10 w 131"/>
                  <a:gd name="T105" fmla="*/ 66 h 67"/>
                  <a:gd name="T106" fmla="*/ 1 w 131"/>
                  <a:gd name="T107" fmla="*/ 69 h 67"/>
                  <a:gd name="T108" fmla="*/ 5 w 131"/>
                  <a:gd name="T109" fmla="*/ 76 h 67"/>
                  <a:gd name="T110" fmla="*/ 19 w 131"/>
                  <a:gd name="T111" fmla="*/ 75 h 67"/>
                  <a:gd name="T112" fmla="*/ 26 w 131"/>
                  <a:gd name="T113" fmla="*/ 79 h 67"/>
                  <a:gd name="T114" fmla="*/ 37 w 131"/>
                  <a:gd name="T115" fmla="*/ 74 h 67"/>
                  <a:gd name="T116" fmla="*/ 41 w 131"/>
                  <a:gd name="T117" fmla="*/ 80 h 67"/>
                  <a:gd name="T118" fmla="*/ 50 w 131"/>
                  <a:gd name="T119" fmla="*/ 80 h 67"/>
                  <a:gd name="T120" fmla="*/ 70 w 131"/>
                  <a:gd name="T121" fmla="*/ 77 h 6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31"/>
                  <a:gd name="T184" fmla="*/ 0 h 67"/>
                  <a:gd name="T185" fmla="*/ 131 w 131"/>
                  <a:gd name="T186" fmla="*/ 67 h 6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31" h="67">
                    <a:moveTo>
                      <a:pt x="58" y="64"/>
                    </a:moveTo>
                    <a:cubicBezTo>
                      <a:pt x="58" y="61"/>
                      <a:pt x="57" y="57"/>
                      <a:pt x="58" y="55"/>
                    </a:cubicBezTo>
                    <a:cubicBezTo>
                      <a:pt x="59" y="53"/>
                      <a:pt x="62" y="53"/>
                      <a:pt x="64" y="52"/>
                    </a:cubicBezTo>
                    <a:cubicBezTo>
                      <a:pt x="66" y="51"/>
                      <a:pt x="68" y="49"/>
                      <a:pt x="70" y="48"/>
                    </a:cubicBezTo>
                    <a:cubicBezTo>
                      <a:pt x="71" y="47"/>
                      <a:pt x="73" y="49"/>
                      <a:pt x="75" y="49"/>
                    </a:cubicBezTo>
                    <a:cubicBezTo>
                      <a:pt x="76" y="48"/>
                      <a:pt x="77" y="45"/>
                      <a:pt x="79" y="45"/>
                    </a:cubicBezTo>
                    <a:cubicBezTo>
                      <a:pt x="81" y="46"/>
                      <a:pt x="79" y="50"/>
                      <a:pt x="80" y="50"/>
                    </a:cubicBezTo>
                    <a:cubicBezTo>
                      <a:pt x="83" y="51"/>
                      <a:pt x="87" y="50"/>
                      <a:pt x="89" y="48"/>
                    </a:cubicBezTo>
                    <a:cubicBezTo>
                      <a:pt x="92" y="45"/>
                      <a:pt x="90" y="41"/>
                      <a:pt x="93" y="38"/>
                    </a:cubicBezTo>
                    <a:cubicBezTo>
                      <a:pt x="94" y="37"/>
                      <a:pt x="96" y="37"/>
                      <a:pt x="98" y="37"/>
                    </a:cubicBezTo>
                    <a:cubicBezTo>
                      <a:pt x="102" y="36"/>
                      <a:pt x="106" y="38"/>
                      <a:pt x="109" y="37"/>
                    </a:cubicBezTo>
                    <a:cubicBezTo>
                      <a:pt x="111" y="36"/>
                      <a:pt x="110" y="32"/>
                      <a:pt x="112" y="31"/>
                    </a:cubicBezTo>
                    <a:cubicBezTo>
                      <a:pt x="114" y="28"/>
                      <a:pt x="116" y="25"/>
                      <a:pt x="120" y="24"/>
                    </a:cubicBezTo>
                    <a:cubicBezTo>
                      <a:pt x="121" y="23"/>
                      <a:pt x="122" y="26"/>
                      <a:pt x="124" y="26"/>
                    </a:cubicBezTo>
                    <a:cubicBezTo>
                      <a:pt x="126" y="25"/>
                      <a:pt x="125" y="22"/>
                      <a:pt x="127" y="21"/>
                    </a:cubicBezTo>
                    <a:cubicBezTo>
                      <a:pt x="128" y="19"/>
                      <a:pt x="130" y="19"/>
                      <a:pt x="131" y="18"/>
                    </a:cubicBezTo>
                    <a:cubicBezTo>
                      <a:pt x="131" y="18"/>
                      <a:pt x="129" y="16"/>
                      <a:pt x="129" y="16"/>
                    </a:cubicBezTo>
                    <a:cubicBezTo>
                      <a:pt x="128" y="16"/>
                      <a:pt x="127" y="16"/>
                      <a:pt x="126" y="15"/>
                    </a:cubicBezTo>
                    <a:cubicBezTo>
                      <a:pt x="124" y="15"/>
                      <a:pt x="121" y="15"/>
                      <a:pt x="119" y="13"/>
                    </a:cubicBezTo>
                    <a:cubicBezTo>
                      <a:pt x="118" y="12"/>
                      <a:pt x="119" y="10"/>
                      <a:pt x="118" y="9"/>
                    </a:cubicBezTo>
                    <a:cubicBezTo>
                      <a:pt x="117" y="8"/>
                      <a:pt x="116" y="9"/>
                      <a:pt x="115" y="9"/>
                    </a:cubicBezTo>
                    <a:cubicBezTo>
                      <a:pt x="113" y="9"/>
                      <a:pt x="111" y="7"/>
                      <a:pt x="109" y="7"/>
                    </a:cubicBezTo>
                    <a:cubicBezTo>
                      <a:pt x="106" y="6"/>
                      <a:pt x="103" y="7"/>
                      <a:pt x="99" y="7"/>
                    </a:cubicBezTo>
                    <a:cubicBezTo>
                      <a:pt x="95" y="7"/>
                      <a:pt x="92" y="7"/>
                      <a:pt x="88" y="6"/>
                    </a:cubicBezTo>
                    <a:cubicBezTo>
                      <a:pt x="85" y="6"/>
                      <a:pt x="82" y="6"/>
                      <a:pt x="79" y="6"/>
                    </a:cubicBezTo>
                    <a:cubicBezTo>
                      <a:pt x="78" y="6"/>
                      <a:pt x="78" y="8"/>
                      <a:pt x="78" y="8"/>
                    </a:cubicBezTo>
                    <a:cubicBezTo>
                      <a:pt x="74" y="8"/>
                      <a:pt x="70" y="7"/>
                      <a:pt x="67" y="6"/>
                    </a:cubicBezTo>
                    <a:cubicBezTo>
                      <a:pt x="63" y="5"/>
                      <a:pt x="60" y="2"/>
                      <a:pt x="57" y="1"/>
                    </a:cubicBezTo>
                    <a:cubicBezTo>
                      <a:pt x="55" y="0"/>
                      <a:pt x="52" y="1"/>
                      <a:pt x="50" y="2"/>
                    </a:cubicBezTo>
                    <a:cubicBezTo>
                      <a:pt x="48" y="2"/>
                      <a:pt x="46" y="3"/>
                      <a:pt x="46" y="5"/>
                    </a:cubicBezTo>
                    <a:cubicBezTo>
                      <a:pt x="45" y="7"/>
                      <a:pt x="47" y="10"/>
                      <a:pt x="46" y="13"/>
                    </a:cubicBezTo>
                    <a:cubicBezTo>
                      <a:pt x="45" y="14"/>
                      <a:pt x="43" y="14"/>
                      <a:pt x="41" y="14"/>
                    </a:cubicBezTo>
                    <a:cubicBezTo>
                      <a:pt x="36" y="13"/>
                      <a:pt x="32" y="11"/>
                      <a:pt x="27" y="10"/>
                    </a:cubicBezTo>
                    <a:cubicBezTo>
                      <a:pt x="26" y="10"/>
                      <a:pt x="24" y="10"/>
                      <a:pt x="22" y="11"/>
                    </a:cubicBezTo>
                    <a:cubicBezTo>
                      <a:pt x="20" y="12"/>
                      <a:pt x="18" y="14"/>
                      <a:pt x="16" y="16"/>
                    </a:cubicBezTo>
                    <a:cubicBezTo>
                      <a:pt x="18" y="17"/>
                      <a:pt x="23" y="17"/>
                      <a:pt x="22" y="18"/>
                    </a:cubicBezTo>
                    <a:cubicBezTo>
                      <a:pt x="20" y="23"/>
                      <a:pt x="14" y="24"/>
                      <a:pt x="11" y="28"/>
                    </a:cubicBezTo>
                    <a:cubicBezTo>
                      <a:pt x="10" y="29"/>
                      <a:pt x="10" y="31"/>
                      <a:pt x="11" y="32"/>
                    </a:cubicBezTo>
                    <a:cubicBezTo>
                      <a:pt x="12" y="33"/>
                      <a:pt x="15" y="31"/>
                      <a:pt x="17" y="32"/>
                    </a:cubicBezTo>
                    <a:cubicBezTo>
                      <a:pt x="18" y="33"/>
                      <a:pt x="16" y="37"/>
                      <a:pt x="17" y="38"/>
                    </a:cubicBezTo>
                    <a:cubicBezTo>
                      <a:pt x="20" y="40"/>
                      <a:pt x="23" y="40"/>
                      <a:pt x="25" y="38"/>
                    </a:cubicBezTo>
                    <a:cubicBezTo>
                      <a:pt x="27" y="36"/>
                      <a:pt x="25" y="31"/>
                      <a:pt x="27" y="30"/>
                    </a:cubicBezTo>
                    <a:cubicBezTo>
                      <a:pt x="30" y="30"/>
                      <a:pt x="31" y="35"/>
                      <a:pt x="33" y="37"/>
                    </a:cubicBezTo>
                    <a:cubicBezTo>
                      <a:pt x="35" y="38"/>
                      <a:pt x="38" y="37"/>
                      <a:pt x="40" y="38"/>
                    </a:cubicBezTo>
                    <a:cubicBezTo>
                      <a:pt x="43" y="39"/>
                      <a:pt x="46" y="38"/>
                      <a:pt x="47" y="40"/>
                    </a:cubicBezTo>
                    <a:cubicBezTo>
                      <a:pt x="48" y="43"/>
                      <a:pt x="46" y="45"/>
                      <a:pt x="44" y="47"/>
                    </a:cubicBezTo>
                    <a:cubicBezTo>
                      <a:pt x="42" y="48"/>
                      <a:pt x="40" y="46"/>
                      <a:pt x="38" y="47"/>
                    </a:cubicBezTo>
                    <a:cubicBezTo>
                      <a:pt x="36" y="48"/>
                      <a:pt x="35" y="52"/>
                      <a:pt x="32" y="53"/>
                    </a:cubicBezTo>
                    <a:cubicBezTo>
                      <a:pt x="31" y="54"/>
                      <a:pt x="30" y="53"/>
                      <a:pt x="28" y="53"/>
                    </a:cubicBezTo>
                    <a:cubicBezTo>
                      <a:pt x="27" y="52"/>
                      <a:pt x="26" y="51"/>
                      <a:pt x="25" y="51"/>
                    </a:cubicBezTo>
                    <a:cubicBezTo>
                      <a:pt x="24" y="51"/>
                      <a:pt x="23" y="52"/>
                      <a:pt x="22" y="53"/>
                    </a:cubicBezTo>
                    <a:cubicBezTo>
                      <a:pt x="21" y="53"/>
                      <a:pt x="20" y="53"/>
                      <a:pt x="19" y="53"/>
                    </a:cubicBezTo>
                    <a:cubicBezTo>
                      <a:pt x="16" y="54"/>
                      <a:pt x="12" y="54"/>
                      <a:pt x="8" y="55"/>
                    </a:cubicBezTo>
                    <a:cubicBezTo>
                      <a:pt x="6" y="55"/>
                      <a:pt x="2" y="55"/>
                      <a:pt x="1" y="57"/>
                    </a:cubicBezTo>
                    <a:cubicBezTo>
                      <a:pt x="0" y="59"/>
                      <a:pt x="2" y="63"/>
                      <a:pt x="4" y="63"/>
                    </a:cubicBezTo>
                    <a:cubicBezTo>
                      <a:pt x="8" y="64"/>
                      <a:pt x="12" y="61"/>
                      <a:pt x="16" y="62"/>
                    </a:cubicBezTo>
                    <a:cubicBezTo>
                      <a:pt x="19" y="62"/>
                      <a:pt x="20" y="65"/>
                      <a:pt x="22" y="65"/>
                    </a:cubicBezTo>
                    <a:cubicBezTo>
                      <a:pt x="25" y="65"/>
                      <a:pt x="28" y="61"/>
                      <a:pt x="31" y="61"/>
                    </a:cubicBezTo>
                    <a:cubicBezTo>
                      <a:pt x="33" y="61"/>
                      <a:pt x="32" y="65"/>
                      <a:pt x="34" y="66"/>
                    </a:cubicBezTo>
                    <a:cubicBezTo>
                      <a:pt x="37" y="67"/>
                      <a:pt x="40" y="66"/>
                      <a:pt x="42" y="66"/>
                    </a:cubicBezTo>
                    <a:cubicBezTo>
                      <a:pt x="47" y="66"/>
                      <a:pt x="52" y="64"/>
                      <a:pt x="58" y="6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7" name="Freeform 2628"/>
              <p:cNvSpPr>
                <a:spLocks noChangeAspect="1"/>
              </p:cNvSpPr>
              <p:nvPr/>
            </p:nvSpPr>
            <p:spPr bwMode="auto">
              <a:xfrm>
                <a:off x="6072764" y="2838830"/>
                <a:ext cx="194635" cy="133179"/>
              </a:xfrm>
              <a:custGeom>
                <a:avLst/>
                <a:gdLst>
                  <a:gd name="T0" fmla="*/ 113 w 99"/>
                  <a:gd name="T1" fmla="*/ 68 h 68"/>
                  <a:gd name="T2" fmla="*/ 119 w 99"/>
                  <a:gd name="T3" fmla="*/ 64 h 68"/>
                  <a:gd name="T4" fmla="*/ 113 w 99"/>
                  <a:gd name="T5" fmla="*/ 48 h 68"/>
                  <a:gd name="T6" fmla="*/ 106 w 99"/>
                  <a:gd name="T7" fmla="*/ 40 h 68"/>
                  <a:gd name="T8" fmla="*/ 95 w 99"/>
                  <a:gd name="T9" fmla="*/ 45 h 68"/>
                  <a:gd name="T10" fmla="*/ 95 w 99"/>
                  <a:gd name="T11" fmla="*/ 39 h 68"/>
                  <a:gd name="T12" fmla="*/ 96 w 99"/>
                  <a:gd name="T13" fmla="*/ 35 h 68"/>
                  <a:gd name="T14" fmla="*/ 94 w 99"/>
                  <a:gd name="T15" fmla="*/ 28 h 68"/>
                  <a:gd name="T16" fmla="*/ 75 w 99"/>
                  <a:gd name="T17" fmla="*/ 30 h 68"/>
                  <a:gd name="T18" fmla="*/ 65 w 99"/>
                  <a:gd name="T19" fmla="*/ 30 h 68"/>
                  <a:gd name="T20" fmla="*/ 61 w 99"/>
                  <a:gd name="T21" fmla="*/ 24 h 68"/>
                  <a:gd name="T22" fmla="*/ 50 w 99"/>
                  <a:gd name="T23" fmla="*/ 29 h 68"/>
                  <a:gd name="T24" fmla="*/ 43 w 99"/>
                  <a:gd name="T25" fmla="*/ 25 h 68"/>
                  <a:gd name="T26" fmla="*/ 29 w 99"/>
                  <a:gd name="T27" fmla="*/ 27 h 68"/>
                  <a:gd name="T28" fmla="*/ 25 w 99"/>
                  <a:gd name="T29" fmla="*/ 19 h 68"/>
                  <a:gd name="T30" fmla="*/ 34 w 99"/>
                  <a:gd name="T31" fmla="*/ 17 h 68"/>
                  <a:gd name="T32" fmla="*/ 47 w 99"/>
                  <a:gd name="T33" fmla="*/ 14 h 68"/>
                  <a:gd name="T34" fmla="*/ 44 w 99"/>
                  <a:gd name="T35" fmla="*/ 10 h 68"/>
                  <a:gd name="T36" fmla="*/ 47 w 99"/>
                  <a:gd name="T37" fmla="*/ 5 h 68"/>
                  <a:gd name="T38" fmla="*/ 38 w 99"/>
                  <a:gd name="T39" fmla="*/ 0 h 68"/>
                  <a:gd name="T40" fmla="*/ 34 w 99"/>
                  <a:gd name="T41" fmla="*/ 6 h 68"/>
                  <a:gd name="T42" fmla="*/ 26 w 99"/>
                  <a:gd name="T43" fmla="*/ 5 h 68"/>
                  <a:gd name="T44" fmla="*/ 24 w 99"/>
                  <a:gd name="T45" fmla="*/ 12 h 68"/>
                  <a:gd name="T46" fmla="*/ 14 w 99"/>
                  <a:gd name="T47" fmla="*/ 14 h 68"/>
                  <a:gd name="T48" fmla="*/ 17 w 99"/>
                  <a:gd name="T49" fmla="*/ 16 h 68"/>
                  <a:gd name="T50" fmla="*/ 17 w 99"/>
                  <a:gd name="T51" fmla="*/ 19 h 68"/>
                  <a:gd name="T52" fmla="*/ 13 w 99"/>
                  <a:gd name="T53" fmla="*/ 25 h 68"/>
                  <a:gd name="T54" fmla="*/ 2 w 99"/>
                  <a:gd name="T55" fmla="*/ 27 h 68"/>
                  <a:gd name="T56" fmla="*/ 0 w 99"/>
                  <a:gd name="T57" fmla="*/ 33 h 68"/>
                  <a:gd name="T58" fmla="*/ 2 w 99"/>
                  <a:gd name="T59" fmla="*/ 35 h 68"/>
                  <a:gd name="T60" fmla="*/ 10 w 99"/>
                  <a:gd name="T61" fmla="*/ 36 h 68"/>
                  <a:gd name="T62" fmla="*/ 10 w 99"/>
                  <a:gd name="T63" fmla="*/ 42 h 68"/>
                  <a:gd name="T64" fmla="*/ 14 w 99"/>
                  <a:gd name="T65" fmla="*/ 47 h 68"/>
                  <a:gd name="T66" fmla="*/ 16 w 99"/>
                  <a:gd name="T67" fmla="*/ 52 h 68"/>
                  <a:gd name="T68" fmla="*/ 7 w 99"/>
                  <a:gd name="T69" fmla="*/ 63 h 68"/>
                  <a:gd name="T70" fmla="*/ 7 w 99"/>
                  <a:gd name="T71" fmla="*/ 68 h 68"/>
                  <a:gd name="T72" fmla="*/ 11 w 99"/>
                  <a:gd name="T73" fmla="*/ 74 h 68"/>
                  <a:gd name="T74" fmla="*/ 18 w 99"/>
                  <a:gd name="T75" fmla="*/ 76 h 68"/>
                  <a:gd name="T76" fmla="*/ 28 w 99"/>
                  <a:gd name="T77" fmla="*/ 69 h 68"/>
                  <a:gd name="T78" fmla="*/ 32 w 99"/>
                  <a:gd name="T79" fmla="*/ 74 h 68"/>
                  <a:gd name="T80" fmla="*/ 32 w 99"/>
                  <a:gd name="T81" fmla="*/ 69 h 68"/>
                  <a:gd name="T82" fmla="*/ 36 w 99"/>
                  <a:gd name="T83" fmla="*/ 63 h 68"/>
                  <a:gd name="T84" fmla="*/ 44 w 99"/>
                  <a:gd name="T85" fmla="*/ 61 h 68"/>
                  <a:gd name="T86" fmla="*/ 40 w 99"/>
                  <a:gd name="T87" fmla="*/ 58 h 68"/>
                  <a:gd name="T88" fmla="*/ 49 w 99"/>
                  <a:gd name="T89" fmla="*/ 47 h 68"/>
                  <a:gd name="T90" fmla="*/ 58 w 99"/>
                  <a:gd name="T91" fmla="*/ 51 h 68"/>
                  <a:gd name="T92" fmla="*/ 58 w 99"/>
                  <a:gd name="T93" fmla="*/ 58 h 68"/>
                  <a:gd name="T94" fmla="*/ 64 w 99"/>
                  <a:gd name="T95" fmla="*/ 58 h 68"/>
                  <a:gd name="T96" fmla="*/ 64 w 99"/>
                  <a:gd name="T97" fmla="*/ 69 h 68"/>
                  <a:gd name="T98" fmla="*/ 66 w 99"/>
                  <a:gd name="T99" fmla="*/ 77 h 68"/>
                  <a:gd name="T100" fmla="*/ 70 w 99"/>
                  <a:gd name="T101" fmla="*/ 82 h 68"/>
                  <a:gd name="T102" fmla="*/ 73 w 99"/>
                  <a:gd name="T103" fmla="*/ 76 h 68"/>
                  <a:gd name="T104" fmla="*/ 78 w 99"/>
                  <a:gd name="T105" fmla="*/ 75 h 68"/>
                  <a:gd name="T106" fmla="*/ 85 w 99"/>
                  <a:gd name="T107" fmla="*/ 72 h 68"/>
                  <a:gd name="T108" fmla="*/ 94 w 99"/>
                  <a:gd name="T109" fmla="*/ 69 h 68"/>
                  <a:gd name="T110" fmla="*/ 99 w 99"/>
                  <a:gd name="T111" fmla="*/ 72 h 68"/>
                  <a:gd name="T112" fmla="*/ 109 w 99"/>
                  <a:gd name="T113" fmla="*/ 68 h 68"/>
                  <a:gd name="T114" fmla="*/ 113 w 99"/>
                  <a:gd name="T115" fmla="*/ 68 h 6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99"/>
                  <a:gd name="T175" fmla="*/ 0 h 68"/>
                  <a:gd name="T176" fmla="*/ 99 w 99"/>
                  <a:gd name="T177" fmla="*/ 68 h 6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99" h="68">
                    <a:moveTo>
                      <a:pt x="94" y="56"/>
                    </a:moveTo>
                    <a:cubicBezTo>
                      <a:pt x="95" y="55"/>
                      <a:pt x="99" y="55"/>
                      <a:pt x="99" y="53"/>
                    </a:cubicBezTo>
                    <a:cubicBezTo>
                      <a:pt x="99" y="48"/>
                      <a:pt x="96" y="44"/>
                      <a:pt x="94" y="40"/>
                    </a:cubicBezTo>
                    <a:cubicBezTo>
                      <a:pt x="93" y="38"/>
                      <a:pt x="91" y="34"/>
                      <a:pt x="88" y="33"/>
                    </a:cubicBezTo>
                    <a:cubicBezTo>
                      <a:pt x="85" y="33"/>
                      <a:pt x="82" y="37"/>
                      <a:pt x="79" y="37"/>
                    </a:cubicBezTo>
                    <a:cubicBezTo>
                      <a:pt x="78" y="37"/>
                      <a:pt x="79" y="34"/>
                      <a:pt x="79" y="32"/>
                    </a:cubicBezTo>
                    <a:cubicBezTo>
                      <a:pt x="80" y="31"/>
                      <a:pt x="80" y="30"/>
                      <a:pt x="80" y="29"/>
                    </a:cubicBezTo>
                    <a:cubicBezTo>
                      <a:pt x="80" y="27"/>
                      <a:pt x="78" y="24"/>
                      <a:pt x="78" y="23"/>
                    </a:cubicBezTo>
                    <a:cubicBezTo>
                      <a:pt x="72" y="23"/>
                      <a:pt x="67" y="25"/>
                      <a:pt x="62" y="25"/>
                    </a:cubicBezTo>
                    <a:cubicBezTo>
                      <a:pt x="60" y="25"/>
                      <a:pt x="57" y="26"/>
                      <a:pt x="54" y="25"/>
                    </a:cubicBezTo>
                    <a:cubicBezTo>
                      <a:pt x="52" y="24"/>
                      <a:pt x="53" y="20"/>
                      <a:pt x="51" y="20"/>
                    </a:cubicBezTo>
                    <a:cubicBezTo>
                      <a:pt x="48" y="20"/>
                      <a:pt x="45" y="24"/>
                      <a:pt x="42" y="24"/>
                    </a:cubicBezTo>
                    <a:cubicBezTo>
                      <a:pt x="40" y="24"/>
                      <a:pt x="39" y="21"/>
                      <a:pt x="36" y="21"/>
                    </a:cubicBezTo>
                    <a:cubicBezTo>
                      <a:pt x="32" y="20"/>
                      <a:pt x="28" y="23"/>
                      <a:pt x="24" y="22"/>
                    </a:cubicBezTo>
                    <a:cubicBezTo>
                      <a:pt x="22" y="22"/>
                      <a:pt x="20" y="18"/>
                      <a:pt x="21" y="16"/>
                    </a:cubicBezTo>
                    <a:cubicBezTo>
                      <a:pt x="22" y="14"/>
                      <a:pt x="26" y="14"/>
                      <a:pt x="28" y="14"/>
                    </a:cubicBezTo>
                    <a:cubicBezTo>
                      <a:pt x="32" y="13"/>
                      <a:pt x="36" y="13"/>
                      <a:pt x="39" y="12"/>
                    </a:cubicBezTo>
                    <a:cubicBezTo>
                      <a:pt x="38" y="11"/>
                      <a:pt x="37" y="10"/>
                      <a:pt x="37" y="8"/>
                    </a:cubicBezTo>
                    <a:cubicBezTo>
                      <a:pt x="37" y="7"/>
                      <a:pt x="39" y="6"/>
                      <a:pt x="39" y="4"/>
                    </a:cubicBezTo>
                    <a:cubicBezTo>
                      <a:pt x="37" y="2"/>
                      <a:pt x="35" y="0"/>
                      <a:pt x="32" y="0"/>
                    </a:cubicBezTo>
                    <a:cubicBezTo>
                      <a:pt x="30" y="0"/>
                      <a:pt x="30" y="4"/>
                      <a:pt x="28" y="5"/>
                    </a:cubicBezTo>
                    <a:cubicBezTo>
                      <a:pt x="26" y="5"/>
                      <a:pt x="24" y="3"/>
                      <a:pt x="22" y="4"/>
                    </a:cubicBezTo>
                    <a:cubicBezTo>
                      <a:pt x="21" y="5"/>
                      <a:pt x="22" y="8"/>
                      <a:pt x="20" y="10"/>
                    </a:cubicBezTo>
                    <a:cubicBezTo>
                      <a:pt x="18" y="12"/>
                      <a:pt x="15" y="11"/>
                      <a:pt x="12" y="12"/>
                    </a:cubicBezTo>
                    <a:cubicBezTo>
                      <a:pt x="11" y="13"/>
                      <a:pt x="13" y="12"/>
                      <a:pt x="14" y="13"/>
                    </a:cubicBezTo>
                    <a:cubicBezTo>
                      <a:pt x="14" y="14"/>
                      <a:pt x="14" y="15"/>
                      <a:pt x="14" y="16"/>
                    </a:cubicBezTo>
                    <a:cubicBezTo>
                      <a:pt x="13" y="18"/>
                      <a:pt x="13" y="20"/>
                      <a:pt x="11" y="21"/>
                    </a:cubicBezTo>
                    <a:cubicBezTo>
                      <a:pt x="8" y="22"/>
                      <a:pt x="5" y="21"/>
                      <a:pt x="2" y="22"/>
                    </a:cubicBezTo>
                    <a:cubicBezTo>
                      <a:pt x="0" y="23"/>
                      <a:pt x="0" y="25"/>
                      <a:pt x="0" y="27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4" y="30"/>
                      <a:pt x="7" y="28"/>
                      <a:pt x="8" y="30"/>
                    </a:cubicBezTo>
                    <a:cubicBezTo>
                      <a:pt x="10" y="31"/>
                      <a:pt x="8" y="34"/>
                      <a:pt x="8" y="35"/>
                    </a:cubicBezTo>
                    <a:cubicBezTo>
                      <a:pt x="9" y="37"/>
                      <a:pt x="11" y="38"/>
                      <a:pt x="12" y="39"/>
                    </a:cubicBezTo>
                    <a:cubicBezTo>
                      <a:pt x="12" y="40"/>
                      <a:pt x="13" y="42"/>
                      <a:pt x="13" y="43"/>
                    </a:cubicBezTo>
                    <a:cubicBezTo>
                      <a:pt x="11" y="47"/>
                      <a:pt x="8" y="49"/>
                      <a:pt x="6" y="52"/>
                    </a:cubicBezTo>
                    <a:cubicBezTo>
                      <a:pt x="6" y="53"/>
                      <a:pt x="6" y="55"/>
                      <a:pt x="6" y="56"/>
                    </a:cubicBezTo>
                    <a:cubicBezTo>
                      <a:pt x="7" y="58"/>
                      <a:pt x="8" y="59"/>
                      <a:pt x="9" y="61"/>
                    </a:cubicBezTo>
                    <a:cubicBezTo>
                      <a:pt x="11" y="62"/>
                      <a:pt x="13" y="63"/>
                      <a:pt x="15" y="63"/>
                    </a:cubicBezTo>
                    <a:cubicBezTo>
                      <a:pt x="18" y="62"/>
                      <a:pt x="20" y="57"/>
                      <a:pt x="23" y="57"/>
                    </a:cubicBezTo>
                    <a:cubicBezTo>
                      <a:pt x="25" y="56"/>
                      <a:pt x="25" y="60"/>
                      <a:pt x="27" y="61"/>
                    </a:cubicBezTo>
                    <a:cubicBezTo>
                      <a:pt x="28" y="61"/>
                      <a:pt x="27" y="58"/>
                      <a:pt x="27" y="57"/>
                    </a:cubicBezTo>
                    <a:cubicBezTo>
                      <a:pt x="28" y="55"/>
                      <a:pt x="28" y="53"/>
                      <a:pt x="30" y="52"/>
                    </a:cubicBezTo>
                    <a:cubicBezTo>
                      <a:pt x="32" y="51"/>
                      <a:pt x="36" y="53"/>
                      <a:pt x="37" y="51"/>
                    </a:cubicBezTo>
                    <a:cubicBezTo>
                      <a:pt x="38" y="50"/>
                      <a:pt x="33" y="50"/>
                      <a:pt x="33" y="48"/>
                    </a:cubicBezTo>
                    <a:cubicBezTo>
                      <a:pt x="34" y="44"/>
                      <a:pt x="37" y="40"/>
                      <a:pt x="41" y="39"/>
                    </a:cubicBezTo>
                    <a:cubicBezTo>
                      <a:pt x="44" y="38"/>
                      <a:pt x="47" y="40"/>
                      <a:pt x="48" y="42"/>
                    </a:cubicBezTo>
                    <a:cubicBezTo>
                      <a:pt x="49" y="44"/>
                      <a:pt x="47" y="46"/>
                      <a:pt x="48" y="48"/>
                    </a:cubicBezTo>
                    <a:cubicBezTo>
                      <a:pt x="49" y="49"/>
                      <a:pt x="52" y="46"/>
                      <a:pt x="53" y="48"/>
                    </a:cubicBezTo>
                    <a:cubicBezTo>
                      <a:pt x="54" y="50"/>
                      <a:pt x="52" y="54"/>
                      <a:pt x="53" y="57"/>
                    </a:cubicBezTo>
                    <a:cubicBezTo>
                      <a:pt x="53" y="59"/>
                      <a:pt x="54" y="61"/>
                      <a:pt x="55" y="64"/>
                    </a:cubicBezTo>
                    <a:cubicBezTo>
                      <a:pt x="56" y="65"/>
                      <a:pt x="56" y="68"/>
                      <a:pt x="58" y="68"/>
                    </a:cubicBezTo>
                    <a:cubicBezTo>
                      <a:pt x="60" y="67"/>
                      <a:pt x="60" y="64"/>
                      <a:pt x="61" y="63"/>
                    </a:cubicBezTo>
                    <a:cubicBezTo>
                      <a:pt x="62" y="62"/>
                      <a:pt x="64" y="63"/>
                      <a:pt x="65" y="62"/>
                    </a:cubicBezTo>
                    <a:cubicBezTo>
                      <a:pt x="67" y="62"/>
                      <a:pt x="69" y="61"/>
                      <a:pt x="71" y="60"/>
                    </a:cubicBezTo>
                    <a:cubicBezTo>
                      <a:pt x="73" y="59"/>
                      <a:pt x="76" y="57"/>
                      <a:pt x="78" y="57"/>
                    </a:cubicBezTo>
                    <a:cubicBezTo>
                      <a:pt x="80" y="57"/>
                      <a:pt x="80" y="60"/>
                      <a:pt x="82" y="60"/>
                    </a:cubicBezTo>
                    <a:cubicBezTo>
                      <a:pt x="85" y="60"/>
                      <a:pt x="88" y="57"/>
                      <a:pt x="91" y="56"/>
                    </a:cubicBezTo>
                    <a:cubicBezTo>
                      <a:pt x="92" y="56"/>
                      <a:pt x="93" y="56"/>
                      <a:pt x="94" y="5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8" name="Freeform 2629"/>
              <p:cNvSpPr>
                <a:spLocks noChangeAspect="1"/>
              </p:cNvSpPr>
              <p:nvPr/>
            </p:nvSpPr>
            <p:spPr bwMode="auto">
              <a:xfrm>
                <a:off x="6128374" y="3009364"/>
                <a:ext cx="708210" cy="802321"/>
              </a:xfrm>
              <a:custGeom>
                <a:avLst/>
                <a:gdLst>
                  <a:gd name="T0" fmla="*/ 302 w 361"/>
                  <a:gd name="T1" fmla="*/ 247 h 412"/>
                  <a:gd name="T2" fmla="*/ 278 w 361"/>
                  <a:gd name="T3" fmla="*/ 290 h 412"/>
                  <a:gd name="T4" fmla="*/ 234 w 361"/>
                  <a:gd name="T5" fmla="*/ 327 h 412"/>
                  <a:gd name="T6" fmla="*/ 191 w 361"/>
                  <a:gd name="T7" fmla="*/ 360 h 412"/>
                  <a:gd name="T8" fmla="*/ 187 w 361"/>
                  <a:gd name="T9" fmla="*/ 453 h 412"/>
                  <a:gd name="T10" fmla="*/ 158 w 361"/>
                  <a:gd name="T11" fmla="*/ 490 h 412"/>
                  <a:gd name="T12" fmla="*/ 137 w 361"/>
                  <a:gd name="T13" fmla="*/ 463 h 412"/>
                  <a:gd name="T14" fmla="*/ 106 w 361"/>
                  <a:gd name="T15" fmla="*/ 384 h 412"/>
                  <a:gd name="T16" fmla="*/ 85 w 361"/>
                  <a:gd name="T17" fmla="*/ 332 h 412"/>
                  <a:gd name="T18" fmla="*/ 77 w 361"/>
                  <a:gd name="T19" fmla="*/ 297 h 412"/>
                  <a:gd name="T20" fmla="*/ 74 w 361"/>
                  <a:gd name="T21" fmla="*/ 257 h 412"/>
                  <a:gd name="T22" fmla="*/ 64 w 361"/>
                  <a:gd name="T23" fmla="*/ 249 h 412"/>
                  <a:gd name="T24" fmla="*/ 14 w 361"/>
                  <a:gd name="T25" fmla="*/ 249 h 412"/>
                  <a:gd name="T26" fmla="*/ 36 w 361"/>
                  <a:gd name="T27" fmla="*/ 228 h 412"/>
                  <a:gd name="T28" fmla="*/ 6 w 361"/>
                  <a:gd name="T29" fmla="*/ 219 h 412"/>
                  <a:gd name="T30" fmla="*/ 23 w 361"/>
                  <a:gd name="T31" fmla="*/ 210 h 412"/>
                  <a:gd name="T32" fmla="*/ 42 w 361"/>
                  <a:gd name="T33" fmla="*/ 204 h 412"/>
                  <a:gd name="T34" fmla="*/ 28 w 361"/>
                  <a:gd name="T35" fmla="*/ 176 h 412"/>
                  <a:gd name="T36" fmla="*/ 29 w 361"/>
                  <a:gd name="T37" fmla="*/ 141 h 412"/>
                  <a:gd name="T38" fmla="*/ 52 w 361"/>
                  <a:gd name="T39" fmla="*/ 133 h 412"/>
                  <a:gd name="T40" fmla="*/ 80 w 361"/>
                  <a:gd name="T41" fmla="*/ 100 h 412"/>
                  <a:gd name="T42" fmla="*/ 89 w 361"/>
                  <a:gd name="T43" fmla="*/ 76 h 412"/>
                  <a:gd name="T44" fmla="*/ 85 w 361"/>
                  <a:gd name="T45" fmla="*/ 54 h 412"/>
                  <a:gd name="T46" fmla="*/ 83 w 361"/>
                  <a:gd name="T47" fmla="*/ 16 h 412"/>
                  <a:gd name="T48" fmla="*/ 125 w 361"/>
                  <a:gd name="T49" fmla="*/ 2 h 412"/>
                  <a:gd name="T50" fmla="*/ 142 w 361"/>
                  <a:gd name="T51" fmla="*/ 26 h 412"/>
                  <a:gd name="T52" fmla="*/ 148 w 361"/>
                  <a:gd name="T53" fmla="*/ 59 h 412"/>
                  <a:gd name="T54" fmla="*/ 151 w 361"/>
                  <a:gd name="T55" fmla="*/ 80 h 412"/>
                  <a:gd name="T56" fmla="*/ 186 w 361"/>
                  <a:gd name="T57" fmla="*/ 101 h 412"/>
                  <a:gd name="T58" fmla="*/ 178 w 361"/>
                  <a:gd name="T59" fmla="*/ 128 h 412"/>
                  <a:gd name="T60" fmla="*/ 234 w 361"/>
                  <a:gd name="T61" fmla="*/ 151 h 412"/>
                  <a:gd name="T62" fmla="*/ 260 w 361"/>
                  <a:gd name="T63" fmla="*/ 168 h 412"/>
                  <a:gd name="T64" fmla="*/ 293 w 361"/>
                  <a:gd name="T65" fmla="*/ 158 h 412"/>
                  <a:gd name="T66" fmla="*/ 305 w 361"/>
                  <a:gd name="T67" fmla="*/ 147 h 412"/>
                  <a:gd name="T68" fmla="*/ 332 w 361"/>
                  <a:gd name="T69" fmla="*/ 164 h 412"/>
                  <a:gd name="T70" fmla="*/ 345 w 361"/>
                  <a:gd name="T71" fmla="*/ 145 h 412"/>
                  <a:gd name="T72" fmla="*/ 369 w 361"/>
                  <a:gd name="T73" fmla="*/ 127 h 412"/>
                  <a:gd name="T74" fmla="*/ 401 w 361"/>
                  <a:gd name="T75" fmla="*/ 120 h 412"/>
                  <a:gd name="T76" fmla="*/ 419 w 361"/>
                  <a:gd name="T77" fmla="*/ 133 h 412"/>
                  <a:gd name="T78" fmla="*/ 426 w 361"/>
                  <a:gd name="T79" fmla="*/ 146 h 412"/>
                  <a:gd name="T80" fmla="*/ 414 w 361"/>
                  <a:gd name="T81" fmla="*/ 157 h 412"/>
                  <a:gd name="T82" fmla="*/ 404 w 361"/>
                  <a:gd name="T83" fmla="*/ 179 h 412"/>
                  <a:gd name="T84" fmla="*/ 391 w 361"/>
                  <a:gd name="T85" fmla="*/ 216 h 412"/>
                  <a:gd name="T86" fmla="*/ 381 w 361"/>
                  <a:gd name="T87" fmla="*/ 233 h 412"/>
                  <a:gd name="T88" fmla="*/ 369 w 361"/>
                  <a:gd name="T89" fmla="*/ 252 h 412"/>
                  <a:gd name="T90" fmla="*/ 356 w 361"/>
                  <a:gd name="T91" fmla="*/ 230 h 412"/>
                  <a:gd name="T92" fmla="*/ 347 w 361"/>
                  <a:gd name="T93" fmla="*/ 212 h 412"/>
                  <a:gd name="T94" fmla="*/ 354 w 361"/>
                  <a:gd name="T95" fmla="*/ 192 h 412"/>
                  <a:gd name="T96" fmla="*/ 317 w 361"/>
                  <a:gd name="T97" fmla="*/ 179 h 412"/>
                  <a:gd name="T98" fmla="*/ 302 w 361"/>
                  <a:gd name="T99" fmla="*/ 171 h 412"/>
                  <a:gd name="T100" fmla="*/ 305 w 361"/>
                  <a:gd name="T101" fmla="*/ 198 h 412"/>
                  <a:gd name="T102" fmla="*/ 307 w 361"/>
                  <a:gd name="T103" fmla="*/ 217 h 412"/>
                  <a:gd name="T104" fmla="*/ 314 w 361"/>
                  <a:gd name="T105" fmla="*/ 236 h 4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61"/>
                  <a:gd name="T160" fmla="*/ 0 h 412"/>
                  <a:gd name="T161" fmla="*/ 361 w 361"/>
                  <a:gd name="T162" fmla="*/ 412 h 4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61" h="412">
                    <a:moveTo>
                      <a:pt x="266" y="211"/>
                    </a:moveTo>
                    <a:cubicBezTo>
                      <a:pt x="265" y="212"/>
                      <a:pt x="264" y="215"/>
                      <a:pt x="263" y="214"/>
                    </a:cubicBezTo>
                    <a:cubicBezTo>
                      <a:pt x="260" y="213"/>
                      <a:pt x="261" y="208"/>
                      <a:pt x="258" y="208"/>
                    </a:cubicBezTo>
                    <a:cubicBezTo>
                      <a:pt x="256" y="207"/>
                      <a:pt x="258" y="213"/>
                      <a:pt x="256" y="212"/>
                    </a:cubicBezTo>
                    <a:cubicBezTo>
                      <a:pt x="254" y="212"/>
                      <a:pt x="254" y="206"/>
                      <a:pt x="252" y="206"/>
                    </a:cubicBezTo>
                    <a:cubicBezTo>
                      <a:pt x="249" y="207"/>
                      <a:pt x="249" y="211"/>
                      <a:pt x="247" y="213"/>
                    </a:cubicBezTo>
                    <a:cubicBezTo>
                      <a:pt x="245" y="216"/>
                      <a:pt x="239" y="215"/>
                      <a:pt x="238" y="219"/>
                    </a:cubicBezTo>
                    <a:cubicBezTo>
                      <a:pt x="236" y="221"/>
                      <a:pt x="239" y="225"/>
                      <a:pt x="239" y="228"/>
                    </a:cubicBezTo>
                    <a:cubicBezTo>
                      <a:pt x="239" y="230"/>
                      <a:pt x="238" y="231"/>
                      <a:pt x="238" y="233"/>
                    </a:cubicBezTo>
                    <a:cubicBezTo>
                      <a:pt x="236" y="236"/>
                      <a:pt x="234" y="240"/>
                      <a:pt x="232" y="242"/>
                    </a:cubicBezTo>
                    <a:cubicBezTo>
                      <a:pt x="230" y="244"/>
                      <a:pt x="227" y="245"/>
                      <a:pt x="224" y="245"/>
                    </a:cubicBezTo>
                    <a:cubicBezTo>
                      <a:pt x="223" y="245"/>
                      <a:pt x="221" y="242"/>
                      <a:pt x="220" y="243"/>
                    </a:cubicBezTo>
                    <a:cubicBezTo>
                      <a:pt x="217" y="245"/>
                      <a:pt x="217" y="249"/>
                      <a:pt x="215" y="251"/>
                    </a:cubicBezTo>
                    <a:cubicBezTo>
                      <a:pt x="212" y="255"/>
                      <a:pt x="209" y="260"/>
                      <a:pt x="206" y="264"/>
                    </a:cubicBezTo>
                    <a:cubicBezTo>
                      <a:pt x="203" y="267"/>
                      <a:pt x="199" y="270"/>
                      <a:pt x="195" y="273"/>
                    </a:cubicBezTo>
                    <a:cubicBezTo>
                      <a:pt x="191" y="276"/>
                      <a:pt x="185" y="276"/>
                      <a:pt x="182" y="280"/>
                    </a:cubicBezTo>
                    <a:cubicBezTo>
                      <a:pt x="181" y="283"/>
                      <a:pt x="187" y="286"/>
                      <a:pt x="185" y="288"/>
                    </a:cubicBezTo>
                    <a:cubicBezTo>
                      <a:pt x="183" y="292"/>
                      <a:pt x="177" y="290"/>
                      <a:pt x="174" y="292"/>
                    </a:cubicBezTo>
                    <a:cubicBezTo>
                      <a:pt x="171" y="294"/>
                      <a:pt x="170" y="298"/>
                      <a:pt x="167" y="300"/>
                    </a:cubicBezTo>
                    <a:cubicBezTo>
                      <a:pt x="164" y="301"/>
                      <a:pt x="161" y="298"/>
                      <a:pt x="159" y="300"/>
                    </a:cubicBezTo>
                    <a:cubicBezTo>
                      <a:pt x="157" y="301"/>
                      <a:pt x="157" y="305"/>
                      <a:pt x="157" y="308"/>
                    </a:cubicBezTo>
                    <a:cubicBezTo>
                      <a:pt x="158" y="314"/>
                      <a:pt x="160" y="321"/>
                      <a:pt x="160" y="328"/>
                    </a:cubicBezTo>
                    <a:cubicBezTo>
                      <a:pt x="161" y="333"/>
                      <a:pt x="161" y="338"/>
                      <a:pt x="160" y="342"/>
                    </a:cubicBezTo>
                    <a:cubicBezTo>
                      <a:pt x="159" y="347"/>
                      <a:pt x="156" y="352"/>
                      <a:pt x="155" y="356"/>
                    </a:cubicBezTo>
                    <a:cubicBezTo>
                      <a:pt x="154" y="364"/>
                      <a:pt x="158" y="371"/>
                      <a:pt x="156" y="378"/>
                    </a:cubicBezTo>
                    <a:cubicBezTo>
                      <a:pt x="156" y="380"/>
                      <a:pt x="152" y="377"/>
                      <a:pt x="150" y="378"/>
                    </a:cubicBezTo>
                    <a:cubicBezTo>
                      <a:pt x="147" y="381"/>
                      <a:pt x="145" y="384"/>
                      <a:pt x="144" y="388"/>
                    </a:cubicBezTo>
                    <a:cubicBezTo>
                      <a:pt x="144" y="391"/>
                      <a:pt x="148" y="393"/>
                      <a:pt x="147" y="395"/>
                    </a:cubicBezTo>
                    <a:cubicBezTo>
                      <a:pt x="146" y="397"/>
                      <a:pt x="141" y="396"/>
                      <a:pt x="139" y="398"/>
                    </a:cubicBezTo>
                    <a:cubicBezTo>
                      <a:pt x="136" y="401"/>
                      <a:pt x="135" y="406"/>
                      <a:pt x="132" y="409"/>
                    </a:cubicBezTo>
                    <a:cubicBezTo>
                      <a:pt x="131" y="411"/>
                      <a:pt x="128" y="412"/>
                      <a:pt x="126" y="411"/>
                    </a:cubicBezTo>
                    <a:cubicBezTo>
                      <a:pt x="123" y="409"/>
                      <a:pt x="120" y="405"/>
                      <a:pt x="118" y="402"/>
                    </a:cubicBezTo>
                    <a:cubicBezTo>
                      <a:pt x="118" y="401"/>
                      <a:pt x="119" y="400"/>
                      <a:pt x="119" y="399"/>
                    </a:cubicBezTo>
                    <a:cubicBezTo>
                      <a:pt x="119" y="398"/>
                      <a:pt x="117" y="397"/>
                      <a:pt x="116" y="395"/>
                    </a:cubicBezTo>
                    <a:cubicBezTo>
                      <a:pt x="115" y="392"/>
                      <a:pt x="116" y="389"/>
                      <a:pt x="114" y="386"/>
                    </a:cubicBezTo>
                    <a:cubicBezTo>
                      <a:pt x="113" y="383"/>
                      <a:pt x="110" y="380"/>
                      <a:pt x="109" y="376"/>
                    </a:cubicBezTo>
                    <a:cubicBezTo>
                      <a:pt x="108" y="372"/>
                      <a:pt x="109" y="368"/>
                      <a:pt x="107" y="364"/>
                    </a:cubicBezTo>
                    <a:cubicBezTo>
                      <a:pt x="105" y="359"/>
                      <a:pt x="100" y="354"/>
                      <a:pt x="96" y="348"/>
                    </a:cubicBezTo>
                    <a:cubicBezTo>
                      <a:pt x="94" y="345"/>
                      <a:pt x="92" y="341"/>
                      <a:pt x="91" y="337"/>
                    </a:cubicBezTo>
                    <a:cubicBezTo>
                      <a:pt x="89" y="331"/>
                      <a:pt x="90" y="326"/>
                      <a:pt x="88" y="320"/>
                    </a:cubicBezTo>
                    <a:cubicBezTo>
                      <a:pt x="87" y="318"/>
                      <a:pt x="85" y="316"/>
                      <a:pt x="83" y="313"/>
                    </a:cubicBezTo>
                    <a:cubicBezTo>
                      <a:pt x="81" y="311"/>
                      <a:pt x="79" y="308"/>
                      <a:pt x="77" y="306"/>
                    </a:cubicBezTo>
                    <a:cubicBezTo>
                      <a:pt x="77" y="305"/>
                      <a:pt x="77" y="304"/>
                      <a:pt x="77" y="303"/>
                    </a:cubicBezTo>
                    <a:cubicBezTo>
                      <a:pt x="76" y="300"/>
                      <a:pt x="73" y="298"/>
                      <a:pt x="72" y="295"/>
                    </a:cubicBezTo>
                    <a:cubicBezTo>
                      <a:pt x="71" y="289"/>
                      <a:pt x="72" y="283"/>
                      <a:pt x="71" y="277"/>
                    </a:cubicBezTo>
                    <a:cubicBezTo>
                      <a:pt x="70" y="272"/>
                      <a:pt x="67" y="269"/>
                      <a:pt x="66" y="264"/>
                    </a:cubicBezTo>
                    <a:cubicBezTo>
                      <a:pt x="66" y="263"/>
                      <a:pt x="68" y="262"/>
                      <a:pt x="68" y="261"/>
                    </a:cubicBezTo>
                    <a:cubicBezTo>
                      <a:pt x="68" y="260"/>
                      <a:pt x="65" y="261"/>
                      <a:pt x="65" y="259"/>
                    </a:cubicBezTo>
                    <a:cubicBezTo>
                      <a:pt x="64" y="258"/>
                      <a:pt x="65" y="255"/>
                      <a:pt x="65" y="253"/>
                    </a:cubicBezTo>
                    <a:cubicBezTo>
                      <a:pt x="65" y="252"/>
                      <a:pt x="65" y="250"/>
                      <a:pt x="64" y="248"/>
                    </a:cubicBezTo>
                    <a:cubicBezTo>
                      <a:pt x="63" y="243"/>
                      <a:pt x="60" y="239"/>
                      <a:pt x="60" y="234"/>
                    </a:cubicBezTo>
                    <a:cubicBezTo>
                      <a:pt x="60" y="231"/>
                      <a:pt x="63" y="230"/>
                      <a:pt x="63" y="227"/>
                    </a:cubicBezTo>
                    <a:cubicBezTo>
                      <a:pt x="64" y="224"/>
                      <a:pt x="62" y="221"/>
                      <a:pt x="61" y="219"/>
                    </a:cubicBezTo>
                    <a:cubicBezTo>
                      <a:pt x="60" y="218"/>
                      <a:pt x="58" y="217"/>
                      <a:pt x="59" y="215"/>
                    </a:cubicBezTo>
                    <a:cubicBezTo>
                      <a:pt x="59" y="214"/>
                      <a:pt x="62" y="215"/>
                      <a:pt x="62" y="214"/>
                    </a:cubicBezTo>
                    <a:cubicBezTo>
                      <a:pt x="61" y="212"/>
                      <a:pt x="58" y="214"/>
                      <a:pt x="57" y="213"/>
                    </a:cubicBezTo>
                    <a:cubicBezTo>
                      <a:pt x="56" y="211"/>
                      <a:pt x="57" y="208"/>
                      <a:pt x="57" y="206"/>
                    </a:cubicBezTo>
                    <a:cubicBezTo>
                      <a:pt x="58" y="204"/>
                      <a:pt x="60" y="203"/>
                      <a:pt x="59" y="203"/>
                    </a:cubicBezTo>
                    <a:cubicBezTo>
                      <a:pt x="58" y="201"/>
                      <a:pt x="55" y="201"/>
                      <a:pt x="54" y="203"/>
                    </a:cubicBezTo>
                    <a:cubicBezTo>
                      <a:pt x="53" y="204"/>
                      <a:pt x="53" y="206"/>
                      <a:pt x="53" y="208"/>
                    </a:cubicBezTo>
                    <a:cubicBezTo>
                      <a:pt x="53" y="211"/>
                      <a:pt x="53" y="213"/>
                      <a:pt x="53" y="215"/>
                    </a:cubicBezTo>
                    <a:cubicBezTo>
                      <a:pt x="53" y="217"/>
                      <a:pt x="53" y="219"/>
                      <a:pt x="51" y="220"/>
                    </a:cubicBezTo>
                    <a:cubicBezTo>
                      <a:pt x="49" y="223"/>
                      <a:pt x="46" y="225"/>
                      <a:pt x="42" y="226"/>
                    </a:cubicBezTo>
                    <a:cubicBezTo>
                      <a:pt x="38" y="226"/>
                      <a:pt x="34" y="225"/>
                      <a:pt x="31" y="223"/>
                    </a:cubicBezTo>
                    <a:cubicBezTo>
                      <a:pt x="24" y="219"/>
                      <a:pt x="17" y="214"/>
                      <a:pt x="12" y="208"/>
                    </a:cubicBezTo>
                    <a:cubicBezTo>
                      <a:pt x="11" y="207"/>
                      <a:pt x="11" y="204"/>
                      <a:pt x="12" y="203"/>
                    </a:cubicBezTo>
                    <a:cubicBezTo>
                      <a:pt x="14" y="201"/>
                      <a:pt x="16" y="204"/>
                      <a:pt x="18" y="204"/>
                    </a:cubicBezTo>
                    <a:cubicBezTo>
                      <a:pt x="22" y="202"/>
                      <a:pt x="25" y="199"/>
                      <a:pt x="28" y="197"/>
                    </a:cubicBezTo>
                    <a:cubicBezTo>
                      <a:pt x="29" y="196"/>
                      <a:pt x="32" y="194"/>
                      <a:pt x="33" y="192"/>
                    </a:cubicBezTo>
                    <a:cubicBezTo>
                      <a:pt x="33" y="191"/>
                      <a:pt x="31" y="190"/>
                      <a:pt x="30" y="190"/>
                    </a:cubicBezTo>
                    <a:cubicBezTo>
                      <a:pt x="27" y="191"/>
                      <a:pt x="26" y="194"/>
                      <a:pt x="23" y="194"/>
                    </a:cubicBezTo>
                    <a:cubicBezTo>
                      <a:pt x="20" y="195"/>
                      <a:pt x="15" y="195"/>
                      <a:pt x="12" y="194"/>
                    </a:cubicBezTo>
                    <a:cubicBezTo>
                      <a:pt x="10" y="194"/>
                      <a:pt x="8" y="191"/>
                      <a:pt x="7" y="189"/>
                    </a:cubicBezTo>
                    <a:cubicBezTo>
                      <a:pt x="6" y="188"/>
                      <a:pt x="6" y="187"/>
                      <a:pt x="5" y="186"/>
                    </a:cubicBezTo>
                    <a:cubicBezTo>
                      <a:pt x="5" y="185"/>
                      <a:pt x="6" y="183"/>
                      <a:pt x="5" y="183"/>
                    </a:cubicBezTo>
                    <a:cubicBezTo>
                      <a:pt x="4" y="182"/>
                      <a:pt x="2" y="182"/>
                      <a:pt x="0" y="182"/>
                    </a:cubicBezTo>
                    <a:cubicBezTo>
                      <a:pt x="1" y="181"/>
                      <a:pt x="3" y="180"/>
                      <a:pt x="4" y="179"/>
                    </a:cubicBezTo>
                    <a:cubicBezTo>
                      <a:pt x="5" y="178"/>
                      <a:pt x="7" y="178"/>
                      <a:pt x="8" y="177"/>
                    </a:cubicBezTo>
                    <a:cubicBezTo>
                      <a:pt x="9" y="176"/>
                      <a:pt x="7" y="174"/>
                      <a:pt x="8" y="174"/>
                    </a:cubicBezTo>
                    <a:cubicBezTo>
                      <a:pt x="12" y="173"/>
                      <a:pt x="15" y="174"/>
                      <a:pt x="19" y="175"/>
                    </a:cubicBezTo>
                    <a:cubicBezTo>
                      <a:pt x="21" y="175"/>
                      <a:pt x="23" y="176"/>
                      <a:pt x="25" y="176"/>
                    </a:cubicBezTo>
                    <a:cubicBezTo>
                      <a:pt x="28" y="176"/>
                      <a:pt x="30" y="172"/>
                      <a:pt x="33" y="172"/>
                    </a:cubicBezTo>
                    <a:cubicBezTo>
                      <a:pt x="34" y="172"/>
                      <a:pt x="31" y="175"/>
                      <a:pt x="33" y="175"/>
                    </a:cubicBezTo>
                    <a:cubicBezTo>
                      <a:pt x="34" y="176"/>
                      <a:pt x="37" y="175"/>
                      <a:pt x="37" y="174"/>
                    </a:cubicBezTo>
                    <a:cubicBezTo>
                      <a:pt x="38" y="173"/>
                      <a:pt x="35" y="171"/>
                      <a:pt x="35" y="170"/>
                    </a:cubicBezTo>
                    <a:cubicBezTo>
                      <a:pt x="35" y="169"/>
                      <a:pt x="38" y="169"/>
                      <a:pt x="38" y="169"/>
                    </a:cubicBezTo>
                    <a:cubicBezTo>
                      <a:pt x="37" y="165"/>
                      <a:pt x="33" y="162"/>
                      <a:pt x="32" y="158"/>
                    </a:cubicBezTo>
                    <a:cubicBezTo>
                      <a:pt x="31" y="157"/>
                      <a:pt x="33" y="155"/>
                      <a:pt x="32" y="154"/>
                    </a:cubicBezTo>
                    <a:cubicBezTo>
                      <a:pt x="31" y="154"/>
                      <a:pt x="29" y="155"/>
                      <a:pt x="28" y="154"/>
                    </a:cubicBezTo>
                    <a:cubicBezTo>
                      <a:pt x="25" y="153"/>
                      <a:pt x="24" y="150"/>
                      <a:pt x="23" y="147"/>
                    </a:cubicBezTo>
                    <a:cubicBezTo>
                      <a:pt x="22" y="145"/>
                      <a:pt x="24" y="143"/>
                      <a:pt x="23" y="140"/>
                    </a:cubicBezTo>
                    <a:cubicBezTo>
                      <a:pt x="23" y="139"/>
                      <a:pt x="21" y="139"/>
                      <a:pt x="20" y="138"/>
                    </a:cubicBezTo>
                    <a:cubicBezTo>
                      <a:pt x="18" y="138"/>
                      <a:pt x="16" y="139"/>
                      <a:pt x="15" y="138"/>
                    </a:cubicBezTo>
                    <a:cubicBezTo>
                      <a:pt x="13" y="137"/>
                      <a:pt x="12" y="135"/>
                      <a:pt x="13" y="133"/>
                    </a:cubicBezTo>
                    <a:cubicBezTo>
                      <a:pt x="15" y="127"/>
                      <a:pt x="20" y="123"/>
                      <a:pt x="24" y="118"/>
                    </a:cubicBezTo>
                    <a:cubicBezTo>
                      <a:pt x="25" y="118"/>
                      <a:pt x="26" y="117"/>
                      <a:pt x="27" y="118"/>
                    </a:cubicBezTo>
                    <a:cubicBezTo>
                      <a:pt x="29" y="118"/>
                      <a:pt x="30" y="121"/>
                      <a:pt x="32" y="122"/>
                    </a:cubicBezTo>
                    <a:cubicBezTo>
                      <a:pt x="34" y="122"/>
                      <a:pt x="35" y="119"/>
                      <a:pt x="37" y="118"/>
                    </a:cubicBezTo>
                    <a:cubicBezTo>
                      <a:pt x="39" y="118"/>
                      <a:pt x="42" y="121"/>
                      <a:pt x="43" y="119"/>
                    </a:cubicBezTo>
                    <a:cubicBezTo>
                      <a:pt x="45" y="117"/>
                      <a:pt x="43" y="114"/>
                      <a:pt x="43" y="111"/>
                    </a:cubicBezTo>
                    <a:cubicBezTo>
                      <a:pt x="44" y="110"/>
                      <a:pt x="46" y="111"/>
                      <a:pt x="47" y="110"/>
                    </a:cubicBezTo>
                    <a:cubicBezTo>
                      <a:pt x="49" y="108"/>
                      <a:pt x="49" y="105"/>
                      <a:pt x="51" y="104"/>
                    </a:cubicBezTo>
                    <a:cubicBezTo>
                      <a:pt x="53" y="101"/>
                      <a:pt x="58" y="101"/>
                      <a:pt x="59" y="98"/>
                    </a:cubicBezTo>
                    <a:cubicBezTo>
                      <a:pt x="61" y="95"/>
                      <a:pt x="58" y="90"/>
                      <a:pt x="59" y="87"/>
                    </a:cubicBezTo>
                    <a:cubicBezTo>
                      <a:pt x="60" y="84"/>
                      <a:pt x="65" y="84"/>
                      <a:pt x="67" y="83"/>
                    </a:cubicBezTo>
                    <a:cubicBezTo>
                      <a:pt x="67" y="82"/>
                      <a:pt x="66" y="80"/>
                      <a:pt x="67" y="79"/>
                    </a:cubicBezTo>
                    <a:cubicBezTo>
                      <a:pt x="68" y="77"/>
                      <a:pt x="69" y="74"/>
                      <a:pt x="71" y="72"/>
                    </a:cubicBezTo>
                    <a:cubicBezTo>
                      <a:pt x="72" y="71"/>
                      <a:pt x="74" y="72"/>
                      <a:pt x="74" y="70"/>
                    </a:cubicBezTo>
                    <a:cubicBezTo>
                      <a:pt x="75" y="69"/>
                      <a:pt x="72" y="69"/>
                      <a:pt x="72" y="67"/>
                    </a:cubicBezTo>
                    <a:cubicBezTo>
                      <a:pt x="72" y="66"/>
                      <a:pt x="74" y="65"/>
                      <a:pt x="74" y="63"/>
                    </a:cubicBezTo>
                    <a:cubicBezTo>
                      <a:pt x="74" y="62"/>
                      <a:pt x="72" y="60"/>
                      <a:pt x="73" y="59"/>
                    </a:cubicBezTo>
                    <a:cubicBezTo>
                      <a:pt x="73" y="57"/>
                      <a:pt x="75" y="55"/>
                      <a:pt x="76" y="54"/>
                    </a:cubicBezTo>
                    <a:cubicBezTo>
                      <a:pt x="79" y="52"/>
                      <a:pt x="83" y="52"/>
                      <a:pt x="84" y="50"/>
                    </a:cubicBezTo>
                    <a:cubicBezTo>
                      <a:pt x="85" y="47"/>
                      <a:pt x="81" y="45"/>
                      <a:pt x="79" y="44"/>
                    </a:cubicBezTo>
                    <a:cubicBezTo>
                      <a:pt x="76" y="43"/>
                      <a:pt x="73" y="45"/>
                      <a:pt x="71" y="45"/>
                    </a:cubicBezTo>
                    <a:cubicBezTo>
                      <a:pt x="70" y="44"/>
                      <a:pt x="71" y="43"/>
                      <a:pt x="71" y="42"/>
                    </a:cubicBezTo>
                    <a:cubicBezTo>
                      <a:pt x="69" y="40"/>
                      <a:pt x="66" y="39"/>
                      <a:pt x="65" y="37"/>
                    </a:cubicBezTo>
                    <a:cubicBezTo>
                      <a:pt x="64" y="33"/>
                      <a:pt x="65" y="28"/>
                      <a:pt x="65" y="24"/>
                    </a:cubicBezTo>
                    <a:cubicBezTo>
                      <a:pt x="65" y="21"/>
                      <a:pt x="64" y="18"/>
                      <a:pt x="65" y="15"/>
                    </a:cubicBezTo>
                    <a:cubicBezTo>
                      <a:pt x="65" y="14"/>
                      <a:pt x="67" y="13"/>
                      <a:pt x="69" y="13"/>
                    </a:cubicBezTo>
                    <a:cubicBezTo>
                      <a:pt x="72" y="13"/>
                      <a:pt x="74" y="16"/>
                      <a:pt x="77" y="17"/>
                    </a:cubicBezTo>
                    <a:cubicBezTo>
                      <a:pt x="81" y="18"/>
                      <a:pt x="85" y="17"/>
                      <a:pt x="89" y="17"/>
                    </a:cubicBezTo>
                    <a:cubicBezTo>
                      <a:pt x="92" y="16"/>
                      <a:pt x="95" y="15"/>
                      <a:pt x="97" y="13"/>
                    </a:cubicBezTo>
                    <a:cubicBezTo>
                      <a:pt x="98" y="12"/>
                      <a:pt x="99" y="10"/>
                      <a:pt x="100" y="8"/>
                    </a:cubicBezTo>
                    <a:cubicBezTo>
                      <a:pt x="102" y="6"/>
                      <a:pt x="103" y="4"/>
                      <a:pt x="104" y="2"/>
                    </a:cubicBezTo>
                    <a:cubicBezTo>
                      <a:pt x="106" y="2"/>
                      <a:pt x="108" y="0"/>
                      <a:pt x="110" y="1"/>
                    </a:cubicBezTo>
                    <a:cubicBezTo>
                      <a:pt x="112" y="3"/>
                      <a:pt x="111" y="7"/>
                      <a:pt x="113" y="9"/>
                    </a:cubicBezTo>
                    <a:cubicBezTo>
                      <a:pt x="115" y="12"/>
                      <a:pt x="118" y="13"/>
                      <a:pt x="120" y="16"/>
                    </a:cubicBezTo>
                    <a:cubicBezTo>
                      <a:pt x="121" y="18"/>
                      <a:pt x="123" y="19"/>
                      <a:pt x="123" y="22"/>
                    </a:cubicBezTo>
                    <a:cubicBezTo>
                      <a:pt x="122" y="23"/>
                      <a:pt x="118" y="20"/>
                      <a:pt x="118" y="22"/>
                    </a:cubicBezTo>
                    <a:cubicBezTo>
                      <a:pt x="118" y="25"/>
                      <a:pt x="120" y="28"/>
                      <a:pt x="122" y="31"/>
                    </a:cubicBezTo>
                    <a:cubicBezTo>
                      <a:pt x="123" y="33"/>
                      <a:pt x="126" y="34"/>
                      <a:pt x="128" y="36"/>
                    </a:cubicBezTo>
                    <a:cubicBezTo>
                      <a:pt x="131" y="39"/>
                      <a:pt x="135" y="42"/>
                      <a:pt x="135" y="45"/>
                    </a:cubicBezTo>
                    <a:cubicBezTo>
                      <a:pt x="135" y="49"/>
                      <a:pt x="130" y="51"/>
                      <a:pt x="127" y="52"/>
                    </a:cubicBezTo>
                    <a:cubicBezTo>
                      <a:pt x="125" y="52"/>
                      <a:pt x="124" y="50"/>
                      <a:pt x="123" y="49"/>
                    </a:cubicBezTo>
                    <a:cubicBezTo>
                      <a:pt x="123" y="48"/>
                      <a:pt x="124" y="46"/>
                      <a:pt x="123" y="46"/>
                    </a:cubicBezTo>
                    <a:cubicBezTo>
                      <a:pt x="122" y="46"/>
                      <a:pt x="121" y="48"/>
                      <a:pt x="120" y="49"/>
                    </a:cubicBezTo>
                    <a:cubicBezTo>
                      <a:pt x="119" y="50"/>
                      <a:pt x="119" y="51"/>
                      <a:pt x="119" y="52"/>
                    </a:cubicBezTo>
                    <a:cubicBezTo>
                      <a:pt x="120" y="55"/>
                      <a:pt x="122" y="58"/>
                      <a:pt x="123" y="61"/>
                    </a:cubicBezTo>
                    <a:cubicBezTo>
                      <a:pt x="124" y="63"/>
                      <a:pt x="124" y="66"/>
                      <a:pt x="126" y="67"/>
                    </a:cubicBezTo>
                    <a:cubicBezTo>
                      <a:pt x="127" y="68"/>
                      <a:pt x="129" y="66"/>
                      <a:pt x="130" y="67"/>
                    </a:cubicBezTo>
                    <a:cubicBezTo>
                      <a:pt x="133" y="69"/>
                      <a:pt x="133" y="72"/>
                      <a:pt x="136" y="74"/>
                    </a:cubicBezTo>
                    <a:cubicBezTo>
                      <a:pt x="137" y="75"/>
                      <a:pt x="139" y="74"/>
                      <a:pt x="141" y="74"/>
                    </a:cubicBezTo>
                    <a:cubicBezTo>
                      <a:pt x="144" y="76"/>
                      <a:pt x="147" y="79"/>
                      <a:pt x="150" y="81"/>
                    </a:cubicBezTo>
                    <a:cubicBezTo>
                      <a:pt x="152" y="82"/>
                      <a:pt x="153" y="83"/>
                      <a:pt x="155" y="84"/>
                    </a:cubicBezTo>
                    <a:cubicBezTo>
                      <a:pt x="153" y="86"/>
                      <a:pt x="151" y="88"/>
                      <a:pt x="149" y="90"/>
                    </a:cubicBezTo>
                    <a:cubicBezTo>
                      <a:pt x="147" y="91"/>
                      <a:pt x="146" y="92"/>
                      <a:pt x="145" y="93"/>
                    </a:cubicBezTo>
                    <a:cubicBezTo>
                      <a:pt x="144" y="95"/>
                      <a:pt x="146" y="95"/>
                      <a:pt x="145" y="97"/>
                    </a:cubicBezTo>
                    <a:cubicBezTo>
                      <a:pt x="145" y="99"/>
                      <a:pt x="144" y="101"/>
                      <a:pt x="144" y="104"/>
                    </a:cubicBezTo>
                    <a:cubicBezTo>
                      <a:pt x="145" y="105"/>
                      <a:pt x="147" y="106"/>
                      <a:pt x="148" y="107"/>
                    </a:cubicBezTo>
                    <a:cubicBezTo>
                      <a:pt x="150" y="108"/>
                      <a:pt x="152" y="106"/>
                      <a:pt x="153" y="107"/>
                    </a:cubicBezTo>
                    <a:cubicBezTo>
                      <a:pt x="156" y="110"/>
                      <a:pt x="158" y="114"/>
                      <a:pt x="162" y="117"/>
                    </a:cubicBezTo>
                    <a:cubicBezTo>
                      <a:pt x="166" y="120"/>
                      <a:pt x="171" y="120"/>
                      <a:pt x="175" y="123"/>
                    </a:cubicBezTo>
                    <a:cubicBezTo>
                      <a:pt x="176" y="123"/>
                      <a:pt x="177" y="125"/>
                      <a:pt x="178" y="125"/>
                    </a:cubicBezTo>
                    <a:cubicBezTo>
                      <a:pt x="184" y="126"/>
                      <a:pt x="189" y="125"/>
                      <a:pt x="195" y="126"/>
                    </a:cubicBezTo>
                    <a:cubicBezTo>
                      <a:pt x="198" y="126"/>
                      <a:pt x="202" y="127"/>
                      <a:pt x="204" y="129"/>
                    </a:cubicBezTo>
                    <a:cubicBezTo>
                      <a:pt x="205" y="130"/>
                      <a:pt x="203" y="132"/>
                      <a:pt x="204" y="133"/>
                    </a:cubicBezTo>
                    <a:cubicBezTo>
                      <a:pt x="206" y="135"/>
                      <a:pt x="208" y="137"/>
                      <a:pt x="211" y="138"/>
                    </a:cubicBezTo>
                    <a:cubicBezTo>
                      <a:pt x="212" y="138"/>
                      <a:pt x="213" y="136"/>
                      <a:pt x="214" y="137"/>
                    </a:cubicBezTo>
                    <a:cubicBezTo>
                      <a:pt x="215" y="137"/>
                      <a:pt x="215" y="140"/>
                      <a:pt x="217" y="140"/>
                    </a:cubicBezTo>
                    <a:cubicBezTo>
                      <a:pt x="219" y="141"/>
                      <a:pt x="221" y="140"/>
                      <a:pt x="223" y="140"/>
                    </a:cubicBezTo>
                    <a:cubicBezTo>
                      <a:pt x="226" y="141"/>
                      <a:pt x="228" y="142"/>
                      <a:pt x="231" y="143"/>
                    </a:cubicBezTo>
                    <a:cubicBezTo>
                      <a:pt x="235" y="143"/>
                      <a:pt x="239" y="145"/>
                      <a:pt x="243" y="144"/>
                    </a:cubicBezTo>
                    <a:cubicBezTo>
                      <a:pt x="245" y="144"/>
                      <a:pt x="247" y="142"/>
                      <a:pt x="247" y="141"/>
                    </a:cubicBezTo>
                    <a:cubicBezTo>
                      <a:pt x="247" y="138"/>
                      <a:pt x="245" y="135"/>
                      <a:pt x="244" y="132"/>
                    </a:cubicBezTo>
                    <a:cubicBezTo>
                      <a:pt x="244" y="130"/>
                      <a:pt x="245" y="128"/>
                      <a:pt x="245" y="126"/>
                    </a:cubicBezTo>
                    <a:cubicBezTo>
                      <a:pt x="245" y="124"/>
                      <a:pt x="245" y="122"/>
                      <a:pt x="245" y="121"/>
                    </a:cubicBezTo>
                    <a:cubicBezTo>
                      <a:pt x="247" y="119"/>
                      <a:pt x="248" y="117"/>
                      <a:pt x="250" y="116"/>
                    </a:cubicBezTo>
                    <a:cubicBezTo>
                      <a:pt x="251" y="116"/>
                      <a:pt x="253" y="115"/>
                      <a:pt x="254" y="116"/>
                    </a:cubicBezTo>
                    <a:cubicBezTo>
                      <a:pt x="255" y="118"/>
                      <a:pt x="254" y="121"/>
                      <a:pt x="254" y="123"/>
                    </a:cubicBezTo>
                    <a:cubicBezTo>
                      <a:pt x="254" y="126"/>
                      <a:pt x="255" y="128"/>
                      <a:pt x="255" y="130"/>
                    </a:cubicBezTo>
                    <a:cubicBezTo>
                      <a:pt x="256" y="132"/>
                      <a:pt x="256" y="134"/>
                      <a:pt x="258" y="135"/>
                    </a:cubicBezTo>
                    <a:cubicBezTo>
                      <a:pt x="261" y="137"/>
                      <a:pt x="265" y="138"/>
                      <a:pt x="269" y="138"/>
                    </a:cubicBezTo>
                    <a:cubicBezTo>
                      <a:pt x="271" y="138"/>
                      <a:pt x="271" y="135"/>
                      <a:pt x="273" y="135"/>
                    </a:cubicBezTo>
                    <a:cubicBezTo>
                      <a:pt x="274" y="135"/>
                      <a:pt x="275" y="137"/>
                      <a:pt x="277" y="137"/>
                    </a:cubicBezTo>
                    <a:cubicBezTo>
                      <a:pt x="281" y="137"/>
                      <a:pt x="285" y="136"/>
                      <a:pt x="288" y="135"/>
                    </a:cubicBezTo>
                    <a:cubicBezTo>
                      <a:pt x="291" y="135"/>
                      <a:pt x="295" y="136"/>
                      <a:pt x="296" y="134"/>
                    </a:cubicBezTo>
                    <a:cubicBezTo>
                      <a:pt x="298" y="132"/>
                      <a:pt x="296" y="128"/>
                      <a:pt x="294" y="126"/>
                    </a:cubicBezTo>
                    <a:cubicBezTo>
                      <a:pt x="293" y="125"/>
                      <a:pt x="289" y="126"/>
                      <a:pt x="287" y="125"/>
                    </a:cubicBezTo>
                    <a:cubicBezTo>
                      <a:pt x="286" y="124"/>
                      <a:pt x="288" y="122"/>
                      <a:pt x="288" y="121"/>
                    </a:cubicBezTo>
                    <a:cubicBezTo>
                      <a:pt x="291" y="121"/>
                      <a:pt x="293" y="120"/>
                      <a:pt x="296" y="120"/>
                    </a:cubicBezTo>
                    <a:cubicBezTo>
                      <a:pt x="298" y="119"/>
                      <a:pt x="301" y="121"/>
                      <a:pt x="302" y="120"/>
                    </a:cubicBezTo>
                    <a:cubicBezTo>
                      <a:pt x="303" y="119"/>
                      <a:pt x="300" y="116"/>
                      <a:pt x="301" y="115"/>
                    </a:cubicBezTo>
                    <a:cubicBezTo>
                      <a:pt x="302" y="113"/>
                      <a:pt x="305" y="113"/>
                      <a:pt x="307" y="111"/>
                    </a:cubicBezTo>
                    <a:cubicBezTo>
                      <a:pt x="308" y="110"/>
                      <a:pt x="307" y="107"/>
                      <a:pt x="308" y="106"/>
                    </a:cubicBezTo>
                    <a:cubicBezTo>
                      <a:pt x="311" y="104"/>
                      <a:pt x="315" y="106"/>
                      <a:pt x="318" y="105"/>
                    </a:cubicBezTo>
                    <a:cubicBezTo>
                      <a:pt x="319" y="104"/>
                      <a:pt x="317" y="102"/>
                      <a:pt x="317" y="101"/>
                    </a:cubicBezTo>
                    <a:cubicBezTo>
                      <a:pt x="319" y="99"/>
                      <a:pt x="322" y="98"/>
                      <a:pt x="324" y="98"/>
                    </a:cubicBezTo>
                    <a:cubicBezTo>
                      <a:pt x="327" y="98"/>
                      <a:pt x="329" y="101"/>
                      <a:pt x="332" y="101"/>
                    </a:cubicBezTo>
                    <a:cubicBezTo>
                      <a:pt x="333" y="102"/>
                      <a:pt x="333" y="100"/>
                      <a:pt x="334" y="100"/>
                    </a:cubicBezTo>
                    <a:cubicBezTo>
                      <a:pt x="336" y="98"/>
                      <a:pt x="338" y="96"/>
                      <a:pt x="341" y="95"/>
                    </a:cubicBezTo>
                    <a:cubicBezTo>
                      <a:pt x="343" y="95"/>
                      <a:pt x="345" y="97"/>
                      <a:pt x="346" y="98"/>
                    </a:cubicBezTo>
                    <a:cubicBezTo>
                      <a:pt x="347" y="100"/>
                      <a:pt x="349" y="102"/>
                      <a:pt x="349" y="105"/>
                    </a:cubicBezTo>
                    <a:cubicBezTo>
                      <a:pt x="348" y="107"/>
                      <a:pt x="344" y="108"/>
                      <a:pt x="344" y="111"/>
                    </a:cubicBezTo>
                    <a:cubicBezTo>
                      <a:pt x="344" y="112"/>
                      <a:pt x="347" y="110"/>
                      <a:pt x="349" y="111"/>
                    </a:cubicBezTo>
                    <a:cubicBezTo>
                      <a:pt x="350" y="111"/>
                      <a:pt x="351" y="113"/>
                      <a:pt x="352" y="113"/>
                    </a:cubicBezTo>
                    <a:cubicBezTo>
                      <a:pt x="354" y="114"/>
                      <a:pt x="357" y="112"/>
                      <a:pt x="359" y="113"/>
                    </a:cubicBezTo>
                    <a:cubicBezTo>
                      <a:pt x="360" y="113"/>
                      <a:pt x="360" y="115"/>
                      <a:pt x="361" y="116"/>
                    </a:cubicBezTo>
                    <a:cubicBezTo>
                      <a:pt x="360" y="118"/>
                      <a:pt x="360" y="119"/>
                      <a:pt x="359" y="120"/>
                    </a:cubicBezTo>
                    <a:cubicBezTo>
                      <a:pt x="358" y="122"/>
                      <a:pt x="356" y="121"/>
                      <a:pt x="355" y="122"/>
                    </a:cubicBezTo>
                    <a:cubicBezTo>
                      <a:pt x="354" y="123"/>
                      <a:pt x="354" y="125"/>
                      <a:pt x="355" y="126"/>
                    </a:cubicBezTo>
                    <a:cubicBezTo>
                      <a:pt x="355" y="128"/>
                      <a:pt x="358" y="129"/>
                      <a:pt x="358" y="131"/>
                    </a:cubicBezTo>
                    <a:cubicBezTo>
                      <a:pt x="358" y="132"/>
                      <a:pt x="356" y="131"/>
                      <a:pt x="355" y="131"/>
                    </a:cubicBezTo>
                    <a:cubicBezTo>
                      <a:pt x="353" y="131"/>
                      <a:pt x="352" y="129"/>
                      <a:pt x="351" y="129"/>
                    </a:cubicBezTo>
                    <a:cubicBezTo>
                      <a:pt x="349" y="129"/>
                      <a:pt x="347" y="130"/>
                      <a:pt x="345" y="131"/>
                    </a:cubicBezTo>
                    <a:cubicBezTo>
                      <a:pt x="343" y="133"/>
                      <a:pt x="342" y="135"/>
                      <a:pt x="340" y="137"/>
                    </a:cubicBezTo>
                    <a:cubicBezTo>
                      <a:pt x="338" y="138"/>
                      <a:pt x="336" y="138"/>
                      <a:pt x="335" y="139"/>
                    </a:cubicBezTo>
                    <a:cubicBezTo>
                      <a:pt x="334" y="140"/>
                      <a:pt x="335" y="141"/>
                      <a:pt x="335" y="143"/>
                    </a:cubicBezTo>
                    <a:cubicBezTo>
                      <a:pt x="335" y="144"/>
                      <a:pt x="334" y="145"/>
                      <a:pt x="335" y="147"/>
                    </a:cubicBezTo>
                    <a:cubicBezTo>
                      <a:pt x="335" y="147"/>
                      <a:pt x="337" y="148"/>
                      <a:pt x="337" y="149"/>
                    </a:cubicBezTo>
                    <a:cubicBezTo>
                      <a:pt x="336" y="150"/>
                      <a:pt x="334" y="150"/>
                      <a:pt x="333" y="151"/>
                    </a:cubicBezTo>
                    <a:cubicBezTo>
                      <a:pt x="333" y="153"/>
                      <a:pt x="334" y="154"/>
                      <a:pt x="333" y="155"/>
                    </a:cubicBezTo>
                    <a:cubicBezTo>
                      <a:pt x="332" y="157"/>
                      <a:pt x="329" y="156"/>
                      <a:pt x="329" y="158"/>
                    </a:cubicBezTo>
                    <a:cubicBezTo>
                      <a:pt x="329" y="160"/>
                      <a:pt x="333" y="161"/>
                      <a:pt x="332" y="162"/>
                    </a:cubicBezTo>
                    <a:cubicBezTo>
                      <a:pt x="330" y="168"/>
                      <a:pt x="328" y="174"/>
                      <a:pt x="326" y="180"/>
                    </a:cubicBezTo>
                    <a:cubicBezTo>
                      <a:pt x="326" y="181"/>
                      <a:pt x="324" y="181"/>
                      <a:pt x="323" y="181"/>
                    </a:cubicBezTo>
                    <a:cubicBezTo>
                      <a:pt x="321" y="180"/>
                      <a:pt x="319" y="178"/>
                      <a:pt x="317" y="178"/>
                    </a:cubicBezTo>
                    <a:cubicBezTo>
                      <a:pt x="316" y="177"/>
                      <a:pt x="315" y="178"/>
                      <a:pt x="315" y="179"/>
                    </a:cubicBezTo>
                    <a:cubicBezTo>
                      <a:pt x="316" y="181"/>
                      <a:pt x="317" y="183"/>
                      <a:pt x="318" y="185"/>
                    </a:cubicBezTo>
                    <a:cubicBezTo>
                      <a:pt x="318" y="188"/>
                      <a:pt x="319" y="191"/>
                      <a:pt x="318" y="194"/>
                    </a:cubicBezTo>
                    <a:cubicBezTo>
                      <a:pt x="318" y="194"/>
                      <a:pt x="315" y="193"/>
                      <a:pt x="315" y="194"/>
                    </a:cubicBezTo>
                    <a:cubicBezTo>
                      <a:pt x="314" y="197"/>
                      <a:pt x="315" y="201"/>
                      <a:pt x="315" y="204"/>
                    </a:cubicBezTo>
                    <a:cubicBezTo>
                      <a:pt x="315" y="206"/>
                      <a:pt x="314" y="208"/>
                      <a:pt x="313" y="210"/>
                    </a:cubicBezTo>
                    <a:cubicBezTo>
                      <a:pt x="313" y="211"/>
                      <a:pt x="312" y="210"/>
                      <a:pt x="311" y="210"/>
                    </a:cubicBezTo>
                    <a:cubicBezTo>
                      <a:pt x="310" y="210"/>
                      <a:pt x="309" y="210"/>
                      <a:pt x="308" y="210"/>
                    </a:cubicBezTo>
                    <a:cubicBezTo>
                      <a:pt x="308" y="206"/>
                      <a:pt x="309" y="202"/>
                      <a:pt x="308" y="198"/>
                    </a:cubicBezTo>
                    <a:cubicBezTo>
                      <a:pt x="307" y="195"/>
                      <a:pt x="304" y="193"/>
                      <a:pt x="303" y="190"/>
                    </a:cubicBezTo>
                    <a:cubicBezTo>
                      <a:pt x="302" y="187"/>
                      <a:pt x="304" y="185"/>
                      <a:pt x="303" y="183"/>
                    </a:cubicBezTo>
                    <a:cubicBezTo>
                      <a:pt x="302" y="182"/>
                      <a:pt x="299" y="181"/>
                      <a:pt x="298" y="182"/>
                    </a:cubicBezTo>
                    <a:cubicBezTo>
                      <a:pt x="296" y="185"/>
                      <a:pt x="298" y="189"/>
                      <a:pt x="297" y="192"/>
                    </a:cubicBezTo>
                    <a:cubicBezTo>
                      <a:pt x="296" y="194"/>
                      <a:pt x="294" y="195"/>
                      <a:pt x="293" y="194"/>
                    </a:cubicBezTo>
                    <a:cubicBezTo>
                      <a:pt x="291" y="193"/>
                      <a:pt x="293" y="190"/>
                      <a:pt x="291" y="189"/>
                    </a:cubicBezTo>
                    <a:cubicBezTo>
                      <a:pt x="290" y="189"/>
                      <a:pt x="289" y="192"/>
                      <a:pt x="287" y="192"/>
                    </a:cubicBezTo>
                    <a:cubicBezTo>
                      <a:pt x="286" y="192"/>
                      <a:pt x="286" y="190"/>
                      <a:pt x="286" y="188"/>
                    </a:cubicBezTo>
                    <a:cubicBezTo>
                      <a:pt x="286" y="184"/>
                      <a:pt x="287" y="180"/>
                      <a:pt x="289" y="177"/>
                    </a:cubicBezTo>
                    <a:cubicBezTo>
                      <a:pt x="290" y="175"/>
                      <a:pt x="294" y="175"/>
                      <a:pt x="296" y="173"/>
                    </a:cubicBezTo>
                    <a:cubicBezTo>
                      <a:pt x="297" y="171"/>
                      <a:pt x="298" y="169"/>
                      <a:pt x="300" y="167"/>
                    </a:cubicBezTo>
                    <a:cubicBezTo>
                      <a:pt x="301" y="166"/>
                      <a:pt x="303" y="168"/>
                      <a:pt x="303" y="167"/>
                    </a:cubicBezTo>
                    <a:cubicBezTo>
                      <a:pt x="303" y="165"/>
                      <a:pt x="302" y="164"/>
                      <a:pt x="301" y="163"/>
                    </a:cubicBezTo>
                    <a:cubicBezTo>
                      <a:pt x="299" y="162"/>
                      <a:pt x="297" y="160"/>
                      <a:pt x="295" y="160"/>
                    </a:cubicBezTo>
                    <a:cubicBezTo>
                      <a:pt x="289" y="159"/>
                      <a:pt x="282" y="160"/>
                      <a:pt x="276" y="160"/>
                    </a:cubicBezTo>
                    <a:cubicBezTo>
                      <a:pt x="274" y="160"/>
                      <a:pt x="272" y="159"/>
                      <a:pt x="271" y="158"/>
                    </a:cubicBezTo>
                    <a:cubicBezTo>
                      <a:pt x="270" y="156"/>
                      <a:pt x="272" y="154"/>
                      <a:pt x="272" y="151"/>
                    </a:cubicBezTo>
                    <a:cubicBezTo>
                      <a:pt x="272" y="149"/>
                      <a:pt x="271" y="146"/>
                      <a:pt x="269" y="146"/>
                    </a:cubicBezTo>
                    <a:cubicBezTo>
                      <a:pt x="267" y="145"/>
                      <a:pt x="266" y="150"/>
                      <a:pt x="264" y="149"/>
                    </a:cubicBezTo>
                    <a:cubicBezTo>
                      <a:pt x="262" y="148"/>
                      <a:pt x="262" y="144"/>
                      <a:pt x="259" y="143"/>
                    </a:cubicBezTo>
                    <a:cubicBezTo>
                      <a:pt x="258" y="142"/>
                      <a:pt x="257" y="145"/>
                      <a:pt x="256" y="144"/>
                    </a:cubicBezTo>
                    <a:cubicBezTo>
                      <a:pt x="254" y="143"/>
                      <a:pt x="253" y="139"/>
                      <a:pt x="250" y="138"/>
                    </a:cubicBezTo>
                    <a:cubicBezTo>
                      <a:pt x="249" y="138"/>
                      <a:pt x="249" y="140"/>
                      <a:pt x="250" y="141"/>
                    </a:cubicBezTo>
                    <a:cubicBezTo>
                      <a:pt x="250" y="142"/>
                      <a:pt x="252" y="142"/>
                      <a:pt x="252" y="143"/>
                    </a:cubicBezTo>
                    <a:cubicBezTo>
                      <a:pt x="252" y="145"/>
                      <a:pt x="249" y="147"/>
                      <a:pt x="249" y="150"/>
                    </a:cubicBezTo>
                    <a:cubicBezTo>
                      <a:pt x="249" y="152"/>
                      <a:pt x="251" y="153"/>
                      <a:pt x="252" y="154"/>
                    </a:cubicBezTo>
                    <a:cubicBezTo>
                      <a:pt x="254" y="157"/>
                      <a:pt x="259" y="158"/>
                      <a:pt x="259" y="161"/>
                    </a:cubicBezTo>
                    <a:cubicBezTo>
                      <a:pt x="259" y="163"/>
                      <a:pt x="255" y="161"/>
                      <a:pt x="254" y="162"/>
                    </a:cubicBezTo>
                    <a:cubicBezTo>
                      <a:pt x="253" y="162"/>
                      <a:pt x="255" y="164"/>
                      <a:pt x="254" y="165"/>
                    </a:cubicBezTo>
                    <a:cubicBezTo>
                      <a:pt x="254" y="166"/>
                      <a:pt x="253" y="165"/>
                      <a:pt x="252" y="166"/>
                    </a:cubicBezTo>
                    <a:cubicBezTo>
                      <a:pt x="252" y="167"/>
                      <a:pt x="251" y="168"/>
                      <a:pt x="251" y="169"/>
                    </a:cubicBezTo>
                    <a:cubicBezTo>
                      <a:pt x="252" y="171"/>
                      <a:pt x="255" y="171"/>
                      <a:pt x="256" y="172"/>
                    </a:cubicBezTo>
                    <a:cubicBezTo>
                      <a:pt x="258" y="173"/>
                      <a:pt x="259" y="174"/>
                      <a:pt x="259" y="176"/>
                    </a:cubicBezTo>
                    <a:cubicBezTo>
                      <a:pt x="259" y="178"/>
                      <a:pt x="256" y="179"/>
                      <a:pt x="256" y="181"/>
                    </a:cubicBezTo>
                    <a:cubicBezTo>
                      <a:pt x="255" y="182"/>
                      <a:pt x="257" y="183"/>
                      <a:pt x="258" y="184"/>
                    </a:cubicBezTo>
                    <a:cubicBezTo>
                      <a:pt x="259" y="186"/>
                      <a:pt x="258" y="188"/>
                      <a:pt x="259" y="190"/>
                    </a:cubicBezTo>
                    <a:cubicBezTo>
                      <a:pt x="260" y="191"/>
                      <a:pt x="262" y="189"/>
                      <a:pt x="263" y="190"/>
                    </a:cubicBezTo>
                    <a:cubicBezTo>
                      <a:pt x="263" y="191"/>
                      <a:pt x="262" y="192"/>
                      <a:pt x="262" y="193"/>
                    </a:cubicBezTo>
                    <a:cubicBezTo>
                      <a:pt x="262" y="194"/>
                      <a:pt x="262" y="195"/>
                      <a:pt x="262" y="197"/>
                    </a:cubicBezTo>
                    <a:cubicBezTo>
                      <a:pt x="262" y="198"/>
                      <a:pt x="263" y="199"/>
                      <a:pt x="263" y="201"/>
                    </a:cubicBezTo>
                    <a:cubicBezTo>
                      <a:pt x="263" y="202"/>
                      <a:pt x="263" y="203"/>
                      <a:pt x="263" y="205"/>
                    </a:cubicBezTo>
                    <a:cubicBezTo>
                      <a:pt x="263" y="207"/>
                      <a:pt x="265" y="209"/>
                      <a:pt x="266" y="21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19" name="Freeform 2630"/>
              <p:cNvSpPr>
                <a:spLocks noChangeAspect="1"/>
              </p:cNvSpPr>
              <p:nvPr/>
            </p:nvSpPr>
            <p:spPr bwMode="auto">
              <a:xfrm>
                <a:off x="6628864" y="3230246"/>
                <a:ext cx="83416" cy="48724"/>
              </a:xfrm>
              <a:custGeom>
                <a:avLst/>
                <a:gdLst>
                  <a:gd name="T0" fmla="*/ 39 w 43"/>
                  <a:gd name="T1" fmla="*/ 10 h 25"/>
                  <a:gd name="T2" fmla="*/ 38 w 43"/>
                  <a:gd name="T3" fmla="*/ 14 h 25"/>
                  <a:gd name="T4" fmla="*/ 46 w 43"/>
                  <a:gd name="T5" fmla="*/ 16 h 25"/>
                  <a:gd name="T6" fmla="*/ 49 w 43"/>
                  <a:gd name="T7" fmla="*/ 25 h 25"/>
                  <a:gd name="T8" fmla="*/ 39 w 43"/>
                  <a:gd name="T9" fmla="*/ 26 h 25"/>
                  <a:gd name="T10" fmla="*/ 26 w 43"/>
                  <a:gd name="T11" fmla="*/ 29 h 25"/>
                  <a:gd name="T12" fmla="*/ 21 w 43"/>
                  <a:gd name="T13" fmla="*/ 26 h 25"/>
                  <a:gd name="T14" fmla="*/ 17 w 43"/>
                  <a:gd name="T15" fmla="*/ 30 h 25"/>
                  <a:gd name="T16" fmla="*/ 4 w 43"/>
                  <a:gd name="T17" fmla="*/ 26 h 25"/>
                  <a:gd name="T18" fmla="*/ 0 w 43"/>
                  <a:gd name="T19" fmla="*/ 20 h 25"/>
                  <a:gd name="T20" fmla="*/ 5 w 43"/>
                  <a:gd name="T21" fmla="*/ 11 h 25"/>
                  <a:gd name="T22" fmla="*/ 6 w 43"/>
                  <a:gd name="T23" fmla="*/ 5 h 25"/>
                  <a:gd name="T24" fmla="*/ 11 w 43"/>
                  <a:gd name="T25" fmla="*/ 1 h 25"/>
                  <a:gd name="T26" fmla="*/ 15 w 43"/>
                  <a:gd name="T27" fmla="*/ 2 h 25"/>
                  <a:gd name="T28" fmla="*/ 20 w 43"/>
                  <a:gd name="T29" fmla="*/ 1 h 25"/>
                  <a:gd name="T30" fmla="*/ 25 w 43"/>
                  <a:gd name="T31" fmla="*/ 5 h 25"/>
                  <a:gd name="T32" fmla="*/ 33 w 43"/>
                  <a:gd name="T33" fmla="*/ 6 h 25"/>
                  <a:gd name="T34" fmla="*/ 38 w 43"/>
                  <a:gd name="T35" fmla="*/ 5 h 25"/>
                  <a:gd name="T36" fmla="*/ 39 w 43"/>
                  <a:gd name="T37" fmla="*/ 10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3"/>
                  <a:gd name="T58" fmla="*/ 0 h 25"/>
                  <a:gd name="T59" fmla="*/ 43 w 43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3" h="25">
                    <a:moveTo>
                      <a:pt x="33" y="8"/>
                    </a:moveTo>
                    <a:cubicBezTo>
                      <a:pt x="33" y="9"/>
                      <a:pt x="31" y="11"/>
                      <a:pt x="32" y="12"/>
                    </a:cubicBezTo>
                    <a:cubicBezTo>
                      <a:pt x="34" y="13"/>
                      <a:pt x="38" y="12"/>
                      <a:pt x="39" y="13"/>
                    </a:cubicBezTo>
                    <a:cubicBezTo>
                      <a:pt x="41" y="15"/>
                      <a:pt x="43" y="19"/>
                      <a:pt x="41" y="21"/>
                    </a:cubicBezTo>
                    <a:cubicBezTo>
                      <a:pt x="40" y="23"/>
                      <a:pt x="36" y="22"/>
                      <a:pt x="33" y="22"/>
                    </a:cubicBezTo>
                    <a:cubicBezTo>
                      <a:pt x="30" y="23"/>
                      <a:pt x="26" y="24"/>
                      <a:pt x="22" y="24"/>
                    </a:cubicBezTo>
                    <a:cubicBezTo>
                      <a:pt x="20" y="24"/>
                      <a:pt x="19" y="22"/>
                      <a:pt x="18" y="22"/>
                    </a:cubicBezTo>
                    <a:cubicBezTo>
                      <a:pt x="16" y="22"/>
                      <a:pt x="16" y="25"/>
                      <a:pt x="14" y="25"/>
                    </a:cubicBezTo>
                    <a:cubicBezTo>
                      <a:pt x="10" y="25"/>
                      <a:pt x="6" y="24"/>
                      <a:pt x="3" y="22"/>
                    </a:cubicBezTo>
                    <a:cubicBezTo>
                      <a:pt x="1" y="21"/>
                      <a:pt x="1" y="19"/>
                      <a:pt x="0" y="17"/>
                    </a:cubicBezTo>
                    <a:cubicBezTo>
                      <a:pt x="2" y="15"/>
                      <a:pt x="4" y="11"/>
                      <a:pt x="4" y="9"/>
                    </a:cubicBezTo>
                    <a:cubicBezTo>
                      <a:pt x="5" y="7"/>
                      <a:pt x="4" y="6"/>
                      <a:pt x="5" y="4"/>
                    </a:cubicBezTo>
                    <a:cubicBezTo>
                      <a:pt x="6" y="3"/>
                      <a:pt x="8" y="2"/>
                      <a:pt x="9" y="1"/>
                    </a:cubicBezTo>
                    <a:cubicBezTo>
                      <a:pt x="11" y="1"/>
                      <a:pt x="12" y="2"/>
                      <a:pt x="13" y="2"/>
                    </a:cubicBezTo>
                    <a:cubicBezTo>
                      <a:pt x="15" y="2"/>
                      <a:pt x="16" y="0"/>
                      <a:pt x="17" y="1"/>
                    </a:cubicBezTo>
                    <a:cubicBezTo>
                      <a:pt x="19" y="1"/>
                      <a:pt x="20" y="3"/>
                      <a:pt x="21" y="4"/>
                    </a:cubicBezTo>
                    <a:cubicBezTo>
                      <a:pt x="23" y="5"/>
                      <a:pt x="25" y="5"/>
                      <a:pt x="28" y="5"/>
                    </a:cubicBezTo>
                    <a:cubicBezTo>
                      <a:pt x="29" y="5"/>
                      <a:pt x="31" y="4"/>
                      <a:pt x="32" y="4"/>
                    </a:cubicBezTo>
                    <a:cubicBezTo>
                      <a:pt x="33" y="5"/>
                      <a:pt x="33" y="7"/>
                      <a:pt x="33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20" name="Freeform 2631"/>
              <p:cNvSpPr>
                <a:spLocks noChangeAspect="1"/>
              </p:cNvSpPr>
              <p:nvPr/>
            </p:nvSpPr>
            <p:spPr bwMode="auto">
              <a:xfrm>
                <a:off x="6411331" y="3168529"/>
                <a:ext cx="201178" cy="123434"/>
              </a:xfrm>
              <a:custGeom>
                <a:avLst/>
                <a:gdLst>
                  <a:gd name="T0" fmla="*/ 121 w 103"/>
                  <a:gd name="T1" fmla="*/ 47 h 63"/>
                  <a:gd name="T2" fmla="*/ 121 w 103"/>
                  <a:gd name="T3" fmla="*/ 53 h 63"/>
                  <a:gd name="T4" fmla="*/ 119 w 103"/>
                  <a:gd name="T5" fmla="*/ 60 h 63"/>
                  <a:gd name="T6" fmla="*/ 123 w 103"/>
                  <a:gd name="T7" fmla="*/ 71 h 63"/>
                  <a:gd name="T8" fmla="*/ 118 w 103"/>
                  <a:gd name="T9" fmla="*/ 75 h 63"/>
                  <a:gd name="T10" fmla="*/ 104 w 103"/>
                  <a:gd name="T11" fmla="*/ 74 h 63"/>
                  <a:gd name="T12" fmla="*/ 94 w 103"/>
                  <a:gd name="T13" fmla="*/ 70 h 63"/>
                  <a:gd name="T14" fmla="*/ 87 w 103"/>
                  <a:gd name="T15" fmla="*/ 70 h 63"/>
                  <a:gd name="T16" fmla="*/ 84 w 103"/>
                  <a:gd name="T17" fmla="*/ 66 h 63"/>
                  <a:gd name="T18" fmla="*/ 80 w 103"/>
                  <a:gd name="T19" fmla="*/ 68 h 63"/>
                  <a:gd name="T20" fmla="*/ 72 w 103"/>
                  <a:gd name="T21" fmla="*/ 62 h 63"/>
                  <a:gd name="T22" fmla="*/ 72 w 103"/>
                  <a:gd name="T23" fmla="*/ 57 h 63"/>
                  <a:gd name="T24" fmla="*/ 61 w 103"/>
                  <a:gd name="T25" fmla="*/ 53 h 63"/>
                  <a:gd name="T26" fmla="*/ 41 w 103"/>
                  <a:gd name="T27" fmla="*/ 52 h 63"/>
                  <a:gd name="T28" fmla="*/ 37 w 103"/>
                  <a:gd name="T29" fmla="*/ 49 h 63"/>
                  <a:gd name="T30" fmla="*/ 21 w 103"/>
                  <a:gd name="T31" fmla="*/ 42 h 63"/>
                  <a:gd name="T32" fmla="*/ 11 w 103"/>
                  <a:gd name="T33" fmla="*/ 30 h 63"/>
                  <a:gd name="T34" fmla="*/ 5 w 103"/>
                  <a:gd name="T35" fmla="*/ 30 h 63"/>
                  <a:gd name="T36" fmla="*/ 0 w 103"/>
                  <a:gd name="T37" fmla="*/ 27 h 63"/>
                  <a:gd name="T38" fmla="*/ 1 w 103"/>
                  <a:gd name="T39" fmla="*/ 18 h 63"/>
                  <a:gd name="T40" fmla="*/ 1 w 103"/>
                  <a:gd name="T41" fmla="*/ 13 h 63"/>
                  <a:gd name="T42" fmla="*/ 6 w 103"/>
                  <a:gd name="T43" fmla="*/ 10 h 63"/>
                  <a:gd name="T44" fmla="*/ 13 w 103"/>
                  <a:gd name="T45" fmla="*/ 2 h 63"/>
                  <a:gd name="T46" fmla="*/ 18 w 103"/>
                  <a:gd name="T47" fmla="*/ 6 h 63"/>
                  <a:gd name="T48" fmla="*/ 18 w 103"/>
                  <a:gd name="T49" fmla="*/ 1 h 63"/>
                  <a:gd name="T50" fmla="*/ 23 w 103"/>
                  <a:gd name="T51" fmla="*/ 1 h 63"/>
                  <a:gd name="T52" fmla="*/ 32 w 103"/>
                  <a:gd name="T53" fmla="*/ 5 h 63"/>
                  <a:gd name="T54" fmla="*/ 44 w 103"/>
                  <a:gd name="T55" fmla="*/ 13 h 63"/>
                  <a:gd name="T56" fmla="*/ 51 w 103"/>
                  <a:gd name="T57" fmla="*/ 22 h 63"/>
                  <a:gd name="T58" fmla="*/ 55 w 103"/>
                  <a:gd name="T59" fmla="*/ 17 h 63"/>
                  <a:gd name="T60" fmla="*/ 60 w 103"/>
                  <a:gd name="T61" fmla="*/ 17 h 63"/>
                  <a:gd name="T62" fmla="*/ 60 w 103"/>
                  <a:gd name="T63" fmla="*/ 24 h 63"/>
                  <a:gd name="T64" fmla="*/ 62 w 103"/>
                  <a:gd name="T65" fmla="*/ 29 h 63"/>
                  <a:gd name="T66" fmla="*/ 75 w 103"/>
                  <a:gd name="T67" fmla="*/ 30 h 63"/>
                  <a:gd name="T68" fmla="*/ 75 w 103"/>
                  <a:gd name="T69" fmla="*/ 36 h 63"/>
                  <a:gd name="T70" fmla="*/ 82 w 103"/>
                  <a:gd name="T71" fmla="*/ 37 h 63"/>
                  <a:gd name="T72" fmla="*/ 87 w 103"/>
                  <a:gd name="T73" fmla="*/ 43 h 63"/>
                  <a:gd name="T74" fmla="*/ 92 w 103"/>
                  <a:gd name="T75" fmla="*/ 42 h 63"/>
                  <a:gd name="T76" fmla="*/ 96 w 103"/>
                  <a:gd name="T77" fmla="*/ 46 h 63"/>
                  <a:gd name="T78" fmla="*/ 100 w 103"/>
                  <a:gd name="T79" fmla="*/ 42 h 63"/>
                  <a:gd name="T80" fmla="*/ 105 w 103"/>
                  <a:gd name="T81" fmla="*/ 47 h 63"/>
                  <a:gd name="T82" fmla="*/ 110 w 103"/>
                  <a:gd name="T83" fmla="*/ 49 h 63"/>
                  <a:gd name="T84" fmla="*/ 117 w 103"/>
                  <a:gd name="T85" fmla="*/ 46 h 63"/>
                  <a:gd name="T86" fmla="*/ 121 w 103"/>
                  <a:gd name="T87" fmla="*/ 47 h 63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3"/>
                  <a:gd name="T133" fmla="*/ 0 h 63"/>
                  <a:gd name="T134" fmla="*/ 103 w 103"/>
                  <a:gd name="T135" fmla="*/ 63 h 63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3" h="63">
                    <a:moveTo>
                      <a:pt x="101" y="39"/>
                    </a:moveTo>
                    <a:cubicBezTo>
                      <a:pt x="101" y="40"/>
                      <a:pt x="101" y="42"/>
                      <a:pt x="101" y="44"/>
                    </a:cubicBezTo>
                    <a:cubicBezTo>
                      <a:pt x="101" y="46"/>
                      <a:pt x="100" y="48"/>
                      <a:pt x="100" y="50"/>
                    </a:cubicBezTo>
                    <a:cubicBezTo>
                      <a:pt x="101" y="53"/>
                      <a:pt x="103" y="56"/>
                      <a:pt x="103" y="59"/>
                    </a:cubicBezTo>
                    <a:cubicBezTo>
                      <a:pt x="103" y="60"/>
                      <a:pt x="101" y="62"/>
                      <a:pt x="99" y="62"/>
                    </a:cubicBezTo>
                    <a:cubicBezTo>
                      <a:pt x="95" y="63"/>
                      <a:pt x="91" y="61"/>
                      <a:pt x="87" y="61"/>
                    </a:cubicBezTo>
                    <a:cubicBezTo>
                      <a:pt x="84" y="60"/>
                      <a:pt x="82" y="59"/>
                      <a:pt x="79" y="58"/>
                    </a:cubicBezTo>
                    <a:cubicBezTo>
                      <a:pt x="77" y="58"/>
                      <a:pt x="75" y="59"/>
                      <a:pt x="73" y="58"/>
                    </a:cubicBezTo>
                    <a:cubicBezTo>
                      <a:pt x="71" y="58"/>
                      <a:pt x="71" y="55"/>
                      <a:pt x="70" y="55"/>
                    </a:cubicBezTo>
                    <a:cubicBezTo>
                      <a:pt x="69" y="54"/>
                      <a:pt x="68" y="56"/>
                      <a:pt x="67" y="56"/>
                    </a:cubicBezTo>
                    <a:cubicBezTo>
                      <a:pt x="64" y="55"/>
                      <a:pt x="62" y="53"/>
                      <a:pt x="60" y="51"/>
                    </a:cubicBezTo>
                    <a:cubicBezTo>
                      <a:pt x="59" y="50"/>
                      <a:pt x="61" y="48"/>
                      <a:pt x="60" y="47"/>
                    </a:cubicBezTo>
                    <a:cubicBezTo>
                      <a:pt x="58" y="45"/>
                      <a:pt x="54" y="44"/>
                      <a:pt x="51" y="44"/>
                    </a:cubicBezTo>
                    <a:cubicBezTo>
                      <a:pt x="45" y="43"/>
                      <a:pt x="40" y="44"/>
                      <a:pt x="34" y="43"/>
                    </a:cubicBezTo>
                    <a:cubicBezTo>
                      <a:pt x="33" y="43"/>
                      <a:pt x="32" y="41"/>
                      <a:pt x="31" y="41"/>
                    </a:cubicBezTo>
                    <a:cubicBezTo>
                      <a:pt x="27" y="38"/>
                      <a:pt x="22" y="38"/>
                      <a:pt x="18" y="35"/>
                    </a:cubicBezTo>
                    <a:cubicBezTo>
                      <a:pt x="14" y="32"/>
                      <a:pt x="12" y="28"/>
                      <a:pt x="9" y="25"/>
                    </a:cubicBezTo>
                    <a:cubicBezTo>
                      <a:pt x="8" y="24"/>
                      <a:pt x="6" y="26"/>
                      <a:pt x="4" y="25"/>
                    </a:cubicBezTo>
                    <a:cubicBezTo>
                      <a:pt x="3" y="24"/>
                      <a:pt x="1" y="23"/>
                      <a:pt x="0" y="22"/>
                    </a:cubicBezTo>
                    <a:cubicBezTo>
                      <a:pt x="0" y="19"/>
                      <a:pt x="1" y="17"/>
                      <a:pt x="1" y="15"/>
                    </a:cubicBezTo>
                    <a:cubicBezTo>
                      <a:pt x="2" y="13"/>
                      <a:pt x="0" y="13"/>
                      <a:pt x="1" y="11"/>
                    </a:cubicBezTo>
                    <a:cubicBezTo>
                      <a:pt x="2" y="10"/>
                      <a:pt x="3" y="9"/>
                      <a:pt x="5" y="8"/>
                    </a:cubicBezTo>
                    <a:cubicBezTo>
                      <a:pt x="7" y="6"/>
                      <a:pt x="9" y="4"/>
                      <a:pt x="11" y="2"/>
                    </a:cubicBezTo>
                    <a:cubicBezTo>
                      <a:pt x="12" y="3"/>
                      <a:pt x="13" y="6"/>
                      <a:pt x="15" y="5"/>
                    </a:cubicBezTo>
                    <a:cubicBezTo>
                      <a:pt x="16" y="5"/>
                      <a:pt x="14" y="2"/>
                      <a:pt x="15" y="1"/>
                    </a:cubicBezTo>
                    <a:cubicBezTo>
                      <a:pt x="16" y="0"/>
                      <a:pt x="18" y="1"/>
                      <a:pt x="19" y="1"/>
                    </a:cubicBezTo>
                    <a:cubicBezTo>
                      <a:pt x="21" y="2"/>
                      <a:pt x="24" y="3"/>
                      <a:pt x="27" y="4"/>
                    </a:cubicBezTo>
                    <a:cubicBezTo>
                      <a:pt x="30" y="6"/>
                      <a:pt x="34" y="9"/>
                      <a:pt x="37" y="11"/>
                    </a:cubicBezTo>
                    <a:cubicBezTo>
                      <a:pt x="39" y="13"/>
                      <a:pt x="40" y="17"/>
                      <a:pt x="43" y="18"/>
                    </a:cubicBezTo>
                    <a:cubicBezTo>
                      <a:pt x="45" y="18"/>
                      <a:pt x="45" y="14"/>
                      <a:pt x="46" y="14"/>
                    </a:cubicBezTo>
                    <a:cubicBezTo>
                      <a:pt x="47" y="13"/>
                      <a:pt x="49" y="13"/>
                      <a:pt x="50" y="14"/>
                    </a:cubicBezTo>
                    <a:cubicBezTo>
                      <a:pt x="51" y="16"/>
                      <a:pt x="49" y="18"/>
                      <a:pt x="50" y="20"/>
                    </a:cubicBezTo>
                    <a:cubicBezTo>
                      <a:pt x="50" y="22"/>
                      <a:pt x="51" y="23"/>
                      <a:pt x="52" y="24"/>
                    </a:cubicBezTo>
                    <a:cubicBezTo>
                      <a:pt x="55" y="25"/>
                      <a:pt x="60" y="24"/>
                      <a:pt x="63" y="25"/>
                    </a:cubicBezTo>
                    <a:cubicBezTo>
                      <a:pt x="64" y="26"/>
                      <a:pt x="62" y="29"/>
                      <a:pt x="63" y="30"/>
                    </a:cubicBezTo>
                    <a:cubicBezTo>
                      <a:pt x="64" y="31"/>
                      <a:pt x="67" y="30"/>
                      <a:pt x="69" y="31"/>
                    </a:cubicBezTo>
                    <a:cubicBezTo>
                      <a:pt x="71" y="32"/>
                      <a:pt x="71" y="35"/>
                      <a:pt x="73" y="36"/>
                    </a:cubicBezTo>
                    <a:cubicBezTo>
                      <a:pt x="74" y="37"/>
                      <a:pt x="76" y="34"/>
                      <a:pt x="77" y="35"/>
                    </a:cubicBezTo>
                    <a:cubicBezTo>
                      <a:pt x="78" y="35"/>
                      <a:pt x="78" y="38"/>
                      <a:pt x="80" y="38"/>
                    </a:cubicBezTo>
                    <a:cubicBezTo>
                      <a:pt x="81" y="38"/>
                      <a:pt x="82" y="35"/>
                      <a:pt x="84" y="35"/>
                    </a:cubicBezTo>
                    <a:cubicBezTo>
                      <a:pt x="86" y="35"/>
                      <a:pt x="86" y="38"/>
                      <a:pt x="88" y="39"/>
                    </a:cubicBezTo>
                    <a:cubicBezTo>
                      <a:pt x="89" y="40"/>
                      <a:pt x="91" y="41"/>
                      <a:pt x="92" y="41"/>
                    </a:cubicBezTo>
                    <a:cubicBezTo>
                      <a:pt x="94" y="41"/>
                      <a:pt x="96" y="39"/>
                      <a:pt x="98" y="38"/>
                    </a:cubicBezTo>
                    <a:cubicBezTo>
                      <a:pt x="99" y="38"/>
                      <a:pt x="100" y="39"/>
                      <a:pt x="101" y="3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21" name="Freeform 2632"/>
              <p:cNvSpPr>
                <a:spLocks noChangeAspect="1"/>
              </p:cNvSpPr>
              <p:nvPr/>
            </p:nvSpPr>
            <p:spPr bwMode="auto">
              <a:xfrm>
                <a:off x="6617415" y="3278970"/>
                <a:ext cx="122670" cy="167286"/>
              </a:xfrm>
              <a:custGeom>
                <a:avLst/>
                <a:gdLst>
                  <a:gd name="T0" fmla="*/ 25 w 63"/>
                  <a:gd name="T1" fmla="*/ 87 h 86"/>
                  <a:gd name="T2" fmla="*/ 29 w 63"/>
                  <a:gd name="T3" fmla="*/ 79 h 86"/>
                  <a:gd name="T4" fmla="*/ 33 w 63"/>
                  <a:gd name="T5" fmla="*/ 85 h 86"/>
                  <a:gd name="T6" fmla="*/ 40 w 63"/>
                  <a:gd name="T7" fmla="*/ 74 h 86"/>
                  <a:gd name="T8" fmla="*/ 36 w 63"/>
                  <a:gd name="T9" fmla="*/ 59 h 86"/>
                  <a:gd name="T10" fmla="*/ 44 w 63"/>
                  <a:gd name="T11" fmla="*/ 68 h 86"/>
                  <a:gd name="T12" fmla="*/ 55 w 63"/>
                  <a:gd name="T13" fmla="*/ 71 h 86"/>
                  <a:gd name="T14" fmla="*/ 60 w 63"/>
                  <a:gd name="T15" fmla="*/ 84 h 86"/>
                  <a:gd name="T16" fmla="*/ 62 w 63"/>
                  <a:gd name="T17" fmla="*/ 92 h 86"/>
                  <a:gd name="T18" fmla="*/ 65 w 63"/>
                  <a:gd name="T19" fmla="*/ 103 h 86"/>
                  <a:gd name="T20" fmla="*/ 73 w 63"/>
                  <a:gd name="T21" fmla="*/ 101 h 86"/>
                  <a:gd name="T22" fmla="*/ 70 w 63"/>
                  <a:gd name="T23" fmla="*/ 72 h 86"/>
                  <a:gd name="T24" fmla="*/ 64 w 63"/>
                  <a:gd name="T25" fmla="*/ 54 h 86"/>
                  <a:gd name="T26" fmla="*/ 57 w 63"/>
                  <a:gd name="T27" fmla="*/ 65 h 86"/>
                  <a:gd name="T28" fmla="*/ 50 w 63"/>
                  <a:gd name="T29" fmla="*/ 61 h 86"/>
                  <a:gd name="T30" fmla="*/ 44 w 63"/>
                  <a:gd name="T31" fmla="*/ 60 h 86"/>
                  <a:gd name="T32" fmla="*/ 56 w 63"/>
                  <a:gd name="T33" fmla="*/ 42 h 86"/>
                  <a:gd name="T34" fmla="*/ 64 w 63"/>
                  <a:gd name="T35" fmla="*/ 35 h 86"/>
                  <a:gd name="T36" fmla="*/ 55 w 63"/>
                  <a:gd name="T37" fmla="*/ 26 h 86"/>
                  <a:gd name="T38" fmla="*/ 26 w 63"/>
                  <a:gd name="T39" fmla="*/ 24 h 86"/>
                  <a:gd name="T40" fmla="*/ 24 w 63"/>
                  <a:gd name="T41" fmla="*/ 10 h 86"/>
                  <a:gd name="T42" fmla="*/ 12 w 63"/>
                  <a:gd name="T43" fmla="*/ 6 h 86"/>
                  <a:gd name="T44" fmla="*/ 1 w 63"/>
                  <a:gd name="T45" fmla="*/ 0 h 86"/>
                  <a:gd name="T46" fmla="*/ 4 w 63"/>
                  <a:gd name="T47" fmla="*/ 6 h 86"/>
                  <a:gd name="T48" fmla="*/ 4 w 63"/>
                  <a:gd name="T49" fmla="*/ 19 h 86"/>
                  <a:gd name="T50" fmla="*/ 6 w 63"/>
                  <a:gd name="T51" fmla="*/ 29 h 86"/>
                  <a:gd name="T52" fmla="*/ 4 w 63"/>
                  <a:gd name="T53" fmla="*/ 34 h 86"/>
                  <a:gd name="T54" fmla="*/ 8 w 63"/>
                  <a:gd name="T55" fmla="*/ 41 h 86"/>
                  <a:gd name="T56" fmla="*/ 8 w 63"/>
                  <a:gd name="T57" fmla="*/ 52 h 86"/>
                  <a:gd name="T58" fmla="*/ 12 w 63"/>
                  <a:gd name="T59" fmla="*/ 62 h 86"/>
                  <a:gd name="T60" fmla="*/ 15 w 63"/>
                  <a:gd name="T61" fmla="*/ 66 h 86"/>
                  <a:gd name="T62" fmla="*/ 17 w 63"/>
                  <a:gd name="T63" fmla="*/ 75 h 86"/>
                  <a:gd name="T64" fmla="*/ 20 w 63"/>
                  <a:gd name="T65" fmla="*/ 87 h 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63"/>
                  <a:gd name="T100" fmla="*/ 0 h 86"/>
                  <a:gd name="T101" fmla="*/ 63 w 63"/>
                  <a:gd name="T102" fmla="*/ 86 h 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63" h="86">
                    <a:moveTo>
                      <a:pt x="17" y="73"/>
                    </a:moveTo>
                    <a:cubicBezTo>
                      <a:pt x="18" y="73"/>
                      <a:pt x="20" y="74"/>
                      <a:pt x="21" y="73"/>
                    </a:cubicBezTo>
                    <a:cubicBezTo>
                      <a:pt x="22" y="73"/>
                      <a:pt x="24" y="72"/>
                      <a:pt x="24" y="71"/>
                    </a:cubicBezTo>
                    <a:cubicBezTo>
                      <a:pt x="24" y="70"/>
                      <a:pt x="23" y="67"/>
                      <a:pt x="24" y="66"/>
                    </a:cubicBezTo>
                    <a:cubicBezTo>
                      <a:pt x="25" y="65"/>
                      <a:pt x="25" y="68"/>
                      <a:pt x="26" y="69"/>
                    </a:cubicBezTo>
                    <a:cubicBezTo>
                      <a:pt x="27" y="70"/>
                      <a:pt x="27" y="71"/>
                      <a:pt x="28" y="71"/>
                    </a:cubicBezTo>
                    <a:cubicBezTo>
                      <a:pt x="30" y="71"/>
                      <a:pt x="32" y="70"/>
                      <a:pt x="32" y="69"/>
                    </a:cubicBezTo>
                    <a:cubicBezTo>
                      <a:pt x="33" y="67"/>
                      <a:pt x="34" y="64"/>
                      <a:pt x="34" y="62"/>
                    </a:cubicBezTo>
                    <a:cubicBezTo>
                      <a:pt x="33" y="59"/>
                      <a:pt x="31" y="57"/>
                      <a:pt x="30" y="55"/>
                    </a:cubicBezTo>
                    <a:cubicBezTo>
                      <a:pt x="30" y="53"/>
                      <a:pt x="29" y="50"/>
                      <a:pt x="30" y="49"/>
                    </a:cubicBezTo>
                    <a:cubicBezTo>
                      <a:pt x="31" y="48"/>
                      <a:pt x="32" y="50"/>
                      <a:pt x="33" y="52"/>
                    </a:cubicBezTo>
                    <a:cubicBezTo>
                      <a:pt x="34" y="53"/>
                      <a:pt x="35" y="56"/>
                      <a:pt x="37" y="57"/>
                    </a:cubicBezTo>
                    <a:cubicBezTo>
                      <a:pt x="38" y="58"/>
                      <a:pt x="40" y="58"/>
                      <a:pt x="41" y="58"/>
                    </a:cubicBezTo>
                    <a:cubicBezTo>
                      <a:pt x="43" y="58"/>
                      <a:pt x="45" y="58"/>
                      <a:pt x="46" y="59"/>
                    </a:cubicBezTo>
                    <a:cubicBezTo>
                      <a:pt x="48" y="60"/>
                      <a:pt x="50" y="61"/>
                      <a:pt x="50" y="63"/>
                    </a:cubicBezTo>
                    <a:cubicBezTo>
                      <a:pt x="51" y="65"/>
                      <a:pt x="51" y="67"/>
                      <a:pt x="50" y="70"/>
                    </a:cubicBezTo>
                    <a:cubicBezTo>
                      <a:pt x="50" y="71"/>
                      <a:pt x="49" y="73"/>
                      <a:pt x="49" y="74"/>
                    </a:cubicBezTo>
                    <a:cubicBezTo>
                      <a:pt x="49" y="76"/>
                      <a:pt x="52" y="76"/>
                      <a:pt x="52" y="77"/>
                    </a:cubicBezTo>
                    <a:cubicBezTo>
                      <a:pt x="53" y="78"/>
                      <a:pt x="52" y="80"/>
                      <a:pt x="52" y="82"/>
                    </a:cubicBezTo>
                    <a:cubicBezTo>
                      <a:pt x="53" y="83"/>
                      <a:pt x="54" y="85"/>
                      <a:pt x="55" y="86"/>
                    </a:cubicBezTo>
                    <a:cubicBezTo>
                      <a:pt x="55" y="84"/>
                      <a:pt x="54" y="81"/>
                      <a:pt x="55" y="80"/>
                    </a:cubicBezTo>
                    <a:cubicBezTo>
                      <a:pt x="57" y="79"/>
                      <a:pt x="60" y="85"/>
                      <a:pt x="61" y="84"/>
                    </a:cubicBezTo>
                    <a:cubicBezTo>
                      <a:pt x="63" y="80"/>
                      <a:pt x="60" y="76"/>
                      <a:pt x="59" y="72"/>
                    </a:cubicBezTo>
                    <a:cubicBezTo>
                      <a:pt x="59" y="68"/>
                      <a:pt x="60" y="64"/>
                      <a:pt x="59" y="60"/>
                    </a:cubicBezTo>
                    <a:cubicBezTo>
                      <a:pt x="58" y="57"/>
                      <a:pt x="55" y="55"/>
                      <a:pt x="54" y="52"/>
                    </a:cubicBezTo>
                    <a:cubicBezTo>
                      <a:pt x="53" y="49"/>
                      <a:pt x="55" y="47"/>
                      <a:pt x="54" y="45"/>
                    </a:cubicBezTo>
                    <a:cubicBezTo>
                      <a:pt x="53" y="44"/>
                      <a:pt x="50" y="43"/>
                      <a:pt x="49" y="44"/>
                    </a:cubicBezTo>
                    <a:cubicBezTo>
                      <a:pt x="47" y="47"/>
                      <a:pt x="49" y="51"/>
                      <a:pt x="48" y="54"/>
                    </a:cubicBezTo>
                    <a:cubicBezTo>
                      <a:pt x="47" y="56"/>
                      <a:pt x="45" y="57"/>
                      <a:pt x="44" y="56"/>
                    </a:cubicBezTo>
                    <a:cubicBezTo>
                      <a:pt x="42" y="55"/>
                      <a:pt x="44" y="52"/>
                      <a:pt x="42" y="51"/>
                    </a:cubicBezTo>
                    <a:cubicBezTo>
                      <a:pt x="41" y="51"/>
                      <a:pt x="40" y="54"/>
                      <a:pt x="38" y="54"/>
                    </a:cubicBezTo>
                    <a:cubicBezTo>
                      <a:pt x="37" y="54"/>
                      <a:pt x="37" y="52"/>
                      <a:pt x="37" y="50"/>
                    </a:cubicBezTo>
                    <a:cubicBezTo>
                      <a:pt x="37" y="46"/>
                      <a:pt x="38" y="42"/>
                      <a:pt x="40" y="39"/>
                    </a:cubicBezTo>
                    <a:cubicBezTo>
                      <a:pt x="41" y="37"/>
                      <a:pt x="45" y="37"/>
                      <a:pt x="47" y="35"/>
                    </a:cubicBezTo>
                    <a:cubicBezTo>
                      <a:pt x="48" y="33"/>
                      <a:pt x="49" y="31"/>
                      <a:pt x="51" y="29"/>
                    </a:cubicBezTo>
                    <a:cubicBezTo>
                      <a:pt x="52" y="28"/>
                      <a:pt x="54" y="30"/>
                      <a:pt x="54" y="29"/>
                    </a:cubicBezTo>
                    <a:cubicBezTo>
                      <a:pt x="54" y="27"/>
                      <a:pt x="53" y="26"/>
                      <a:pt x="52" y="25"/>
                    </a:cubicBezTo>
                    <a:cubicBezTo>
                      <a:pt x="50" y="24"/>
                      <a:pt x="48" y="22"/>
                      <a:pt x="46" y="22"/>
                    </a:cubicBezTo>
                    <a:cubicBezTo>
                      <a:pt x="40" y="21"/>
                      <a:pt x="33" y="22"/>
                      <a:pt x="27" y="22"/>
                    </a:cubicBezTo>
                    <a:cubicBezTo>
                      <a:pt x="25" y="22"/>
                      <a:pt x="23" y="21"/>
                      <a:pt x="22" y="20"/>
                    </a:cubicBezTo>
                    <a:cubicBezTo>
                      <a:pt x="21" y="18"/>
                      <a:pt x="23" y="16"/>
                      <a:pt x="23" y="13"/>
                    </a:cubicBezTo>
                    <a:cubicBezTo>
                      <a:pt x="23" y="11"/>
                      <a:pt x="22" y="8"/>
                      <a:pt x="20" y="8"/>
                    </a:cubicBezTo>
                    <a:cubicBezTo>
                      <a:pt x="18" y="7"/>
                      <a:pt x="17" y="12"/>
                      <a:pt x="15" y="11"/>
                    </a:cubicBezTo>
                    <a:cubicBezTo>
                      <a:pt x="13" y="10"/>
                      <a:pt x="13" y="6"/>
                      <a:pt x="10" y="5"/>
                    </a:cubicBezTo>
                    <a:cubicBezTo>
                      <a:pt x="9" y="4"/>
                      <a:pt x="8" y="7"/>
                      <a:pt x="7" y="6"/>
                    </a:cubicBezTo>
                    <a:cubicBezTo>
                      <a:pt x="5" y="5"/>
                      <a:pt x="4" y="1"/>
                      <a:pt x="1" y="0"/>
                    </a:cubicBezTo>
                    <a:cubicBezTo>
                      <a:pt x="0" y="0"/>
                      <a:pt x="0" y="2"/>
                      <a:pt x="1" y="3"/>
                    </a:cubicBezTo>
                    <a:cubicBezTo>
                      <a:pt x="1" y="4"/>
                      <a:pt x="3" y="4"/>
                      <a:pt x="3" y="5"/>
                    </a:cubicBezTo>
                    <a:cubicBezTo>
                      <a:pt x="3" y="7"/>
                      <a:pt x="0" y="9"/>
                      <a:pt x="0" y="12"/>
                    </a:cubicBezTo>
                    <a:cubicBezTo>
                      <a:pt x="0" y="14"/>
                      <a:pt x="2" y="15"/>
                      <a:pt x="3" y="16"/>
                    </a:cubicBezTo>
                    <a:cubicBezTo>
                      <a:pt x="5" y="19"/>
                      <a:pt x="10" y="20"/>
                      <a:pt x="10" y="23"/>
                    </a:cubicBezTo>
                    <a:cubicBezTo>
                      <a:pt x="10" y="25"/>
                      <a:pt x="6" y="23"/>
                      <a:pt x="5" y="24"/>
                    </a:cubicBezTo>
                    <a:cubicBezTo>
                      <a:pt x="4" y="24"/>
                      <a:pt x="6" y="26"/>
                      <a:pt x="5" y="27"/>
                    </a:cubicBezTo>
                    <a:cubicBezTo>
                      <a:pt x="5" y="28"/>
                      <a:pt x="4" y="27"/>
                      <a:pt x="3" y="28"/>
                    </a:cubicBezTo>
                    <a:cubicBezTo>
                      <a:pt x="3" y="29"/>
                      <a:pt x="2" y="30"/>
                      <a:pt x="2" y="31"/>
                    </a:cubicBezTo>
                    <a:cubicBezTo>
                      <a:pt x="3" y="33"/>
                      <a:pt x="6" y="33"/>
                      <a:pt x="7" y="34"/>
                    </a:cubicBezTo>
                    <a:cubicBezTo>
                      <a:pt x="9" y="35"/>
                      <a:pt x="10" y="36"/>
                      <a:pt x="10" y="38"/>
                    </a:cubicBezTo>
                    <a:cubicBezTo>
                      <a:pt x="10" y="40"/>
                      <a:pt x="7" y="41"/>
                      <a:pt x="7" y="43"/>
                    </a:cubicBezTo>
                    <a:cubicBezTo>
                      <a:pt x="6" y="44"/>
                      <a:pt x="8" y="45"/>
                      <a:pt x="9" y="46"/>
                    </a:cubicBezTo>
                    <a:cubicBezTo>
                      <a:pt x="10" y="48"/>
                      <a:pt x="9" y="50"/>
                      <a:pt x="10" y="52"/>
                    </a:cubicBezTo>
                    <a:cubicBezTo>
                      <a:pt x="11" y="53"/>
                      <a:pt x="13" y="51"/>
                      <a:pt x="14" y="52"/>
                    </a:cubicBezTo>
                    <a:cubicBezTo>
                      <a:pt x="14" y="53"/>
                      <a:pt x="13" y="54"/>
                      <a:pt x="13" y="55"/>
                    </a:cubicBezTo>
                    <a:cubicBezTo>
                      <a:pt x="13" y="56"/>
                      <a:pt x="13" y="57"/>
                      <a:pt x="13" y="59"/>
                    </a:cubicBezTo>
                    <a:cubicBezTo>
                      <a:pt x="13" y="60"/>
                      <a:pt x="14" y="61"/>
                      <a:pt x="14" y="63"/>
                    </a:cubicBezTo>
                    <a:cubicBezTo>
                      <a:pt x="14" y="64"/>
                      <a:pt x="14" y="65"/>
                      <a:pt x="14" y="67"/>
                    </a:cubicBezTo>
                    <a:cubicBezTo>
                      <a:pt x="14" y="69"/>
                      <a:pt x="16" y="71"/>
                      <a:pt x="17" y="7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22" name="Freeform 2633"/>
              <p:cNvSpPr>
                <a:spLocks noChangeAspect="1"/>
              </p:cNvSpPr>
              <p:nvPr/>
            </p:nvSpPr>
            <p:spPr bwMode="auto">
              <a:xfrm>
                <a:off x="6722092" y="3225373"/>
                <a:ext cx="222440" cy="534340"/>
              </a:xfrm>
              <a:custGeom>
                <a:avLst/>
                <a:gdLst>
                  <a:gd name="T0" fmla="*/ 122 w 113"/>
                  <a:gd name="T1" fmla="*/ 124 h 274"/>
                  <a:gd name="T2" fmla="*/ 104 w 113"/>
                  <a:gd name="T3" fmla="*/ 116 h 274"/>
                  <a:gd name="T4" fmla="*/ 107 w 113"/>
                  <a:gd name="T5" fmla="*/ 100 h 274"/>
                  <a:gd name="T6" fmla="*/ 100 w 113"/>
                  <a:gd name="T7" fmla="*/ 78 h 274"/>
                  <a:gd name="T8" fmla="*/ 77 w 113"/>
                  <a:gd name="T9" fmla="*/ 82 h 274"/>
                  <a:gd name="T10" fmla="*/ 82 w 113"/>
                  <a:gd name="T11" fmla="*/ 58 h 274"/>
                  <a:gd name="T12" fmla="*/ 91 w 113"/>
                  <a:gd name="T13" fmla="*/ 41 h 274"/>
                  <a:gd name="T14" fmla="*/ 82 w 113"/>
                  <a:gd name="T15" fmla="*/ 17 h 274"/>
                  <a:gd name="T16" fmla="*/ 70 w 113"/>
                  <a:gd name="T17" fmla="*/ 6 h 274"/>
                  <a:gd name="T18" fmla="*/ 63 w 113"/>
                  <a:gd name="T19" fmla="*/ 18 h 274"/>
                  <a:gd name="T20" fmla="*/ 58 w 113"/>
                  <a:gd name="T21" fmla="*/ 22 h 274"/>
                  <a:gd name="T22" fmla="*/ 39 w 113"/>
                  <a:gd name="T23" fmla="*/ 34 h 274"/>
                  <a:gd name="T24" fmla="*/ 41 w 113"/>
                  <a:gd name="T25" fmla="*/ 46 h 274"/>
                  <a:gd name="T26" fmla="*/ 31 w 113"/>
                  <a:gd name="T27" fmla="*/ 56 h 274"/>
                  <a:gd name="T28" fmla="*/ 24 w 113"/>
                  <a:gd name="T29" fmla="*/ 84 h 274"/>
                  <a:gd name="T30" fmla="*/ 18 w 113"/>
                  <a:gd name="T31" fmla="*/ 89 h 274"/>
                  <a:gd name="T32" fmla="*/ 14 w 113"/>
                  <a:gd name="T33" fmla="*/ 112 h 274"/>
                  <a:gd name="T34" fmla="*/ 6 w 113"/>
                  <a:gd name="T35" fmla="*/ 119 h 274"/>
                  <a:gd name="T36" fmla="*/ 1 w 113"/>
                  <a:gd name="T37" fmla="*/ 136 h 274"/>
                  <a:gd name="T38" fmla="*/ 11 w 113"/>
                  <a:gd name="T39" fmla="*/ 148 h 274"/>
                  <a:gd name="T40" fmla="*/ 28 w 113"/>
                  <a:gd name="T41" fmla="*/ 156 h 274"/>
                  <a:gd name="T42" fmla="*/ 36 w 113"/>
                  <a:gd name="T43" fmla="*/ 174 h 274"/>
                  <a:gd name="T44" fmla="*/ 40 w 113"/>
                  <a:gd name="T45" fmla="*/ 211 h 274"/>
                  <a:gd name="T46" fmla="*/ 45 w 113"/>
                  <a:gd name="T47" fmla="*/ 215 h 274"/>
                  <a:gd name="T48" fmla="*/ 52 w 113"/>
                  <a:gd name="T49" fmla="*/ 221 h 274"/>
                  <a:gd name="T50" fmla="*/ 58 w 113"/>
                  <a:gd name="T51" fmla="*/ 225 h 274"/>
                  <a:gd name="T52" fmla="*/ 69 w 113"/>
                  <a:gd name="T53" fmla="*/ 215 h 274"/>
                  <a:gd name="T54" fmla="*/ 75 w 113"/>
                  <a:gd name="T55" fmla="*/ 209 h 274"/>
                  <a:gd name="T56" fmla="*/ 84 w 113"/>
                  <a:gd name="T57" fmla="*/ 211 h 274"/>
                  <a:gd name="T58" fmla="*/ 91 w 113"/>
                  <a:gd name="T59" fmla="*/ 233 h 274"/>
                  <a:gd name="T60" fmla="*/ 99 w 113"/>
                  <a:gd name="T61" fmla="*/ 265 h 274"/>
                  <a:gd name="T62" fmla="*/ 111 w 113"/>
                  <a:gd name="T63" fmla="*/ 285 h 274"/>
                  <a:gd name="T64" fmla="*/ 113 w 113"/>
                  <a:gd name="T65" fmla="*/ 301 h 274"/>
                  <a:gd name="T66" fmla="*/ 106 w 113"/>
                  <a:gd name="T67" fmla="*/ 318 h 274"/>
                  <a:gd name="T68" fmla="*/ 112 w 113"/>
                  <a:gd name="T69" fmla="*/ 315 h 274"/>
                  <a:gd name="T70" fmla="*/ 122 w 113"/>
                  <a:gd name="T71" fmla="*/ 289 h 274"/>
                  <a:gd name="T72" fmla="*/ 118 w 113"/>
                  <a:gd name="T73" fmla="*/ 265 h 274"/>
                  <a:gd name="T74" fmla="*/ 97 w 113"/>
                  <a:gd name="T75" fmla="*/ 238 h 274"/>
                  <a:gd name="T76" fmla="*/ 107 w 113"/>
                  <a:gd name="T77" fmla="*/ 221 h 274"/>
                  <a:gd name="T78" fmla="*/ 102 w 113"/>
                  <a:gd name="T79" fmla="*/ 209 h 274"/>
                  <a:gd name="T80" fmla="*/ 93 w 113"/>
                  <a:gd name="T81" fmla="*/ 190 h 274"/>
                  <a:gd name="T82" fmla="*/ 85 w 113"/>
                  <a:gd name="T83" fmla="*/ 177 h 274"/>
                  <a:gd name="T84" fmla="*/ 99 w 113"/>
                  <a:gd name="T85" fmla="*/ 161 h 274"/>
                  <a:gd name="T86" fmla="*/ 113 w 113"/>
                  <a:gd name="T87" fmla="*/ 152 h 274"/>
                  <a:gd name="T88" fmla="*/ 122 w 113"/>
                  <a:gd name="T89" fmla="*/ 146 h 274"/>
                  <a:gd name="T90" fmla="*/ 126 w 113"/>
                  <a:gd name="T91" fmla="*/ 133 h 27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3"/>
                  <a:gd name="T139" fmla="*/ 0 h 274"/>
                  <a:gd name="T140" fmla="*/ 113 w 113"/>
                  <a:gd name="T141" fmla="*/ 274 h 27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3" h="274">
                    <a:moveTo>
                      <a:pt x="112" y="103"/>
                    </a:moveTo>
                    <a:cubicBezTo>
                      <a:pt x="112" y="102"/>
                      <a:pt x="113" y="101"/>
                      <a:pt x="112" y="101"/>
                    </a:cubicBezTo>
                    <a:cubicBezTo>
                      <a:pt x="108" y="100"/>
                      <a:pt x="105" y="102"/>
                      <a:pt x="101" y="103"/>
                    </a:cubicBezTo>
                    <a:cubicBezTo>
                      <a:pt x="100" y="103"/>
                      <a:pt x="98" y="104"/>
                      <a:pt x="97" y="103"/>
                    </a:cubicBezTo>
                    <a:cubicBezTo>
                      <a:pt x="96" y="102"/>
                      <a:pt x="98" y="98"/>
                      <a:pt x="97" y="97"/>
                    </a:cubicBezTo>
                    <a:cubicBezTo>
                      <a:pt x="94" y="95"/>
                      <a:pt x="89" y="99"/>
                      <a:pt x="86" y="97"/>
                    </a:cubicBezTo>
                    <a:cubicBezTo>
                      <a:pt x="84" y="95"/>
                      <a:pt x="88" y="92"/>
                      <a:pt x="88" y="90"/>
                    </a:cubicBezTo>
                    <a:cubicBezTo>
                      <a:pt x="89" y="88"/>
                      <a:pt x="86" y="87"/>
                      <a:pt x="86" y="85"/>
                    </a:cubicBezTo>
                    <a:cubicBezTo>
                      <a:pt x="86" y="84"/>
                      <a:pt x="90" y="84"/>
                      <a:pt x="89" y="83"/>
                    </a:cubicBezTo>
                    <a:cubicBezTo>
                      <a:pt x="87" y="81"/>
                      <a:pt x="83" y="82"/>
                      <a:pt x="81" y="80"/>
                    </a:cubicBezTo>
                    <a:cubicBezTo>
                      <a:pt x="79" y="77"/>
                      <a:pt x="79" y="73"/>
                      <a:pt x="80" y="69"/>
                    </a:cubicBezTo>
                    <a:cubicBezTo>
                      <a:pt x="80" y="67"/>
                      <a:pt x="85" y="66"/>
                      <a:pt x="83" y="65"/>
                    </a:cubicBezTo>
                    <a:cubicBezTo>
                      <a:pt x="80" y="66"/>
                      <a:pt x="76" y="65"/>
                      <a:pt x="73" y="66"/>
                    </a:cubicBezTo>
                    <a:cubicBezTo>
                      <a:pt x="70" y="67"/>
                      <a:pt x="69" y="70"/>
                      <a:pt x="67" y="71"/>
                    </a:cubicBezTo>
                    <a:cubicBezTo>
                      <a:pt x="66" y="71"/>
                      <a:pt x="64" y="70"/>
                      <a:pt x="64" y="68"/>
                    </a:cubicBezTo>
                    <a:cubicBezTo>
                      <a:pt x="63" y="66"/>
                      <a:pt x="67" y="66"/>
                      <a:pt x="67" y="64"/>
                    </a:cubicBezTo>
                    <a:cubicBezTo>
                      <a:pt x="66" y="61"/>
                      <a:pt x="61" y="62"/>
                      <a:pt x="62" y="59"/>
                    </a:cubicBezTo>
                    <a:cubicBezTo>
                      <a:pt x="62" y="55"/>
                      <a:pt x="66" y="53"/>
                      <a:pt x="68" y="48"/>
                    </a:cubicBezTo>
                    <a:cubicBezTo>
                      <a:pt x="70" y="45"/>
                      <a:pt x="74" y="44"/>
                      <a:pt x="75" y="40"/>
                    </a:cubicBezTo>
                    <a:cubicBezTo>
                      <a:pt x="76" y="38"/>
                      <a:pt x="73" y="37"/>
                      <a:pt x="73" y="34"/>
                    </a:cubicBezTo>
                    <a:cubicBezTo>
                      <a:pt x="73" y="34"/>
                      <a:pt x="75" y="35"/>
                      <a:pt x="76" y="34"/>
                    </a:cubicBezTo>
                    <a:cubicBezTo>
                      <a:pt x="76" y="32"/>
                      <a:pt x="74" y="30"/>
                      <a:pt x="74" y="28"/>
                    </a:cubicBezTo>
                    <a:cubicBezTo>
                      <a:pt x="73" y="23"/>
                      <a:pt x="74" y="18"/>
                      <a:pt x="72" y="14"/>
                    </a:cubicBezTo>
                    <a:cubicBezTo>
                      <a:pt x="72" y="13"/>
                      <a:pt x="69" y="15"/>
                      <a:pt x="68" y="14"/>
                    </a:cubicBezTo>
                    <a:cubicBezTo>
                      <a:pt x="66" y="12"/>
                      <a:pt x="67" y="8"/>
                      <a:pt x="66" y="5"/>
                    </a:cubicBezTo>
                    <a:cubicBezTo>
                      <a:pt x="64" y="3"/>
                      <a:pt x="62" y="0"/>
                      <a:pt x="59" y="0"/>
                    </a:cubicBezTo>
                    <a:cubicBezTo>
                      <a:pt x="58" y="0"/>
                      <a:pt x="58" y="4"/>
                      <a:pt x="58" y="5"/>
                    </a:cubicBezTo>
                    <a:cubicBezTo>
                      <a:pt x="57" y="7"/>
                      <a:pt x="57" y="8"/>
                      <a:pt x="56" y="9"/>
                    </a:cubicBezTo>
                    <a:cubicBezTo>
                      <a:pt x="55" y="11"/>
                      <a:pt x="53" y="10"/>
                      <a:pt x="52" y="11"/>
                    </a:cubicBezTo>
                    <a:cubicBezTo>
                      <a:pt x="51" y="12"/>
                      <a:pt x="51" y="14"/>
                      <a:pt x="52" y="15"/>
                    </a:cubicBezTo>
                    <a:cubicBezTo>
                      <a:pt x="52" y="17"/>
                      <a:pt x="55" y="18"/>
                      <a:pt x="55" y="20"/>
                    </a:cubicBezTo>
                    <a:cubicBezTo>
                      <a:pt x="55" y="21"/>
                      <a:pt x="53" y="20"/>
                      <a:pt x="52" y="20"/>
                    </a:cubicBezTo>
                    <a:cubicBezTo>
                      <a:pt x="50" y="20"/>
                      <a:pt x="49" y="18"/>
                      <a:pt x="48" y="18"/>
                    </a:cubicBezTo>
                    <a:cubicBezTo>
                      <a:pt x="46" y="18"/>
                      <a:pt x="44" y="19"/>
                      <a:pt x="42" y="20"/>
                    </a:cubicBezTo>
                    <a:cubicBezTo>
                      <a:pt x="40" y="22"/>
                      <a:pt x="39" y="24"/>
                      <a:pt x="37" y="26"/>
                    </a:cubicBezTo>
                    <a:cubicBezTo>
                      <a:pt x="35" y="27"/>
                      <a:pt x="33" y="27"/>
                      <a:pt x="32" y="28"/>
                    </a:cubicBezTo>
                    <a:cubicBezTo>
                      <a:pt x="31" y="29"/>
                      <a:pt x="32" y="30"/>
                      <a:pt x="32" y="32"/>
                    </a:cubicBezTo>
                    <a:cubicBezTo>
                      <a:pt x="32" y="33"/>
                      <a:pt x="31" y="34"/>
                      <a:pt x="32" y="36"/>
                    </a:cubicBezTo>
                    <a:cubicBezTo>
                      <a:pt x="32" y="36"/>
                      <a:pt x="34" y="37"/>
                      <a:pt x="34" y="38"/>
                    </a:cubicBezTo>
                    <a:cubicBezTo>
                      <a:pt x="33" y="39"/>
                      <a:pt x="31" y="39"/>
                      <a:pt x="30" y="40"/>
                    </a:cubicBezTo>
                    <a:cubicBezTo>
                      <a:pt x="30" y="42"/>
                      <a:pt x="31" y="43"/>
                      <a:pt x="30" y="44"/>
                    </a:cubicBezTo>
                    <a:cubicBezTo>
                      <a:pt x="29" y="46"/>
                      <a:pt x="26" y="45"/>
                      <a:pt x="26" y="47"/>
                    </a:cubicBezTo>
                    <a:cubicBezTo>
                      <a:pt x="26" y="49"/>
                      <a:pt x="30" y="50"/>
                      <a:pt x="29" y="51"/>
                    </a:cubicBezTo>
                    <a:cubicBezTo>
                      <a:pt x="27" y="57"/>
                      <a:pt x="25" y="63"/>
                      <a:pt x="23" y="69"/>
                    </a:cubicBezTo>
                    <a:cubicBezTo>
                      <a:pt x="23" y="70"/>
                      <a:pt x="21" y="70"/>
                      <a:pt x="20" y="70"/>
                    </a:cubicBezTo>
                    <a:cubicBezTo>
                      <a:pt x="18" y="69"/>
                      <a:pt x="16" y="67"/>
                      <a:pt x="14" y="67"/>
                    </a:cubicBezTo>
                    <a:cubicBezTo>
                      <a:pt x="13" y="66"/>
                      <a:pt x="12" y="67"/>
                      <a:pt x="12" y="68"/>
                    </a:cubicBezTo>
                    <a:cubicBezTo>
                      <a:pt x="13" y="70"/>
                      <a:pt x="14" y="72"/>
                      <a:pt x="15" y="74"/>
                    </a:cubicBezTo>
                    <a:cubicBezTo>
                      <a:pt x="15" y="77"/>
                      <a:pt x="16" y="80"/>
                      <a:pt x="15" y="83"/>
                    </a:cubicBezTo>
                    <a:cubicBezTo>
                      <a:pt x="15" y="83"/>
                      <a:pt x="12" y="82"/>
                      <a:pt x="12" y="83"/>
                    </a:cubicBezTo>
                    <a:cubicBezTo>
                      <a:pt x="11" y="86"/>
                      <a:pt x="12" y="90"/>
                      <a:pt x="12" y="93"/>
                    </a:cubicBezTo>
                    <a:cubicBezTo>
                      <a:pt x="12" y="95"/>
                      <a:pt x="11" y="97"/>
                      <a:pt x="10" y="99"/>
                    </a:cubicBezTo>
                    <a:cubicBezTo>
                      <a:pt x="10" y="100"/>
                      <a:pt x="9" y="99"/>
                      <a:pt x="8" y="99"/>
                    </a:cubicBezTo>
                    <a:cubicBezTo>
                      <a:pt x="7" y="99"/>
                      <a:pt x="6" y="99"/>
                      <a:pt x="5" y="99"/>
                    </a:cubicBezTo>
                    <a:cubicBezTo>
                      <a:pt x="6" y="103"/>
                      <a:pt x="9" y="107"/>
                      <a:pt x="7" y="111"/>
                    </a:cubicBezTo>
                    <a:cubicBezTo>
                      <a:pt x="6" y="112"/>
                      <a:pt x="3" y="106"/>
                      <a:pt x="1" y="107"/>
                    </a:cubicBezTo>
                    <a:cubicBezTo>
                      <a:pt x="0" y="108"/>
                      <a:pt x="1" y="111"/>
                      <a:pt x="1" y="113"/>
                    </a:cubicBezTo>
                    <a:cubicBezTo>
                      <a:pt x="2" y="113"/>
                      <a:pt x="4" y="112"/>
                      <a:pt x="5" y="113"/>
                    </a:cubicBezTo>
                    <a:cubicBezTo>
                      <a:pt x="6" y="114"/>
                      <a:pt x="5" y="116"/>
                      <a:pt x="6" y="118"/>
                    </a:cubicBezTo>
                    <a:cubicBezTo>
                      <a:pt x="7" y="120"/>
                      <a:pt x="7" y="122"/>
                      <a:pt x="9" y="123"/>
                    </a:cubicBezTo>
                    <a:cubicBezTo>
                      <a:pt x="10" y="123"/>
                      <a:pt x="11" y="122"/>
                      <a:pt x="12" y="123"/>
                    </a:cubicBezTo>
                    <a:cubicBezTo>
                      <a:pt x="14" y="124"/>
                      <a:pt x="15" y="126"/>
                      <a:pt x="17" y="127"/>
                    </a:cubicBezTo>
                    <a:cubicBezTo>
                      <a:pt x="19" y="128"/>
                      <a:pt x="22" y="128"/>
                      <a:pt x="23" y="130"/>
                    </a:cubicBezTo>
                    <a:cubicBezTo>
                      <a:pt x="24" y="131"/>
                      <a:pt x="23" y="134"/>
                      <a:pt x="24" y="136"/>
                    </a:cubicBezTo>
                    <a:cubicBezTo>
                      <a:pt x="25" y="137"/>
                      <a:pt x="28" y="137"/>
                      <a:pt x="29" y="139"/>
                    </a:cubicBezTo>
                    <a:cubicBezTo>
                      <a:pt x="30" y="141"/>
                      <a:pt x="29" y="143"/>
                      <a:pt x="30" y="145"/>
                    </a:cubicBezTo>
                    <a:cubicBezTo>
                      <a:pt x="31" y="149"/>
                      <a:pt x="32" y="152"/>
                      <a:pt x="33" y="155"/>
                    </a:cubicBezTo>
                    <a:cubicBezTo>
                      <a:pt x="33" y="158"/>
                      <a:pt x="32" y="160"/>
                      <a:pt x="32" y="163"/>
                    </a:cubicBezTo>
                    <a:cubicBezTo>
                      <a:pt x="32" y="167"/>
                      <a:pt x="33" y="172"/>
                      <a:pt x="33" y="176"/>
                    </a:cubicBezTo>
                    <a:cubicBezTo>
                      <a:pt x="32" y="178"/>
                      <a:pt x="32" y="179"/>
                      <a:pt x="32" y="180"/>
                    </a:cubicBezTo>
                    <a:cubicBezTo>
                      <a:pt x="31" y="183"/>
                      <a:pt x="30" y="185"/>
                      <a:pt x="32" y="187"/>
                    </a:cubicBezTo>
                    <a:cubicBezTo>
                      <a:pt x="35" y="185"/>
                      <a:pt x="34" y="179"/>
                      <a:pt x="37" y="179"/>
                    </a:cubicBezTo>
                    <a:cubicBezTo>
                      <a:pt x="40" y="179"/>
                      <a:pt x="37" y="184"/>
                      <a:pt x="38" y="187"/>
                    </a:cubicBezTo>
                    <a:cubicBezTo>
                      <a:pt x="38" y="188"/>
                      <a:pt x="40" y="189"/>
                      <a:pt x="41" y="189"/>
                    </a:cubicBezTo>
                    <a:cubicBezTo>
                      <a:pt x="43" y="188"/>
                      <a:pt x="42" y="185"/>
                      <a:pt x="43" y="184"/>
                    </a:cubicBezTo>
                    <a:cubicBezTo>
                      <a:pt x="44" y="184"/>
                      <a:pt x="44" y="186"/>
                      <a:pt x="45" y="187"/>
                    </a:cubicBezTo>
                    <a:cubicBezTo>
                      <a:pt x="46" y="187"/>
                      <a:pt x="46" y="185"/>
                      <a:pt x="47" y="185"/>
                    </a:cubicBezTo>
                    <a:cubicBezTo>
                      <a:pt x="48" y="185"/>
                      <a:pt x="47" y="187"/>
                      <a:pt x="48" y="187"/>
                    </a:cubicBezTo>
                    <a:cubicBezTo>
                      <a:pt x="51" y="186"/>
                      <a:pt x="53" y="184"/>
                      <a:pt x="54" y="181"/>
                    </a:cubicBezTo>
                    <a:cubicBezTo>
                      <a:pt x="55" y="180"/>
                      <a:pt x="52" y="180"/>
                      <a:pt x="53" y="179"/>
                    </a:cubicBezTo>
                    <a:cubicBezTo>
                      <a:pt x="54" y="178"/>
                      <a:pt x="56" y="180"/>
                      <a:pt x="57" y="179"/>
                    </a:cubicBezTo>
                    <a:cubicBezTo>
                      <a:pt x="58" y="177"/>
                      <a:pt x="54" y="175"/>
                      <a:pt x="55" y="174"/>
                    </a:cubicBezTo>
                    <a:cubicBezTo>
                      <a:pt x="57" y="173"/>
                      <a:pt x="57" y="177"/>
                      <a:pt x="59" y="177"/>
                    </a:cubicBezTo>
                    <a:cubicBezTo>
                      <a:pt x="61" y="177"/>
                      <a:pt x="62" y="175"/>
                      <a:pt x="62" y="174"/>
                    </a:cubicBezTo>
                    <a:cubicBezTo>
                      <a:pt x="63" y="171"/>
                      <a:pt x="61" y="167"/>
                      <a:pt x="63" y="165"/>
                    </a:cubicBezTo>
                    <a:cubicBezTo>
                      <a:pt x="64" y="163"/>
                      <a:pt x="66" y="167"/>
                      <a:pt x="67" y="168"/>
                    </a:cubicBezTo>
                    <a:cubicBezTo>
                      <a:pt x="68" y="171"/>
                      <a:pt x="69" y="174"/>
                      <a:pt x="70" y="176"/>
                    </a:cubicBezTo>
                    <a:cubicBezTo>
                      <a:pt x="71" y="179"/>
                      <a:pt x="71" y="181"/>
                      <a:pt x="73" y="183"/>
                    </a:cubicBezTo>
                    <a:cubicBezTo>
                      <a:pt x="74" y="184"/>
                      <a:pt x="75" y="180"/>
                      <a:pt x="76" y="181"/>
                    </a:cubicBezTo>
                    <a:cubicBezTo>
                      <a:pt x="77" y="185"/>
                      <a:pt x="76" y="190"/>
                      <a:pt x="76" y="194"/>
                    </a:cubicBezTo>
                    <a:cubicBezTo>
                      <a:pt x="77" y="198"/>
                      <a:pt x="77" y="202"/>
                      <a:pt x="78" y="206"/>
                    </a:cubicBezTo>
                    <a:cubicBezTo>
                      <a:pt x="79" y="209"/>
                      <a:pt x="81" y="210"/>
                      <a:pt x="81" y="212"/>
                    </a:cubicBezTo>
                    <a:cubicBezTo>
                      <a:pt x="82" y="215"/>
                      <a:pt x="80" y="218"/>
                      <a:pt x="82" y="221"/>
                    </a:cubicBezTo>
                    <a:cubicBezTo>
                      <a:pt x="83" y="222"/>
                      <a:pt x="83" y="215"/>
                      <a:pt x="84" y="216"/>
                    </a:cubicBezTo>
                    <a:cubicBezTo>
                      <a:pt x="87" y="220"/>
                      <a:pt x="87" y="224"/>
                      <a:pt x="89" y="228"/>
                    </a:cubicBezTo>
                    <a:cubicBezTo>
                      <a:pt x="90" y="231"/>
                      <a:pt x="92" y="234"/>
                      <a:pt x="92" y="237"/>
                    </a:cubicBezTo>
                    <a:cubicBezTo>
                      <a:pt x="92" y="238"/>
                      <a:pt x="90" y="239"/>
                      <a:pt x="90" y="240"/>
                    </a:cubicBezTo>
                    <a:cubicBezTo>
                      <a:pt x="89" y="242"/>
                      <a:pt x="89" y="245"/>
                      <a:pt x="90" y="247"/>
                    </a:cubicBezTo>
                    <a:cubicBezTo>
                      <a:pt x="91" y="249"/>
                      <a:pt x="94" y="249"/>
                      <a:pt x="94" y="251"/>
                    </a:cubicBezTo>
                    <a:cubicBezTo>
                      <a:pt x="94" y="253"/>
                      <a:pt x="90" y="251"/>
                      <a:pt x="90" y="252"/>
                    </a:cubicBezTo>
                    <a:cubicBezTo>
                      <a:pt x="89" y="255"/>
                      <a:pt x="91" y="257"/>
                      <a:pt x="91" y="260"/>
                    </a:cubicBezTo>
                    <a:cubicBezTo>
                      <a:pt x="91" y="262"/>
                      <a:pt x="88" y="263"/>
                      <a:pt x="88" y="265"/>
                    </a:cubicBezTo>
                    <a:cubicBezTo>
                      <a:pt x="88" y="268"/>
                      <a:pt x="88" y="271"/>
                      <a:pt x="90" y="273"/>
                    </a:cubicBezTo>
                    <a:cubicBezTo>
                      <a:pt x="92" y="274"/>
                      <a:pt x="92" y="270"/>
                      <a:pt x="93" y="269"/>
                    </a:cubicBezTo>
                    <a:cubicBezTo>
                      <a:pt x="94" y="266"/>
                      <a:pt x="93" y="264"/>
                      <a:pt x="93" y="262"/>
                    </a:cubicBezTo>
                    <a:cubicBezTo>
                      <a:pt x="94" y="259"/>
                      <a:pt x="97" y="257"/>
                      <a:pt x="99" y="255"/>
                    </a:cubicBezTo>
                    <a:cubicBezTo>
                      <a:pt x="101" y="251"/>
                      <a:pt x="103" y="247"/>
                      <a:pt x="103" y="243"/>
                    </a:cubicBezTo>
                    <a:cubicBezTo>
                      <a:pt x="104" y="242"/>
                      <a:pt x="102" y="242"/>
                      <a:pt x="101" y="241"/>
                    </a:cubicBezTo>
                    <a:cubicBezTo>
                      <a:pt x="99" y="237"/>
                      <a:pt x="97" y="232"/>
                      <a:pt x="95" y="227"/>
                    </a:cubicBezTo>
                    <a:cubicBezTo>
                      <a:pt x="95" y="226"/>
                      <a:pt x="97" y="227"/>
                      <a:pt x="97" y="226"/>
                    </a:cubicBezTo>
                    <a:cubicBezTo>
                      <a:pt x="97" y="224"/>
                      <a:pt x="98" y="223"/>
                      <a:pt x="98" y="221"/>
                    </a:cubicBezTo>
                    <a:cubicBezTo>
                      <a:pt x="97" y="219"/>
                      <a:pt x="96" y="217"/>
                      <a:pt x="95" y="215"/>
                    </a:cubicBezTo>
                    <a:cubicBezTo>
                      <a:pt x="92" y="212"/>
                      <a:pt x="88" y="211"/>
                      <a:pt x="85" y="208"/>
                    </a:cubicBezTo>
                    <a:cubicBezTo>
                      <a:pt x="83" y="205"/>
                      <a:pt x="83" y="202"/>
                      <a:pt x="81" y="198"/>
                    </a:cubicBezTo>
                    <a:cubicBezTo>
                      <a:pt x="81" y="197"/>
                      <a:pt x="85" y="198"/>
                      <a:pt x="86" y="196"/>
                    </a:cubicBezTo>
                    <a:cubicBezTo>
                      <a:pt x="86" y="193"/>
                      <a:pt x="85" y="189"/>
                      <a:pt x="86" y="186"/>
                    </a:cubicBezTo>
                    <a:cubicBezTo>
                      <a:pt x="86" y="185"/>
                      <a:pt x="89" y="186"/>
                      <a:pt x="89" y="184"/>
                    </a:cubicBezTo>
                    <a:cubicBezTo>
                      <a:pt x="90" y="183"/>
                      <a:pt x="89" y="181"/>
                      <a:pt x="88" y="181"/>
                    </a:cubicBezTo>
                    <a:cubicBezTo>
                      <a:pt x="88" y="180"/>
                      <a:pt x="86" y="182"/>
                      <a:pt x="85" y="181"/>
                    </a:cubicBezTo>
                    <a:cubicBezTo>
                      <a:pt x="84" y="179"/>
                      <a:pt x="86" y="176"/>
                      <a:pt x="85" y="174"/>
                    </a:cubicBezTo>
                    <a:cubicBezTo>
                      <a:pt x="85" y="173"/>
                      <a:pt x="83" y="173"/>
                      <a:pt x="82" y="172"/>
                    </a:cubicBezTo>
                    <a:cubicBezTo>
                      <a:pt x="80" y="167"/>
                      <a:pt x="78" y="162"/>
                      <a:pt x="75" y="158"/>
                    </a:cubicBezTo>
                    <a:cubicBezTo>
                      <a:pt x="75" y="158"/>
                      <a:pt x="77" y="159"/>
                      <a:pt x="77" y="158"/>
                    </a:cubicBezTo>
                    <a:cubicBezTo>
                      <a:pt x="77" y="155"/>
                      <a:pt x="76" y="153"/>
                      <a:pt x="74" y="151"/>
                    </a:cubicBezTo>
                    <a:cubicBezTo>
                      <a:pt x="73" y="150"/>
                      <a:pt x="72" y="152"/>
                      <a:pt x="71" y="151"/>
                    </a:cubicBezTo>
                    <a:cubicBezTo>
                      <a:pt x="70" y="150"/>
                      <a:pt x="70" y="148"/>
                      <a:pt x="71" y="147"/>
                    </a:cubicBezTo>
                    <a:cubicBezTo>
                      <a:pt x="71" y="146"/>
                      <a:pt x="74" y="148"/>
                      <a:pt x="74" y="147"/>
                    </a:cubicBezTo>
                    <a:cubicBezTo>
                      <a:pt x="76" y="142"/>
                      <a:pt x="74" y="136"/>
                      <a:pt x="76" y="132"/>
                    </a:cubicBezTo>
                    <a:cubicBezTo>
                      <a:pt x="77" y="130"/>
                      <a:pt x="80" y="134"/>
                      <a:pt x="82" y="134"/>
                    </a:cubicBezTo>
                    <a:cubicBezTo>
                      <a:pt x="84" y="134"/>
                      <a:pt x="87" y="133"/>
                      <a:pt x="88" y="131"/>
                    </a:cubicBezTo>
                    <a:cubicBezTo>
                      <a:pt x="89" y="130"/>
                      <a:pt x="87" y="128"/>
                      <a:pt x="88" y="127"/>
                    </a:cubicBezTo>
                    <a:cubicBezTo>
                      <a:pt x="90" y="126"/>
                      <a:pt x="92" y="128"/>
                      <a:pt x="94" y="127"/>
                    </a:cubicBezTo>
                    <a:cubicBezTo>
                      <a:pt x="95" y="127"/>
                      <a:pt x="93" y="124"/>
                      <a:pt x="94" y="123"/>
                    </a:cubicBezTo>
                    <a:cubicBezTo>
                      <a:pt x="95" y="122"/>
                      <a:pt x="96" y="122"/>
                      <a:pt x="98" y="122"/>
                    </a:cubicBezTo>
                    <a:cubicBezTo>
                      <a:pt x="99" y="122"/>
                      <a:pt x="100" y="122"/>
                      <a:pt x="101" y="122"/>
                    </a:cubicBezTo>
                    <a:cubicBezTo>
                      <a:pt x="101" y="120"/>
                      <a:pt x="101" y="118"/>
                      <a:pt x="102" y="116"/>
                    </a:cubicBezTo>
                    <a:cubicBezTo>
                      <a:pt x="103" y="115"/>
                      <a:pt x="107" y="116"/>
                      <a:pt x="108" y="115"/>
                    </a:cubicBezTo>
                    <a:cubicBezTo>
                      <a:pt x="108" y="113"/>
                      <a:pt x="105" y="113"/>
                      <a:pt x="105" y="111"/>
                    </a:cubicBezTo>
                    <a:cubicBezTo>
                      <a:pt x="105" y="109"/>
                      <a:pt x="106" y="107"/>
                      <a:pt x="108" y="105"/>
                    </a:cubicBezTo>
                    <a:cubicBezTo>
                      <a:pt x="109" y="104"/>
                      <a:pt x="111" y="104"/>
                      <a:pt x="112" y="103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3" name="Freeform 2634"/>
              <p:cNvSpPr>
                <a:spLocks noChangeAspect="1"/>
              </p:cNvSpPr>
              <p:nvPr/>
            </p:nvSpPr>
            <p:spPr bwMode="auto">
              <a:xfrm>
                <a:off x="7188236" y="3840920"/>
                <a:ext cx="238796" cy="170534"/>
              </a:xfrm>
              <a:custGeom>
                <a:avLst/>
                <a:gdLst>
                  <a:gd name="T0" fmla="*/ 123 w 122"/>
                  <a:gd name="T1" fmla="*/ 52 h 87"/>
                  <a:gd name="T2" fmla="*/ 134 w 122"/>
                  <a:gd name="T3" fmla="*/ 48 h 87"/>
                  <a:gd name="T4" fmla="*/ 129 w 122"/>
                  <a:gd name="T5" fmla="*/ 45 h 87"/>
                  <a:gd name="T6" fmla="*/ 124 w 122"/>
                  <a:gd name="T7" fmla="*/ 40 h 87"/>
                  <a:gd name="T8" fmla="*/ 124 w 122"/>
                  <a:gd name="T9" fmla="*/ 36 h 87"/>
                  <a:gd name="T10" fmla="*/ 133 w 122"/>
                  <a:gd name="T11" fmla="*/ 37 h 87"/>
                  <a:gd name="T12" fmla="*/ 144 w 122"/>
                  <a:gd name="T13" fmla="*/ 34 h 87"/>
                  <a:gd name="T14" fmla="*/ 145 w 122"/>
                  <a:gd name="T15" fmla="*/ 28 h 87"/>
                  <a:gd name="T16" fmla="*/ 140 w 122"/>
                  <a:gd name="T17" fmla="*/ 27 h 87"/>
                  <a:gd name="T18" fmla="*/ 132 w 122"/>
                  <a:gd name="T19" fmla="*/ 24 h 87"/>
                  <a:gd name="T20" fmla="*/ 126 w 122"/>
                  <a:gd name="T21" fmla="*/ 28 h 87"/>
                  <a:gd name="T22" fmla="*/ 118 w 122"/>
                  <a:gd name="T23" fmla="*/ 25 h 87"/>
                  <a:gd name="T24" fmla="*/ 117 w 122"/>
                  <a:gd name="T25" fmla="*/ 16 h 87"/>
                  <a:gd name="T26" fmla="*/ 120 w 122"/>
                  <a:gd name="T27" fmla="*/ 12 h 87"/>
                  <a:gd name="T28" fmla="*/ 115 w 122"/>
                  <a:gd name="T29" fmla="*/ 11 h 87"/>
                  <a:gd name="T30" fmla="*/ 109 w 122"/>
                  <a:gd name="T31" fmla="*/ 4 h 87"/>
                  <a:gd name="T32" fmla="*/ 105 w 122"/>
                  <a:gd name="T33" fmla="*/ 7 h 87"/>
                  <a:gd name="T34" fmla="*/ 101 w 122"/>
                  <a:gd name="T35" fmla="*/ 1 h 87"/>
                  <a:gd name="T36" fmla="*/ 96 w 122"/>
                  <a:gd name="T37" fmla="*/ 14 h 87"/>
                  <a:gd name="T38" fmla="*/ 91 w 122"/>
                  <a:gd name="T39" fmla="*/ 28 h 87"/>
                  <a:gd name="T40" fmla="*/ 85 w 122"/>
                  <a:gd name="T41" fmla="*/ 28 h 87"/>
                  <a:gd name="T42" fmla="*/ 84 w 122"/>
                  <a:gd name="T43" fmla="*/ 31 h 87"/>
                  <a:gd name="T44" fmla="*/ 87 w 122"/>
                  <a:gd name="T45" fmla="*/ 33 h 87"/>
                  <a:gd name="T46" fmla="*/ 87 w 122"/>
                  <a:gd name="T47" fmla="*/ 36 h 87"/>
                  <a:gd name="T48" fmla="*/ 78 w 122"/>
                  <a:gd name="T49" fmla="*/ 37 h 87"/>
                  <a:gd name="T50" fmla="*/ 65 w 122"/>
                  <a:gd name="T51" fmla="*/ 42 h 87"/>
                  <a:gd name="T52" fmla="*/ 65 w 122"/>
                  <a:gd name="T53" fmla="*/ 51 h 87"/>
                  <a:gd name="T54" fmla="*/ 44 w 122"/>
                  <a:gd name="T55" fmla="*/ 68 h 87"/>
                  <a:gd name="T56" fmla="*/ 30 w 122"/>
                  <a:gd name="T57" fmla="*/ 71 h 87"/>
                  <a:gd name="T58" fmla="*/ 28 w 122"/>
                  <a:gd name="T59" fmla="*/ 80 h 87"/>
                  <a:gd name="T60" fmla="*/ 23 w 122"/>
                  <a:gd name="T61" fmla="*/ 78 h 87"/>
                  <a:gd name="T62" fmla="*/ 25 w 122"/>
                  <a:gd name="T63" fmla="*/ 84 h 87"/>
                  <a:gd name="T64" fmla="*/ 19 w 122"/>
                  <a:gd name="T65" fmla="*/ 94 h 87"/>
                  <a:gd name="T66" fmla="*/ 11 w 122"/>
                  <a:gd name="T67" fmla="*/ 89 h 87"/>
                  <a:gd name="T68" fmla="*/ 10 w 122"/>
                  <a:gd name="T69" fmla="*/ 91 h 87"/>
                  <a:gd name="T70" fmla="*/ 5 w 122"/>
                  <a:gd name="T71" fmla="*/ 91 h 87"/>
                  <a:gd name="T72" fmla="*/ 0 w 122"/>
                  <a:gd name="T73" fmla="*/ 84 h 87"/>
                  <a:gd name="T74" fmla="*/ 2 w 122"/>
                  <a:gd name="T75" fmla="*/ 94 h 87"/>
                  <a:gd name="T76" fmla="*/ 13 w 122"/>
                  <a:gd name="T77" fmla="*/ 101 h 87"/>
                  <a:gd name="T78" fmla="*/ 16 w 122"/>
                  <a:gd name="T79" fmla="*/ 105 h 87"/>
                  <a:gd name="T80" fmla="*/ 23 w 122"/>
                  <a:gd name="T81" fmla="*/ 101 h 87"/>
                  <a:gd name="T82" fmla="*/ 34 w 122"/>
                  <a:gd name="T83" fmla="*/ 104 h 87"/>
                  <a:gd name="T84" fmla="*/ 39 w 122"/>
                  <a:gd name="T85" fmla="*/ 100 h 87"/>
                  <a:gd name="T86" fmla="*/ 39 w 122"/>
                  <a:gd name="T87" fmla="*/ 95 h 87"/>
                  <a:gd name="T88" fmla="*/ 50 w 122"/>
                  <a:gd name="T89" fmla="*/ 94 h 87"/>
                  <a:gd name="T90" fmla="*/ 49 w 122"/>
                  <a:gd name="T91" fmla="*/ 97 h 87"/>
                  <a:gd name="T92" fmla="*/ 54 w 122"/>
                  <a:gd name="T93" fmla="*/ 95 h 87"/>
                  <a:gd name="T94" fmla="*/ 60 w 122"/>
                  <a:gd name="T95" fmla="*/ 100 h 87"/>
                  <a:gd name="T96" fmla="*/ 65 w 122"/>
                  <a:gd name="T97" fmla="*/ 95 h 87"/>
                  <a:gd name="T98" fmla="*/ 74 w 122"/>
                  <a:gd name="T99" fmla="*/ 95 h 87"/>
                  <a:gd name="T100" fmla="*/ 74 w 122"/>
                  <a:gd name="T101" fmla="*/ 89 h 87"/>
                  <a:gd name="T102" fmla="*/ 83 w 122"/>
                  <a:gd name="T103" fmla="*/ 75 h 87"/>
                  <a:gd name="T104" fmla="*/ 90 w 122"/>
                  <a:gd name="T105" fmla="*/ 64 h 87"/>
                  <a:gd name="T106" fmla="*/ 90 w 122"/>
                  <a:gd name="T107" fmla="*/ 51 h 87"/>
                  <a:gd name="T108" fmla="*/ 101 w 122"/>
                  <a:gd name="T109" fmla="*/ 47 h 87"/>
                  <a:gd name="T110" fmla="*/ 107 w 122"/>
                  <a:gd name="T111" fmla="*/ 51 h 87"/>
                  <a:gd name="T112" fmla="*/ 115 w 122"/>
                  <a:gd name="T113" fmla="*/ 48 h 87"/>
                  <a:gd name="T114" fmla="*/ 123 w 122"/>
                  <a:gd name="T115" fmla="*/ 52 h 8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22"/>
                  <a:gd name="T175" fmla="*/ 0 h 87"/>
                  <a:gd name="T176" fmla="*/ 122 w 122"/>
                  <a:gd name="T177" fmla="*/ 87 h 8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22" h="87">
                    <a:moveTo>
                      <a:pt x="103" y="43"/>
                    </a:moveTo>
                    <a:cubicBezTo>
                      <a:pt x="106" y="42"/>
                      <a:pt x="110" y="43"/>
                      <a:pt x="112" y="40"/>
                    </a:cubicBezTo>
                    <a:cubicBezTo>
                      <a:pt x="113" y="39"/>
                      <a:pt x="109" y="38"/>
                      <a:pt x="108" y="37"/>
                    </a:cubicBezTo>
                    <a:cubicBezTo>
                      <a:pt x="106" y="36"/>
                      <a:pt x="105" y="35"/>
                      <a:pt x="104" y="33"/>
                    </a:cubicBezTo>
                    <a:cubicBezTo>
                      <a:pt x="104" y="32"/>
                      <a:pt x="103" y="31"/>
                      <a:pt x="104" y="30"/>
                    </a:cubicBezTo>
                    <a:cubicBezTo>
                      <a:pt x="106" y="29"/>
                      <a:pt x="109" y="31"/>
                      <a:pt x="111" y="31"/>
                    </a:cubicBezTo>
                    <a:cubicBezTo>
                      <a:pt x="114" y="30"/>
                      <a:pt x="118" y="30"/>
                      <a:pt x="120" y="28"/>
                    </a:cubicBezTo>
                    <a:cubicBezTo>
                      <a:pt x="122" y="27"/>
                      <a:pt x="122" y="24"/>
                      <a:pt x="121" y="23"/>
                    </a:cubicBezTo>
                    <a:cubicBezTo>
                      <a:pt x="120" y="21"/>
                      <a:pt x="118" y="22"/>
                      <a:pt x="117" y="22"/>
                    </a:cubicBezTo>
                    <a:cubicBezTo>
                      <a:pt x="115" y="21"/>
                      <a:pt x="113" y="20"/>
                      <a:pt x="110" y="20"/>
                    </a:cubicBezTo>
                    <a:cubicBezTo>
                      <a:pt x="108" y="20"/>
                      <a:pt x="107" y="23"/>
                      <a:pt x="105" y="23"/>
                    </a:cubicBezTo>
                    <a:cubicBezTo>
                      <a:pt x="103" y="24"/>
                      <a:pt x="100" y="23"/>
                      <a:pt x="99" y="21"/>
                    </a:cubicBezTo>
                    <a:cubicBezTo>
                      <a:pt x="97" y="19"/>
                      <a:pt x="98" y="16"/>
                      <a:pt x="98" y="13"/>
                    </a:cubicBezTo>
                    <a:cubicBezTo>
                      <a:pt x="98" y="12"/>
                      <a:pt x="101" y="11"/>
                      <a:pt x="100" y="10"/>
                    </a:cubicBezTo>
                    <a:cubicBezTo>
                      <a:pt x="100" y="8"/>
                      <a:pt x="97" y="10"/>
                      <a:pt x="96" y="9"/>
                    </a:cubicBezTo>
                    <a:cubicBezTo>
                      <a:pt x="94" y="7"/>
                      <a:pt x="94" y="3"/>
                      <a:pt x="91" y="3"/>
                    </a:cubicBezTo>
                    <a:cubicBezTo>
                      <a:pt x="90" y="2"/>
                      <a:pt x="89" y="6"/>
                      <a:pt x="88" y="6"/>
                    </a:cubicBezTo>
                    <a:cubicBezTo>
                      <a:pt x="86" y="5"/>
                      <a:pt x="85" y="0"/>
                      <a:pt x="84" y="1"/>
                    </a:cubicBezTo>
                    <a:cubicBezTo>
                      <a:pt x="81" y="4"/>
                      <a:pt x="81" y="9"/>
                      <a:pt x="80" y="12"/>
                    </a:cubicBezTo>
                    <a:cubicBezTo>
                      <a:pt x="79" y="16"/>
                      <a:pt x="78" y="20"/>
                      <a:pt x="76" y="23"/>
                    </a:cubicBezTo>
                    <a:cubicBezTo>
                      <a:pt x="75" y="25"/>
                      <a:pt x="72" y="22"/>
                      <a:pt x="71" y="23"/>
                    </a:cubicBezTo>
                    <a:cubicBezTo>
                      <a:pt x="70" y="23"/>
                      <a:pt x="70" y="25"/>
                      <a:pt x="70" y="26"/>
                    </a:cubicBezTo>
                    <a:cubicBezTo>
                      <a:pt x="71" y="27"/>
                      <a:pt x="72" y="26"/>
                      <a:pt x="73" y="27"/>
                    </a:cubicBezTo>
                    <a:cubicBezTo>
                      <a:pt x="74" y="28"/>
                      <a:pt x="74" y="30"/>
                      <a:pt x="73" y="30"/>
                    </a:cubicBezTo>
                    <a:cubicBezTo>
                      <a:pt x="70" y="31"/>
                      <a:pt x="68" y="31"/>
                      <a:pt x="65" y="31"/>
                    </a:cubicBezTo>
                    <a:cubicBezTo>
                      <a:pt x="61" y="32"/>
                      <a:pt x="57" y="32"/>
                      <a:pt x="54" y="35"/>
                    </a:cubicBezTo>
                    <a:cubicBezTo>
                      <a:pt x="52" y="37"/>
                      <a:pt x="55" y="40"/>
                      <a:pt x="54" y="42"/>
                    </a:cubicBezTo>
                    <a:cubicBezTo>
                      <a:pt x="49" y="47"/>
                      <a:pt x="43" y="52"/>
                      <a:pt x="37" y="56"/>
                    </a:cubicBezTo>
                    <a:cubicBezTo>
                      <a:pt x="34" y="58"/>
                      <a:pt x="29" y="57"/>
                      <a:pt x="25" y="59"/>
                    </a:cubicBezTo>
                    <a:cubicBezTo>
                      <a:pt x="23" y="61"/>
                      <a:pt x="25" y="65"/>
                      <a:pt x="23" y="66"/>
                    </a:cubicBezTo>
                    <a:cubicBezTo>
                      <a:pt x="22" y="67"/>
                      <a:pt x="20" y="64"/>
                      <a:pt x="19" y="65"/>
                    </a:cubicBezTo>
                    <a:cubicBezTo>
                      <a:pt x="18" y="66"/>
                      <a:pt x="21" y="68"/>
                      <a:pt x="21" y="70"/>
                    </a:cubicBezTo>
                    <a:cubicBezTo>
                      <a:pt x="20" y="73"/>
                      <a:pt x="19" y="76"/>
                      <a:pt x="16" y="78"/>
                    </a:cubicBezTo>
                    <a:cubicBezTo>
                      <a:pt x="13" y="78"/>
                      <a:pt x="12" y="75"/>
                      <a:pt x="9" y="74"/>
                    </a:cubicBezTo>
                    <a:cubicBezTo>
                      <a:pt x="9" y="74"/>
                      <a:pt x="9" y="75"/>
                      <a:pt x="8" y="75"/>
                    </a:cubicBezTo>
                    <a:cubicBezTo>
                      <a:pt x="7" y="75"/>
                      <a:pt x="5" y="75"/>
                      <a:pt x="4" y="75"/>
                    </a:cubicBezTo>
                    <a:cubicBezTo>
                      <a:pt x="2" y="74"/>
                      <a:pt x="1" y="72"/>
                      <a:pt x="0" y="70"/>
                    </a:cubicBezTo>
                    <a:cubicBezTo>
                      <a:pt x="1" y="73"/>
                      <a:pt x="0" y="76"/>
                      <a:pt x="2" y="78"/>
                    </a:cubicBezTo>
                    <a:cubicBezTo>
                      <a:pt x="4" y="81"/>
                      <a:pt x="8" y="82"/>
                      <a:pt x="11" y="84"/>
                    </a:cubicBezTo>
                    <a:cubicBezTo>
                      <a:pt x="12" y="85"/>
                      <a:pt x="12" y="87"/>
                      <a:pt x="13" y="87"/>
                    </a:cubicBezTo>
                    <a:cubicBezTo>
                      <a:pt x="15" y="87"/>
                      <a:pt x="17" y="85"/>
                      <a:pt x="19" y="84"/>
                    </a:cubicBezTo>
                    <a:cubicBezTo>
                      <a:pt x="22" y="84"/>
                      <a:pt x="25" y="86"/>
                      <a:pt x="28" y="86"/>
                    </a:cubicBezTo>
                    <a:cubicBezTo>
                      <a:pt x="30" y="85"/>
                      <a:pt x="32" y="84"/>
                      <a:pt x="33" y="83"/>
                    </a:cubicBezTo>
                    <a:cubicBezTo>
                      <a:pt x="34" y="82"/>
                      <a:pt x="32" y="79"/>
                      <a:pt x="33" y="79"/>
                    </a:cubicBezTo>
                    <a:cubicBezTo>
                      <a:pt x="36" y="77"/>
                      <a:pt x="39" y="78"/>
                      <a:pt x="42" y="78"/>
                    </a:cubicBezTo>
                    <a:cubicBezTo>
                      <a:pt x="42" y="78"/>
                      <a:pt x="41" y="80"/>
                      <a:pt x="41" y="80"/>
                    </a:cubicBezTo>
                    <a:cubicBezTo>
                      <a:pt x="42" y="81"/>
                      <a:pt x="43" y="79"/>
                      <a:pt x="45" y="79"/>
                    </a:cubicBezTo>
                    <a:cubicBezTo>
                      <a:pt x="47" y="80"/>
                      <a:pt x="48" y="83"/>
                      <a:pt x="50" y="83"/>
                    </a:cubicBezTo>
                    <a:cubicBezTo>
                      <a:pt x="52" y="82"/>
                      <a:pt x="52" y="79"/>
                      <a:pt x="54" y="79"/>
                    </a:cubicBezTo>
                    <a:cubicBezTo>
                      <a:pt x="57" y="78"/>
                      <a:pt x="60" y="80"/>
                      <a:pt x="62" y="79"/>
                    </a:cubicBezTo>
                    <a:cubicBezTo>
                      <a:pt x="63" y="78"/>
                      <a:pt x="61" y="76"/>
                      <a:pt x="62" y="74"/>
                    </a:cubicBezTo>
                    <a:cubicBezTo>
                      <a:pt x="64" y="70"/>
                      <a:pt x="67" y="66"/>
                      <a:pt x="69" y="62"/>
                    </a:cubicBezTo>
                    <a:cubicBezTo>
                      <a:pt x="71" y="59"/>
                      <a:pt x="74" y="56"/>
                      <a:pt x="75" y="53"/>
                    </a:cubicBezTo>
                    <a:cubicBezTo>
                      <a:pt x="76" y="49"/>
                      <a:pt x="73" y="45"/>
                      <a:pt x="75" y="42"/>
                    </a:cubicBezTo>
                    <a:cubicBezTo>
                      <a:pt x="77" y="39"/>
                      <a:pt x="81" y="39"/>
                      <a:pt x="84" y="39"/>
                    </a:cubicBezTo>
                    <a:cubicBezTo>
                      <a:pt x="86" y="38"/>
                      <a:pt x="87" y="41"/>
                      <a:pt x="89" y="42"/>
                    </a:cubicBezTo>
                    <a:cubicBezTo>
                      <a:pt x="91" y="42"/>
                      <a:pt x="94" y="40"/>
                      <a:pt x="96" y="40"/>
                    </a:cubicBezTo>
                    <a:cubicBezTo>
                      <a:pt x="99" y="41"/>
                      <a:pt x="101" y="42"/>
                      <a:pt x="103" y="43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4" name="Freeform 2635"/>
              <p:cNvSpPr>
                <a:spLocks noChangeAspect="1"/>
              </p:cNvSpPr>
              <p:nvPr/>
            </p:nvSpPr>
            <p:spPr bwMode="auto">
              <a:xfrm>
                <a:off x="6946168" y="3850664"/>
                <a:ext cx="107949" cy="142924"/>
              </a:xfrm>
              <a:custGeom>
                <a:avLst/>
                <a:gdLst>
                  <a:gd name="T0" fmla="*/ 26 w 55"/>
                  <a:gd name="T1" fmla="*/ 8 h 73"/>
                  <a:gd name="T2" fmla="*/ 32 w 55"/>
                  <a:gd name="T3" fmla="*/ 14 h 73"/>
                  <a:gd name="T4" fmla="*/ 37 w 55"/>
                  <a:gd name="T5" fmla="*/ 20 h 73"/>
                  <a:gd name="T6" fmla="*/ 41 w 55"/>
                  <a:gd name="T7" fmla="*/ 20 h 73"/>
                  <a:gd name="T8" fmla="*/ 50 w 55"/>
                  <a:gd name="T9" fmla="*/ 35 h 73"/>
                  <a:gd name="T10" fmla="*/ 49 w 55"/>
                  <a:gd name="T11" fmla="*/ 48 h 73"/>
                  <a:gd name="T12" fmla="*/ 50 w 55"/>
                  <a:gd name="T13" fmla="*/ 57 h 73"/>
                  <a:gd name="T14" fmla="*/ 50 w 55"/>
                  <a:gd name="T15" fmla="*/ 66 h 73"/>
                  <a:gd name="T16" fmla="*/ 58 w 55"/>
                  <a:gd name="T17" fmla="*/ 71 h 73"/>
                  <a:gd name="T18" fmla="*/ 59 w 55"/>
                  <a:gd name="T19" fmla="*/ 76 h 73"/>
                  <a:gd name="T20" fmla="*/ 66 w 55"/>
                  <a:gd name="T21" fmla="*/ 87 h 73"/>
                  <a:gd name="T22" fmla="*/ 62 w 55"/>
                  <a:gd name="T23" fmla="*/ 87 h 73"/>
                  <a:gd name="T24" fmla="*/ 60 w 55"/>
                  <a:gd name="T25" fmla="*/ 83 h 73"/>
                  <a:gd name="T26" fmla="*/ 52 w 55"/>
                  <a:gd name="T27" fmla="*/ 86 h 73"/>
                  <a:gd name="T28" fmla="*/ 40 w 55"/>
                  <a:gd name="T29" fmla="*/ 81 h 73"/>
                  <a:gd name="T30" fmla="*/ 23 w 55"/>
                  <a:gd name="T31" fmla="*/ 72 h 73"/>
                  <a:gd name="T32" fmla="*/ 17 w 55"/>
                  <a:gd name="T33" fmla="*/ 68 h 73"/>
                  <a:gd name="T34" fmla="*/ 19 w 55"/>
                  <a:gd name="T35" fmla="*/ 59 h 73"/>
                  <a:gd name="T36" fmla="*/ 10 w 55"/>
                  <a:gd name="T37" fmla="*/ 49 h 73"/>
                  <a:gd name="T38" fmla="*/ 11 w 55"/>
                  <a:gd name="T39" fmla="*/ 46 h 73"/>
                  <a:gd name="T40" fmla="*/ 7 w 55"/>
                  <a:gd name="T41" fmla="*/ 42 h 73"/>
                  <a:gd name="T42" fmla="*/ 8 w 55"/>
                  <a:gd name="T43" fmla="*/ 31 h 73"/>
                  <a:gd name="T44" fmla="*/ 4 w 55"/>
                  <a:gd name="T45" fmla="*/ 28 h 73"/>
                  <a:gd name="T46" fmla="*/ 4 w 55"/>
                  <a:gd name="T47" fmla="*/ 13 h 73"/>
                  <a:gd name="T48" fmla="*/ 0 w 55"/>
                  <a:gd name="T49" fmla="*/ 5 h 73"/>
                  <a:gd name="T50" fmla="*/ 2 w 55"/>
                  <a:gd name="T51" fmla="*/ 0 h 73"/>
                  <a:gd name="T52" fmla="*/ 5 w 55"/>
                  <a:gd name="T53" fmla="*/ 5 h 73"/>
                  <a:gd name="T54" fmla="*/ 10 w 55"/>
                  <a:gd name="T55" fmla="*/ 5 h 73"/>
                  <a:gd name="T56" fmla="*/ 14 w 55"/>
                  <a:gd name="T57" fmla="*/ 8 h 73"/>
                  <a:gd name="T58" fmla="*/ 12 w 55"/>
                  <a:gd name="T59" fmla="*/ 17 h 73"/>
                  <a:gd name="T60" fmla="*/ 14 w 55"/>
                  <a:gd name="T61" fmla="*/ 20 h 73"/>
                  <a:gd name="T62" fmla="*/ 22 w 55"/>
                  <a:gd name="T63" fmla="*/ 16 h 73"/>
                  <a:gd name="T64" fmla="*/ 25 w 55"/>
                  <a:gd name="T65" fmla="*/ 14 h 73"/>
                  <a:gd name="T66" fmla="*/ 26 w 55"/>
                  <a:gd name="T67" fmla="*/ 8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5"/>
                  <a:gd name="T103" fmla="*/ 0 h 73"/>
                  <a:gd name="T104" fmla="*/ 55 w 55"/>
                  <a:gd name="T105" fmla="*/ 73 h 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5" h="73">
                    <a:moveTo>
                      <a:pt x="22" y="7"/>
                    </a:moveTo>
                    <a:cubicBezTo>
                      <a:pt x="24" y="9"/>
                      <a:pt x="25" y="11"/>
                      <a:pt x="27" y="12"/>
                    </a:cubicBezTo>
                    <a:cubicBezTo>
                      <a:pt x="28" y="14"/>
                      <a:pt x="29" y="16"/>
                      <a:pt x="31" y="17"/>
                    </a:cubicBezTo>
                    <a:cubicBezTo>
                      <a:pt x="32" y="18"/>
                      <a:pt x="34" y="16"/>
                      <a:pt x="34" y="17"/>
                    </a:cubicBezTo>
                    <a:cubicBezTo>
                      <a:pt x="37" y="20"/>
                      <a:pt x="41" y="24"/>
                      <a:pt x="42" y="29"/>
                    </a:cubicBezTo>
                    <a:cubicBezTo>
                      <a:pt x="43" y="32"/>
                      <a:pt x="41" y="36"/>
                      <a:pt x="41" y="40"/>
                    </a:cubicBezTo>
                    <a:cubicBezTo>
                      <a:pt x="41" y="43"/>
                      <a:pt x="42" y="45"/>
                      <a:pt x="42" y="47"/>
                    </a:cubicBezTo>
                    <a:cubicBezTo>
                      <a:pt x="42" y="50"/>
                      <a:pt x="41" y="53"/>
                      <a:pt x="42" y="55"/>
                    </a:cubicBezTo>
                    <a:cubicBezTo>
                      <a:pt x="43" y="57"/>
                      <a:pt x="47" y="57"/>
                      <a:pt x="48" y="59"/>
                    </a:cubicBezTo>
                    <a:cubicBezTo>
                      <a:pt x="49" y="60"/>
                      <a:pt x="49" y="62"/>
                      <a:pt x="49" y="63"/>
                    </a:cubicBezTo>
                    <a:cubicBezTo>
                      <a:pt x="51" y="67"/>
                      <a:pt x="54" y="68"/>
                      <a:pt x="55" y="72"/>
                    </a:cubicBezTo>
                    <a:cubicBezTo>
                      <a:pt x="53" y="72"/>
                      <a:pt x="53" y="73"/>
                      <a:pt x="52" y="72"/>
                    </a:cubicBezTo>
                    <a:cubicBezTo>
                      <a:pt x="51" y="71"/>
                      <a:pt x="51" y="68"/>
                      <a:pt x="50" y="69"/>
                    </a:cubicBezTo>
                    <a:cubicBezTo>
                      <a:pt x="48" y="70"/>
                      <a:pt x="46" y="72"/>
                      <a:pt x="43" y="71"/>
                    </a:cubicBezTo>
                    <a:cubicBezTo>
                      <a:pt x="38" y="71"/>
                      <a:pt x="38" y="70"/>
                      <a:pt x="33" y="67"/>
                    </a:cubicBezTo>
                    <a:cubicBezTo>
                      <a:pt x="28" y="65"/>
                      <a:pt x="23" y="62"/>
                      <a:pt x="19" y="60"/>
                    </a:cubicBezTo>
                    <a:cubicBezTo>
                      <a:pt x="17" y="59"/>
                      <a:pt x="14" y="58"/>
                      <a:pt x="14" y="56"/>
                    </a:cubicBezTo>
                    <a:cubicBezTo>
                      <a:pt x="13" y="53"/>
                      <a:pt x="17" y="51"/>
                      <a:pt x="16" y="49"/>
                    </a:cubicBezTo>
                    <a:cubicBezTo>
                      <a:pt x="14" y="45"/>
                      <a:pt x="10" y="44"/>
                      <a:pt x="8" y="41"/>
                    </a:cubicBezTo>
                    <a:cubicBezTo>
                      <a:pt x="7" y="40"/>
                      <a:pt x="9" y="39"/>
                      <a:pt x="9" y="38"/>
                    </a:cubicBezTo>
                    <a:cubicBezTo>
                      <a:pt x="9" y="37"/>
                      <a:pt x="6" y="36"/>
                      <a:pt x="6" y="35"/>
                    </a:cubicBezTo>
                    <a:cubicBezTo>
                      <a:pt x="5" y="32"/>
                      <a:pt x="7" y="29"/>
                      <a:pt x="7" y="26"/>
                    </a:cubicBezTo>
                    <a:cubicBezTo>
                      <a:pt x="6" y="25"/>
                      <a:pt x="4" y="25"/>
                      <a:pt x="3" y="23"/>
                    </a:cubicBezTo>
                    <a:cubicBezTo>
                      <a:pt x="2" y="19"/>
                      <a:pt x="3" y="15"/>
                      <a:pt x="3" y="11"/>
                    </a:cubicBezTo>
                    <a:cubicBezTo>
                      <a:pt x="2" y="9"/>
                      <a:pt x="1" y="7"/>
                      <a:pt x="0" y="4"/>
                    </a:cubicBezTo>
                    <a:cubicBezTo>
                      <a:pt x="1" y="3"/>
                      <a:pt x="1" y="0"/>
                      <a:pt x="2" y="0"/>
                    </a:cubicBezTo>
                    <a:cubicBezTo>
                      <a:pt x="4" y="0"/>
                      <a:pt x="3" y="3"/>
                      <a:pt x="4" y="4"/>
                    </a:cubicBezTo>
                    <a:cubicBezTo>
                      <a:pt x="5" y="5"/>
                      <a:pt x="7" y="4"/>
                      <a:pt x="8" y="4"/>
                    </a:cubicBezTo>
                    <a:cubicBezTo>
                      <a:pt x="9" y="5"/>
                      <a:pt x="11" y="6"/>
                      <a:pt x="12" y="7"/>
                    </a:cubicBezTo>
                    <a:cubicBezTo>
                      <a:pt x="12" y="9"/>
                      <a:pt x="10" y="11"/>
                      <a:pt x="10" y="14"/>
                    </a:cubicBezTo>
                    <a:cubicBezTo>
                      <a:pt x="10" y="15"/>
                      <a:pt x="10" y="17"/>
                      <a:pt x="12" y="17"/>
                    </a:cubicBezTo>
                    <a:cubicBezTo>
                      <a:pt x="14" y="16"/>
                      <a:pt x="15" y="14"/>
                      <a:pt x="18" y="13"/>
                    </a:cubicBezTo>
                    <a:cubicBezTo>
                      <a:pt x="19" y="12"/>
                      <a:pt x="21" y="13"/>
                      <a:pt x="21" y="12"/>
                    </a:cubicBezTo>
                    <a:cubicBezTo>
                      <a:pt x="22" y="10"/>
                      <a:pt x="22" y="9"/>
                      <a:pt x="22" y="7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5" name="Freeform 2636"/>
              <p:cNvSpPr>
                <a:spLocks noChangeAspect="1"/>
              </p:cNvSpPr>
              <p:nvPr/>
            </p:nvSpPr>
            <p:spPr bwMode="auto">
              <a:xfrm>
                <a:off x="6859482" y="3464121"/>
                <a:ext cx="210991" cy="420651"/>
              </a:xfrm>
              <a:custGeom>
                <a:avLst/>
                <a:gdLst>
                  <a:gd name="T0" fmla="*/ 68 w 107"/>
                  <a:gd name="T1" fmla="*/ 236 h 216"/>
                  <a:gd name="T2" fmla="*/ 51 w 107"/>
                  <a:gd name="T3" fmla="*/ 219 h 216"/>
                  <a:gd name="T4" fmla="*/ 43 w 107"/>
                  <a:gd name="T5" fmla="*/ 194 h 216"/>
                  <a:gd name="T6" fmla="*/ 35 w 107"/>
                  <a:gd name="T7" fmla="*/ 180 h 216"/>
                  <a:gd name="T8" fmla="*/ 46 w 107"/>
                  <a:gd name="T9" fmla="*/ 144 h 216"/>
                  <a:gd name="T10" fmla="*/ 47 w 107"/>
                  <a:gd name="T11" fmla="*/ 118 h 216"/>
                  <a:gd name="T12" fmla="*/ 60 w 107"/>
                  <a:gd name="T13" fmla="*/ 118 h 216"/>
                  <a:gd name="T14" fmla="*/ 58 w 107"/>
                  <a:gd name="T15" fmla="*/ 135 h 216"/>
                  <a:gd name="T16" fmla="*/ 68 w 107"/>
                  <a:gd name="T17" fmla="*/ 137 h 216"/>
                  <a:gd name="T18" fmla="*/ 78 w 107"/>
                  <a:gd name="T19" fmla="*/ 144 h 216"/>
                  <a:gd name="T20" fmla="*/ 88 w 107"/>
                  <a:gd name="T21" fmla="*/ 145 h 216"/>
                  <a:gd name="T22" fmla="*/ 83 w 107"/>
                  <a:gd name="T23" fmla="*/ 130 h 216"/>
                  <a:gd name="T24" fmla="*/ 84 w 107"/>
                  <a:gd name="T25" fmla="*/ 118 h 216"/>
                  <a:gd name="T26" fmla="*/ 101 w 107"/>
                  <a:gd name="T27" fmla="*/ 106 h 216"/>
                  <a:gd name="T28" fmla="*/ 122 w 107"/>
                  <a:gd name="T29" fmla="*/ 108 h 216"/>
                  <a:gd name="T30" fmla="*/ 125 w 107"/>
                  <a:gd name="T31" fmla="*/ 89 h 216"/>
                  <a:gd name="T32" fmla="*/ 125 w 107"/>
                  <a:gd name="T33" fmla="*/ 77 h 216"/>
                  <a:gd name="T34" fmla="*/ 112 w 107"/>
                  <a:gd name="T35" fmla="*/ 59 h 216"/>
                  <a:gd name="T36" fmla="*/ 102 w 107"/>
                  <a:gd name="T37" fmla="*/ 43 h 216"/>
                  <a:gd name="T38" fmla="*/ 94 w 107"/>
                  <a:gd name="T39" fmla="*/ 35 h 216"/>
                  <a:gd name="T40" fmla="*/ 81 w 107"/>
                  <a:gd name="T41" fmla="*/ 43 h 216"/>
                  <a:gd name="T42" fmla="*/ 76 w 107"/>
                  <a:gd name="T43" fmla="*/ 43 h 216"/>
                  <a:gd name="T44" fmla="*/ 63 w 107"/>
                  <a:gd name="T45" fmla="*/ 44 h 216"/>
                  <a:gd name="T46" fmla="*/ 54 w 107"/>
                  <a:gd name="T47" fmla="*/ 36 h 216"/>
                  <a:gd name="T48" fmla="*/ 55 w 107"/>
                  <a:gd name="T49" fmla="*/ 22 h 216"/>
                  <a:gd name="T50" fmla="*/ 42 w 107"/>
                  <a:gd name="T51" fmla="*/ 12 h 216"/>
                  <a:gd name="T52" fmla="*/ 41 w 107"/>
                  <a:gd name="T53" fmla="*/ 0 h 216"/>
                  <a:gd name="T54" fmla="*/ 29 w 107"/>
                  <a:gd name="T55" fmla="*/ 1 h 216"/>
                  <a:gd name="T56" fmla="*/ 22 w 107"/>
                  <a:gd name="T57" fmla="*/ 11 h 216"/>
                  <a:gd name="T58" fmla="*/ 5 w 107"/>
                  <a:gd name="T59" fmla="*/ 30 h 216"/>
                  <a:gd name="T60" fmla="*/ 5 w 107"/>
                  <a:gd name="T61" fmla="*/ 35 h 216"/>
                  <a:gd name="T62" fmla="*/ 14 w 107"/>
                  <a:gd name="T63" fmla="*/ 60 h 216"/>
                  <a:gd name="T64" fmla="*/ 22 w 107"/>
                  <a:gd name="T65" fmla="*/ 71 h 216"/>
                  <a:gd name="T66" fmla="*/ 19 w 107"/>
                  <a:gd name="T67" fmla="*/ 89 h 216"/>
                  <a:gd name="T68" fmla="*/ 30 w 107"/>
                  <a:gd name="T69" fmla="*/ 112 h 216"/>
                  <a:gd name="T70" fmla="*/ 30 w 107"/>
                  <a:gd name="T71" fmla="*/ 126 h 216"/>
                  <a:gd name="T72" fmla="*/ 35 w 107"/>
                  <a:gd name="T73" fmla="*/ 159 h 216"/>
                  <a:gd name="T74" fmla="*/ 24 w 107"/>
                  <a:gd name="T75" fmla="*/ 181 h 216"/>
                  <a:gd name="T76" fmla="*/ 19 w 107"/>
                  <a:gd name="T77" fmla="*/ 207 h 216"/>
                  <a:gd name="T78" fmla="*/ 25 w 107"/>
                  <a:gd name="T79" fmla="*/ 209 h 216"/>
                  <a:gd name="T80" fmla="*/ 35 w 107"/>
                  <a:gd name="T81" fmla="*/ 225 h 216"/>
                  <a:gd name="T82" fmla="*/ 46 w 107"/>
                  <a:gd name="T83" fmla="*/ 230 h 216"/>
                  <a:gd name="T84" fmla="*/ 49 w 107"/>
                  <a:gd name="T85" fmla="*/ 241 h 216"/>
                  <a:gd name="T86" fmla="*/ 58 w 107"/>
                  <a:gd name="T87" fmla="*/ 243 h 216"/>
                  <a:gd name="T88" fmla="*/ 65 w 107"/>
                  <a:gd name="T89" fmla="*/ 255 h 216"/>
                  <a:gd name="T90" fmla="*/ 78 w 107"/>
                  <a:gd name="T91" fmla="*/ 253 h 21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7"/>
                  <a:gd name="T139" fmla="*/ 0 h 216"/>
                  <a:gd name="T140" fmla="*/ 107 w 107"/>
                  <a:gd name="T141" fmla="*/ 216 h 21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7" h="216">
                    <a:moveTo>
                      <a:pt x="66" y="206"/>
                    </a:moveTo>
                    <a:cubicBezTo>
                      <a:pt x="65" y="205"/>
                      <a:pt x="63" y="202"/>
                      <a:pt x="62" y="200"/>
                    </a:cubicBezTo>
                    <a:cubicBezTo>
                      <a:pt x="60" y="199"/>
                      <a:pt x="58" y="198"/>
                      <a:pt x="56" y="197"/>
                    </a:cubicBezTo>
                    <a:cubicBezTo>
                      <a:pt x="54" y="196"/>
                      <a:pt x="51" y="197"/>
                      <a:pt x="49" y="196"/>
                    </a:cubicBezTo>
                    <a:cubicBezTo>
                      <a:pt x="46" y="194"/>
                      <a:pt x="45" y="191"/>
                      <a:pt x="43" y="188"/>
                    </a:cubicBezTo>
                    <a:cubicBezTo>
                      <a:pt x="42" y="187"/>
                      <a:pt x="42" y="185"/>
                      <a:pt x="42" y="183"/>
                    </a:cubicBezTo>
                    <a:cubicBezTo>
                      <a:pt x="41" y="182"/>
                      <a:pt x="41" y="180"/>
                      <a:pt x="41" y="178"/>
                    </a:cubicBezTo>
                    <a:cubicBezTo>
                      <a:pt x="40" y="175"/>
                      <a:pt x="41" y="172"/>
                      <a:pt x="41" y="169"/>
                    </a:cubicBezTo>
                    <a:cubicBezTo>
                      <a:pt x="40" y="166"/>
                      <a:pt x="38" y="164"/>
                      <a:pt x="36" y="162"/>
                    </a:cubicBezTo>
                    <a:cubicBezTo>
                      <a:pt x="34" y="162"/>
                      <a:pt x="32" y="165"/>
                      <a:pt x="30" y="164"/>
                    </a:cubicBezTo>
                    <a:cubicBezTo>
                      <a:pt x="28" y="162"/>
                      <a:pt x="28" y="159"/>
                      <a:pt x="28" y="157"/>
                    </a:cubicBezTo>
                    <a:cubicBezTo>
                      <a:pt x="28" y="155"/>
                      <a:pt x="28" y="152"/>
                      <a:pt x="29" y="150"/>
                    </a:cubicBezTo>
                    <a:cubicBezTo>
                      <a:pt x="29" y="147"/>
                      <a:pt x="29" y="145"/>
                      <a:pt x="30" y="142"/>
                    </a:cubicBezTo>
                    <a:cubicBezTo>
                      <a:pt x="31" y="138"/>
                      <a:pt x="33" y="134"/>
                      <a:pt x="34" y="130"/>
                    </a:cubicBezTo>
                    <a:cubicBezTo>
                      <a:pt x="36" y="126"/>
                      <a:pt x="38" y="124"/>
                      <a:pt x="38" y="120"/>
                    </a:cubicBezTo>
                    <a:cubicBezTo>
                      <a:pt x="39" y="117"/>
                      <a:pt x="37" y="114"/>
                      <a:pt x="37" y="111"/>
                    </a:cubicBezTo>
                    <a:cubicBezTo>
                      <a:pt x="37" y="110"/>
                      <a:pt x="39" y="109"/>
                      <a:pt x="39" y="108"/>
                    </a:cubicBezTo>
                    <a:cubicBezTo>
                      <a:pt x="40" y="104"/>
                      <a:pt x="38" y="101"/>
                      <a:pt x="39" y="98"/>
                    </a:cubicBezTo>
                    <a:cubicBezTo>
                      <a:pt x="39" y="97"/>
                      <a:pt x="41" y="97"/>
                      <a:pt x="42" y="97"/>
                    </a:cubicBezTo>
                    <a:cubicBezTo>
                      <a:pt x="43" y="97"/>
                      <a:pt x="44" y="98"/>
                      <a:pt x="45" y="98"/>
                    </a:cubicBezTo>
                    <a:cubicBezTo>
                      <a:pt x="47" y="99"/>
                      <a:pt x="49" y="97"/>
                      <a:pt x="50" y="98"/>
                    </a:cubicBezTo>
                    <a:cubicBezTo>
                      <a:pt x="50" y="100"/>
                      <a:pt x="48" y="101"/>
                      <a:pt x="47" y="103"/>
                    </a:cubicBezTo>
                    <a:cubicBezTo>
                      <a:pt x="47" y="105"/>
                      <a:pt x="48" y="106"/>
                      <a:pt x="49" y="107"/>
                    </a:cubicBezTo>
                    <a:cubicBezTo>
                      <a:pt x="49" y="109"/>
                      <a:pt x="48" y="111"/>
                      <a:pt x="48" y="113"/>
                    </a:cubicBezTo>
                    <a:cubicBezTo>
                      <a:pt x="48" y="114"/>
                      <a:pt x="49" y="114"/>
                      <a:pt x="50" y="114"/>
                    </a:cubicBezTo>
                    <a:cubicBezTo>
                      <a:pt x="50" y="114"/>
                      <a:pt x="51" y="113"/>
                      <a:pt x="51" y="113"/>
                    </a:cubicBezTo>
                    <a:cubicBezTo>
                      <a:pt x="53" y="113"/>
                      <a:pt x="54" y="114"/>
                      <a:pt x="56" y="114"/>
                    </a:cubicBezTo>
                    <a:cubicBezTo>
                      <a:pt x="58" y="114"/>
                      <a:pt x="59" y="112"/>
                      <a:pt x="61" y="113"/>
                    </a:cubicBezTo>
                    <a:cubicBezTo>
                      <a:pt x="63" y="114"/>
                      <a:pt x="65" y="116"/>
                      <a:pt x="66" y="118"/>
                    </a:cubicBezTo>
                    <a:cubicBezTo>
                      <a:pt x="66" y="118"/>
                      <a:pt x="65" y="119"/>
                      <a:pt x="65" y="120"/>
                    </a:cubicBezTo>
                    <a:cubicBezTo>
                      <a:pt x="65" y="121"/>
                      <a:pt x="65" y="123"/>
                      <a:pt x="67" y="123"/>
                    </a:cubicBezTo>
                    <a:cubicBezTo>
                      <a:pt x="67" y="124"/>
                      <a:pt x="68" y="122"/>
                      <a:pt x="69" y="122"/>
                    </a:cubicBezTo>
                    <a:cubicBezTo>
                      <a:pt x="70" y="121"/>
                      <a:pt x="72" y="121"/>
                      <a:pt x="73" y="121"/>
                    </a:cubicBezTo>
                    <a:cubicBezTo>
                      <a:pt x="73" y="119"/>
                      <a:pt x="73" y="117"/>
                      <a:pt x="72" y="115"/>
                    </a:cubicBezTo>
                    <a:cubicBezTo>
                      <a:pt x="71" y="114"/>
                      <a:pt x="69" y="114"/>
                      <a:pt x="69" y="112"/>
                    </a:cubicBezTo>
                    <a:cubicBezTo>
                      <a:pt x="68" y="111"/>
                      <a:pt x="69" y="110"/>
                      <a:pt x="69" y="108"/>
                    </a:cubicBezTo>
                    <a:cubicBezTo>
                      <a:pt x="69" y="107"/>
                      <a:pt x="68" y="106"/>
                      <a:pt x="67" y="104"/>
                    </a:cubicBezTo>
                    <a:cubicBezTo>
                      <a:pt x="67" y="102"/>
                      <a:pt x="67" y="100"/>
                      <a:pt x="68" y="98"/>
                    </a:cubicBezTo>
                    <a:cubicBezTo>
                      <a:pt x="68" y="97"/>
                      <a:pt x="70" y="98"/>
                      <a:pt x="70" y="98"/>
                    </a:cubicBezTo>
                    <a:cubicBezTo>
                      <a:pt x="72" y="96"/>
                      <a:pt x="72" y="93"/>
                      <a:pt x="74" y="92"/>
                    </a:cubicBezTo>
                    <a:cubicBezTo>
                      <a:pt x="76" y="90"/>
                      <a:pt x="78" y="88"/>
                      <a:pt x="80" y="87"/>
                    </a:cubicBezTo>
                    <a:cubicBezTo>
                      <a:pt x="81" y="87"/>
                      <a:pt x="83" y="87"/>
                      <a:pt x="84" y="88"/>
                    </a:cubicBezTo>
                    <a:cubicBezTo>
                      <a:pt x="85" y="88"/>
                      <a:pt x="86" y="88"/>
                      <a:pt x="87" y="88"/>
                    </a:cubicBezTo>
                    <a:cubicBezTo>
                      <a:pt x="90" y="88"/>
                      <a:pt x="93" y="87"/>
                      <a:pt x="96" y="88"/>
                    </a:cubicBezTo>
                    <a:cubicBezTo>
                      <a:pt x="98" y="88"/>
                      <a:pt x="100" y="89"/>
                      <a:pt x="101" y="90"/>
                    </a:cubicBezTo>
                    <a:cubicBezTo>
                      <a:pt x="102" y="90"/>
                      <a:pt x="102" y="89"/>
                      <a:pt x="103" y="88"/>
                    </a:cubicBezTo>
                    <a:cubicBezTo>
                      <a:pt x="104" y="88"/>
                      <a:pt x="105" y="87"/>
                      <a:pt x="105" y="86"/>
                    </a:cubicBezTo>
                    <a:cubicBezTo>
                      <a:pt x="106" y="82"/>
                      <a:pt x="104" y="78"/>
                      <a:pt x="104" y="74"/>
                    </a:cubicBezTo>
                    <a:cubicBezTo>
                      <a:pt x="105" y="72"/>
                      <a:pt x="107" y="71"/>
                      <a:pt x="107" y="70"/>
                    </a:cubicBezTo>
                    <a:cubicBezTo>
                      <a:pt x="107" y="68"/>
                      <a:pt x="104" y="68"/>
                      <a:pt x="104" y="66"/>
                    </a:cubicBezTo>
                    <a:cubicBezTo>
                      <a:pt x="103" y="66"/>
                      <a:pt x="105" y="64"/>
                      <a:pt x="104" y="64"/>
                    </a:cubicBezTo>
                    <a:cubicBezTo>
                      <a:pt x="103" y="63"/>
                      <a:pt x="101" y="64"/>
                      <a:pt x="100" y="63"/>
                    </a:cubicBezTo>
                    <a:cubicBezTo>
                      <a:pt x="98" y="61"/>
                      <a:pt x="96" y="60"/>
                      <a:pt x="95" y="58"/>
                    </a:cubicBezTo>
                    <a:cubicBezTo>
                      <a:pt x="94" y="55"/>
                      <a:pt x="93" y="52"/>
                      <a:pt x="93" y="49"/>
                    </a:cubicBezTo>
                    <a:cubicBezTo>
                      <a:pt x="92" y="47"/>
                      <a:pt x="95" y="45"/>
                      <a:pt x="94" y="44"/>
                    </a:cubicBezTo>
                    <a:cubicBezTo>
                      <a:pt x="93" y="42"/>
                      <a:pt x="91" y="41"/>
                      <a:pt x="89" y="40"/>
                    </a:cubicBezTo>
                    <a:cubicBezTo>
                      <a:pt x="88" y="38"/>
                      <a:pt x="86" y="38"/>
                      <a:pt x="85" y="36"/>
                    </a:cubicBezTo>
                    <a:cubicBezTo>
                      <a:pt x="84" y="34"/>
                      <a:pt x="85" y="32"/>
                      <a:pt x="83" y="30"/>
                    </a:cubicBezTo>
                    <a:cubicBezTo>
                      <a:pt x="83" y="29"/>
                      <a:pt x="82" y="31"/>
                      <a:pt x="81" y="31"/>
                    </a:cubicBezTo>
                    <a:cubicBezTo>
                      <a:pt x="80" y="31"/>
                      <a:pt x="79" y="29"/>
                      <a:pt x="78" y="29"/>
                    </a:cubicBezTo>
                    <a:cubicBezTo>
                      <a:pt x="77" y="28"/>
                      <a:pt x="75" y="28"/>
                      <a:pt x="73" y="29"/>
                    </a:cubicBezTo>
                    <a:cubicBezTo>
                      <a:pt x="72" y="30"/>
                      <a:pt x="72" y="33"/>
                      <a:pt x="71" y="35"/>
                    </a:cubicBezTo>
                    <a:cubicBezTo>
                      <a:pt x="70" y="36"/>
                      <a:pt x="68" y="35"/>
                      <a:pt x="67" y="36"/>
                    </a:cubicBezTo>
                    <a:cubicBezTo>
                      <a:pt x="66" y="37"/>
                      <a:pt x="67" y="39"/>
                      <a:pt x="65" y="40"/>
                    </a:cubicBezTo>
                    <a:cubicBezTo>
                      <a:pt x="64" y="41"/>
                      <a:pt x="62" y="41"/>
                      <a:pt x="62" y="40"/>
                    </a:cubicBezTo>
                    <a:cubicBezTo>
                      <a:pt x="61" y="39"/>
                      <a:pt x="63" y="37"/>
                      <a:pt x="63" y="36"/>
                    </a:cubicBezTo>
                    <a:cubicBezTo>
                      <a:pt x="62" y="34"/>
                      <a:pt x="59" y="33"/>
                      <a:pt x="57" y="32"/>
                    </a:cubicBezTo>
                    <a:cubicBezTo>
                      <a:pt x="55" y="32"/>
                      <a:pt x="54" y="33"/>
                      <a:pt x="52" y="34"/>
                    </a:cubicBezTo>
                    <a:cubicBezTo>
                      <a:pt x="52" y="35"/>
                      <a:pt x="53" y="36"/>
                      <a:pt x="52" y="37"/>
                    </a:cubicBezTo>
                    <a:cubicBezTo>
                      <a:pt x="51" y="39"/>
                      <a:pt x="49" y="42"/>
                      <a:pt x="46" y="43"/>
                    </a:cubicBezTo>
                    <a:cubicBezTo>
                      <a:pt x="45" y="43"/>
                      <a:pt x="44" y="42"/>
                      <a:pt x="44" y="41"/>
                    </a:cubicBezTo>
                    <a:cubicBezTo>
                      <a:pt x="43" y="37"/>
                      <a:pt x="45" y="33"/>
                      <a:pt x="45" y="30"/>
                    </a:cubicBezTo>
                    <a:cubicBezTo>
                      <a:pt x="45" y="28"/>
                      <a:pt x="44" y="27"/>
                      <a:pt x="44" y="25"/>
                    </a:cubicBezTo>
                    <a:cubicBezTo>
                      <a:pt x="44" y="24"/>
                      <a:pt x="46" y="23"/>
                      <a:pt x="46" y="22"/>
                    </a:cubicBezTo>
                    <a:cubicBezTo>
                      <a:pt x="47" y="20"/>
                      <a:pt x="46" y="19"/>
                      <a:pt x="46" y="18"/>
                    </a:cubicBezTo>
                    <a:cubicBezTo>
                      <a:pt x="46" y="16"/>
                      <a:pt x="48" y="14"/>
                      <a:pt x="47" y="13"/>
                    </a:cubicBezTo>
                    <a:cubicBezTo>
                      <a:pt x="46" y="11"/>
                      <a:pt x="43" y="12"/>
                      <a:pt x="42" y="11"/>
                    </a:cubicBezTo>
                    <a:cubicBezTo>
                      <a:pt x="39" y="11"/>
                      <a:pt x="37" y="11"/>
                      <a:pt x="35" y="10"/>
                    </a:cubicBezTo>
                    <a:cubicBezTo>
                      <a:pt x="34" y="9"/>
                      <a:pt x="37" y="8"/>
                      <a:pt x="37" y="7"/>
                    </a:cubicBezTo>
                    <a:cubicBezTo>
                      <a:pt x="37" y="6"/>
                      <a:pt x="38" y="4"/>
                      <a:pt x="37" y="3"/>
                    </a:cubicBezTo>
                    <a:cubicBezTo>
                      <a:pt x="37" y="2"/>
                      <a:pt x="35" y="0"/>
                      <a:pt x="34" y="0"/>
                    </a:cubicBezTo>
                    <a:cubicBezTo>
                      <a:pt x="33" y="0"/>
                      <a:pt x="32" y="0"/>
                      <a:pt x="31" y="0"/>
                    </a:cubicBezTo>
                    <a:cubicBezTo>
                      <a:pt x="30" y="0"/>
                      <a:pt x="29" y="0"/>
                      <a:pt x="28" y="0"/>
                    </a:cubicBezTo>
                    <a:cubicBezTo>
                      <a:pt x="26" y="0"/>
                      <a:pt x="25" y="0"/>
                      <a:pt x="24" y="1"/>
                    </a:cubicBezTo>
                    <a:cubicBezTo>
                      <a:pt x="23" y="2"/>
                      <a:pt x="25" y="5"/>
                      <a:pt x="24" y="5"/>
                    </a:cubicBezTo>
                    <a:cubicBezTo>
                      <a:pt x="22" y="6"/>
                      <a:pt x="20" y="4"/>
                      <a:pt x="18" y="5"/>
                    </a:cubicBezTo>
                    <a:cubicBezTo>
                      <a:pt x="17" y="6"/>
                      <a:pt x="19" y="8"/>
                      <a:pt x="18" y="9"/>
                    </a:cubicBezTo>
                    <a:cubicBezTo>
                      <a:pt x="17" y="11"/>
                      <a:pt x="14" y="12"/>
                      <a:pt x="12" y="12"/>
                    </a:cubicBezTo>
                    <a:cubicBezTo>
                      <a:pt x="10" y="12"/>
                      <a:pt x="7" y="8"/>
                      <a:pt x="6" y="10"/>
                    </a:cubicBezTo>
                    <a:cubicBezTo>
                      <a:pt x="4" y="14"/>
                      <a:pt x="6" y="20"/>
                      <a:pt x="4" y="25"/>
                    </a:cubicBezTo>
                    <a:cubicBezTo>
                      <a:pt x="4" y="26"/>
                      <a:pt x="1" y="24"/>
                      <a:pt x="1" y="25"/>
                    </a:cubicBezTo>
                    <a:cubicBezTo>
                      <a:pt x="0" y="26"/>
                      <a:pt x="0" y="28"/>
                      <a:pt x="1" y="29"/>
                    </a:cubicBezTo>
                    <a:cubicBezTo>
                      <a:pt x="2" y="30"/>
                      <a:pt x="3" y="28"/>
                      <a:pt x="4" y="29"/>
                    </a:cubicBezTo>
                    <a:cubicBezTo>
                      <a:pt x="6" y="31"/>
                      <a:pt x="7" y="33"/>
                      <a:pt x="7" y="36"/>
                    </a:cubicBezTo>
                    <a:cubicBezTo>
                      <a:pt x="7" y="37"/>
                      <a:pt x="5" y="36"/>
                      <a:pt x="5" y="36"/>
                    </a:cubicBezTo>
                    <a:cubicBezTo>
                      <a:pt x="8" y="40"/>
                      <a:pt x="10" y="45"/>
                      <a:pt x="12" y="50"/>
                    </a:cubicBezTo>
                    <a:cubicBezTo>
                      <a:pt x="13" y="51"/>
                      <a:pt x="15" y="51"/>
                      <a:pt x="15" y="52"/>
                    </a:cubicBezTo>
                    <a:cubicBezTo>
                      <a:pt x="16" y="54"/>
                      <a:pt x="14" y="57"/>
                      <a:pt x="15" y="59"/>
                    </a:cubicBezTo>
                    <a:cubicBezTo>
                      <a:pt x="16" y="60"/>
                      <a:pt x="18" y="58"/>
                      <a:pt x="18" y="59"/>
                    </a:cubicBezTo>
                    <a:cubicBezTo>
                      <a:pt x="19" y="59"/>
                      <a:pt x="20" y="61"/>
                      <a:pt x="19" y="62"/>
                    </a:cubicBezTo>
                    <a:cubicBezTo>
                      <a:pt x="19" y="64"/>
                      <a:pt x="16" y="63"/>
                      <a:pt x="16" y="64"/>
                    </a:cubicBezTo>
                    <a:cubicBezTo>
                      <a:pt x="15" y="67"/>
                      <a:pt x="16" y="71"/>
                      <a:pt x="16" y="74"/>
                    </a:cubicBezTo>
                    <a:cubicBezTo>
                      <a:pt x="15" y="76"/>
                      <a:pt x="11" y="75"/>
                      <a:pt x="11" y="76"/>
                    </a:cubicBezTo>
                    <a:cubicBezTo>
                      <a:pt x="13" y="80"/>
                      <a:pt x="13" y="83"/>
                      <a:pt x="15" y="86"/>
                    </a:cubicBezTo>
                    <a:cubicBezTo>
                      <a:pt x="18" y="89"/>
                      <a:pt x="22" y="90"/>
                      <a:pt x="25" y="93"/>
                    </a:cubicBezTo>
                    <a:cubicBezTo>
                      <a:pt x="26" y="95"/>
                      <a:pt x="27" y="97"/>
                      <a:pt x="28" y="99"/>
                    </a:cubicBezTo>
                    <a:cubicBezTo>
                      <a:pt x="28" y="101"/>
                      <a:pt x="27" y="102"/>
                      <a:pt x="27" y="104"/>
                    </a:cubicBezTo>
                    <a:cubicBezTo>
                      <a:pt x="27" y="105"/>
                      <a:pt x="25" y="104"/>
                      <a:pt x="25" y="105"/>
                    </a:cubicBezTo>
                    <a:cubicBezTo>
                      <a:pt x="27" y="110"/>
                      <a:pt x="29" y="115"/>
                      <a:pt x="31" y="119"/>
                    </a:cubicBezTo>
                    <a:cubicBezTo>
                      <a:pt x="32" y="120"/>
                      <a:pt x="34" y="120"/>
                      <a:pt x="33" y="121"/>
                    </a:cubicBezTo>
                    <a:cubicBezTo>
                      <a:pt x="33" y="125"/>
                      <a:pt x="31" y="129"/>
                      <a:pt x="29" y="133"/>
                    </a:cubicBezTo>
                    <a:cubicBezTo>
                      <a:pt x="27" y="135"/>
                      <a:pt x="24" y="137"/>
                      <a:pt x="23" y="140"/>
                    </a:cubicBezTo>
                    <a:cubicBezTo>
                      <a:pt x="23" y="142"/>
                      <a:pt x="24" y="144"/>
                      <a:pt x="23" y="147"/>
                    </a:cubicBezTo>
                    <a:cubicBezTo>
                      <a:pt x="22" y="148"/>
                      <a:pt x="22" y="152"/>
                      <a:pt x="20" y="151"/>
                    </a:cubicBezTo>
                    <a:cubicBezTo>
                      <a:pt x="21" y="153"/>
                      <a:pt x="22" y="156"/>
                      <a:pt x="22" y="158"/>
                    </a:cubicBezTo>
                    <a:cubicBezTo>
                      <a:pt x="21" y="162"/>
                      <a:pt x="19" y="165"/>
                      <a:pt x="18" y="168"/>
                    </a:cubicBezTo>
                    <a:cubicBezTo>
                      <a:pt x="17" y="170"/>
                      <a:pt x="16" y="171"/>
                      <a:pt x="16" y="173"/>
                    </a:cubicBezTo>
                    <a:cubicBezTo>
                      <a:pt x="16" y="175"/>
                      <a:pt x="17" y="176"/>
                      <a:pt x="18" y="178"/>
                    </a:cubicBezTo>
                    <a:cubicBezTo>
                      <a:pt x="18" y="178"/>
                      <a:pt x="19" y="178"/>
                      <a:pt x="19" y="178"/>
                    </a:cubicBezTo>
                    <a:cubicBezTo>
                      <a:pt x="21" y="177"/>
                      <a:pt x="19" y="174"/>
                      <a:pt x="21" y="174"/>
                    </a:cubicBezTo>
                    <a:cubicBezTo>
                      <a:pt x="23" y="175"/>
                      <a:pt x="26" y="178"/>
                      <a:pt x="27" y="180"/>
                    </a:cubicBezTo>
                    <a:cubicBezTo>
                      <a:pt x="28" y="182"/>
                      <a:pt x="26" y="184"/>
                      <a:pt x="27" y="186"/>
                    </a:cubicBezTo>
                    <a:cubicBezTo>
                      <a:pt x="28" y="186"/>
                      <a:pt x="29" y="189"/>
                      <a:pt x="29" y="188"/>
                    </a:cubicBezTo>
                    <a:cubicBezTo>
                      <a:pt x="29" y="184"/>
                      <a:pt x="29" y="182"/>
                      <a:pt x="30" y="184"/>
                    </a:cubicBezTo>
                    <a:cubicBezTo>
                      <a:pt x="31" y="186"/>
                      <a:pt x="32" y="188"/>
                      <a:pt x="34" y="189"/>
                    </a:cubicBezTo>
                    <a:cubicBezTo>
                      <a:pt x="35" y="190"/>
                      <a:pt x="37" y="191"/>
                      <a:pt x="38" y="192"/>
                    </a:cubicBezTo>
                    <a:cubicBezTo>
                      <a:pt x="39" y="193"/>
                      <a:pt x="39" y="194"/>
                      <a:pt x="39" y="195"/>
                    </a:cubicBezTo>
                    <a:cubicBezTo>
                      <a:pt x="39" y="196"/>
                      <a:pt x="38" y="197"/>
                      <a:pt x="38" y="198"/>
                    </a:cubicBezTo>
                    <a:cubicBezTo>
                      <a:pt x="38" y="199"/>
                      <a:pt x="40" y="200"/>
                      <a:pt x="41" y="201"/>
                    </a:cubicBezTo>
                    <a:cubicBezTo>
                      <a:pt x="42" y="202"/>
                      <a:pt x="43" y="202"/>
                      <a:pt x="44" y="203"/>
                    </a:cubicBezTo>
                    <a:cubicBezTo>
                      <a:pt x="45" y="202"/>
                      <a:pt x="45" y="199"/>
                      <a:pt x="46" y="199"/>
                    </a:cubicBezTo>
                    <a:cubicBezTo>
                      <a:pt x="48" y="199"/>
                      <a:pt x="47" y="202"/>
                      <a:pt x="48" y="203"/>
                    </a:cubicBezTo>
                    <a:cubicBezTo>
                      <a:pt x="49" y="204"/>
                      <a:pt x="51" y="203"/>
                      <a:pt x="52" y="203"/>
                    </a:cubicBezTo>
                    <a:cubicBezTo>
                      <a:pt x="53" y="204"/>
                      <a:pt x="55" y="205"/>
                      <a:pt x="56" y="206"/>
                    </a:cubicBezTo>
                    <a:cubicBezTo>
                      <a:pt x="56" y="208"/>
                      <a:pt x="54" y="210"/>
                      <a:pt x="54" y="213"/>
                    </a:cubicBezTo>
                    <a:cubicBezTo>
                      <a:pt x="54" y="214"/>
                      <a:pt x="54" y="216"/>
                      <a:pt x="56" y="216"/>
                    </a:cubicBezTo>
                    <a:cubicBezTo>
                      <a:pt x="58" y="215"/>
                      <a:pt x="59" y="213"/>
                      <a:pt x="62" y="212"/>
                    </a:cubicBezTo>
                    <a:cubicBezTo>
                      <a:pt x="63" y="211"/>
                      <a:pt x="65" y="212"/>
                      <a:pt x="65" y="211"/>
                    </a:cubicBezTo>
                    <a:cubicBezTo>
                      <a:pt x="66" y="209"/>
                      <a:pt x="66" y="208"/>
                      <a:pt x="66" y="206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6" name="Freeform 2637"/>
              <p:cNvSpPr>
                <a:spLocks noChangeAspect="1"/>
              </p:cNvSpPr>
              <p:nvPr/>
            </p:nvSpPr>
            <p:spPr bwMode="auto">
              <a:xfrm>
                <a:off x="6921634" y="3400779"/>
                <a:ext cx="197907" cy="250116"/>
              </a:xfrm>
              <a:custGeom>
                <a:avLst/>
                <a:gdLst>
                  <a:gd name="T0" fmla="*/ 114 w 101"/>
                  <a:gd name="T1" fmla="*/ 144 h 128"/>
                  <a:gd name="T2" fmla="*/ 105 w 101"/>
                  <a:gd name="T3" fmla="*/ 143 h 128"/>
                  <a:gd name="T4" fmla="*/ 99 w 101"/>
                  <a:gd name="T5" fmla="*/ 153 h 128"/>
                  <a:gd name="T6" fmla="*/ 90 w 101"/>
                  <a:gd name="T7" fmla="*/ 149 h 128"/>
                  <a:gd name="T8" fmla="*/ 84 w 101"/>
                  <a:gd name="T9" fmla="*/ 147 h 128"/>
                  <a:gd name="T10" fmla="*/ 89 w 101"/>
                  <a:gd name="T11" fmla="*/ 142 h 128"/>
                  <a:gd name="T12" fmla="*/ 91 w 101"/>
                  <a:gd name="T13" fmla="*/ 123 h 128"/>
                  <a:gd name="T14" fmla="*/ 87 w 101"/>
                  <a:gd name="T15" fmla="*/ 115 h 128"/>
                  <a:gd name="T16" fmla="*/ 77 w 101"/>
                  <a:gd name="T17" fmla="*/ 108 h 128"/>
                  <a:gd name="T18" fmla="*/ 75 w 101"/>
                  <a:gd name="T19" fmla="*/ 91 h 128"/>
                  <a:gd name="T20" fmla="*/ 65 w 101"/>
                  <a:gd name="T21" fmla="*/ 82 h 128"/>
                  <a:gd name="T22" fmla="*/ 60 w 101"/>
                  <a:gd name="T23" fmla="*/ 76 h 128"/>
                  <a:gd name="T24" fmla="*/ 50 w 101"/>
                  <a:gd name="T25" fmla="*/ 73 h 128"/>
                  <a:gd name="T26" fmla="*/ 43 w 101"/>
                  <a:gd name="T27" fmla="*/ 82 h 128"/>
                  <a:gd name="T28" fmla="*/ 37 w 101"/>
                  <a:gd name="T29" fmla="*/ 87 h 128"/>
                  <a:gd name="T30" fmla="*/ 31 w 101"/>
                  <a:gd name="T31" fmla="*/ 77 h 128"/>
                  <a:gd name="T32" fmla="*/ 25 w 101"/>
                  <a:gd name="T33" fmla="*/ 83 h 128"/>
                  <a:gd name="T34" fmla="*/ 16 w 101"/>
                  <a:gd name="T35" fmla="*/ 88 h 128"/>
                  <a:gd name="T36" fmla="*/ 16 w 101"/>
                  <a:gd name="T37" fmla="*/ 69 h 128"/>
                  <a:gd name="T38" fmla="*/ 18 w 101"/>
                  <a:gd name="T39" fmla="*/ 60 h 128"/>
                  <a:gd name="T40" fmla="*/ 13 w 101"/>
                  <a:gd name="T41" fmla="*/ 52 h 128"/>
                  <a:gd name="T42" fmla="*/ 7 w 101"/>
                  <a:gd name="T43" fmla="*/ 47 h 128"/>
                  <a:gd name="T44" fmla="*/ 4 w 101"/>
                  <a:gd name="T45" fmla="*/ 39 h 128"/>
                  <a:gd name="T46" fmla="*/ 1 w 101"/>
                  <a:gd name="T47" fmla="*/ 31 h 128"/>
                  <a:gd name="T48" fmla="*/ 5 w 101"/>
                  <a:gd name="T49" fmla="*/ 25 h 128"/>
                  <a:gd name="T50" fmla="*/ 13 w 101"/>
                  <a:gd name="T51" fmla="*/ 16 h 128"/>
                  <a:gd name="T52" fmla="*/ 18 w 101"/>
                  <a:gd name="T53" fmla="*/ 22 h 128"/>
                  <a:gd name="T54" fmla="*/ 25 w 101"/>
                  <a:gd name="T55" fmla="*/ 20 h 128"/>
                  <a:gd name="T56" fmla="*/ 20 w 101"/>
                  <a:gd name="T57" fmla="*/ 8 h 128"/>
                  <a:gd name="T58" fmla="*/ 22 w 101"/>
                  <a:gd name="T59" fmla="*/ 0 h 128"/>
                  <a:gd name="T60" fmla="*/ 29 w 101"/>
                  <a:gd name="T61" fmla="*/ 2 h 128"/>
                  <a:gd name="T62" fmla="*/ 36 w 101"/>
                  <a:gd name="T63" fmla="*/ 13 h 128"/>
                  <a:gd name="T64" fmla="*/ 42 w 101"/>
                  <a:gd name="T65" fmla="*/ 14 h 128"/>
                  <a:gd name="T66" fmla="*/ 46 w 101"/>
                  <a:gd name="T67" fmla="*/ 30 h 128"/>
                  <a:gd name="T68" fmla="*/ 53 w 101"/>
                  <a:gd name="T69" fmla="*/ 34 h 128"/>
                  <a:gd name="T70" fmla="*/ 62 w 101"/>
                  <a:gd name="T71" fmla="*/ 29 h 128"/>
                  <a:gd name="T72" fmla="*/ 63 w 101"/>
                  <a:gd name="T73" fmla="*/ 37 h 128"/>
                  <a:gd name="T74" fmla="*/ 73 w 101"/>
                  <a:gd name="T75" fmla="*/ 43 h 128"/>
                  <a:gd name="T76" fmla="*/ 71 w 101"/>
                  <a:gd name="T77" fmla="*/ 47 h 128"/>
                  <a:gd name="T78" fmla="*/ 62 w 101"/>
                  <a:gd name="T79" fmla="*/ 51 h 128"/>
                  <a:gd name="T80" fmla="*/ 58 w 101"/>
                  <a:gd name="T81" fmla="*/ 57 h 128"/>
                  <a:gd name="T82" fmla="*/ 79 w 101"/>
                  <a:gd name="T83" fmla="*/ 75 h 128"/>
                  <a:gd name="T84" fmla="*/ 91 w 101"/>
                  <a:gd name="T85" fmla="*/ 89 h 128"/>
                  <a:gd name="T86" fmla="*/ 101 w 101"/>
                  <a:gd name="T87" fmla="*/ 100 h 128"/>
                  <a:gd name="T88" fmla="*/ 111 w 101"/>
                  <a:gd name="T89" fmla="*/ 112 h 128"/>
                  <a:gd name="T90" fmla="*/ 114 w 101"/>
                  <a:gd name="T91" fmla="*/ 119 h 128"/>
                  <a:gd name="T92" fmla="*/ 117 w 101"/>
                  <a:gd name="T93" fmla="*/ 134 h 1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01"/>
                  <a:gd name="T142" fmla="*/ 0 h 128"/>
                  <a:gd name="T143" fmla="*/ 101 w 101"/>
                  <a:gd name="T144" fmla="*/ 128 h 1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01" h="128">
                    <a:moveTo>
                      <a:pt x="99" y="117"/>
                    </a:moveTo>
                    <a:cubicBezTo>
                      <a:pt x="98" y="118"/>
                      <a:pt x="97" y="120"/>
                      <a:pt x="95" y="120"/>
                    </a:cubicBezTo>
                    <a:cubicBezTo>
                      <a:pt x="94" y="121"/>
                      <a:pt x="92" y="121"/>
                      <a:pt x="91" y="120"/>
                    </a:cubicBezTo>
                    <a:cubicBezTo>
                      <a:pt x="90" y="120"/>
                      <a:pt x="89" y="119"/>
                      <a:pt x="88" y="119"/>
                    </a:cubicBezTo>
                    <a:cubicBezTo>
                      <a:pt x="86" y="120"/>
                      <a:pt x="83" y="120"/>
                      <a:pt x="82" y="121"/>
                    </a:cubicBezTo>
                    <a:cubicBezTo>
                      <a:pt x="81" y="123"/>
                      <a:pt x="84" y="125"/>
                      <a:pt x="83" y="127"/>
                    </a:cubicBezTo>
                    <a:cubicBezTo>
                      <a:pt x="82" y="128"/>
                      <a:pt x="81" y="126"/>
                      <a:pt x="80" y="126"/>
                    </a:cubicBezTo>
                    <a:cubicBezTo>
                      <a:pt x="78" y="125"/>
                      <a:pt x="76" y="124"/>
                      <a:pt x="75" y="124"/>
                    </a:cubicBezTo>
                    <a:cubicBezTo>
                      <a:pt x="74" y="124"/>
                      <a:pt x="73" y="125"/>
                      <a:pt x="72" y="124"/>
                    </a:cubicBezTo>
                    <a:cubicBezTo>
                      <a:pt x="71" y="124"/>
                      <a:pt x="71" y="123"/>
                      <a:pt x="70" y="122"/>
                    </a:cubicBezTo>
                    <a:cubicBezTo>
                      <a:pt x="71" y="122"/>
                      <a:pt x="71" y="121"/>
                      <a:pt x="72" y="120"/>
                    </a:cubicBezTo>
                    <a:cubicBezTo>
                      <a:pt x="73" y="120"/>
                      <a:pt x="74" y="119"/>
                      <a:pt x="74" y="118"/>
                    </a:cubicBezTo>
                    <a:cubicBezTo>
                      <a:pt x="75" y="114"/>
                      <a:pt x="73" y="110"/>
                      <a:pt x="73" y="106"/>
                    </a:cubicBezTo>
                    <a:cubicBezTo>
                      <a:pt x="74" y="104"/>
                      <a:pt x="76" y="103"/>
                      <a:pt x="76" y="102"/>
                    </a:cubicBezTo>
                    <a:cubicBezTo>
                      <a:pt x="76" y="100"/>
                      <a:pt x="73" y="100"/>
                      <a:pt x="73" y="98"/>
                    </a:cubicBezTo>
                    <a:cubicBezTo>
                      <a:pt x="72" y="98"/>
                      <a:pt x="74" y="96"/>
                      <a:pt x="73" y="96"/>
                    </a:cubicBezTo>
                    <a:cubicBezTo>
                      <a:pt x="72" y="95"/>
                      <a:pt x="70" y="96"/>
                      <a:pt x="69" y="95"/>
                    </a:cubicBezTo>
                    <a:cubicBezTo>
                      <a:pt x="67" y="93"/>
                      <a:pt x="65" y="92"/>
                      <a:pt x="64" y="90"/>
                    </a:cubicBezTo>
                    <a:cubicBezTo>
                      <a:pt x="63" y="87"/>
                      <a:pt x="62" y="84"/>
                      <a:pt x="62" y="81"/>
                    </a:cubicBezTo>
                    <a:cubicBezTo>
                      <a:pt x="61" y="79"/>
                      <a:pt x="64" y="77"/>
                      <a:pt x="63" y="76"/>
                    </a:cubicBezTo>
                    <a:cubicBezTo>
                      <a:pt x="62" y="74"/>
                      <a:pt x="60" y="73"/>
                      <a:pt x="58" y="72"/>
                    </a:cubicBezTo>
                    <a:cubicBezTo>
                      <a:pt x="57" y="70"/>
                      <a:pt x="55" y="70"/>
                      <a:pt x="54" y="68"/>
                    </a:cubicBezTo>
                    <a:cubicBezTo>
                      <a:pt x="53" y="66"/>
                      <a:pt x="54" y="64"/>
                      <a:pt x="52" y="62"/>
                    </a:cubicBezTo>
                    <a:cubicBezTo>
                      <a:pt x="52" y="61"/>
                      <a:pt x="51" y="63"/>
                      <a:pt x="50" y="63"/>
                    </a:cubicBezTo>
                    <a:cubicBezTo>
                      <a:pt x="49" y="63"/>
                      <a:pt x="48" y="61"/>
                      <a:pt x="47" y="61"/>
                    </a:cubicBezTo>
                    <a:cubicBezTo>
                      <a:pt x="46" y="60"/>
                      <a:pt x="44" y="60"/>
                      <a:pt x="42" y="61"/>
                    </a:cubicBezTo>
                    <a:cubicBezTo>
                      <a:pt x="41" y="62"/>
                      <a:pt x="41" y="65"/>
                      <a:pt x="40" y="67"/>
                    </a:cubicBezTo>
                    <a:cubicBezTo>
                      <a:pt x="39" y="68"/>
                      <a:pt x="37" y="67"/>
                      <a:pt x="36" y="68"/>
                    </a:cubicBezTo>
                    <a:cubicBezTo>
                      <a:pt x="35" y="69"/>
                      <a:pt x="36" y="71"/>
                      <a:pt x="34" y="72"/>
                    </a:cubicBezTo>
                    <a:cubicBezTo>
                      <a:pt x="33" y="73"/>
                      <a:pt x="31" y="73"/>
                      <a:pt x="31" y="72"/>
                    </a:cubicBezTo>
                    <a:cubicBezTo>
                      <a:pt x="30" y="71"/>
                      <a:pt x="32" y="69"/>
                      <a:pt x="32" y="68"/>
                    </a:cubicBezTo>
                    <a:cubicBezTo>
                      <a:pt x="31" y="66"/>
                      <a:pt x="28" y="65"/>
                      <a:pt x="26" y="64"/>
                    </a:cubicBezTo>
                    <a:cubicBezTo>
                      <a:pt x="24" y="64"/>
                      <a:pt x="23" y="65"/>
                      <a:pt x="21" y="66"/>
                    </a:cubicBezTo>
                    <a:cubicBezTo>
                      <a:pt x="21" y="67"/>
                      <a:pt x="22" y="68"/>
                      <a:pt x="21" y="69"/>
                    </a:cubicBezTo>
                    <a:cubicBezTo>
                      <a:pt x="20" y="71"/>
                      <a:pt x="18" y="74"/>
                      <a:pt x="15" y="75"/>
                    </a:cubicBezTo>
                    <a:cubicBezTo>
                      <a:pt x="14" y="75"/>
                      <a:pt x="13" y="74"/>
                      <a:pt x="13" y="73"/>
                    </a:cubicBezTo>
                    <a:cubicBezTo>
                      <a:pt x="12" y="69"/>
                      <a:pt x="14" y="65"/>
                      <a:pt x="14" y="62"/>
                    </a:cubicBezTo>
                    <a:cubicBezTo>
                      <a:pt x="14" y="60"/>
                      <a:pt x="13" y="59"/>
                      <a:pt x="13" y="57"/>
                    </a:cubicBezTo>
                    <a:cubicBezTo>
                      <a:pt x="13" y="56"/>
                      <a:pt x="15" y="55"/>
                      <a:pt x="15" y="54"/>
                    </a:cubicBezTo>
                    <a:cubicBezTo>
                      <a:pt x="16" y="52"/>
                      <a:pt x="15" y="51"/>
                      <a:pt x="15" y="50"/>
                    </a:cubicBezTo>
                    <a:cubicBezTo>
                      <a:pt x="15" y="48"/>
                      <a:pt x="17" y="46"/>
                      <a:pt x="16" y="45"/>
                    </a:cubicBezTo>
                    <a:cubicBezTo>
                      <a:pt x="15" y="43"/>
                      <a:pt x="12" y="44"/>
                      <a:pt x="11" y="43"/>
                    </a:cubicBezTo>
                    <a:cubicBezTo>
                      <a:pt x="8" y="43"/>
                      <a:pt x="6" y="43"/>
                      <a:pt x="4" y="42"/>
                    </a:cubicBezTo>
                    <a:cubicBezTo>
                      <a:pt x="3" y="41"/>
                      <a:pt x="6" y="40"/>
                      <a:pt x="6" y="39"/>
                    </a:cubicBezTo>
                    <a:cubicBezTo>
                      <a:pt x="6" y="38"/>
                      <a:pt x="7" y="36"/>
                      <a:pt x="6" y="35"/>
                    </a:cubicBezTo>
                    <a:cubicBezTo>
                      <a:pt x="6" y="34"/>
                      <a:pt x="4" y="32"/>
                      <a:pt x="3" y="32"/>
                    </a:cubicBezTo>
                    <a:cubicBezTo>
                      <a:pt x="2" y="32"/>
                      <a:pt x="1" y="32"/>
                      <a:pt x="0" y="32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2" y="25"/>
                      <a:pt x="6" y="26"/>
                      <a:pt x="7" y="25"/>
                    </a:cubicBezTo>
                    <a:cubicBezTo>
                      <a:pt x="7" y="23"/>
                      <a:pt x="4" y="23"/>
                      <a:pt x="4" y="21"/>
                    </a:cubicBezTo>
                    <a:cubicBezTo>
                      <a:pt x="4" y="19"/>
                      <a:pt x="5" y="17"/>
                      <a:pt x="7" y="15"/>
                    </a:cubicBezTo>
                    <a:cubicBezTo>
                      <a:pt x="8" y="14"/>
                      <a:pt x="10" y="14"/>
                      <a:pt x="11" y="13"/>
                    </a:cubicBezTo>
                    <a:cubicBezTo>
                      <a:pt x="12" y="14"/>
                      <a:pt x="11" y="16"/>
                      <a:pt x="12" y="17"/>
                    </a:cubicBezTo>
                    <a:cubicBezTo>
                      <a:pt x="13" y="18"/>
                      <a:pt x="14" y="18"/>
                      <a:pt x="15" y="18"/>
                    </a:cubicBezTo>
                    <a:cubicBezTo>
                      <a:pt x="16" y="18"/>
                      <a:pt x="18" y="18"/>
                      <a:pt x="19" y="18"/>
                    </a:cubicBezTo>
                    <a:cubicBezTo>
                      <a:pt x="19" y="17"/>
                      <a:pt x="21" y="17"/>
                      <a:pt x="21" y="17"/>
                    </a:cubicBezTo>
                    <a:cubicBezTo>
                      <a:pt x="21" y="15"/>
                      <a:pt x="20" y="14"/>
                      <a:pt x="19" y="12"/>
                    </a:cubicBezTo>
                    <a:cubicBezTo>
                      <a:pt x="19" y="11"/>
                      <a:pt x="18" y="9"/>
                      <a:pt x="17" y="7"/>
                    </a:cubicBezTo>
                    <a:cubicBezTo>
                      <a:pt x="16" y="6"/>
                      <a:pt x="16" y="4"/>
                      <a:pt x="16" y="3"/>
                    </a:cubicBezTo>
                    <a:cubicBezTo>
                      <a:pt x="16" y="2"/>
                      <a:pt x="17" y="1"/>
                      <a:pt x="18" y="0"/>
                    </a:cubicBezTo>
                    <a:cubicBezTo>
                      <a:pt x="19" y="0"/>
                      <a:pt x="20" y="1"/>
                      <a:pt x="21" y="2"/>
                    </a:cubicBezTo>
                    <a:cubicBezTo>
                      <a:pt x="22" y="2"/>
                      <a:pt x="23" y="2"/>
                      <a:pt x="24" y="2"/>
                    </a:cubicBezTo>
                    <a:cubicBezTo>
                      <a:pt x="25" y="3"/>
                      <a:pt x="26" y="5"/>
                      <a:pt x="27" y="6"/>
                    </a:cubicBezTo>
                    <a:cubicBezTo>
                      <a:pt x="27" y="8"/>
                      <a:pt x="28" y="11"/>
                      <a:pt x="30" y="11"/>
                    </a:cubicBezTo>
                    <a:cubicBezTo>
                      <a:pt x="31" y="12"/>
                      <a:pt x="31" y="8"/>
                      <a:pt x="32" y="9"/>
                    </a:cubicBezTo>
                    <a:cubicBezTo>
                      <a:pt x="33" y="9"/>
                      <a:pt x="34" y="11"/>
                      <a:pt x="35" y="12"/>
                    </a:cubicBezTo>
                    <a:cubicBezTo>
                      <a:pt x="35" y="14"/>
                      <a:pt x="33" y="16"/>
                      <a:pt x="33" y="17"/>
                    </a:cubicBezTo>
                    <a:cubicBezTo>
                      <a:pt x="34" y="20"/>
                      <a:pt x="36" y="23"/>
                      <a:pt x="38" y="25"/>
                    </a:cubicBezTo>
                    <a:cubicBezTo>
                      <a:pt x="39" y="26"/>
                      <a:pt x="40" y="25"/>
                      <a:pt x="41" y="26"/>
                    </a:cubicBezTo>
                    <a:cubicBezTo>
                      <a:pt x="42" y="26"/>
                      <a:pt x="43" y="29"/>
                      <a:pt x="44" y="28"/>
                    </a:cubicBezTo>
                    <a:cubicBezTo>
                      <a:pt x="46" y="28"/>
                      <a:pt x="47" y="25"/>
                      <a:pt x="49" y="24"/>
                    </a:cubicBezTo>
                    <a:cubicBezTo>
                      <a:pt x="50" y="24"/>
                      <a:pt x="51" y="24"/>
                      <a:pt x="52" y="24"/>
                    </a:cubicBezTo>
                    <a:cubicBezTo>
                      <a:pt x="54" y="26"/>
                      <a:pt x="56" y="29"/>
                      <a:pt x="56" y="31"/>
                    </a:cubicBezTo>
                    <a:cubicBezTo>
                      <a:pt x="56" y="32"/>
                      <a:pt x="54" y="31"/>
                      <a:pt x="53" y="31"/>
                    </a:cubicBezTo>
                    <a:cubicBezTo>
                      <a:pt x="52" y="32"/>
                      <a:pt x="52" y="33"/>
                      <a:pt x="52" y="33"/>
                    </a:cubicBezTo>
                    <a:cubicBezTo>
                      <a:pt x="55" y="34"/>
                      <a:pt x="59" y="34"/>
                      <a:pt x="61" y="36"/>
                    </a:cubicBezTo>
                    <a:cubicBezTo>
                      <a:pt x="62" y="36"/>
                      <a:pt x="62" y="38"/>
                      <a:pt x="62" y="39"/>
                    </a:cubicBezTo>
                    <a:cubicBezTo>
                      <a:pt x="61" y="40"/>
                      <a:pt x="60" y="38"/>
                      <a:pt x="59" y="39"/>
                    </a:cubicBezTo>
                    <a:cubicBezTo>
                      <a:pt x="58" y="40"/>
                      <a:pt x="58" y="42"/>
                      <a:pt x="57" y="43"/>
                    </a:cubicBezTo>
                    <a:cubicBezTo>
                      <a:pt x="55" y="44"/>
                      <a:pt x="54" y="42"/>
                      <a:pt x="52" y="42"/>
                    </a:cubicBezTo>
                    <a:cubicBezTo>
                      <a:pt x="51" y="43"/>
                      <a:pt x="52" y="44"/>
                      <a:pt x="51" y="45"/>
                    </a:cubicBezTo>
                    <a:cubicBezTo>
                      <a:pt x="50" y="46"/>
                      <a:pt x="47" y="46"/>
                      <a:pt x="48" y="47"/>
                    </a:cubicBezTo>
                    <a:cubicBezTo>
                      <a:pt x="53" y="51"/>
                      <a:pt x="60" y="52"/>
                      <a:pt x="65" y="56"/>
                    </a:cubicBezTo>
                    <a:cubicBezTo>
                      <a:pt x="67" y="58"/>
                      <a:pt x="65" y="60"/>
                      <a:pt x="66" y="62"/>
                    </a:cubicBezTo>
                    <a:cubicBezTo>
                      <a:pt x="66" y="63"/>
                      <a:pt x="68" y="64"/>
                      <a:pt x="69" y="65"/>
                    </a:cubicBezTo>
                    <a:cubicBezTo>
                      <a:pt x="71" y="68"/>
                      <a:pt x="73" y="72"/>
                      <a:pt x="76" y="74"/>
                    </a:cubicBezTo>
                    <a:cubicBezTo>
                      <a:pt x="77" y="76"/>
                      <a:pt x="79" y="76"/>
                      <a:pt x="80" y="77"/>
                    </a:cubicBezTo>
                    <a:cubicBezTo>
                      <a:pt x="82" y="79"/>
                      <a:pt x="83" y="81"/>
                      <a:pt x="84" y="83"/>
                    </a:cubicBezTo>
                    <a:cubicBezTo>
                      <a:pt x="85" y="85"/>
                      <a:pt x="85" y="87"/>
                      <a:pt x="86" y="89"/>
                    </a:cubicBezTo>
                    <a:cubicBezTo>
                      <a:pt x="88" y="91"/>
                      <a:pt x="91" y="91"/>
                      <a:pt x="93" y="93"/>
                    </a:cubicBezTo>
                    <a:cubicBezTo>
                      <a:pt x="95" y="94"/>
                      <a:pt x="98" y="95"/>
                      <a:pt x="98" y="97"/>
                    </a:cubicBezTo>
                    <a:cubicBezTo>
                      <a:pt x="98" y="98"/>
                      <a:pt x="94" y="98"/>
                      <a:pt x="95" y="99"/>
                    </a:cubicBezTo>
                    <a:cubicBezTo>
                      <a:pt x="96" y="103"/>
                      <a:pt x="100" y="104"/>
                      <a:pt x="101" y="107"/>
                    </a:cubicBezTo>
                    <a:cubicBezTo>
                      <a:pt x="101" y="109"/>
                      <a:pt x="98" y="109"/>
                      <a:pt x="98" y="111"/>
                    </a:cubicBezTo>
                    <a:cubicBezTo>
                      <a:pt x="97" y="113"/>
                      <a:pt x="99" y="115"/>
                      <a:pt x="99" y="117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7" name="Freeform 2638"/>
              <p:cNvSpPr>
                <a:spLocks noChangeAspect="1"/>
              </p:cNvSpPr>
              <p:nvPr/>
            </p:nvSpPr>
            <p:spPr bwMode="auto">
              <a:xfrm>
                <a:off x="6991965" y="3629782"/>
                <a:ext cx="135754" cy="116937"/>
              </a:xfrm>
              <a:custGeom>
                <a:avLst/>
                <a:gdLst>
                  <a:gd name="T0" fmla="*/ 32 w 69"/>
                  <a:gd name="T1" fmla="*/ 72 h 60"/>
                  <a:gd name="T2" fmla="*/ 28 w 69"/>
                  <a:gd name="T3" fmla="*/ 70 h 60"/>
                  <a:gd name="T4" fmla="*/ 23 w 69"/>
                  <a:gd name="T5" fmla="*/ 65 h 60"/>
                  <a:gd name="T6" fmla="*/ 23 w 69"/>
                  <a:gd name="T7" fmla="*/ 59 h 60"/>
                  <a:gd name="T8" fmla="*/ 19 w 69"/>
                  <a:gd name="T9" fmla="*/ 61 h 60"/>
                  <a:gd name="T10" fmla="*/ 17 w 69"/>
                  <a:gd name="T11" fmla="*/ 65 h 60"/>
                  <a:gd name="T12" fmla="*/ 12 w 69"/>
                  <a:gd name="T13" fmla="*/ 65 h 60"/>
                  <a:gd name="T14" fmla="*/ 13 w 69"/>
                  <a:gd name="T15" fmla="*/ 58 h 60"/>
                  <a:gd name="T16" fmla="*/ 11 w 69"/>
                  <a:gd name="T17" fmla="*/ 50 h 60"/>
                  <a:gd name="T18" fmla="*/ 7 w 69"/>
                  <a:gd name="T19" fmla="*/ 43 h 60"/>
                  <a:gd name="T20" fmla="*/ 6 w 69"/>
                  <a:gd name="T21" fmla="*/ 36 h 60"/>
                  <a:gd name="T22" fmla="*/ 2 w 69"/>
                  <a:gd name="T23" fmla="*/ 32 h 60"/>
                  <a:gd name="T24" fmla="*/ 2 w 69"/>
                  <a:gd name="T25" fmla="*/ 28 h 60"/>
                  <a:gd name="T26" fmla="*/ 0 w 69"/>
                  <a:gd name="T27" fmla="*/ 23 h 60"/>
                  <a:gd name="T28" fmla="*/ 1 w 69"/>
                  <a:gd name="T29" fmla="*/ 16 h 60"/>
                  <a:gd name="T30" fmla="*/ 4 w 69"/>
                  <a:gd name="T31" fmla="*/ 16 h 60"/>
                  <a:gd name="T32" fmla="*/ 8 w 69"/>
                  <a:gd name="T33" fmla="*/ 8 h 60"/>
                  <a:gd name="T34" fmla="*/ 16 w 69"/>
                  <a:gd name="T35" fmla="*/ 2 h 60"/>
                  <a:gd name="T36" fmla="*/ 20 w 69"/>
                  <a:gd name="T37" fmla="*/ 4 h 60"/>
                  <a:gd name="T38" fmla="*/ 24 w 69"/>
                  <a:gd name="T39" fmla="*/ 4 h 60"/>
                  <a:gd name="T40" fmla="*/ 35 w 69"/>
                  <a:gd name="T41" fmla="*/ 4 h 60"/>
                  <a:gd name="T42" fmla="*/ 41 w 69"/>
                  <a:gd name="T43" fmla="*/ 6 h 60"/>
                  <a:gd name="T44" fmla="*/ 43 w 69"/>
                  <a:gd name="T45" fmla="*/ 8 h 60"/>
                  <a:gd name="T46" fmla="*/ 47 w 69"/>
                  <a:gd name="T47" fmla="*/ 8 h 60"/>
                  <a:gd name="T48" fmla="*/ 53 w 69"/>
                  <a:gd name="T49" fmla="*/ 11 h 60"/>
                  <a:gd name="T50" fmla="*/ 57 w 69"/>
                  <a:gd name="T51" fmla="*/ 12 h 60"/>
                  <a:gd name="T52" fmla="*/ 55 w 69"/>
                  <a:gd name="T53" fmla="*/ 5 h 60"/>
                  <a:gd name="T54" fmla="*/ 63 w 69"/>
                  <a:gd name="T55" fmla="*/ 2 h 60"/>
                  <a:gd name="T56" fmla="*/ 66 w 69"/>
                  <a:gd name="T57" fmla="*/ 4 h 60"/>
                  <a:gd name="T58" fmla="*/ 71 w 69"/>
                  <a:gd name="T59" fmla="*/ 4 h 60"/>
                  <a:gd name="T60" fmla="*/ 76 w 69"/>
                  <a:gd name="T61" fmla="*/ 0 h 60"/>
                  <a:gd name="T62" fmla="*/ 77 w 69"/>
                  <a:gd name="T63" fmla="*/ 5 h 60"/>
                  <a:gd name="T64" fmla="*/ 77 w 69"/>
                  <a:gd name="T65" fmla="*/ 8 h 60"/>
                  <a:gd name="T66" fmla="*/ 77 w 69"/>
                  <a:gd name="T67" fmla="*/ 14 h 60"/>
                  <a:gd name="T68" fmla="*/ 81 w 69"/>
                  <a:gd name="T69" fmla="*/ 17 h 60"/>
                  <a:gd name="T70" fmla="*/ 82 w 69"/>
                  <a:gd name="T71" fmla="*/ 28 h 60"/>
                  <a:gd name="T72" fmla="*/ 78 w 69"/>
                  <a:gd name="T73" fmla="*/ 41 h 60"/>
                  <a:gd name="T74" fmla="*/ 76 w 69"/>
                  <a:gd name="T75" fmla="*/ 40 h 60"/>
                  <a:gd name="T76" fmla="*/ 69 w 69"/>
                  <a:gd name="T77" fmla="*/ 46 h 60"/>
                  <a:gd name="T78" fmla="*/ 61 w 69"/>
                  <a:gd name="T79" fmla="*/ 46 h 60"/>
                  <a:gd name="T80" fmla="*/ 60 w 69"/>
                  <a:gd name="T81" fmla="*/ 50 h 60"/>
                  <a:gd name="T82" fmla="*/ 55 w 69"/>
                  <a:gd name="T83" fmla="*/ 49 h 60"/>
                  <a:gd name="T84" fmla="*/ 53 w 69"/>
                  <a:gd name="T85" fmla="*/ 52 h 60"/>
                  <a:gd name="T86" fmla="*/ 55 w 69"/>
                  <a:gd name="T87" fmla="*/ 58 h 60"/>
                  <a:gd name="T88" fmla="*/ 58 w 69"/>
                  <a:gd name="T89" fmla="*/ 60 h 60"/>
                  <a:gd name="T90" fmla="*/ 59 w 69"/>
                  <a:gd name="T91" fmla="*/ 64 h 60"/>
                  <a:gd name="T92" fmla="*/ 58 w 69"/>
                  <a:gd name="T93" fmla="*/ 67 h 60"/>
                  <a:gd name="T94" fmla="*/ 52 w 69"/>
                  <a:gd name="T95" fmla="*/ 65 h 60"/>
                  <a:gd name="T96" fmla="*/ 41 w 69"/>
                  <a:gd name="T97" fmla="*/ 65 h 60"/>
                  <a:gd name="T98" fmla="*/ 42 w 69"/>
                  <a:gd name="T99" fmla="*/ 70 h 60"/>
                  <a:gd name="T100" fmla="*/ 37 w 69"/>
                  <a:gd name="T101" fmla="*/ 72 h 60"/>
                  <a:gd name="T102" fmla="*/ 32 w 69"/>
                  <a:gd name="T103" fmla="*/ 72 h 6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9"/>
                  <a:gd name="T157" fmla="*/ 0 h 60"/>
                  <a:gd name="T158" fmla="*/ 69 w 69"/>
                  <a:gd name="T159" fmla="*/ 60 h 6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9" h="60">
                    <a:moveTo>
                      <a:pt x="27" y="60"/>
                    </a:moveTo>
                    <a:cubicBezTo>
                      <a:pt x="25" y="59"/>
                      <a:pt x="24" y="59"/>
                      <a:pt x="23" y="58"/>
                    </a:cubicBezTo>
                    <a:cubicBezTo>
                      <a:pt x="21" y="57"/>
                      <a:pt x="20" y="55"/>
                      <a:pt x="19" y="54"/>
                    </a:cubicBezTo>
                    <a:cubicBezTo>
                      <a:pt x="19" y="52"/>
                      <a:pt x="20" y="50"/>
                      <a:pt x="19" y="49"/>
                    </a:cubicBezTo>
                    <a:cubicBezTo>
                      <a:pt x="18" y="48"/>
                      <a:pt x="17" y="50"/>
                      <a:pt x="16" y="51"/>
                    </a:cubicBezTo>
                    <a:cubicBezTo>
                      <a:pt x="15" y="51"/>
                      <a:pt x="15" y="53"/>
                      <a:pt x="14" y="54"/>
                    </a:cubicBezTo>
                    <a:cubicBezTo>
                      <a:pt x="13" y="54"/>
                      <a:pt x="11" y="55"/>
                      <a:pt x="10" y="54"/>
                    </a:cubicBezTo>
                    <a:cubicBezTo>
                      <a:pt x="9" y="52"/>
                      <a:pt x="11" y="50"/>
                      <a:pt x="11" y="48"/>
                    </a:cubicBezTo>
                    <a:cubicBezTo>
                      <a:pt x="11" y="46"/>
                      <a:pt x="10" y="44"/>
                      <a:pt x="9" y="42"/>
                    </a:cubicBezTo>
                    <a:cubicBezTo>
                      <a:pt x="8" y="41"/>
                      <a:pt x="7" y="38"/>
                      <a:pt x="6" y="36"/>
                    </a:cubicBezTo>
                    <a:cubicBezTo>
                      <a:pt x="6" y="34"/>
                      <a:pt x="6" y="32"/>
                      <a:pt x="5" y="30"/>
                    </a:cubicBezTo>
                    <a:cubicBezTo>
                      <a:pt x="4" y="29"/>
                      <a:pt x="2" y="29"/>
                      <a:pt x="2" y="27"/>
                    </a:cubicBezTo>
                    <a:cubicBezTo>
                      <a:pt x="1" y="26"/>
                      <a:pt x="2" y="25"/>
                      <a:pt x="2" y="23"/>
                    </a:cubicBezTo>
                    <a:cubicBezTo>
                      <a:pt x="2" y="22"/>
                      <a:pt x="1" y="21"/>
                      <a:pt x="0" y="19"/>
                    </a:cubicBezTo>
                    <a:cubicBezTo>
                      <a:pt x="0" y="17"/>
                      <a:pt x="0" y="15"/>
                      <a:pt x="1" y="13"/>
                    </a:cubicBezTo>
                    <a:cubicBezTo>
                      <a:pt x="1" y="12"/>
                      <a:pt x="3" y="13"/>
                      <a:pt x="3" y="13"/>
                    </a:cubicBezTo>
                    <a:cubicBezTo>
                      <a:pt x="5" y="11"/>
                      <a:pt x="5" y="8"/>
                      <a:pt x="7" y="7"/>
                    </a:cubicBezTo>
                    <a:cubicBezTo>
                      <a:pt x="9" y="5"/>
                      <a:pt x="11" y="3"/>
                      <a:pt x="13" y="2"/>
                    </a:cubicBezTo>
                    <a:cubicBezTo>
                      <a:pt x="14" y="2"/>
                      <a:pt x="16" y="2"/>
                      <a:pt x="17" y="3"/>
                    </a:cubicBezTo>
                    <a:cubicBezTo>
                      <a:pt x="18" y="3"/>
                      <a:pt x="19" y="3"/>
                      <a:pt x="20" y="3"/>
                    </a:cubicBezTo>
                    <a:cubicBezTo>
                      <a:pt x="23" y="3"/>
                      <a:pt x="26" y="2"/>
                      <a:pt x="29" y="3"/>
                    </a:cubicBezTo>
                    <a:cubicBezTo>
                      <a:pt x="31" y="3"/>
                      <a:pt x="33" y="4"/>
                      <a:pt x="34" y="5"/>
                    </a:cubicBezTo>
                    <a:cubicBezTo>
                      <a:pt x="35" y="6"/>
                      <a:pt x="35" y="7"/>
                      <a:pt x="36" y="7"/>
                    </a:cubicBezTo>
                    <a:cubicBezTo>
                      <a:pt x="37" y="8"/>
                      <a:pt x="38" y="7"/>
                      <a:pt x="39" y="7"/>
                    </a:cubicBezTo>
                    <a:cubicBezTo>
                      <a:pt x="40" y="7"/>
                      <a:pt x="42" y="8"/>
                      <a:pt x="44" y="9"/>
                    </a:cubicBezTo>
                    <a:cubicBezTo>
                      <a:pt x="45" y="9"/>
                      <a:pt x="46" y="11"/>
                      <a:pt x="47" y="10"/>
                    </a:cubicBezTo>
                    <a:cubicBezTo>
                      <a:pt x="48" y="8"/>
                      <a:pt x="45" y="6"/>
                      <a:pt x="46" y="4"/>
                    </a:cubicBezTo>
                    <a:cubicBezTo>
                      <a:pt x="47" y="3"/>
                      <a:pt x="50" y="3"/>
                      <a:pt x="52" y="2"/>
                    </a:cubicBezTo>
                    <a:cubicBezTo>
                      <a:pt x="53" y="2"/>
                      <a:pt x="54" y="3"/>
                      <a:pt x="55" y="3"/>
                    </a:cubicBezTo>
                    <a:cubicBezTo>
                      <a:pt x="56" y="4"/>
                      <a:pt x="58" y="4"/>
                      <a:pt x="59" y="3"/>
                    </a:cubicBezTo>
                    <a:cubicBezTo>
                      <a:pt x="61" y="3"/>
                      <a:pt x="62" y="1"/>
                      <a:pt x="63" y="0"/>
                    </a:cubicBezTo>
                    <a:cubicBezTo>
                      <a:pt x="63" y="1"/>
                      <a:pt x="64" y="3"/>
                      <a:pt x="64" y="4"/>
                    </a:cubicBezTo>
                    <a:cubicBezTo>
                      <a:pt x="64" y="5"/>
                      <a:pt x="65" y="6"/>
                      <a:pt x="64" y="7"/>
                    </a:cubicBezTo>
                    <a:cubicBezTo>
                      <a:pt x="64" y="9"/>
                      <a:pt x="63" y="10"/>
                      <a:pt x="64" y="12"/>
                    </a:cubicBezTo>
                    <a:cubicBezTo>
                      <a:pt x="64" y="13"/>
                      <a:pt x="66" y="13"/>
                      <a:pt x="67" y="14"/>
                    </a:cubicBezTo>
                    <a:cubicBezTo>
                      <a:pt x="68" y="17"/>
                      <a:pt x="69" y="20"/>
                      <a:pt x="68" y="23"/>
                    </a:cubicBezTo>
                    <a:cubicBezTo>
                      <a:pt x="68" y="27"/>
                      <a:pt x="67" y="30"/>
                      <a:pt x="65" y="34"/>
                    </a:cubicBezTo>
                    <a:cubicBezTo>
                      <a:pt x="65" y="34"/>
                      <a:pt x="64" y="33"/>
                      <a:pt x="63" y="33"/>
                    </a:cubicBezTo>
                    <a:cubicBezTo>
                      <a:pt x="61" y="34"/>
                      <a:pt x="59" y="37"/>
                      <a:pt x="57" y="38"/>
                    </a:cubicBezTo>
                    <a:cubicBezTo>
                      <a:pt x="55" y="39"/>
                      <a:pt x="52" y="37"/>
                      <a:pt x="51" y="38"/>
                    </a:cubicBezTo>
                    <a:cubicBezTo>
                      <a:pt x="50" y="39"/>
                      <a:pt x="51" y="41"/>
                      <a:pt x="50" y="42"/>
                    </a:cubicBezTo>
                    <a:cubicBezTo>
                      <a:pt x="49" y="42"/>
                      <a:pt x="47" y="41"/>
                      <a:pt x="46" y="41"/>
                    </a:cubicBezTo>
                    <a:cubicBezTo>
                      <a:pt x="45" y="41"/>
                      <a:pt x="44" y="42"/>
                      <a:pt x="44" y="43"/>
                    </a:cubicBezTo>
                    <a:cubicBezTo>
                      <a:pt x="45" y="45"/>
                      <a:pt x="45" y="47"/>
                      <a:pt x="46" y="48"/>
                    </a:cubicBezTo>
                    <a:cubicBezTo>
                      <a:pt x="46" y="49"/>
                      <a:pt x="48" y="49"/>
                      <a:pt x="48" y="50"/>
                    </a:cubicBezTo>
                    <a:cubicBezTo>
                      <a:pt x="49" y="51"/>
                      <a:pt x="49" y="52"/>
                      <a:pt x="49" y="53"/>
                    </a:cubicBezTo>
                    <a:cubicBezTo>
                      <a:pt x="49" y="54"/>
                      <a:pt x="49" y="56"/>
                      <a:pt x="48" y="56"/>
                    </a:cubicBezTo>
                    <a:cubicBezTo>
                      <a:pt x="46" y="56"/>
                      <a:pt x="45" y="54"/>
                      <a:pt x="43" y="54"/>
                    </a:cubicBezTo>
                    <a:cubicBezTo>
                      <a:pt x="40" y="53"/>
                      <a:pt x="37" y="53"/>
                      <a:pt x="34" y="54"/>
                    </a:cubicBezTo>
                    <a:cubicBezTo>
                      <a:pt x="33" y="54"/>
                      <a:pt x="36" y="57"/>
                      <a:pt x="35" y="58"/>
                    </a:cubicBezTo>
                    <a:cubicBezTo>
                      <a:pt x="34" y="59"/>
                      <a:pt x="33" y="60"/>
                      <a:pt x="31" y="60"/>
                    </a:cubicBezTo>
                    <a:cubicBezTo>
                      <a:pt x="30" y="60"/>
                      <a:pt x="28" y="60"/>
                      <a:pt x="27" y="60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8" name="Freeform 2639"/>
              <p:cNvSpPr>
                <a:spLocks noChangeAspect="1"/>
              </p:cNvSpPr>
              <p:nvPr/>
            </p:nvSpPr>
            <p:spPr bwMode="auto">
              <a:xfrm>
                <a:off x="6967431" y="3373170"/>
                <a:ext cx="199542" cy="427147"/>
              </a:xfrm>
              <a:custGeom>
                <a:avLst/>
                <a:gdLst>
                  <a:gd name="T0" fmla="*/ 54 w 101"/>
                  <a:gd name="T1" fmla="*/ 232 h 219"/>
                  <a:gd name="T2" fmla="*/ 57 w 101"/>
                  <a:gd name="T3" fmla="*/ 257 h 219"/>
                  <a:gd name="T4" fmla="*/ 64 w 101"/>
                  <a:gd name="T5" fmla="*/ 262 h 219"/>
                  <a:gd name="T6" fmla="*/ 76 w 101"/>
                  <a:gd name="T7" fmla="*/ 249 h 219"/>
                  <a:gd name="T8" fmla="*/ 81 w 101"/>
                  <a:gd name="T9" fmla="*/ 244 h 219"/>
                  <a:gd name="T10" fmla="*/ 80 w 101"/>
                  <a:gd name="T11" fmla="*/ 237 h 219"/>
                  <a:gd name="T12" fmla="*/ 88 w 101"/>
                  <a:gd name="T13" fmla="*/ 231 h 219"/>
                  <a:gd name="T14" fmla="*/ 103 w 101"/>
                  <a:gd name="T15" fmla="*/ 226 h 219"/>
                  <a:gd name="T16" fmla="*/ 115 w 101"/>
                  <a:gd name="T17" fmla="*/ 214 h 219"/>
                  <a:gd name="T18" fmla="*/ 117 w 101"/>
                  <a:gd name="T19" fmla="*/ 193 h 219"/>
                  <a:gd name="T20" fmla="*/ 117 w 101"/>
                  <a:gd name="T21" fmla="*/ 189 h 219"/>
                  <a:gd name="T22" fmla="*/ 118 w 101"/>
                  <a:gd name="T23" fmla="*/ 175 h 219"/>
                  <a:gd name="T24" fmla="*/ 110 w 101"/>
                  <a:gd name="T25" fmla="*/ 143 h 219"/>
                  <a:gd name="T26" fmla="*/ 98 w 101"/>
                  <a:gd name="T27" fmla="*/ 130 h 219"/>
                  <a:gd name="T28" fmla="*/ 85 w 101"/>
                  <a:gd name="T29" fmla="*/ 116 h 219"/>
                  <a:gd name="T30" fmla="*/ 71 w 101"/>
                  <a:gd name="T31" fmla="*/ 96 h 219"/>
                  <a:gd name="T32" fmla="*/ 57 w 101"/>
                  <a:gd name="T33" fmla="*/ 82 h 219"/>
                  <a:gd name="T34" fmla="*/ 69 w 101"/>
                  <a:gd name="T35" fmla="*/ 56 h 219"/>
                  <a:gd name="T36" fmla="*/ 79 w 101"/>
                  <a:gd name="T37" fmla="*/ 44 h 219"/>
                  <a:gd name="T38" fmla="*/ 79 w 101"/>
                  <a:gd name="T39" fmla="*/ 31 h 219"/>
                  <a:gd name="T40" fmla="*/ 69 w 101"/>
                  <a:gd name="T41" fmla="*/ 13 h 219"/>
                  <a:gd name="T42" fmla="*/ 58 w 101"/>
                  <a:gd name="T43" fmla="*/ 8 h 219"/>
                  <a:gd name="T44" fmla="*/ 41 w 101"/>
                  <a:gd name="T45" fmla="*/ 5 h 219"/>
                  <a:gd name="T46" fmla="*/ 29 w 101"/>
                  <a:gd name="T47" fmla="*/ 13 h 219"/>
                  <a:gd name="T48" fmla="*/ 19 w 101"/>
                  <a:gd name="T49" fmla="*/ 18 h 219"/>
                  <a:gd name="T50" fmla="*/ 8 w 101"/>
                  <a:gd name="T51" fmla="*/ 19 h 219"/>
                  <a:gd name="T52" fmla="*/ 0 w 101"/>
                  <a:gd name="T53" fmla="*/ 19 h 219"/>
                  <a:gd name="T54" fmla="*/ 10 w 101"/>
                  <a:gd name="T55" fmla="*/ 28 h 219"/>
                  <a:gd name="T56" fmla="*/ 17 w 101"/>
                  <a:gd name="T57" fmla="*/ 47 h 219"/>
                  <a:gd name="T58" fmla="*/ 30 w 101"/>
                  <a:gd name="T59" fmla="*/ 46 h 219"/>
                  <a:gd name="T60" fmla="*/ 35 w 101"/>
                  <a:gd name="T61" fmla="*/ 54 h 219"/>
                  <a:gd name="T62" fmla="*/ 46 w 101"/>
                  <a:gd name="T63" fmla="*/ 64 h 219"/>
                  <a:gd name="T64" fmla="*/ 34 w 101"/>
                  <a:gd name="T65" fmla="*/ 67 h 219"/>
                  <a:gd name="T66" fmla="*/ 50 w 101"/>
                  <a:gd name="T67" fmla="*/ 84 h 219"/>
                  <a:gd name="T68" fmla="*/ 63 w 101"/>
                  <a:gd name="T69" fmla="*/ 106 h 219"/>
                  <a:gd name="T70" fmla="*/ 75 w 101"/>
                  <a:gd name="T71" fmla="*/ 124 h 219"/>
                  <a:gd name="T72" fmla="*/ 86 w 101"/>
                  <a:gd name="T73" fmla="*/ 136 h 219"/>
                  <a:gd name="T74" fmla="*/ 91 w 101"/>
                  <a:gd name="T75" fmla="*/ 157 h 219"/>
                  <a:gd name="T76" fmla="*/ 92 w 101"/>
                  <a:gd name="T77" fmla="*/ 172 h 219"/>
                  <a:gd name="T78" fmla="*/ 93 w 101"/>
                  <a:gd name="T79" fmla="*/ 198 h 219"/>
                  <a:gd name="T80" fmla="*/ 76 w 101"/>
                  <a:gd name="T81" fmla="*/ 203 h 219"/>
                  <a:gd name="T82" fmla="*/ 68 w 101"/>
                  <a:gd name="T83" fmla="*/ 209 h 219"/>
                  <a:gd name="T84" fmla="*/ 74 w 101"/>
                  <a:gd name="T85" fmla="*/ 221 h 219"/>
                  <a:gd name="T86" fmla="*/ 56 w 101"/>
                  <a:gd name="T87" fmla="*/ 222 h 219"/>
                  <a:gd name="T88" fmla="*/ 47 w 101"/>
                  <a:gd name="T89" fmla="*/ 229 h 2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1"/>
                  <a:gd name="T136" fmla="*/ 0 h 219"/>
                  <a:gd name="T137" fmla="*/ 101 w 101"/>
                  <a:gd name="T138" fmla="*/ 219 h 21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1" h="219">
                    <a:moveTo>
                      <a:pt x="39" y="191"/>
                    </a:moveTo>
                    <a:cubicBezTo>
                      <a:pt x="39" y="192"/>
                      <a:pt x="41" y="195"/>
                      <a:pt x="42" y="195"/>
                    </a:cubicBezTo>
                    <a:cubicBezTo>
                      <a:pt x="43" y="195"/>
                      <a:pt x="44" y="193"/>
                      <a:pt x="45" y="193"/>
                    </a:cubicBezTo>
                    <a:cubicBezTo>
                      <a:pt x="48" y="195"/>
                      <a:pt x="50" y="197"/>
                      <a:pt x="51" y="199"/>
                    </a:cubicBezTo>
                    <a:cubicBezTo>
                      <a:pt x="51" y="201"/>
                      <a:pt x="47" y="200"/>
                      <a:pt x="47" y="202"/>
                    </a:cubicBezTo>
                    <a:cubicBezTo>
                      <a:pt x="45" y="206"/>
                      <a:pt x="46" y="210"/>
                      <a:pt x="47" y="214"/>
                    </a:cubicBezTo>
                    <a:cubicBezTo>
                      <a:pt x="47" y="215"/>
                      <a:pt x="48" y="216"/>
                      <a:pt x="48" y="218"/>
                    </a:cubicBezTo>
                    <a:cubicBezTo>
                      <a:pt x="48" y="218"/>
                      <a:pt x="46" y="219"/>
                      <a:pt x="47" y="219"/>
                    </a:cubicBezTo>
                    <a:cubicBezTo>
                      <a:pt x="49" y="219"/>
                      <a:pt x="51" y="219"/>
                      <a:pt x="53" y="218"/>
                    </a:cubicBezTo>
                    <a:cubicBezTo>
                      <a:pt x="54" y="217"/>
                      <a:pt x="55" y="216"/>
                      <a:pt x="56" y="214"/>
                    </a:cubicBezTo>
                    <a:cubicBezTo>
                      <a:pt x="57" y="213"/>
                      <a:pt x="56" y="211"/>
                      <a:pt x="57" y="210"/>
                    </a:cubicBezTo>
                    <a:cubicBezTo>
                      <a:pt x="59" y="209"/>
                      <a:pt x="62" y="209"/>
                      <a:pt x="63" y="207"/>
                    </a:cubicBezTo>
                    <a:cubicBezTo>
                      <a:pt x="63" y="204"/>
                      <a:pt x="58" y="201"/>
                      <a:pt x="60" y="200"/>
                    </a:cubicBezTo>
                    <a:cubicBezTo>
                      <a:pt x="62" y="199"/>
                      <a:pt x="63" y="203"/>
                      <a:pt x="66" y="204"/>
                    </a:cubicBezTo>
                    <a:cubicBezTo>
                      <a:pt x="66" y="205"/>
                      <a:pt x="67" y="204"/>
                      <a:pt x="67" y="203"/>
                    </a:cubicBezTo>
                    <a:cubicBezTo>
                      <a:pt x="67" y="201"/>
                      <a:pt x="64" y="199"/>
                      <a:pt x="65" y="198"/>
                    </a:cubicBezTo>
                    <a:cubicBezTo>
                      <a:pt x="67" y="197"/>
                      <a:pt x="69" y="202"/>
                      <a:pt x="70" y="201"/>
                    </a:cubicBezTo>
                    <a:cubicBezTo>
                      <a:pt x="71" y="199"/>
                      <a:pt x="66" y="199"/>
                      <a:pt x="66" y="197"/>
                    </a:cubicBezTo>
                    <a:cubicBezTo>
                      <a:pt x="66" y="196"/>
                      <a:pt x="70" y="199"/>
                      <a:pt x="70" y="197"/>
                    </a:cubicBezTo>
                    <a:cubicBezTo>
                      <a:pt x="72" y="196"/>
                      <a:pt x="69" y="193"/>
                      <a:pt x="70" y="192"/>
                    </a:cubicBezTo>
                    <a:cubicBezTo>
                      <a:pt x="70" y="191"/>
                      <a:pt x="72" y="191"/>
                      <a:pt x="73" y="192"/>
                    </a:cubicBezTo>
                    <a:cubicBezTo>
                      <a:pt x="74" y="192"/>
                      <a:pt x="74" y="194"/>
                      <a:pt x="74" y="194"/>
                    </a:cubicBezTo>
                    <a:cubicBezTo>
                      <a:pt x="76" y="194"/>
                      <a:pt x="77" y="193"/>
                      <a:pt x="79" y="192"/>
                    </a:cubicBezTo>
                    <a:cubicBezTo>
                      <a:pt x="81" y="191"/>
                      <a:pt x="83" y="190"/>
                      <a:pt x="85" y="188"/>
                    </a:cubicBezTo>
                    <a:cubicBezTo>
                      <a:pt x="86" y="187"/>
                      <a:pt x="86" y="185"/>
                      <a:pt x="88" y="184"/>
                    </a:cubicBezTo>
                    <a:cubicBezTo>
                      <a:pt x="88" y="183"/>
                      <a:pt x="89" y="185"/>
                      <a:pt x="90" y="184"/>
                    </a:cubicBezTo>
                    <a:cubicBezTo>
                      <a:pt x="91" y="182"/>
                      <a:pt x="92" y="179"/>
                      <a:pt x="95" y="178"/>
                    </a:cubicBezTo>
                    <a:cubicBezTo>
                      <a:pt x="97" y="177"/>
                      <a:pt x="98" y="175"/>
                      <a:pt x="98" y="173"/>
                    </a:cubicBezTo>
                    <a:cubicBezTo>
                      <a:pt x="99" y="170"/>
                      <a:pt x="98" y="167"/>
                      <a:pt x="98" y="165"/>
                    </a:cubicBezTo>
                    <a:cubicBezTo>
                      <a:pt x="98" y="164"/>
                      <a:pt x="96" y="162"/>
                      <a:pt x="97" y="161"/>
                    </a:cubicBezTo>
                    <a:cubicBezTo>
                      <a:pt x="98" y="161"/>
                      <a:pt x="100" y="164"/>
                      <a:pt x="100" y="163"/>
                    </a:cubicBezTo>
                    <a:cubicBezTo>
                      <a:pt x="101" y="161"/>
                      <a:pt x="98" y="160"/>
                      <a:pt x="97" y="159"/>
                    </a:cubicBezTo>
                    <a:cubicBezTo>
                      <a:pt x="97" y="158"/>
                      <a:pt x="96" y="157"/>
                      <a:pt x="97" y="157"/>
                    </a:cubicBezTo>
                    <a:cubicBezTo>
                      <a:pt x="98" y="156"/>
                      <a:pt x="100" y="159"/>
                      <a:pt x="101" y="158"/>
                    </a:cubicBezTo>
                    <a:cubicBezTo>
                      <a:pt x="101" y="156"/>
                      <a:pt x="98" y="155"/>
                      <a:pt x="98" y="153"/>
                    </a:cubicBezTo>
                    <a:cubicBezTo>
                      <a:pt x="98" y="151"/>
                      <a:pt x="99" y="148"/>
                      <a:pt x="98" y="146"/>
                    </a:cubicBezTo>
                    <a:cubicBezTo>
                      <a:pt x="98" y="143"/>
                      <a:pt x="97" y="141"/>
                      <a:pt x="97" y="139"/>
                    </a:cubicBezTo>
                    <a:cubicBezTo>
                      <a:pt x="95" y="134"/>
                      <a:pt x="94" y="129"/>
                      <a:pt x="93" y="124"/>
                    </a:cubicBezTo>
                    <a:cubicBezTo>
                      <a:pt x="92" y="122"/>
                      <a:pt x="92" y="120"/>
                      <a:pt x="91" y="119"/>
                    </a:cubicBezTo>
                    <a:cubicBezTo>
                      <a:pt x="90" y="118"/>
                      <a:pt x="89" y="120"/>
                      <a:pt x="89" y="119"/>
                    </a:cubicBezTo>
                    <a:cubicBezTo>
                      <a:pt x="87" y="116"/>
                      <a:pt x="87" y="112"/>
                      <a:pt x="85" y="109"/>
                    </a:cubicBezTo>
                    <a:cubicBezTo>
                      <a:pt x="84" y="108"/>
                      <a:pt x="82" y="109"/>
                      <a:pt x="81" y="108"/>
                    </a:cubicBezTo>
                    <a:cubicBezTo>
                      <a:pt x="80" y="107"/>
                      <a:pt x="81" y="105"/>
                      <a:pt x="80" y="104"/>
                    </a:cubicBezTo>
                    <a:cubicBezTo>
                      <a:pt x="79" y="104"/>
                      <a:pt x="77" y="105"/>
                      <a:pt x="75" y="104"/>
                    </a:cubicBezTo>
                    <a:cubicBezTo>
                      <a:pt x="73" y="102"/>
                      <a:pt x="72" y="99"/>
                      <a:pt x="70" y="97"/>
                    </a:cubicBezTo>
                    <a:cubicBezTo>
                      <a:pt x="67" y="94"/>
                      <a:pt x="64" y="92"/>
                      <a:pt x="61" y="89"/>
                    </a:cubicBezTo>
                    <a:cubicBezTo>
                      <a:pt x="60" y="88"/>
                      <a:pt x="59" y="87"/>
                      <a:pt x="59" y="86"/>
                    </a:cubicBezTo>
                    <a:cubicBezTo>
                      <a:pt x="58" y="84"/>
                      <a:pt x="59" y="82"/>
                      <a:pt x="59" y="80"/>
                    </a:cubicBezTo>
                    <a:cubicBezTo>
                      <a:pt x="58" y="78"/>
                      <a:pt x="55" y="77"/>
                      <a:pt x="53" y="76"/>
                    </a:cubicBezTo>
                    <a:cubicBezTo>
                      <a:pt x="53" y="76"/>
                      <a:pt x="53" y="77"/>
                      <a:pt x="52" y="77"/>
                    </a:cubicBezTo>
                    <a:cubicBezTo>
                      <a:pt x="50" y="74"/>
                      <a:pt x="48" y="72"/>
                      <a:pt x="47" y="68"/>
                    </a:cubicBezTo>
                    <a:cubicBezTo>
                      <a:pt x="46" y="67"/>
                      <a:pt x="47" y="65"/>
                      <a:pt x="47" y="63"/>
                    </a:cubicBezTo>
                    <a:cubicBezTo>
                      <a:pt x="47" y="60"/>
                      <a:pt x="48" y="57"/>
                      <a:pt x="50" y="54"/>
                    </a:cubicBezTo>
                    <a:cubicBezTo>
                      <a:pt x="51" y="51"/>
                      <a:pt x="55" y="50"/>
                      <a:pt x="57" y="47"/>
                    </a:cubicBezTo>
                    <a:cubicBezTo>
                      <a:pt x="58" y="46"/>
                      <a:pt x="57" y="43"/>
                      <a:pt x="58" y="42"/>
                    </a:cubicBezTo>
                    <a:cubicBezTo>
                      <a:pt x="59" y="39"/>
                      <a:pt x="61" y="37"/>
                      <a:pt x="63" y="36"/>
                    </a:cubicBezTo>
                    <a:cubicBezTo>
                      <a:pt x="63" y="36"/>
                      <a:pt x="64" y="38"/>
                      <a:pt x="65" y="37"/>
                    </a:cubicBezTo>
                    <a:cubicBezTo>
                      <a:pt x="66" y="36"/>
                      <a:pt x="65" y="33"/>
                      <a:pt x="67" y="32"/>
                    </a:cubicBezTo>
                    <a:cubicBezTo>
                      <a:pt x="68" y="31"/>
                      <a:pt x="71" y="30"/>
                      <a:pt x="72" y="29"/>
                    </a:cubicBezTo>
                    <a:cubicBezTo>
                      <a:pt x="70" y="28"/>
                      <a:pt x="67" y="27"/>
                      <a:pt x="65" y="26"/>
                    </a:cubicBezTo>
                    <a:cubicBezTo>
                      <a:pt x="62" y="25"/>
                      <a:pt x="60" y="23"/>
                      <a:pt x="58" y="23"/>
                    </a:cubicBezTo>
                    <a:cubicBezTo>
                      <a:pt x="57" y="21"/>
                      <a:pt x="56" y="18"/>
                      <a:pt x="54" y="16"/>
                    </a:cubicBezTo>
                    <a:cubicBezTo>
                      <a:pt x="54" y="14"/>
                      <a:pt x="57" y="13"/>
                      <a:pt x="57" y="11"/>
                    </a:cubicBezTo>
                    <a:cubicBezTo>
                      <a:pt x="57" y="10"/>
                      <a:pt x="56" y="8"/>
                      <a:pt x="55" y="8"/>
                    </a:cubicBezTo>
                    <a:cubicBezTo>
                      <a:pt x="54" y="8"/>
                      <a:pt x="53" y="9"/>
                      <a:pt x="52" y="9"/>
                    </a:cubicBezTo>
                    <a:cubicBezTo>
                      <a:pt x="50" y="9"/>
                      <a:pt x="49" y="7"/>
                      <a:pt x="48" y="7"/>
                    </a:cubicBezTo>
                    <a:cubicBezTo>
                      <a:pt x="46" y="7"/>
                      <a:pt x="45" y="8"/>
                      <a:pt x="44" y="8"/>
                    </a:cubicBezTo>
                    <a:cubicBezTo>
                      <a:pt x="42" y="6"/>
                      <a:pt x="43" y="2"/>
                      <a:pt x="40" y="1"/>
                    </a:cubicBezTo>
                    <a:cubicBezTo>
                      <a:pt x="38" y="0"/>
                      <a:pt x="36" y="3"/>
                      <a:pt x="34" y="4"/>
                    </a:cubicBezTo>
                    <a:cubicBezTo>
                      <a:pt x="32" y="6"/>
                      <a:pt x="30" y="8"/>
                      <a:pt x="28" y="10"/>
                    </a:cubicBezTo>
                    <a:cubicBezTo>
                      <a:pt x="28" y="10"/>
                      <a:pt x="29" y="12"/>
                      <a:pt x="28" y="12"/>
                    </a:cubicBezTo>
                    <a:cubicBezTo>
                      <a:pt x="26" y="13"/>
                      <a:pt x="25" y="10"/>
                      <a:pt x="24" y="11"/>
                    </a:cubicBezTo>
                    <a:cubicBezTo>
                      <a:pt x="22" y="11"/>
                      <a:pt x="23" y="13"/>
                      <a:pt x="22" y="14"/>
                    </a:cubicBezTo>
                    <a:cubicBezTo>
                      <a:pt x="21" y="14"/>
                      <a:pt x="20" y="12"/>
                      <a:pt x="19" y="12"/>
                    </a:cubicBezTo>
                    <a:cubicBezTo>
                      <a:pt x="18" y="13"/>
                      <a:pt x="17" y="15"/>
                      <a:pt x="16" y="15"/>
                    </a:cubicBezTo>
                    <a:cubicBezTo>
                      <a:pt x="15" y="15"/>
                      <a:pt x="15" y="12"/>
                      <a:pt x="14" y="12"/>
                    </a:cubicBezTo>
                    <a:cubicBezTo>
                      <a:pt x="12" y="12"/>
                      <a:pt x="12" y="15"/>
                      <a:pt x="11" y="16"/>
                    </a:cubicBezTo>
                    <a:cubicBezTo>
                      <a:pt x="9" y="16"/>
                      <a:pt x="8" y="16"/>
                      <a:pt x="7" y="16"/>
                    </a:cubicBezTo>
                    <a:cubicBezTo>
                      <a:pt x="6" y="15"/>
                      <a:pt x="7" y="13"/>
                      <a:pt x="6" y="12"/>
                    </a:cubicBezTo>
                    <a:cubicBezTo>
                      <a:pt x="5" y="11"/>
                      <a:pt x="3" y="11"/>
                      <a:pt x="2" y="12"/>
                    </a:cubicBezTo>
                    <a:cubicBezTo>
                      <a:pt x="1" y="13"/>
                      <a:pt x="1" y="15"/>
                      <a:pt x="0" y="16"/>
                    </a:cubicBezTo>
                    <a:cubicBezTo>
                      <a:pt x="1" y="17"/>
                      <a:pt x="2" y="19"/>
                      <a:pt x="3" y="20"/>
                    </a:cubicBezTo>
                    <a:cubicBezTo>
                      <a:pt x="3" y="22"/>
                      <a:pt x="4" y="25"/>
                      <a:pt x="6" y="25"/>
                    </a:cubicBezTo>
                    <a:cubicBezTo>
                      <a:pt x="7" y="26"/>
                      <a:pt x="7" y="22"/>
                      <a:pt x="8" y="23"/>
                    </a:cubicBezTo>
                    <a:cubicBezTo>
                      <a:pt x="9" y="23"/>
                      <a:pt x="10" y="25"/>
                      <a:pt x="11" y="26"/>
                    </a:cubicBezTo>
                    <a:cubicBezTo>
                      <a:pt x="11" y="28"/>
                      <a:pt x="9" y="30"/>
                      <a:pt x="9" y="31"/>
                    </a:cubicBezTo>
                    <a:cubicBezTo>
                      <a:pt x="10" y="34"/>
                      <a:pt x="12" y="37"/>
                      <a:pt x="14" y="39"/>
                    </a:cubicBezTo>
                    <a:cubicBezTo>
                      <a:pt x="15" y="40"/>
                      <a:pt x="16" y="39"/>
                      <a:pt x="17" y="40"/>
                    </a:cubicBezTo>
                    <a:cubicBezTo>
                      <a:pt x="18" y="40"/>
                      <a:pt x="19" y="43"/>
                      <a:pt x="20" y="42"/>
                    </a:cubicBezTo>
                    <a:cubicBezTo>
                      <a:pt x="22" y="42"/>
                      <a:pt x="23" y="39"/>
                      <a:pt x="25" y="38"/>
                    </a:cubicBezTo>
                    <a:cubicBezTo>
                      <a:pt x="26" y="38"/>
                      <a:pt x="27" y="38"/>
                      <a:pt x="28" y="38"/>
                    </a:cubicBezTo>
                    <a:cubicBezTo>
                      <a:pt x="30" y="40"/>
                      <a:pt x="32" y="43"/>
                      <a:pt x="32" y="45"/>
                    </a:cubicBezTo>
                    <a:cubicBezTo>
                      <a:pt x="32" y="46"/>
                      <a:pt x="30" y="45"/>
                      <a:pt x="29" y="45"/>
                    </a:cubicBezTo>
                    <a:cubicBezTo>
                      <a:pt x="28" y="46"/>
                      <a:pt x="28" y="47"/>
                      <a:pt x="28" y="47"/>
                    </a:cubicBezTo>
                    <a:cubicBezTo>
                      <a:pt x="31" y="48"/>
                      <a:pt x="35" y="48"/>
                      <a:pt x="37" y="50"/>
                    </a:cubicBezTo>
                    <a:cubicBezTo>
                      <a:pt x="38" y="50"/>
                      <a:pt x="38" y="52"/>
                      <a:pt x="38" y="53"/>
                    </a:cubicBezTo>
                    <a:cubicBezTo>
                      <a:pt x="37" y="54"/>
                      <a:pt x="36" y="52"/>
                      <a:pt x="35" y="53"/>
                    </a:cubicBezTo>
                    <a:cubicBezTo>
                      <a:pt x="34" y="54"/>
                      <a:pt x="34" y="56"/>
                      <a:pt x="33" y="57"/>
                    </a:cubicBezTo>
                    <a:cubicBezTo>
                      <a:pt x="31" y="58"/>
                      <a:pt x="30" y="56"/>
                      <a:pt x="28" y="56"/>
                    </a:cubicBezTo>
                    <a:cubicBezTo>
                      <a:pt x="27" y="57"/>
                      <a:pt x="28" y="58"/>
                      <a:pt x="27" y="59"/>
                    </a:cubicBezTo>
                    <a:cubicBezTo>
                      <a:pt x="26" y="60"/>
                      <a:pt x="23" y="60"/>
                      <a:pt x="24" y="61"/>
                    </a:cubicBezTo>
                    <a:cubicBezTo>
                      <a:pt x="29" y="65"/>
                      <a:pt x="36" y="66"/>
                      <a:pt x="41" y="70"/>
                    </a:cubicBezTo>
                    <a:cubicBezTo>
                      <a:pt x="43" y="72"/>
                      <a:pt x="41" y="74"/>
                      <a:pt x="42" y="76"/>
                    </a:cubicBezTo>
                    <a:cubicBezTo>
                      <a:pt x="42" y="77"/>
                      <a:pt x="44" y="78"/>
                      <a:pt x="45" y="79"/>
                    </a:cubicBezTo>
                    <a:cubicBezTo>
                      <a:pt x="47" y="82"/>
                      <a:pt x="49" y="86"/>
                      <a:pt x="52" y="88"/>
                    </a:cubicBezTo>
                    <a:cubicBezTo>
                      <a:pt x="53" y="90"/>
                      <a:pt x="55" y="90"/>
                      <a:pt x="56" y="91"/>
                    </a:cubicBezTo>
                    <a:cubicBezTo>
                      <a:pt x="58" y="93"/>
                      <a:pt x="59" y="95"/>
                      <a:pt x="60" y="97"/>
                    </a:cubicBezTo>
                    <a:cubicBezTo>
                      <a:pt x="61" y="99"/>
                      <a:pt x="61" y="101"/>
                      <a:pt x="62" y="103"/>
                    </a:cubicBezTo>
                    <a:cubicBezTo>
                      <a:pt x="64" y="105"/>
                      <a:pt x="67" y="105"/>
                      <a:pt x="69" y="107"/>
                    </a:cubicBezTo>
                    <a:cubicBezTo>
                      <a:pt x="71" y="108"/>
                      <a:pt x="74" y="109"/>
                      <a:pt x="74" y="111"/>
                    </a:cubicBezTo>
                    <a:cubicBezTo>
                      <a:pt x="74" y="112"/>
                      <a:pt x="70" y="112"/>
                      <a:pt x="71" y="113"/>
                    </a:cubicBezTo>
                    <a:cubicBezTo>
                      <a:pt x="72" y="117"/>
                      <a:pt x="76" y="118"/>
                      <a:pt x="77" y="121"/>
                    </a:cubicBezTo>
                    <a:cubicBezTo>
                      <a:pt x="77" y="123"/>
                      <a:pt x="74" y="123"/>
                      <a:pt x="74" y="125"/>
                    </a:cubicBezTo>
                    <a:cubicBezTo>
                      <a:pt x="73" y="127"/>
                      <a:pt x="75" y="129"/>
                      <a:pt x="75" y="131"/>
                    </a:cubicBezTo>
                    <a:cubicBezTo>
                      <a:pt x="75" y="132"/>
                      <a:pt x="76" y="134"/>
                      <a:pt x="76" y="135"/>
                    </a:cubicBezTo>
                    <a:cubicBezTo>
                      <a:pt x="76" y="136"/>
                      <a:pt x="77" y="137"/>
                      <a:pt x="76" y="138"/>
                    </a:cubicBezTo>
                    <a:cubicBezTo>
                      <a:pt x="76" y="140"/>
                      <a:pt x="75" y="141"/>
                      <a:pt x="76" y="143"/>
                    </a:cubicBezTo>
                    <a:cubicBezTo>
                      <a:pt x="76" y="144"/>
                      <a:pt x="78" y="144"/>
                      <a:pt x="79" y="145"/>
                    </a:cubicBezTo>
                    <a:cubicBezTo>
                      <a:pt x="80" y="148"/>
                      <a:pt x="81" y="151"/>
                      <a:pt x="80" y="154"/>
                    </a:cubicBezTo>
                    <a:cubicBezTo>
                      <a:pt x="80" y="158"/>
                      <a:pt x="79" y="161"/>
                      <a:pt x="77" y="165"/>
                    </a:cubicBezTo>
                    <a:cubicBezTo>
                      <a:pt x="77" y="165"/>
                      <a:pt x="76" y="164"/>
                      <a:pt x="75" y="164"/>
                    </a:cubicBezTo>
                    <a:cubicBezTo>
                      <a:pt x="73" y="165"/>
                      <a:pt x="71" y="168"/>
                      <a:pt x="69" y="169"/>
                    </a:cubicBezTo>
                    <a:cubicBezTo>
                      <a:pt x="67" y="170"/>
                      <a:pt x="64" y="168"/>
                      <a:pt x="63" y="169"/>
                    </a:cubicBezTo>
                    <a:cubicBezTo>
                      <a:pt x="62" y="170"/>
                      <a:pt x="63" y="172"/>
                      <a:pt x="62" y="173"/>
                    </a:cubicBezTo>
                    <a:cubicBezTo>
                      <a:pt x="61" y="173"/>
                      <a:pt x="59" y="172"/>
                      <a:pt x="58" y="172"/>
                    </a:cubicBezTo>
                    <a:cubicBezTo>
                      <a:pt x="57" y="172"/>
                      <a:pt x="56" y="173"/>
                      <a:pt x="56" y="174"/>
                    </a:cubicBezTo>
                    <a:cubicBezTo>
                      <a:pt x="57" y="176"/>
                      <a:pt x="57" y="178"/>
                      <a:pt x="58" y="179"/>
                    </a:cubicBezTo>
                    <a:cubicBezTo>
                      <a:pt x="58" y="180"/>
                      <a:pt x="60" y="180"/>
                      <a:pt x="60" y="181"/>
                    </a:cubicBezTo>
                    <a:cubicBezTo>
                      <a:pt x="61" y="182"/>
                      <a:pt x="61" y="183"/>
                      <a:pt x="61" y="184"/>
                    </a:cubicBezTo>
                    <a:cubicBezTo>
                      <a:pt x="61" y="185"/>
                      <a:pt x="61" y="187"/>
                      <a:pt x="60" y="187"/>
                    </a:cubicBezTo>
                    <a:cubicBezTo>
                      <a:pt x="58" y="187"/>
                      <a:pt x="57" y="185"/>
                      <a:pt x="55" y="185"/>
                    </a:cubicBezTo>
                    <a:cubicBezTo>
                      <a:pt x="52" y="184"/>
                      <a:pt x="49" y="184"/>
                      <a:pt x="46" y="185"/>
                    </a:cubicBezTo>
                    <a:cubicBezTo>
                      <a:pt x="45" y="185"/>
                      <a:pt x="48" y="188"/>
                      <a:pt x="47" y="189"/>
                    </a:cubicBezTo>
                    <a:cubicBezTo>
                      <a:pt x="46" y="190"/>
                      <a:pt x="45" y="191"/>
                      <a:pt x="43" y="191"/>
                    </a:cubicBezTo>
                    <a:cubicBezTo>
                      <a:pt x="42" y="191"/>
                      <a:pt x="40" y="191"/>
                      <a:pt x="39" y="19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329" name="Freeform 2640"/>
              <p:cNvSpPr>
                <a:spLocks noChangeAspect="1"/>
              </p:cNvSpPr>
              <p:nvPr/>
            </p:nvSpPr>
            <p:spPr bwMode="auto">
              <a:xfrm>
                <a:off x="7433574" y="2765745"/>
                <a:ext cx="127576" cy="178654"/>
              </a:xfrm>
              <a:custGeom>
                <a:avLst/>
                <a:gdLst>
                  <a:gd name="T0" fmla="*/ 36 w 65"/>
                  <a:gd name="T1" fmla="*/ 106 h 92"/>
                  <a:gd name="T2" fmla="*/ 30 w 65"/>
                  <a:gd name="T3" fmla="*/ 102 h 92"/>
                  <a:gd name="T4" fmla="*/ 22 w 65"/>
                  <a:gd name="T5" fmla="*/ 110 h 92"/>
                  <a:gd name="T6" fmla="*/ 23 w 65"/>
                  <a:gd name="T7" fmla="*/ 105 h 92"/>
                  <a:gd name="T8" fmla="*/ 18 w 65"/>
                  <a:gd name="T9" fmla="*/ 102 h 92"/>
                  <a:gd name="T10" fmla="*/ 20 w 65"/>
                  <a:gd name="T11" fmla="*/ 98 h 92"/>
                  <a:gd name="T12" fmla="*/ 12 w 65"/>
                  <a:gd name="T13" fmla="*/ 98 h 92"/>
                  <a:gd name="T14" fmla="*/ 13 w 65"/>
                  <a:gd name="T15" fmla="*/ 91 h 92"/>
                  <a:gd name="T16" fmla="*/ 20 w 65"/>
                  <a:gd name="T17" fmla="*/ 88 h 92"/>
                  <a:gd name="T18" fmla="*/ 16 w 65"/>
                  <a:gd name="T19" fmla="*/ 85 h 92"/>
                  <a:gd name="T20" fmla="*/ 20 w 65"/>
                  <a:gd name="T21" fmla="*/ 74 h 92"/>
                  <a:gd name="T22" fmla="*/ 19 w 65"/>
                  <a:gd name="T23" fmla="*/ 71 h 92"/>
                  <a:gd name="T24" fmla="*/ 22 w 65"/>
                  <a:gd name="T25" fmla="*/ 65 h 92"/>
                  <a:gd name="T26" fmla="*/ 17 w 65"/>
                  <a:gd name="T27" fmla="*/ 68 h 92"/>
                  <a:gd name="T28" fmla="*/ 5 w 65"/>
                  <a:gd name="T29" fmla="*/ 68 h 92"/>
                  <a:gd name="T30" fmla="*/ 0 w 65"/>
                  <a:gd name="T31" fmla="*/ 63 h 92"/>
                  <a:gd name="T32" fmla="*/ 14 w 65"/>
                  <a:gd name="T33" fmla="*/ 49 h 92"/>
                  <a:gd name="T34" fmla="*/ 20 w 65"/>
                  <a:gd name="T35" fmla="*/ 44 h 92"/>
                  <a:gd name="T36" fmla="*/ 25 w 65"/>
                  <a:gd name="T37" fmla="*/ 37 h 92"/>
                  <a:gd name="T38" fmla="*/ 25 w 65"/>
                  <a:gd name="T39" fmla="*/ 29 h 92"/>
                  <a:gd name="T40" fmla="*/ 31 w 65"/>
                  <a:gd name="T41" fmla="*/ 26 h 92"/>
                  <a:gd name="T42" fmla="*/ 32 w 65"/>
                  <a:gd name="T43" fmla="*/ 30 h 92"/>
                  <a:gd name="T44" fmla="*/ 38 w 65"/>
                  <a:gd name="T45" fmla="*/ 32 h 92"/>
                  <a:gd name="T46" fmla="*/ 47 w 65"/>
                  <a:gd name="T47" fmla="*/ 32 h 92"/>
                  <a:gd name="T48" fmla="*/ 47 w 65"/>
                  <a:gd name="T49" fmla="*/ 28 h 92"/>
                  <a:gd name="T50" fmla="*/ 47 w 65"/>
                  <a:gd name="T51" fmla="*/ 23 h 92"/>
                  <a:gd name="T52" fmla="*/ 56 w 65"/>
                  <a:gd name="T53" fmla="*/ 23 h 92"/>
                  <a:gd name="T54" fmla="*/ 64 w 65"/>
                  <a:gd name="T55" fmla="*/ 10 h 92"/>
                  <a:gd name="T56" fmla="*/ 67 w 65"/>
                  <a:gd name="T57" fmla="*/ 10 h 92"/>
                  <a:gd name="T58" fmla="*/ 68 w 65"/>
                  <a:gd name="T59" fmla="*/ 1 h 92"/>
                  <a:gd name="T60" fmla="*/ 73 w 65"/>
                  <a:gd name="T61" fmla="*/ 1 h 92"/>
                  <a:gd name="T62" fmla="*/ 74 w 65"/>
                  <a:gd name="T63" fmla="*/ 8 h 92"/>
                  <a:gd name="T64" fmla="*/ 78 w 65"/>
                  <a:gd name="T65" fmla="*/ 13 h 92"/>
                  <a:gd name="T66" fmla="*/ 72 w 65"/>
                  <a:gd name="T67" fmla="*/ 30 h 92"/>
                  <a:gd name="T68" fmla="*/ 73 w 65"/>
                  <a:gd name="T69" fmla="*/ 35 h 92"/>
                  <a:gd name="T70" fmla="*/ 76 w 65"/>
                  <a:gd name="T71" fmla="*/ 45 h 92"/>
                  <a:gd name="T72" fmla="*/ 72 w 65"/>
                  <a:gd name="T73" fmla="*/ 49 h 92"/>
                  <a:gd name="T74" fmla="*/ 66 w 65"/>
                  <a:gd name="T75" fmla="*/ 55 h 92"/>
                  <a:gd name="T76" fmla="*/ 59 w 65"/>
                  <a:gd name="T77" fmla="*/ 63 h 92"/>
                  <a:gd name="T78" fmla="*/ 50 w 65"/>
                  <a:gd name="T79" fmla="*/ 63 h 92"/>
                  <a:gd name="T80" fmla="*/ 49 w 65"/>
                  <a:gd name="T81" fmla="*/ 66 h 92"/>
                  <a:gd name="T82" fmla="*/ 46 w 65"/>
                  <a:gd name="T83" fmla="*/ 66 h 92"/>
                  <a:gd name="T84" fmla="*/ 46 w 65"/>
                  <a:gd name="T85" fmla="*/ 71 h 92"/>
                  <a:gd name="T86" fmla="*/ 48 w 65"/>
                  <a:gd name="T87" fmla="*/ 73 h 92"/>
                  <a:gd name="T88" fmla="*/ 46 w 65"/>
                  <a:gd name="T89" fmla="*/ 79 h 92"/>
                  <a:gd name="T90" fmla="*/ 53 w 65"/>
                  <a:gd name="T91" fmla="*/ 81 h 92"/>
                  <a:gd name="T92" fmla="*/ 65 w 65"/>
                  <a:gd name="T93" fmla="*/ 91 h 92"/>
                  <a:gd name="T94" fmla="*/ 60 w 65"/>
                  <a:gd name="T95" fmla="*/ 97 h 92"/>
                  <a:gd name="T96" fmla="*/ 52 w 65"/>
                  <a:gd name="T97" fmla="*/ 97 h 92"/>
                  <a:gd name="T98" fmla="*/ 46 w 65"/>
                  <a:gd name="T99" fmla="*/ 98 h 92"/>
                  <a:gd name="T100" fmla="*/ 42 w 65"/>
                  <a:gd name="T101" fmla="*/ 103 h 92"/>
                  <a:gd name="T102" fmla="*/ 36 w 65"/>
                  <a:gd name="T103" fmla="*/ 106 h 9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5"/>
                  <a:gd name="T157" fmla="*/ 0 h 92"/>
                  <a:gd name="T158" fmla="*/ 65 w 65"/>
                  <a:gd name="T159" fmla="*/ 92 h 9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5" h="92">
                    <a:moveTo>
                      <a:pt x="30" y="89"/>
                    </a:moveTo>
                    <a:cubicBezTo>
                      <a:pt x="29" y="87"/>
                      <a:pt x="27" y="85"/>
                      <a:pt x="25" y="85"/>
                    </a:cubicBezTo>
                    <a:cubicBezTo>
                      <a:pt x="22" y="86"/>
                      <a:pt x="21" y="90"/>
                      <a:pt x="18" y="92"/>
                    </a:cubicBezTo>
                    <a:cubicBezTo>
                      <a:pt x="17" y="92"/>
                      <a:pt x="20" y="89"/>
                      <a:pt x="19" y="88"/>
                    </a:cubicBezTo>
                    <a:cubicBezTo>
                      <a:pt x="18" y="87"/>
                      <a:pt x="16" y="87"/>
                      <a:pt x="15" y="85"/>
                    </a:cubicBezTo>
                    <a:cubicBezTo>
                      <a:pt x="15" y="84"/>
                      <a:pt x="18" y="83"/>
                      <a:pt x="17" y="82"/>
                    </a:cubicBezTo>
                    <a:cubicBezTo>
                      <a:pt x="15" y="81"/>
                      <a:pt x="12" y="83"/>
                      <a:pt x="10" y="82"/>
                    </a:cubicBezTo>
                    <a:cubicBezTo>
                      <a:pt x="10" y="80"/>
                      <a:pt x="13" y="77"/>
                      <a:pt x="11" y="76"/>
                    </a:cubicBezTo>
                    <a:cubicBezTo>
                      <a:pt x="12" y="74"/>
                      <a:pt x="16" y="76"/>
                      <a:pt x="17" y="74"/>
                    </a:cubicBezTo>
                    <a:cubicBezTo>
                      <a:pt x="18" y="72"/>
                      <a:pt x="13" y="73"/>
                      <a:pt x="13" y="71"/>
                    </a:cubicBezTo>
                    <a:cubicBezTo>
                      <a:pt x="13" y="68"/>
                      <a:pt x="16" y="65"/>
                      <a:pt x="17" y="62"/>
                    </a:cubicBezTo>
                    <a:cubicBezTo>
                      <a:pt x="17" y="61"/>
                      <a:pt x="16" y="60"/>
                      <a:pt x="16" y="59"/>
                    </a:cubicBezTo>
                    <a:cubicBezTo>
                      <a:pt x="16" y="58"/>
                      <a:pt x="19" y="55"/>
                      <a:pt x="18" y="54"/>
                    </a:cubicBezTo>
                    <a:cubicBezTo>
                      <a:pt x="17" y="53"/>
                      <a:pt x="15" y="57"/>
                      <a:pt x="14" y="57"/>
                    </a:cubicBezTo>
                    <a:cubicBezTo>
                      <a:pt x="11" y="58"/>
                      <a:pt x="7" y="58"/>
                      <a:pt x="4" y="57"/>
                    </a:cubicBezTo>
                    <a:cubicBezTo>
                      <a:pt x="2" y="57"/>
                      <a:pt x="1" y="54"/>
                      <a:pt x="0" y="53"/>
                    </a:cubicBezTo>
                    <a:cubicBezTo>
                      <a:pt x="4" y="49"/>
                      <a:pt x="8" y="45"/>
                      <a:pt x="12" y="41"/>
                    </a:cubicBezTo>
                    <a:cubicBezTo>
                      <a:pt x="14" y="39"/>
                      <a:pt x="16" y="39"/>
                      <a:pt x="17" y="37"/>
                    </a:cubicBezTo>
                    <a:cubicBezTo>
                      <a:pt x="19" y="36"/>
                      <a:pt x="21" y="33"/>
                      <a:pt x="21" y="31"/>
                    </a:cubicBezTo>
                    <a:cubicBezTo>
                      <a:pt x="22" y="28"/>
                      <a:pt x="20" y="26"/>
                      <a:pt x="21" y="24"/>
                    </a:cubicBezTo>
                    <a:cubicBezTo>
                      <a:pt x="22" y="22"/>
                      <a:pt x="24" y="22"/>
                      <a:pt x="26" y="22"/>
                    </a:cubicBezTo>
                    <a:cubicBezTo>
                      <a:pt x="27" y="22"/>
                      <a:pt x="27" y="24"/>
                      <a:pt x="27" y="25"/>
                    </a:cubicBezTo>
                    <a:cubicBezTo>
                      <a:pt x="29" y="26"/>
                      <a:pt x="30" y="27"/>
                      <a:pt x="32" y="27"/>
                    </a:cubicBezTo>
                    <a:cubicBezTo>
                      <a:pt x="34" y="27"/>
                      <a:pt x="37" y="28"/>
                      <a:pt x="39" y="27"/>
                    </a:cubicBezTo>
                    <a:cubicBezTo>
                      <a:pt x="40" y="26"/>
                      <a:pt x="39" y="24"/>
                      <a:pt x="39" y="23"/>
                    </a:cubicBezTo>
                    <a:cubicBezTo>
                      <a:pt x="39" y="22"/>
                      <a:pt x="38" y="20"/>
                      <a:pt x="39" y="19"/>
                    </a:cubicBezTo>
                    <a:cubicBezTo>
                      <a:pt x="41" y="18"/>
                      <a:pt x="45" y="21"/>
                      <a:pt x="47" y="19"/>
                    </a:cubicBezTo>
                    <a:cubicBezTo>
                      <a:pt x="51" y="17"/>
                      <a:pt x="51" y="12"/>
                      <a:pt x="53" y="8"/>
                    </a:cubicBezTo>
                    <a:cubicBezTo>
                      <a:pt x="54" y="8"/>
                      <a:pt x="56" y="9"/>
                      <a:pt x="56" y="8"/>
                    </a:cubicBezTo>
                    <a:cubicBezTo>
                      <a:pt x="57" y="6"/>
                      <a:pt x="56" y="3"/>
                      <a:pt x="57" y="1"/>
                    </a:cubicBezTo>
                    <a:cubicBezTo>
                      <a:pt x="58" y="0"/>
                      <a:pt x="60" y="0"/>
                      <a:pt x="61" y="1"/>
                    </a:cubicBezTo>
                    <a:cubicBezTo>
                      <a:pt x="62" y="3"/>
                      <a:pt x="62" y="5"/>
                      <a:pt x="62" y="7"/>
                    </a:cubicBezTo>
                    <a:cubicBezTo>
                      <a:pt x="63" y="8"/>
                      <a:pt x="64" y="9"/>
                      <a:pt x="65" y="11"/>
                    </a:cubicBezTo>
                    <a:cubicBezTo>
                      <a:pt x="64" y="15"/>
                      <a:pt x="61" y="20"/>
                      <a:pt x="60" y="25"/>
                    </a:cubicBezTo>
                    <a:cubicBezTo>
                      <a:pt x="60" y="26"/>
                      <a:pt x="61" y="28"/>
                      <a:pt x="61" y="29"/>
                    </a:cubicBezTo>
                    <a:cubicBezTo>
                      <a:pt x="62" y="32"/>
                      <a:pt x="63" y="35"/>
                      <a:pt x="63" y="38"/>
                    </a:cubicBezTo>
                    <a:cubicBezTo>
                      <a:pt x="63" y="39"/>
                      <a:pt x="61" y="40"/>
                      <a:pt x="60" y="41"/>
                    </a:cubicBezTo>
                    <a:cubicBezTo>
                      <a:pt x="57" y="41"/>
                      <a:pt x="57" y="44"/>
                      <a:pt x="55" y="46"/>
                    </a:cubicBezTo>
                    <a:cubicBezTo>
                      <a:pt x="52" y="48"/>
                      <a:pt x="51" y="51"/>
                      <a:pt x="49" y="53"/>
                    </a:cubicBezTo>
                    <a:cubicBezTo>
                      <a:pt x="47" y="54"/>
                      <a:pt x="44" y="52"/>
                      <a:pt x="42" y="53"/>
                    </a:cubicBezTo>
                    <a:cubicBezTo>
                      <a:pt x="41" y="53"/>
                      <a:pt x="42" y="55"/>
                      <a:pt x="41" y="55"/>
                    </a:cubicBezTo>
                    <a:cubicBezTo>
                      <a:pt x="41" y="56"/>
                      <a:pt x="39" y="55"/>
                      <a:pt x="38" y="55"/>
                    </a:cubicBezTo>
                    <a:cubicBezTo>
                      <a:pt x="38" y="56"/>
                      <a:pt x="38" y="58"/>
                      <a:pt x="38" y="59"/>
                    </a:cubicBezTo>
                    <a:cubicBezTo>
                      <a:pt x="39" y="60"/>
                      <a:pt x="40" y="60"/>
                      <a:pt x="40" y="61"/>
                    </a:cubicBezTo>
                    <a:cubicBezTo>
                      <a:pt x="40" y="63"/>
                      <a:pt x="37" y="64"/>
                      <a:pt x="38" y="66"/>
                    </a:cubicBezTo>
                    <a:cubicBezTo>
                      <a:pt x="39" y="68"/>
                      <a:pt x="43" y="67"/>
                      <a:pt x="44" y="68"/>
                    </a:cubicBezTo>
                    <a:cubicBezTo>
                      <a:pt x="48" y="71"/>
                      <a:pt x="51" y="73"/>
                      <a:pt x="54" y="76"/>
                    </a:cubicBezTo>
                    <a:cubicBezTo>
                      <a:pt x="53" y="78"/>
                      <a:pt x="52" y="80"/>
                      <a:pt x="50" y="81"/>
                    </a:cubicBezTo>
                    <a:cubicBezTo>
                      <a:pt x="48" y="82"/>
                      <a:pt x="45" y="80"/>
                      <a:pt x="43" y="81"/>
                    </a:cubicBezTo>
                    <a:cubicBezTo>
                      <a:pt x="41" y="81"/>
                      <a:pt x="39" y="81"/>
                      <a:pt x="38" y="82"/>
                    </a:cubicBezTo>
                    <a:cubicBezTo>
                      <a:pt x="37" y="83"/>
                      <a:pt x="37" y="85"/>
                      <a:pt x="35" y="86"/>
                    </a:cubicBezTo>
                    <a:cubicBezTo>
                      <a:pt x="34" y="87"/>
                      <a:pt x="32" y="88"/>
                      <a:pt x="30" y="8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0" name="Freeform 2641"/>
              <p:cNvSpPr>
                <a:spLocks noChangeAspect="1"/>
              </p:cNvSpPr>
              <p:nvPr/>
            </p:nvSpPr>
            <p:spPr bwMode="auto">
              <a:xfrm>
                <a:off x="7492455" y="2913540"/>
                <a:ext cx="91593" cy="134803"/>
              </a:xfrm>
              <a:custGeom>
                <a:avLst/>
                <a:gdLst>
                  <a:gd name="T0" fmla="*/ 0 w 47"/>
                  <a:gd name="T1" fmla="*/ 16 h 69"/>
                  <a:gd name="T2" fmla="*/ 6 w 47"/>
                  <a:gd name="T3" fmla="*/ 12 h 69"/>
                  <a:gd name="T4" fmla="*/ 10 w 47"/>
                  <a:gd name="T5" fmla="*/ 7 h 69"/>
                  <a:gd name="T6" fmla="*/ 15 w 47"/>
                  <a:gd name="T7" fmla="*/ 6 h 69"/>
                  <a:gd name="T8" fmla="*/ 24 w 47"/>
                  <a:gd name="T9" fmla="*/ 6 h 69"/>
                  <a:gd name="T10" fmla="*/ 29 w 47"/>
                  <a:gd name="T11" fmla="*/ 0 h 69"/>
                  <a:gd name="T12" fmla="*/ 35 w 47"/>
                  <a:gd name="T13" fmla="*/ 10 h 69"/>
                  <a:gd name="T14" fmla="*/ 46 w 47"/>
                  <a:gd name="T15" fmla="*/ 26 h 69"/>
                  <a:gd name="T16" fmla="*/ 50 w 47"/>
                  <a:gd name="T17" fmla="*/ 43 h 69"/>
                  <a:gd name="T18" fmla="*/ 51 w 47"/>
                  <a:gd name="T19" fmla="*/ 51 h 69"/>
                  <a:gd name="T20" fmla="*/ 54 w 47"/>
                  <a:gd name="T21" fmla="*/ 49 h 69"/>
                  <a:gd name="T22" fmla="*/ 54 w 47"/>
                  <a:gd name="T23" fmla="*/ 66 h 69"/>
                  <a:gd name="T24" fmla="*/ 44 w 47"/>
                  <a:gd name="T25" fmla="*/ 67 h 69"/>
                  <a:gd name="T26" fmla="*/ 43 w 47"/>
                  <a:gd name="T27" fmla="*/ 73 h 69"/>
                  <a:gd name="T28" fmla="*/ 35 w 47"/>
                  <a:gd name="T29" fmla="*/ 70 h 69"/>
                  <a:gd name="T30" fmla="*/ 36 w 47"/>
                  <a:gd name="T31" fmla="*/ 75 h 69"/>
                  <a:gd name="T32" fmla="*/ 32 w 47"/>
                  <a:gd name="T33" fmla="*/ 71 h 69"/>
                  <a:gd name="T34" fmla="*/ 32 w 47"/>
                  <a:gd name="T35" fmla="*/ 77 h 69"/>
                  <a:gd name="T36" fmla="*/ 27 w 47"/>
                  <a:gd name="T37" fmla="*/ 72 h 69"/>
                  <a:gd name="T38" fmla="*/ 27 w 47"/>
                  <a:gd name="T39" fmla="*/ 77 h 69"/>
                  <a:gd name="T40" fmla="*/ 24 w 47"/>
                  <a:gd name="T41" fmla="*/ 78 h 69"/>
                  <a:gd name="T42" fmla="*/ 24 w 47"/>
                  <a:gd name="T43" fmla="*/ 73 h 69"/>
                  <a:gd name="T44" fmla="*/ 19 w 47"/>
                  <a:gd name="T45" fmla="*/ 79 h 69"/>
                  <a:gd name="T46" fmla="*/ 18 w 47"/>
                  <a:gd name="T47" fmla="*/ 77 h 69"/>
                  <a:gd name="T48" fmla="*/ 13 w 47"/>
                  <a:gd name="T49" fmla="*/ 83 h 69"/>
                  <a:gd name="T50" fmla="*/ 11 w 47"/>
                  <a:gd name="T51" fmla="*/ 76 h 69"/>
                  <a:gd name="T52" fmla="*/ 13 w 47"/>
                  <a:gd name="T53" fmla="*/ 72 h 69"/>
                  <a:gd name="T54" fmla="*/ 10 w 47"/>
                  <a:gd name="T55" fmla="*/ 65 h 69"/>
                  <a:gd name="T56" fmla="*/ 12 w 47"/>
                  <a:gd name="T57" fmla="*/ 59 h 69"/>
                  <a:gd name="T58" fmla="*/ 10 w 47"/>
                  <a:gd name="T59" fmla="*/ 59 h 69"/>
                  <a:gd name="T60" fmla="*/ 11 w 47"/>
                  <a:gd name="T61" fmla="*/ 51 h 69"/>
                  <a:gd name="T62" fmla="*/ 7 w 47"/>
                  <a:gd name="T63" fmla="*/ 35 h 69"/>
                  <a:gd name="T64" fmla="*/ 1 w 47"/>
                  <a:gd name="T65" fmla="*/ 34 h 69"/>
                  <a:gd name="T66" fmla="*/ 4 w 47"/>
                  <a:gd name="T67" fmla="*/ 30 h 69"/>
                  <a:gd name="T68" fmla="*/ 10 w 47"/>
                  <a:gd name="T69" fmla="*/ 30 h 69"/>
                  <a:gd name="T70" fmla="*/ 8 w 47"/>
                  <a:gd name="T71" fmla="*/ 23 h 69"/>
                  <a:gd name="T72" fmla="*/ 5 w 47"/>
                  <a:gd name="T73" fmla="*/ 18 h 69"/>
                  <a:gd name="T74" fmla="*/ 1 w 47"/>
                  <a:gd name="T75" fmla="*/ 18 h 69"/>
                  <a:gd name="T76" fmla="*/ 0 w 47"/>
                  <a:gd name="T77" fmla="*/ 16 h 6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7"/>
                  <a:gd name="T118" fmla="*/ 0 h 69"/>
                  <a:gd name="T119" fmla="*/ 47 w 47"/>
                  <a:gd name="T120" fmla="*/ 69 h 6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7" h="69">
                    <a:moveTo>
                      <a:pt x="0" y="13"/>
                    </a:moveTo>
                    <a:cubicBezTo>
                      <a:pt x="2" y="12"/>
                      <a:pt x="4" y="11"/>
                      <a:pt x="5" y="10"/>
                    </a:cubicBezTo>
                    <a:cubicBezTo>
                      <a:pt x="7" y="9"/>
                      <a:pt x="7" y="7"/>
                      <a:pt x="8" y="6"/>
                    </a:cubicBezTo>
                    <a:cubicBezTo>
                      <a:pt x="9" y="5"/>
                      <a:pt x="11" y="5"/>
                      <a:pt x="13" y="5"/>
                    </a:cubicBezTo>
                    <a:cubicBezTo>
                      <a:pt x="15" y="4"/>
                      <a:pt x="18" y="6"/>
                      <a:pt x="20" y="5"/>
                    </a:cubicBezTo>
                    <a:cubicBezTo>
                      <a:pt x="22" y="4"/>
                      <a:pt x="23" y="2"/>
                      <a:pt x="24" y="0"/>
                    </a:cubicBezTo>
                    <a:cubicBezTo>
                      <a:pt x="25" y="3"/>
                      <a:pt x="27" y="6"/>
                      <a:pt x="29" y="8"/>
                    </a:cubicBezTo>
                    <a:cubicBezTo>
                      <a:pt x="32" y="13"/>
                      <a:pt x="36" y="17"/>
                      <a:pt x="39" y="22"/>
                    </a:cubicBezTo>
                    <a:cubicBezTo>
                      <a:pt x="41" y="26"/>
                      <a:pt x="41" y="31"/>
                      <a:pt x="42" y="36"/>
                    </a:cubicBezTo>
                    <a:cubicBezTo>
                      <a:pt x="43" y="38"/>
                      <a:pt x="42" y="40"/>
                      <a:pt x="43" y="42"/>
                    </a:cubicBezTo>
                    <a:cubicBezTo>
                      <a:pt x="43" y="43"/>
                      <a:pt x="45" y="40"/>
                      <a:pt x="45" y="41"/>
                    </a:cubicBezTo>
                    <a:cubicBezTo>
                      <a:pt x="46" y="46"/>
                      <a:pt x="47" y="51"/>
                      <a:pt x="45" y="55"/>
                    </a:cubicBezTo>
                    <a:cubicBezTo>
                      <a:pt x="43" y="58"/>
                      <a:pt x="39" y="55"/>
                      <a:pt x="37" y="56"/>
                    </a:cubicBezTo>
                    <a:cubicBezTo>
                      <a:pt x="36" y="57"/>
                      <a:pt x="38" y="61"/>
                      <a:pt x="36" y="61"/>
                    </a:cubicBezTo>
                    <a:cubicBezTo>
                      <a:pt x="34" y="62"/>
                      <a:pt x="32" y="58"/>
                      <a:pt x="29" y="58"/>
                    </a:cubicBezTo>
                    <a:cubicBezTo>
                      <a:pt x="28" y="59"/>
                      <a:pt x="30" y="61"/>
                      <a:pt x="30" y="62"/>
                    </a:cubicBezTo>
                    <a:cubicBezTo>
                      <a:pt x="28" y="62"/>
                      <a:pt x="28" y="58"/>
                      <a:pt x="27" y="59"/>
                    </a:cubicBezTo>
                    <a:cubicBezTo>
                      <a:pt x="26" y="60"/>
                      <a:pt x="27" y="63"/>
                      <a:pt x="27" y="64"/>
                    </a:cubicBezTo>
                    <a:cubicBezTo>
                      <a:pt x="25" y="64"/>
                      <a:pt x="25" y="61"/>
                      <a:pt x="23" y="60"/>
                    </a:cubicBezTo>
                    <a:cubicBezTo>
                      <a:pt x="22" y="60"/>
                      <a:pt x="24" y="63"/>
                      <a:pt x="23" y="64"/>
                    </a:cubicBezTo>
                    <a:cubicBezTo>
                      <a:pt x="23" y="65"/>
                      <a:pt x="21" y="65"/>
                      <a:pt x="20" y="65"/>
                    </a:cubicBezTo>
                    <a:cubicBezTo>
                      <a:pt x="20" y="64"/>
                      <a:pt x="21" y="61"/>
                      <a:pt x="20" y="61"/>
                    </a:cubicBezTo>
                    <a:cubicBezTo>
                      <a:pt x="18" y="62"/>
                      <a:pt x="18" y="65"/>
                      <a:pt x="16" y="66"/>
                    </a:cubicBezTo>
                    <a:cubicBezTo>
                      <a:pt x="15" y="67"/>
                      <a:pt x="15" y="64"/>
                      <a:pt x="15" y="64"/>
                    </a:cubicBezTo>
                    <a:cubicBezTo>
                      <a:pt x="13" y="65"/>
                      <a:pt x="13" y="69"/>
                      <a:pt x="11" y="69"/>
                    </a:cubicBezTo>
                    <a:cubicBezTo>
                      <a:pt x="9" y="68"/>
                      <a:pt x="9" y="65"/>
                      <a:pt x="9" y="63"/>
                    </a:cubicBezTo>
                    <a:cubicBezTo>
                      <a:pt x="9" y="62"/>
                      <a:pt x="11" y="61"/>
                      <a:pt x="11" y="60"/>
                    </a:cubicBezTo>
                    <a:cubicBezTo>
                      <a:pt x="11" y="58"/>
                      <a:pt x="9" y="56"/>
                      <a:pt x="8" y="54"/>
                    </a:cubicBezTo>
                    <a:cubicBezTo>
                      <a:pt x="8" y="52"/>
                      <a:pt x="10" y="51"/>
                      <a:pt x="10" y="49"/>
                    </a:cubicBezTo>
                    <a:cubicBezTo>
                      <a:pt x="10" y="48"/>
                      <a:pt x="8" y="49"/>
                      <a:pt x="8" y="49"/>
                    </a:cubicBezTo>
                    <a:cubicBezTo>
                      <a:pt x="8" y="46"/>
                      <a:pt x="10" y="44"/>
                      <a:pt x="9" y="42"/>
                    </a:cubicBezTo>
                    <a:cubicBezTo>
                      <a:pt x="9" y="37"/>
                      <a:pt x="8" y="33"/>
                      <a:pt x="6" y="29"/>
                    </a:cubicBezTo>
                    <a:cubicBezTo>
                      <a:pt x="5" y="28"/>
                      <a:pt x="2" y="30"/>
                      <a:pt x="1" y="28"/>
                    </a:cubicBezTo>
                    <a:cubicBezTo>
                      <a:pt x="0" y="27"/>
                      <a:pt x="2" y="25"/>
                      <a:pt x="3" y="25"/>
                    </a:cubicBezTo>
                    <a:cubicBezTo>
                      <a:pt x="5" y="24"/>
                      <a:pt x="7" y="26"/>
                      <a:pt x="8" y="25"/>
                    </a:cubicBezTo>
                    <a:cubicBezTo>
                      <a:pt x="9" y="23"/>
                      <a:pt x="8" y="21"/>
                      <a:pt x="7" y="19"/>
                    </a:cubicBezTo>
                    <a:cubicBezTo>
                      <a:pt x="6" y="17"/>
                      <a:pt x="5" y="16"/>
                      <a:pt x="4" y="15"/>
                    </a:cubicBezTo>
                    <a:cubicBezTo>
                      <a:pt x="3" y="14"/>
                      <a:pt x="2" y="15"/>
                      <a:pt x="1" y="15"/>
                    </a:cubicBezTo>
                    <a:cubicBezTo>
                      <a:pt x="1" y="14"/>
                      <a:pt x="1" y="13"/>
                      <a:pt x="0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1" name="Freeform 2642"/>
              <p:cNvSpPr>
                <a:spLocks noChangeAspect="1"/>
              </p:cNvSpPr>
              <p:nvPr/>
            </p:nvSpPr>
            <p:spPr bwMode="auto">
              <a:xfrm>
                <a:off x="4993276" y="2317484"/>
                <a:ext cx="219169" cy="170534"/>
              </a:xfrm>
              <a:custGeom>
                <a:avLst/>
                <a:gdLst>
                  <a:gd name="T0" fmla="*/ 8 w 112"/>
                  <a:gd name="T1" fmla="*/ 99 h 88"/>
                  <a:gd name="T2" fmla="*/ 8 w 112"/>
                  <a:gd name="T3" fmla="*/ 87 h 88"/>
                  <a:gd name="T4" fmla="*/ 5 w 112"/>
                  <a:gd name="T5" fmla="*/ 87 h 88"/>
                  <a:gd name="T6" fmla="*/ 2 w 112"/>
                  <a:gd name="T7" fmla="*/ 85 h 88"/>
                  <a:gd name="T8" fmla="*/ 4 w 112"/>
                  <a:gd name="T9" fmla="*/ 78 h 88"/>
                  <a:gd name="T10" fmla="*/ 6 w 112"/>
                  <a:gd name="T11" fmla="*/ 75 h 88"/>
                  <a:gd name="T12" fmla="*/ 8 w 112"/>
                  <a:gd name="T13" fmla="*/ 72 h 88"/>
                  <a:gd name="T14" fmla="*/ 8 w 112"/>
                  <a:gd name="T15" fmla="*/ 62 h 88"/>
                  <a:gd name="T16" fmla="*/ 6 w 112"/>
                  <a:gd name="T17" fmla="*/ 58 h 88"/>
                  <a:gd name="T18" fmla="*/ 1 w 112"/>
                  <a:gd name="T19" fmla="*/ 55 h 88"/>
                  <a:gd name="T20" fmla="*/ 1 w 112"/>
                  <a:gd name="T21" fmla="*/ 49 h 88"/>
                  <a:gd name="T22" fmla="*/ 7 w 112"/>
                  <a:gd name="T23" fmla="*/ 50 h 88"/>
                  <a:gd name="T24" fmla="*/ 13 w 112"/>
                  <a:gd name="T25" fmla="*/ 48 h 88"/>
                  <a:gd name="T26" fmla="*/ 19 w 112"/>
                  <a:gd name="T27" fmla="*/ 48 h 88"/>
                  <a:gd name="T28" fmla="*/ 23 w 112"/>
                  <a:gd name="T29" fmla="*/ 42 h 88"/>
                  <a:gd name="T30" fmla="*/ 34 w 112"/>
                  <a:gd name="T31" fmla="*/ 42 h 88"/>
                  <a:gd name="T32" fmla="*/ 32 w 112"/>
                  <a:gd name="T33" fmla="*/ 36 h 88"/>
                  <a:gd name="T34" fmla="*/ 36 w 112"/>
                  <a:gd name="T35" fmla="*/ 26 h 88"/>
                  <a:gd name="T36" fmla="*/ 47 w 112"/>
                  <a:gd name="T37" fmla="*/ 24 h 88"/>
                  <a:gd name="T38" fmla="*/ 47 w 112"/>
                  <a:gd name="T39" fmla="*/ 16 h 88"/>
                  <a:gd name="T40" fmla="*/ 51 w 112"/>
                  <a:gd name="T41" fmla="*/ 11 h 88"/>
                  <a:gd name="T42" fmla="*/ 59 w 112"/>
                  <a:gd name="T43" fmla="*/ 12 h 88"/>
                  <a:gd name="T44" fmla="*/ 62 w 112"/>
                  <a:gd name="T45" fmla="*/ 5 h 88"/>
                  <a:gd name="T46" fmla="*/ 66 w 112"/>
                  <a:gd name="T47" fmla="*/ 1 h 88"/>
                  <a:gd name="T48" fmla="*/ 73 w 112"/>
                  <a:gd name="T49" fmla="*/ 1 h 88"/>
                  <a:gd name="T50" fmla="*/ 75 w 112"/>
                  <a:gd name="T51" fmla="*/ 5 h 88"/>
                  <a:gd name="T52" fmla="*/ 83 w 112"/>
                  <a:gd name="T53" fmla="*/ 5 h 88"/>
                  <a:gd name="T54" fmla="*/ 84 w 112"/>
                  <a:gd name="T55" fmla="*/ 11 h 88"/>
                  <a:gd name="T56" fmla="*/ 93 w 112"/>
                  <a:gd name="T57" fmla="*/ 8 h 88"/>
                  <a:gd name="T58" fmla="*/ 108 w 112"/>
                  <a:gd name="T59" fmla="*/ 13 h 88"/>
                  <a:gd name="T60" fmla="*/ 106 w 112"/>
                  <a:gd name="T61" fmla="*/ 30 h 88"/>
                  <a:gd name="T62" fmla="*/ 110 w 112"/>
                  <a:gd name="T63" fmla="*/ 35 h 88"/>
                  <a:gd name="T64" fmla="*/ 111 w 112"/>
                  <a:gd name="T65" fmla="*/ 39 h 88"/>
                  <a:gd name="T66" fmla="*/ 121 w 112"/>
                  <a:gd name="T67" fmla="*/ 45 h 88"/>
                  <a:gd name="T68" fmla="*/ 121 w 112"/>
                  <a:gd name="T69" fmla="*/ 53 h 88"/>
                  <a:gd name="T70" fmla="*/ 128 w 112"/>
                  <a:gd name="T71" fmla="*/ 55 h 88"/>
                  <a:gd name="T72" fmla="*/ 134 w 112"/>
                  <a:gd name="T73" fmla="*/ 62 h 88"/>
                  <a:gd name="T74" fmla="*/ 127 w 112"/>
                  <a:gd name="T75" fmla="*/ 67 h 88"/>
                  <a:gd name="T76" fmla="*/ 122 w 112"/>
                  <a:gd name="T77" fmla="*/ 67 h 88"/>
                  <a:gd name="T78" fmla="*/ 117 w 112"/>
                  <a:gd name="T79" fmla="*/ 63 h 88"/>
                  <a:gd name="T80" fmla="*/ 112 w 112"/>
                  <a:gd name="T81" fmla="*/ 68 h 88"/>
                  <a:gd name="T82" fmla="*/ 117 w 112"/>
                  <a:gd name="T83" fmla="*/ 75 h 88"/>
                  <a:gd name="T84" fmla="*/ 120 w 112"/>
                  <a:gd name="T85" fmla="*/ 86 h 88"/>
                  <a:gd name="T86" fmla="*/ 110 w 112"/>
                  <a:gd name="T87" fmla="*/ 89 h 88"/>
                  <a:gd name="T88" fmla="*/ 106 w 112"/>
                  <a:gd name="T89" fmla="*/ 97 h 88"/>
                  <a:gd name="T90" fmla="*/ 103 w 112"/>
                  <a:gd name="T91" fmla="*/ 104 h 88"/>
                  <a:gd name="T92" fmla="*/ 97 w 112"/>
                  <a:gd name="T93" fmla="*/ 101 h 88"/>
                  <a:gd name="T94" fmla="*/ 91 w 112"/>
                  <a:gd name="T95" fmla="*/ 101 h 88"/>
                  <a:gd name="T96" fmla="*/ 85 w 112"/>
                  <a:gd name="T97" fmla="*/ 100 h 88"/>
                  <a:gd name="T98" fmla="*/ 79 w 112"/>
                  <a:gd name="T99" fmla="*/ 101 h 88"/>
                  <a:gd name="T100" fmla="*/ 73 w 112"/>
                  <a:gd name="T101" fmla="*/ 100 h 88"/>
                  <a:gd name="T102" fmla="*/ 66 w 112"/>
                  <a:gd name="T103" fmla="*/ 103 h 88"/>
                  <a:gd name="T104" fmla="*/ 62 w 112"/>
                  <a:gd name="T105" fmla="*/ 100 h 88"/>
                  <a:gd name="T106" fmla="*/ 53 w 112"/>
                  <a:gd name="T107" fmla="*/ 95 h 88"/>
                  <a:gd name="T108" fmla="*/ 45 w 112"/>
                  <a:gd name="T109" fmla="*/ 95 h 88"/>
                  <a:gd name="T110" fmla="*/ 38 w 112"/>
                  <a:gd name="T111" fmla="*/ 93 h 88"/>
                  <a:gd name="T112" fmla="*/ 26 w 112"/>
                  <a:gd name="T113" fmla="*/ 93 h 88"/>
                  <a:gd name="T114" fmla="*/ 18 w 112"/>
                  <a:gd name="T115" fmla="*/ 93 h 88"/>
                  <a:gd name="T116" fmla="*/ 16 w 112"/>
                  <a:gd name="T117" fmla="*/ 100 h 88"/>
                  <a:gd name="T118" fmla="*/ 8 w 112"/>
                  <a:gd name="T119" fmla="*/ 99 h 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2"/>
                  <a:gd name="T181" fmla="*/ 0 h 88"/>
                  <a:gd name="T182" fmla="*/ 112 w 112"/>
                  <a:gd name="T183" fmla="*/ 88 h 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2" h="88">
                    <a:moveTo>
                      <a:pt x="7" y="83"/>
                    </a:moveTo>
                    <a:cubicBezTo>
                      <a:pt x="7" y="80"/>
                      <a:pt x="7" y="76"/>
                      <a:pt x="7" y="73"/>
                    </a:cubicBezTo>
                    <a:cubicBezTo>
                      <a:pt x="6" y="72"/>
                      <a:pt x="5" y="73"/>
                      <a:pt x="4" y="73"/>
                    </a:cubicBezTo>
                    <a:cubicBezTo>
                      <a:pt x="4" y="72"/>
                      <a:pt x="2" y="72"/>
                      <a:pt x="2" y="71"/>
                    </a:cubicBezTo>
                    <a:cubicBezTo>
                      <a:pt x="1" y="69"/>
                      <a:pt x="2" y="67"/>
                      <a:pt x="3" y="65"/>
                    </a:cubicBezTo>
                    <a:cubicBezTo>
                      <a:pt x="3" y="64"/>
                      <a:pt x="5" y="64"/>
                      <a:pt x="5" y="63"/>
                    </a:cubicBezTo>
                    <a:cubicBezTo>
                      <a:pt x="6" y="62"/>
                      <a:pt x="7" y="61"/>
                      <a:pt x="7" y="60"/>
                    </a:cubicBezTo>
                    <a:cubicBezTo>
                      <a:pt x="7" y="57"/>
                      <a:pt x="7" y="55"/>
                      <a:pt x="7" y="52"/>
                    </a:cubicBezTo>
                    <a:cubicBezTo>
                      <a:pt x="6" y="51"/>
                      <a:pt x="5" y="50"/>
                      <a:pt x="5" y="49"/>
                    </a:cubicBezTo>
                    <a:cubicBezTo>
                      <a:pt x="4" y="48"/>
                      <a:pt x="2" y="47"/>
                      <a:pt x="1" y="46"/>
                    </a:cubicBezTo>
                    <a:cubicBezTo>
                      <a:pt x="0" y="44"/>
                      <a:pt x="1" y="43"/>
                      <a:pt x="1" y="41"/>
                    </a:cubicBezTo>
                    <a:cubicBezTo>
                      <a:pt x="3" y="41"/>
                      <a:pt x="4" y="42"/>
                      <a:pt x="6" y="42"/>
                    </a:cubicBezTo>
                    <a:cubicBezTo>
                      <a:pt x="8" y="42"/>
                      <a:pt x="9" y="40"/>
                      <a:pt x="11" y="40"/>
                    </a:cubicBezTo>
                    <a:cubicBezTo>
                      <a:pt x="12" y="40"/>
                      <a:pt x="15" y="41"/>
                      <a:pt x="16" y="40"/>
                    </a:cubicBezTo>
                    <a:cubicBezTo>
                      <a:pt x="18" y="39"/>
                      <a:pt x="18" y="36"/>
                      <a:pt x="19" y="35"/>
                    </a:cubicBezTo>
                    <a:cubicBezTo>
                      <a:pt x="22" y="34"/>
                      <a:pt x="26" y="37"/>
                      <a:pt x="28" y="35"/>
                    </a:cubicBezTo>
                    <a:cubicBezTo>
                      <a:pt x="30" y="34"/>
                      <a:pt x="27" y="32"/>
                      <a:pt x="27" y="30"/>
                    </a:cubicBezTo>
                    <a:cubicBezTo>
                      <a:pt x="28" y="27"/>
                      <a:pt x="28" y="24"/>
                      <a:pt x="30" y="22"/>
                    </a:cubicBezTo>
                    <a:cubicBezTo>
                      <a:pt x="32" y="20"/>
                      <a:pt x="37" y="22"/>
                      <a:pt x="39" y="20"/>
                    </a:cubicBezTo>
                    <a:cubicBezTo>
                      <a:pt x="41" y="18"/>
                      <a:pt x="39" y="15"/>
                      <a:pt x="39" y="13"/>
                    </a:cubicBezTo>
                    <a:cubicBezTo>
                      <a:pt x="40" y="12"/>
                      <a:pt x="41" y="10"/>
                      <a:pt x="43" y="9"/>
                    </a:cubicBezTo>
                    <a:cubicBezTo>
                      <a:pt x="45" y="9"/>
                      <a:pt x="47" y="11"/>
                      <a:pt x="49" y="10"/>
                    </a:cubicBezTo>
                    <a:cubicBezTo>
                      <a:pt x="50" y="8"/>
                      <a:pt x="51" y="6"/>
                      <a:pt x="52" y="4"/>
                    </a:cubicBezTo>
                    <a:cubicBezTo>
                      <a:pt x="53" y="3"/>
                      <a:pt x="54" y="2"/>
                      <a:pt x="55" y="1"/>
                    </a:cubicBezTo>
                    <a:cubicBezTo>
                      <a:pt x="57" y="1"/>
                      <a:pt x="59" y="0"/>
                      <a:pt x="61" y="1"/>
                    </a:cubicBezTo>
                    <a:cubicBezTo>
                      <a:pt x="62" y="1"/>
                      <a:pt x="62" y="4"/>
                      <a:pt x="63" y="4"/>
                    </a:cubicBezTo>
                    <a:cubicBezTo>
                      <a:pt x="65" y="5"/>
                      <a:pt x="67" y="3"/>
                      <a:pt x="69" y="4"/>
                    </a:cubicBezTo>
                    <a:cubicBezTo>
                      <a:pt x="70" y="5"/>
                      <a:pt x="68" y="8"/>
                      <a:pt x="70" y="9"/>
                    </a:cubicBezTo>
                    <a:cubicBezTo>
                      <a:pt x="72" y="10"/>
                      <a:pt x="75" y="7"/>
                      <a:pt x="78" y="7"/>
                    </a:cubicBezTo>
                    <a:cubicBezTo>
                      <a:pt x="82" y="8"/>
                      <a:pt x="88" y="8"/>
                      <a:pt x="90" y="11"/>
                    </a:cubicBezTo>
                    <a:cubicBezTo>
                      <a:pt x="92" y="15"/>
                      <a:pt x="88" y="20"/>
                      <a:pt x="89" y="25"/>
                    </a:cubicBezTo>
                    <a:cubicBezTo>
                      <a:pt x="89" y="27"/>
                      <a:pt x="91" y="27"/>
                      <a:pt x="92" y="29"/>
                    </a:cubicBezTo>
                    <a:cubicBezTo>
                      <a:pt x="93" y="30"/>
                      <a:pt x="92" y="32"/>
                      <a:pt x="93" y="33"/>
                    </a:cubicBezTo>
                    <a:cubicBezTo>
                      <a:pt x="95" y="35"/>
                      <a:pt x="99" y="35"/>
                      <a:pt x="101" y="38"/>
                    </a:cubicBezTo>
                    <a:cubicBezTo>
                      <a:pt x="102" y="40"/>
                      <a:pt x="99" y="43"/>
                      <a:pt x="101" y="44"/>
                    </a:cubicBezTo>
                    <a:cubicBezTo>
                      <a:pt x="102" y="46"/>
                      <a:pt x="105" y="44"/>
                      <a:pt x="107" y="46"/>
                    </a:cubicBezTo>
                    <a:cubicBezTo>
                      <a:pt x="109" y="47"/>
                      <a:pt x="112" y="49"/>
                      <a:pt x="112" y="52"/>
                    </a:cubicBezTo>
                    <a:cubicBezTo>
                      <a:pt x="112" y="55"/>
                      <a:pt x="109" y="55"/>
                      <a:pt x="106" y="56"/>
                    </a:cubicBezTo>
                    <a:cubicBezTo>
                      <a:pt x="105" y="57"/>
                      <a:pt x="103" y="57"/>
                      <a:pt x="102" y="56"/>
                    </a:cubicBezTo>
                    <a:cubicBezTo>
                      <a:pt x="100" y="56"/>
                      <a:pt x="100" y="53"/>
                      <a:pt x="98" y="53"/>
                    </a:cubicBezTo>
                    <a:cubicBezTo>
                      <a:pt x="97" y="53"/>
                      <a:pt x="94" y="55"/>
                      <a:pt x="94" y="57"/>
                    </a:cubicBezTo>
                    <a:cubicBezTo>
                      <a:pt x="94" y="59"/>
                      <a:pt x="98" y="61"/>
                      <a:pt x="98" y="63"/>
                    </a:cubicBezTo>
                    <a:cubicBezTo>
                      <a:pt x="100" y="66"/>
                      <a:pt x="100" y="69"/>
                      <a:pt x="100" y="72"/>
                    </a:cubicBezTo>
                    <a:cubicBezTo>
                      <a:pt x="98" y="73"/>
                      <a:pt x="94" y="73"/>
                      <a:pt x="92" y="75"/>
                    </a:cubicBezTo>
                    <a:cubicBezTo>
                      <a:pt x="90" y="77"/>
                      <a:pt x="90" y="79"/>
                      <a:pt x="89" y="81"/>
                    </a:cubicBezTo>
                    <a:cubicBezTo>
                      <a:pt x="88" y="83"/>
                      <a:pt x="88" y="86"/>
                      <a:pt x="86" y="87"/>
                    </a:cubicBezTo>
                    <a:cubicBezTo>
                      <a:pt x="85" y="88"/>
                      <a:pt x="83" y="85"/>
                      <a:pt x="81" y="85"/>
                    </a:cubicBezTo>
                    <a:cubicBezTo>
                      <a:pt x="79" y="84"/>
                      <a:pt x="78" y="85"/>
                      <a:pt x="76" y="85"/>
                    </a:cubicBezTo>
                    <a:cubicBezTo>
                      <a:pt x="74" y="85"/>
                      <a:pt x="73" y="84"/>
                      <a:pt x="71" y="84"/>
                    </a:cubicBezTo>
                    <a:cubicBezTo>
                      <a:pt x="69" y="84"/>
                      <a:pt x="68" y="85"/>
                      <a:pt x="66" y="85"/>
                    </a:cubicBezTo>
                    <a:cubicBezTo>
                      <a:pt x="64" y="85"/>
                      <a:pt x="63" y="84"/>
                      <a:pt x="61" y="84"/>
                    </a:cubicBezTo>
                    <a:cubicBezTo>
                      <a:pt x="59" y="84"/>
                      <a:pt x="57" y="86"/>
                      <a:pt x="55" y="86"/>
                    </a:cubicBezTo>
                    <a:cubicBezTo>
                      <a:pt x="54" y="86"/>
                      <a:pt x="53" y="84"/>
                      <a:pt x="52" y="84"/>
                    </a:cubicBezTo>
                    <a:cubicBezTo>
                      <a:pt x="50" y="82"/>
                      <a:pt x="47" y="81"/>
                      <a:pt x="44" y="80"/>
                    </a:cubicBezTo>
                    <a:cubicBezTo>
                      <a:pt x="42" y="79"/>
                      <a:pt x="40" y="80"/>
                      <a:pt x="38" y="80"/>
                    </a:cubicBezTo>
                    <a:cubicBezTo>
                      <a:pt x="36" y="80"/>
                      <a:pt x="34" y="79"/>
                      <a:pt x="32" y="78"/>
                    </a:cubicBezTo>
                    <a:cubicBezTo>
                      <a:pt x="29" y="78"/>
                      <a:pt x="25" y="78"/>
                      <a:pt x="22" y="78"/>
                    </a:cubicBezTo>
                    <a:cubicBezTo>
                      <a:pt x="19" y="77"/>
                      <a:pt x="17" y="76"/>
                      <a:pt x="15" y="78"/>
                    </a:cubicBezTo>
                    <a:cubicBezTo>
                      <a:pt x="13" y="79"/>
                      <a:pt x="15" y="83"/>
                      <a:pt x="13" y="84"/>
                    </a:cubicBezTo>
                    <a:cubicBezTo>
                      <a:pt x="12" y="85"/>
                      <a:pt x="9" y="83"/>
                      <a:pt x="7" y="8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2" name="Freeform 2643"/>
              <p:cNvSpPr>
                <a:spLocks noChangeAspect="1"/>
              </p:cNvSpPr>
              <p:nvPr/>
            </p:nvSpPr>
            <p:spPr bwMode="auto">
              <a:xfrm>
                <a:off x="4783921" y="2366208"/>
                <a:ext cx="235525" cy="198144"/>
              </a:xfrm>
              <a:custGeom>
                <a:avLst/>
                <a:gdLst>
                  <a:gd name="T0" fmla="*/ 137 w 120"/>
                  <a:gd name="T1" fmla="*/ 57 h 102"/>
                  <a:gd name="T2" fmla="*/ 131 w 120"/>
                  <a:gd name="T3" fmla="*/ 55 h 102"/>
                  <a:gd name="T4" fmla="*/ 134 w 120"/>
                  <a:gd name="T5" fmla="*/ 45 h 102"/>
                  <a:gd name="T6" fmla="*/ 137 w 120"/>
                  <a:gd name="T7" fmla="*/ 32 h 102"/>
                  <a:gd name="T8" fmla="*/ 130 w 120"/>
                  <a:gd name="T9" fmla="*/ 25 h 102"/>
                  <a:gd name="T10" fmla="*/ 124 w 120"/>
                  <a:gd name="T11" fmla="*/ 14 h 102"/>
                  <a:gd name="T12" fmla="*/ 109 w 120"/>
                  <a:gd name="T13" fmla="*/ 12 h 102"/>
                  <a:gd name="T14" fmla="*/ 82 w 120"/>
                  <a:gd name="T15" fmla="*/ 10 h 102"/>
                  <a:gd name="T16" fmla="*/ 74 w 120"/>
                  <a:gd name="T17" fmla="*/ 17 h 102"/>
                  <a:gd name="T18" fmla="*/ 77 w 120"/>
                  <a:gd name="T19" fmla="*/ 12 h 102"/>
                  <a:gd name="T20" fmla="*/ 77 w 120"/>
                  <a:gd name="T21" fmla="*/ 10 h 102"/>
                  <a:gd name="T22" fmla="*/ 62 w 120"/>
                  <a:gd name="T23" fmla="*/ 13 h 102"/>
                  <a:gd name="T24" fmla="*/ 59 w 120"/>
                  <a:gd name="T25" fmla="*/ 5 h 102"/>
                  <a:gd name="T26" fmla="*/ 53 w 120"/>
                  <a:gd name="T27" fmla="*/ 0 h 102"/>
                  <a:gd name="T28" fmla="*/ 38 w 120"/>
                  <a:gd name="T29" fmla="*/ 6 h 102"/>
                  <a:gd name="T30" fmla="*/ 28 w 120"/>
                  <a:gd name="T31" fmla="*/ 12 h 102"/>
                  <a:gd name="T32" fmla="*/ 6 w 120"/>
                  <a:gd name="T33" fmla="*/ 18 h 102"/>
                  <a:gd name="T34" fmla="*/ 6 w 120"/>
                  <a:gd name="T35" fmla="*/ 20 h 102"/>
                  <a:gd name="T36" fmla="*/ 1 w 120"/>
                  <a:gd name="T37" fmla="*/ 23 h 102"/>
                  <a:gd name="T38" fmla="*/ 0 w 120"/>
                  <a:gd name="T39" fmla="*/ 41 h 102"/>
                  <a:gd name="T40" fmla="*/ 5 w 120"/>
                  <a:gd name="T41" fmla="*/ 53 h 102"/>
                  <a:gd name="T42" fmla="*/ 6 w 120"/>
                  <a:gd name="T43" fmla="*/ 65 h 102"/>
                  <a:gd name="T44" fmla="*/ 12 w 120"/>
                  <a:gd name="T45" fmla="*/ 75 h 102"/>
                  <a:gd name="T46" fmla="*/ 17 w 120"/>
                  <a:gd name="T47" fmla="*/ 81 h 102"/>
                  <a:gd name="T48" fmla="*/ 23 w 120"/>
                  <a:gd name="T49" fmla="*/ 84 h 102"/>
                  <a:gd name="T50" fmla="*/ 32 w 120"/>
                  <a:gd name="T51" fmla="*/ 87 h 102"/>
                  <a:gd name="T52" fmla="*/ 37 w 120"/>
                  <a:gd name="T53" fmla="*/ 99 h 102"/>
                  <a:gd name="T54" fmla="*/ 40 w 120"/>
                  <a:gd name="T55" fmla="*/ 92 h 102"/>
                  <a:gd name="T56" fmla="*/ 48 w 120"/>
                  <a:gd name="T57" fmla="*/ 96 h 102"/>
                  <a:gd name="T58" fmla="*/ 50 w 120"/>
                  <a:gd name="T59" fmla="*/ 98 h 102"/>
                  <a:gd name="T60" fmla="*/ 58 w 120"/>
                  <a:gd name="T61" fmla="*/ 100 h 102"/>
                  <a:gd name="T62" fmla="*/ 65 w 120"/>
                  <a:gd name="T63" fmla="*/ 108 h 102"/>
                  <a:gd name="T64" fmla="*/ 73 w 120"/>
                  <a:gd name="T65" fmla="*/ 114 h 102"/>
                  <a:gd name="T66" fmla="*/ 83 w 120"/>
                  <a:gd name="T67" fmla="*/ 115 h 102"/>
                  <a:gd name="T68" fmla="*/ 86 w 120"/>
                  <a:gd name="T69" fmla="*/ 117 h 102"/>
                  <a:gd name="T70" fmla="*/ 97 w 120"/>
                  <a:gd name="T71" fmla="*/ 114 h 102"/>
                  <a:gd name="T72" fmla="*/ 104 w 120"/>
                  <a:gd name="T73" fmla="*/ 112 h 102"/>
                  <a:gd name="T74" fmla="*/ 116 w 120"/>
                  <a:gd name="T75" fmla="*/ 118 h 102"/>
                  <a:gd name="T76" fmla="*/ 127 w 120"/>
                  <a:gd name="T77" fmla="*/ 121 h 102"/>
                  <a:gd name="T78" fmla="*/ 125 w 120"/>
                  <a:gd name="T79" fmla="*/ 117 h 102"/>
                  <a:gd name="T80" fmla="*/ 124 w 120"/>
                  <a:gd name="T81" fmla="*/ 109 h 102"/>
                  <a:gd name="T82" fmla="*/ 138 w 120"/>
                  <a:gd name="T83" fmla="*/ 97 h 102"/>
                  <a:gd name="T84" fmla="*/ 144 w 120"/>
                  <a:gd name="T85" fmla="*/ 91 h 102"/>
                  <a:gd name="T86" fmla="*/ 143 w 120"/>
                  <a:gd name="T87" fmla="*/ 85 h 102"/>
                  <a:gd name="T88" fmla="*/ 137 w 120"/>
                  <a:gd name="T89" fmla="*/ 69 h 10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0"/>
                  <a:gd name="T136" fmla="*/ 0 h 102"/>
                  <a:gd name="T137" fmla="*/ 120 w 120"/>
                  <a:gd name="T138" fmla="*/ 102 h 10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0" h="102">
                    <a:moveTo>
                      <a:pt x="114" y="58"/>
                    </a:moveTo>
                    <a:cubicBezTo>
                      <a:pt x="114" y="55"/>
                      <a:pt x="114" y="51"/>
                      <a:pt x="114" y="48"/>
                    </a:cubicBezTo>
                    <a:cubicBezTo>
                      <a:pt x="113" y="47"/>
                      <a:pt x="112" y="48"/>
                      <a:pt x="111" y="48"/>
                    </a:cubicBezTo>
                    <a:cubicBezTo>
                      <a:pt x="111" y="47"/>
                      <a:pt x="109" y="47"/>
                      <a:pt x="109" y="46"/>
                    </a:cubicBezTo>
                    <a:cubicBezTo>
                      <a:pt x="108" y="44"/>
                      <a:pt x="109" y="42"/>
                      <a:pt x="110" y="40"/>
                    </a:cubicBezTo>
                    <a:cubicBezTo>
                      <a:pt x="110" y="39"/>
                      <a:pt x="112" y="39"/>
                      <a:pt x="112" y="38"/>
                    </a:cubicBezTo>
                    <a:cubicBezTo>
                      <a:pt x="113" y="37"/>
                      <a:pt x="114" y="36"/>
                      <a:pt x="114" y="35"/>
                    </a:cubicBezTo>
                    <a:cubicBezTo>
                      <a:pt x="114" y="32"/>
                      <a:pt x="114" y="30"/>
                      <a:pt x="114" y="27"/>
                    </a:cubicBezTo>
                    <a:cubicBezTo>
                      <a:pt x="113" y="26"/>
                      <a:pt x="112" y="25"/>
                      <a:pt x="112" y="24"/>
                    </a:cubicBezTo>
                    <a:cubicBezTo>
                      <a:pt x="111" y="23"/>
                      <a:pt x="109" y="22"/>
                      <a:pt x="108" y="21"/>
                    </a:cubicBezTo>
                    <a:cubicBezTo>
                      <a:pt x="107" y="19"/>
                      <a:pt x="108" y="18"/>
                      <a:pt x="108" y="16"/>
                    </a:cubicBezTo>
                    <a:cubicBezTo>
                      <a:pt x="106" y="15"/>
                      <a:pt x="105" y="13"/>
                      <a:pt x="103" y="12"/>
                    </a:cubicBezTo>
                    <a:cubicBezTo>
                      <a:pt x="102" y="11"/>
                      <a:pt x="100" y="10"/>
                      <a:pt x="98" y="8"/>
                    </a:cubicBezTo>
                    <a:cubicBezTo>
                      <a:pt x="95" y="9"/>
                      <a:pt x="93" y="10"/>
                      <a:pt x="91" y="10"/>
                    </a:cubicBezTo>
                    <a:cubicBezTo>
                      <a:pt x="89" y="10"/>
                      <a:pt x="87" y="9"/>
                      <a:pt x="85" y="9"/>
                    </a:cubicBezTo>
                    <a:cubicBezTo>
                      <a:pt x="79" y="9"/>
                      <a:pt x="73" y="9"/>
                      <a:pt x="68" y="8"/>
                    </a:cubicBezTo>
                    <a:cubicBezTo>
                      <a:pt x="67" y="9"/>
                      <a:pt x="67" y="11"/>
                      <a:pt x="66" y="11"/>
                    </a:cubicBezTo>
                    <a:cubicBezTo>
                      <a:pt x="65" y="12"/>
                      <a:pt x="63" y="13"/>
                      <a:pt x="62" y="14"/>
                    </a:cubicBezTo>
                    <a:cubicBezTo>
                      <a:pt x="61" y="14"/>
                      <a:pt x="60" y="12"/>
                      <a:pt x="61" y="12"/>
                    </a:cubicBezTo>
                    <a:cubicBezTo>
                      <a:pt x="62" y="11"/>
                      <a:pt x="63" y="11"/>
                      <a:pt x="64" y="10"/>
                    </a:cubicBezTo>
                    <a:cubicBezTo>
                      <a:pt x="65" y="9"/>
                      <a:pt x="66" y="8"/>
                      <a:pt x="66" y="7"/>
                    </a:cubicBezTo>
                    <a:cubicBezTo>
                      <a:pt x="65" y="6"/>
                      <a:pt x="65" y="8"/>
                      <a:pt x="64" y="8"/>
                    </a:cubicBezTo>
                    <a:cubicBezTo>
                      <a:pt x="63" y="9"/>
                      <a:pt x="61" y="10"/>
                      <a:pt x="59" y="10"/>
                    </a:cubicBezTo>
                    <a:cubicBezTo>
                      <a:pt x="57" y="11"/>
                      <a:pt x="54" y="12"/>
                      <a:pt x="52" y="11"/>
                    </a:cubicBezTo>
                    <a:cubicBezTo>
                      <a:pt x="51" y="10"/>
                      <a:pt x="52" y="8"/>
                      <a:pt x="51" y="7"/>
                    </a:cubicBezTo>
                    <a:cubicBezTo>
                      <a:pt x="51" y="6"/>
                      <a:pt x="49" y="5"/>
                      <a:pt x="49" y="4"/>
                    </a:cubicBezTo>
                    <a:cubicBezTo>
                      <a:pt x="49" y="3"/>
                      <a:pt x="52" y="5"/>
                      <a:pt x="54" y="6"/>
                    </a:cubicBezTo>
                    <a:cubicBezTo>
                      <a:pt x="52" y="1"/>
                      <a:pt x="46" y="0"/>
                      <a:pt x="44" y="0"/>
                    </a:cubicBezTo>
                    <a:cubicBezTo>
                      <a:pt x="40" y="1"/>
                      <a:pt x="38" y="4"/>
                      <a:pt x="34" y="6"/>
                    </a:cubicBezTo>
                    <a:cubicBezTo>
                      <a:pt x="34" y="6"/>
                      <a:pt x="33" y="5"/>
                      <a:pt x="32" y="5"/>
                    </a:cubicBezTo>
                    <a:cubicBezTo>
                      <a:pt x="30" y="5"/>
                      <a:pt x="29" y="5"/>
                      <a:pt x="27" y="6"/>
                    </a:cubicBezTo>
                    <a:cubicBezTo>
                      <a:pt x="25" y="7"/>
                      <a:pt x="25" y="9"/>
                      <a:pt x="23" y="10"/>
                    </a:cubicBezTo>
                    <a:cubicBezTo>
                      <a:pt x="19" y="12"/>
                      <a:pt x="16" y="12"/>
                      <a:pt x="12" y="13"/>
                    </a:cubicBezTo>
                    <a:cubicBezTo>
                      <a:pt x="10" y="14"/>
                      <a:pt x="7" y="14"/>
                      <a:pt x="5" y="15"/>
                    </a:cubicBezTo>
                    <a:cubicBezTo>
                      <a:pt x="4" y="15"/>
                      <a:pt x="1" y="15"/>
                      <a:pt x="1" y="16"/>
                    </a:cubicBezTo>
                    <a:cubicBezTo>
                      <a:pt x="1" y="18"/>
                      <a:pt x="5" y="16"/>
                      <a:pt x="5" y="17"/>
                    </a:cubicBezTo>
                    <a:cubicBezTo>
                      <a:pt x="6" y="19"/>
                      <a:pt x="7" y="21"/>
                      <a:pt x="5" y="22"/>
                    </a:cubicBezTo>
                    <a:cubicBezTo>
                      <a:pt x="4" y="23"/>
                      <a:pt x="2" y="20"/>
                      <a:pt x="1" y="19"/>
                    </a:cubicBezTo>
                    <a:cubicBezTo>
                      <a:pt x="2" y="22"/>
                      <a:pt x="3" y="24"/>
                      <a:pt x="3" y="26"/>
                    </a:cubicBezTo>
                    <a:cubicBezTo>
                      <a:pt x="3" y="29"/>
                      <a:pt x="0" y="31"/>
                      <a:pt x="0" y="34"/>
                    </a:cubicBezTo>
                    <a:cubicBezTo>
                      <a:pt x="1" y="37"/>
                      <a:pt x="4" y="38"/>
                      <a:pt x="5" y="41"/>
                    </a:cubicBezTo>
                    <a:cubicBezTo>
                      <a:pt x="6" y="42"/>
                      <a:pt x="4" y="43"/>
                      <a:pt x="4" y="44"/>
                    </a:cubicBezTo>
                    <a:cubicBezTo>
                      <a:pt x="5" y="46"/>
                      <a:pt x="7" y="47"/>
                      <a:pt x="7" y="49"/>
                    </a:cubicBezTo>
                    <a:cubicBezTo>
                      <a:pt x="7" y="51"/>
                      <a:pt x="5" y="52"/>
                      <a:pt x="5" y="54"/>
                    </a:cubicBezTo>
                    <a:cubicBezTo>
                      <a:pt x="5" y="55"/>
                      <a:pt x="6" y="57"/>
                      <a:pt x="7" y="59"/>
                    </a:cubicBezTo>
                    <a:cubicBezTo>
                      <a:pt x="8" y="60"/>
                      <a:pt x="10" y="61"/>
                      <a:pt x="10" y="63"/>
                    </a:cubicBezTo>
                    <a:cubicBezTo>
                      <a:pt x="11" y="64"/>
                      <a:pt x="10" y="65"/>
                      <a:pt x="10" y="66"/>
                    </a:cubicBezTo>
                    <a:cubicBezTo>
                      <a:pt x="11" y="67"/>
                      <a:pt x="13" y="67"/>
                      <a:pt x="14" y="68"/>
                    </a:cubicBezTo>
                    <a:cubicBezTo>
                      <a:pt x="15" y="68"/>
                      <a:pt x="13" y="70"/>
                      <a:pt x="14" y="71"/>
                    </a:cubicBezTo>
                    <a:cubicBezTo>
                      <a:pt x="16" y="71"/>
                      <a:pt x="18" y="70"/>
                      <a:pt x="19" y="70"/>
                    </a:cubicBezTo>
                    <a:cubicBezTo>
                      <a:pt x="21" y="71"/>
                      <a:pt x="22" y="73"/>
                      <a:pt x="23" y="73"/>
                    </a:cubicBezTo>
                    <a:cubicBezTo>
                      <a:pt x="25" y="74"/>
                      <a:pt x="26" y="72"/>
                      <a:pt x="27" y="73"/>
                    </a:cubicBezTo>
                    <a:cubicBezTo>
                      <a:pt x="28" y="75"/>
                      <a:pt x="27" y="78"/>
                      <a:pt x="28" y="80"/>
                    </a:cubicBezTo>
                    <a:cubicBezTo>
                      <a:pt x="29" y="81"/>
                      <a:pt x="30" y="83"/>
                      <a:pt x="31" y="83"/>
                    </a:cubicBezTo>
                    <a:cubicBezTo>
                      <a:pt x="33" y="83"/>
                      <a:pt x="35" y="81"/>
                      <a:pt x="35" y="80"/>
                    </a:cubicBezTo>
                    <a:cubicBezTo>
                      <a:pt x="35" y="79"/>
                      <a:pt x="33" y="78"/>
                      <a:pt x="33" y="77"/>
                    </a:cubicBezTo>
                    <a:cubicBezTo>
                      <a:pt x="33" y="76"/>
                      <a:pt x="35" y="77"/>
                      <a:pt x="36" y="78"/>
                    </a:cubicBezTo>
                    <a:cubicBezTo>
                      <a:pt x="37" y="78"/>
                      <a:pt x="38" y="80"/>
                      <a:pt x="40" y="80"/>
                    </a:cubicBezTo>
                    <a:cubicBezTo>
                      <a:pt x="41" y="80"/>
                      <a:pt x="42" y="79"/>
                      <a:pt x="43" y="80"/>
                    </a:cubicBezTo>
                    <a:cubicBezTo>
                      <a:pt x="44" y="80"/>
                      <a:pt x="42" y="81"/>
                      <a:pt x="42" y="82"/>
                    </a:cubicBezTo>
                    <a:cubicBezTo>
                      <a:pt x="43" y="83"/>
                      <a:pt x="44" y="84"/>
                      <a:pt x="46" y="84"/>
                    </a:cubicBezTo>
                    <a:cubicBezTo>
                      <a:pt x="46" y="84"/>
                      <a:pt x="47" y="84"/>
                      <a:pt x="48" y="84"/>
                    </a:cubicBezTo>
                    <a:cubicBezTo>
                      <a:pt x="50" y="84"/>
                      <a:pt x="51" y="85"/>
                      <a:pt x="52" y="86"/>
                    </a:cubicBezTo>
                    <a:cubicBezTo>
                      <a:pt x="53" y="87"/>
                      <a:pt x="53" y="89"/>
                      <a:pt x="54" y="90"/>
                    </a:cubicBezTo>
                    <a:cubicBezTo>
                      <a:pt x="55" y="91"/>
                      <a:pt x="57" y="92"/>
                      <a:pt x="58" y="93"/>
                    </a:cubicBezTo>
                    <a:cubicBezTo>
                      <a:pt x="59" y="94"/>
                      <a:pt x="60" y="95"/>
                      <a:pt x="61" y="95"/>
                    </a:cubicBezTo>
                    <a:cubicBezTo>
                      <a:pt x="63" y="95"/>
                      <a:pt x="63" y="91"/>
                      <a:pt x="65" y="91"/>
                    </a:cubicBezTo>
                    <a:cubicBezTo>
                      <a:pt x="67" y="92"/>
                      <a:pt x="68" y="94"/>
                      <a:pt x="69" y="96"/>
                    </a:cubicBezTo>
                    <a:cubicBezTo>
                      <a:pt x="70" y="97"/>
                      <a:pt x="68" y="98"/>
                      <a:pt x="69" y="99"/>
                    </a:cubicBezTo>
                    <a:cubicBezTo>
                      <a:pt x="70" y="99"/>
                      <a:pt x="71" y="99"/>
                      <a:pt x="72" y="98"/>
                    </a:cubicBezTo>
                    <a:cubicBezTo>
                      <a:pt x="74" y="97"/>
                      <a:pt x="74" y="95"/>
                      <a:pt x="75" y="95"/>
                    </a:cubicBezTo>
                    <a:cubicBezTo>
                      <a:pt x="77" y="94"/>
                      <a:pt x="79" y="95"/>
                      <a:pt x="81" y="95"/>
                    </a:cubicBezTo>
                    <a:cubicBezTo>
                      <a:pt x="82" y="96"/>
                      <a:pt x="83" y="97"/>
                      <a:pt x="83" y="97"/>
                    </a:cubicBezTo>
                    <a:cubicBezTo>
                      <a:pt x="85" y="96"/>
                      <a:pt x="85" y="94"/>
                      <a:pt x="87" y="94"/>
                    </a:cubicBezTo>
                    <a:cubicBezTo>
                      <a:pt x="89" y="94"/>
                      <a:pt x="91" y="94"/>
                      <a:pt x="93" y="95"/>
                    </a:cubicBezTo>
                    <a:cubicBezTo>
                      <a:pt x="95" y="96"/>
                      <a:pt x="96" y="98"/>
                      <a:pt x="97" y="99"/>
                    </a:cubicBezTo>
                    <a:cubicBezTo>
                      <a:pt x="99" y="100"/>
                      <a:pt x="101" y="100"/>
                      <a:pt x="103" y="100"/>
                    </a:cubicBezTo>
                    <a:cubicBezTo>
                      <a:pt x="104" y="101"/>
                      <a:pt x="105" y="102"/>
                      <a:pt x="106" y="101"/>
                    </a:cubicBezTo>
                    <a:cubicBezTo>
                      <a:pt x="107" y="101"/>
                      <a:pt x="107" y="100"/>
                      <a:pt x="106" y="99"/>
                    </a:cubicBezTo>
                    <a:cubicBezTo>
                      <a:pt x="106" y="99"/>
                      <a:pt x="104" y="99"/>
                      <a:pt x="104" y="98"/>
                    </a:cubicBezTo>
                    <a:cubicBezTo>
                      <a:pt x="103" y="97"/>
                      <a:pt x="105" y="95"/>
                      <a:pt x="104" y="94"/>
                    </a:cubicBezTo>
                    <a:cubicBezTo>
                      <a:pt x="104" y="93"/>
                      <a:pt x="103" y="92"/>
                      <a:pt x="103" y="91"/>
                    </a:cubicBezTo>
                    <a:cubicBezTo>
                      <a:pt x="105" y="88"/>
                      <a:pt x="107" y="85"/>
                      <a:pt x="109" y="83"/>
                    </a:cubicBezTo>
                    <a:cubicBezTo>
                      <a:pt x="111" y="81"/>
                      <a:pt x="113" y="82"/>
                      <a:pt x="115" y="81"/>
                    </a:cubicBezTo>
                    <a:cubicBezTo>
                      <a:pt x="116" y="80"/>
                      <a:pt x="117" y="80"/>
                      <a:pt x="118" y="79"/>
                    </a:cubicBezTo>
                    <a:cubicBezTo>
                      <a:pt x="119" y="78"/>
                      <a:pt x="120" y="77"/>
                      <a:pt x="120" y="76"/>
                    </a:cubicBezTo>
                    <a:cubicBezTo>
                      <a:pt x="120" y="74"/>
                      <a:pt x="117" y="73"/>
                      <a:pt x="116" y="71"/>
                    </a:cubicBezTo>
                    <a:cubicBezTo>
                      <a:pt x="116" y="71"/>
                      <a:pt x="120" y="72"/>
                      <a:pt x="119" y="71"/>
                    </a:cubicBezTo>
                    <a:cubicBezTo>
                      <a:pt x="118" y="69"/>
                      <a:pt x="115" y="68"/>
                      <a:pt x="114" y="66"/>
                    </a:cubicBezTo>
                    <a:cubicBezTo>
                      <a:pt x="113" y="64"/>
                      <a:pt x="114" y="61"/>
                      <a:pt x="114" y="5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3" name="Freeform 2644"/>
              <p:cNvSpPr>
                <a:spLocks noChangeAspect="1"/>
              </p:cNvSpPr>
              <p:nvPr/>
            </p:nvSpPr>
            <p:spPr bwMode="auto">
              <a:xfrm>
                <a:off x="4913132" y="2356464"/>
                <a:ext cx="68695" cy="29234"/>
              </a:xfrm>
              <a:custGeom>
                <a:avLst/>
                <a:gdLst>
                  <a:gd name="T0" fmla="*/ 38 w 35"/>
                  <a:gd name="T1" fmla="*/ 16 h 15"/>
                  <a:gd name="T2" fmla="*/ 30 w 35"/>
                  <a:gd name="T3" fmla="*/ 18 h 15"/>
                  <a:gd name="T4" fmla="*/ 23 w 35"/>
                  <a:gd name="T5" fmla="*/ 17 h 15"/>
                  <a:gd name="T6" fmla="*/ 2 w 35"/>
                  <a:gd name="T7" fmla="*/ 16 h 15"/>
                  <a:gd name="T8" fmla="*/ 8 w 35"/>
                  <a:gd name="T9" fmla="*/ 12 h 15"/>
                  <a:gd name="T10" fmla="*/ 7 w 35"/>
                  <a:gd name="T11" fmla="*/ 11 h 15"/>
                  <a:gd name="T12" fmla="*/ 2 w 35"/>
                  <a:gd name="T13" fmla="*/ 12 h 15"/>
                  <a:gd name="T14" fmla="*/ 1 w 35"/>
                  <a:gd name="T15" fmla="*/ 7 h 15"/>
                  <a:gd name="T16" fmla="*/ 7 w 35"/>
                  <a:gd name="T17" fmla="*/ 6 h 15"/>
                  <a:gd name="T18" fmla="*/ 13 w 35"/>
                  <a:gd name="T19" fmla="*/ 1 h 15"/>
                  <a:gd name="T20" fmla="*/ 13 w 35"/>
                  <a:gd name="T21" fmla="*/ 2 h 15"/>
                  <a:gd name="T22" fmla="*/ 11 w 35"/>
                  <a:gd name="T23" fmla="*/ 6 h 15"/>
                  <a:gd name="T24" fmla="*/ 19 w 35"/>
                  <a:gd name="T25" fmla="*/ 6 h 15"/>
                  <a:gd name="T26" fmla="*/ 19 w 35"/>
                  <a:gd name="T27" fmla="*/ 1 h 15"/>
                  <a:gd name="T28" fmla="*/ 22 w 35"/>
                  <a:gd name="T29" fmla="*/ 0 h 15"/>
                  <a:gd name="T30" fmla="*/ 28 w 35"/>
                  <a:gd name="T31" fmla="*/ 4 h 15"/>
                  <a:gd name="T32" fmla="*/ 32 w 35"/>
                  <a:gd name="T33" fmla="*/ 4 h 15"/>
                  <a:gd name="T34" fmla="*/ 35 w 35"/>
                  <a:gd name="T35" fmla="*/ 2 h 15"/>
                  <a:gd name="T36" fmla="*/ 41 w 35"/>
                  <a:gd name="T37" fmla="*/ 6 h 15"/>
                  <a:gd name="T38" fmla="*/ 41 w 35"/>
                  <a:gd name="T39" fmla="*/ 11 h 15"/>
                  <a:gd name="T40" fmla="*/ 38 w 35"/>
                  <a:gd name="T41" fmla="*/ 16 h 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5"/>
                  <a:gd name="T64" fmla="*/ 0 h 15"/>
                  <a:gd name="T65" fmla="*/ 35 w 35"/>
                  <a:gd name="T66" fmla="*/ 15 h 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5" h="15">
                    <a:moveTo>
                      <a:pt x="32" y="13"/>
                    </a:moveTo>
                    <a:cubicBezTo>
                      <a:pt x="29" y="14"/>
                      <a:pt x="27" y="15"/>
                      <a:pt x="25" y="15"/>
                    </a:cubicBezTo>
                    <a:cubicBezTo>
                      <a:pt x="23" y="15"/>
                      <a:pt x="21" y="14"/>
                      <a:pt x="19" y="14"/>
                    </a:cubicBezTo>
                    <a:cubicBezTo>
                      <a:pt x="13" y="14"/>
                      <a:pt x="7" y="14"/>
                      <a:pt x="2" y="13"/>
                    </a:cubicBezTo>
                    <a:cubicBezTo>
                      <a:pt x="3" y="12"/>
                      <a:pt x="5" y="12"/>
                      <a:pt x="7" y="10"/>
                    </a:cubicBezTo>
                    <a:cubicBezTo>
                      <a:pt x="7" y="10"/>
                      <a:pt x="6" y="9"/>
                      <a:pt x="6" y="9"/>
                    </a:cubicBezTo>
                    <a:cubicBezTo>
                      <a:pt x="5" y="9"/>
                      <a:pt x="3" y="11"/>
                      <a:pt x="2" y="10"/>
                    </a:cubicBezTo>
                    <a:cubicBezTo>
                      <a:pt x="1" y="9"/>
                      <a:pt x="0" y="7"/>
                      <a:pt x="1" y="6"/>
                    </a:cubicBezTo>
                    <a:cubicBezTo>
                      <a:pt x="2" y="5"/>
                      <a:pt x="4" y="6"/>
                      <a:pt x="6" y="5"/>
                    </a:cubicBezTo>
                    <a:cubicBezTo>
                      <a:pt x="8" y="4"/>
                      <a:pt x="9" y="2"/>
                      <a:pt x="11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0" y="3"/>
                      <a:pt x="8" y="4"/>
                      <a:pt x="9" y="5"/>
                    </a:cubicBezTo>
                    <a:cubicBezTo>
                      <a:pt x="11" y="6"/>
                      <a:pt x="14" y="6"/>
                      <a:pt x="16" y="5"/>
                    </a:cubicBezTo>
                    <a:cubicBezTo>
                      <a:pt x="17" y="4"/>
                      <a:pt x="15" y="2"/>
                      <a:pt x="16" y="1"/>
                    </a:cubicBezTo>
                    <a:cubicBezTo>
                      <a:pt x="16" y="1"/>
                      <a:pt x="17" y="0"/>
                      <a:pt x="18" y="0"/>
                    </a:cubicBezTo>
                    <a:cubicBezTo>
                      <a:pt x="20" y="1"/>
                      <a:pt x="21" y="2"/>
                      <a:pt x="23" y="3"/>
                    </a:cubicBezTo>
                    <a:cubicBezTo>
                      <a:pt x="24" y="3"/>
                      <a:pt x="25" y="3"/>
                      <a:pt x="27" y="3"/>
                    </a:cubicBezTo>
                    <a:cubicBezTo>
                      <a:pt x="28" y="3"/>
                      <a:pt x="28" y="2"/>
                      <a:pt x="29" y="2"/>
                    </a:cubicBezTo>
                    <a:cubicBezTo>
                      <a:pt x="31" y="3"/>
                      <a:pt x="33" y="4"/>
                      <a:pt x="34" y="5"/>
                    </a:cubicBezTo>
                    <a:cubicBezTo>
                      <a:pt x="35" y="6"/>
                      <a:pt x="34" y="8"/>
                      <a:pt x="34" y="9"/>
                    </a:cubicBezTo>
                    <a:cubicBezTo>
                      <a:pt x="34" y="11"/>
                      <a:pt x="33" y="12"/>
                      <a:pt x="32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4" name="Freeform 2645"/>
              <p:cNvSpPr>
                <a:spLocks noChangeAspect="1"/>
              </p:cNvSpPr>
              <p:nvPr/>
            </p:nvSpPr>
            <p:spPr bwMode="auto">
              <a:xfrm>
                <a:off x="4936030" y="2306115"/>
                <a:ext cx="137389" cy="92576"/>
              </a:xfrm>
              <a:custGeom>
                <a:avLst/>
                <a:gdLst>
                  <a:gd name="T0" fmla="*/ 7 w 70"/>
                  <a:gd name="T1" fmla="*/ 31 h 48"/>
                  <a:gd name="T2" fmla="*/ 5 w 70"/>
                  <a:gd name="T3" fmla="*/ 24 h 48"/>
                  <a:gd name="T4" fmla="*/ 1 w 70"/>
                  <a:gd name="T5" fmla="*/ 17 h 48"/>
                  <a:gd name="T6" fmla="*/ 0 w 70"/>
                  <a:gd name="T7" fmla="*/ 11 h 48"/>
                  <a:gd name="T8" fmla="*/ 5 w 70"/>
                  <a:gd name="T9" fmla="*/ 6 h 48"/>
                  <a:gd name="T10" fmla="*/ 14 w 70"/>
                  <a:gd name="T11" fmla="*/ 1 h 48"/>
                  <a:gd name="T12" fmla="*/ 29 w 70"/>
                  <a:gd name="T13" fmla="*/ 4 h 48"/>
                  <a:gd name="T14" fmla="*/ 43 w 70"/>
                  <a:gd name="T15" fmla="*/ 5 h 48"/>
                  <a:gd name="T16" fmla="*/ 48 w 70"/>
                  <a:gd name="T17" fmla="*/ 7 h 48"/>
                  <a:gd name="T18" fmla="*/ 55 w 70"/>
                  <a:gd name="T19" fmla="*/ 5 h 48"/>
                  <a:gd name="T20" fmla="*/ 62 w 70"/>
                  <a:gd name="T21" fmla="*/ 10 h 48"/>
                  <a:gd name="T22" fmla="*/ 72 w 70"/>
                  <a:gd name="T23" fmla="*/ 15 h 48"/>
                  <a:gd name="T24" fmla="*/ 82 w 70"/>
                  <a:gd name="T25" fmla="*/ 23 h 48"/>
                  <a:gd name="T26" fmla="*/ 82 w 70"/>
                  <a:gd name="T27" fmla="*/ 31 h 48"/>
                  <a:gd name="T28" fmla="*/ 71 w 70"/>
                  <a:gd name="T29" fmla="*/ 33 h 48"/>
                  <a:gd name="T30" fmla="*/ 67 w 70"/>
                  <a:gd name="T31" fmla="*/ 43 h 48"/>
                  <a:gd name="T32" fmla="*/ 68 w 70"/>
                  <a:gd name="T33" fmla="*/ 49 h 48"/>
                  <a:gd name="T34" fmla="*/ 58 w 70"/>
                  <a:gd name="T35" fmla="*/ 49 h 48"/>
                  <a:gd name="T36" fmla="*/ 54 w 70"/>
                  <a:gd name="T37" fmla="*/ 55 h 48"/>
                  <a:gd name="T38" fmla="*/ 48 w 70"/>
                  <a:gd name="T39" fmla="*/ 55 h 48"/>
                  <a:gd name="T40" fmla="*/ 42 w 70"/>
                  <a:gd name="T41" fmla="*/ 57 h 48"/>
                  <a:gd name="T42" fmla="*/ 36 w 70"/>
                  <a:gd name="T43" fmla="*/ 56 h 48"/>
                  <a:gd name="T44" fmla="*/ 30 w 70"/>
                  <a:gd name="T45" fmla="*/ 51 h 48"/>
                  <a:gd name="T46" fmla="*/ 24 w 70"/>
                  <a:gd name="T47" fmla="*/ 46 h 48"/>
                  <a:gd name="T48" fmla="*/ 26 w 70"/>
                  <a:gd name="T49" fmla="*/ 42 h 48"/>
                  <a:gd name="T50" fmla="*/ 26 w 70"/>
                  <a:gd name="T51" fmla="*/ 37 h 48"/>
                  <a:gd name="T52" fmla="*/ 20 w 70"/>
                  <a:gd name="T53" fmla="*/ 33 h 48"/>
                  <a:gd name="T54" fmla="*/ 18 w 70"/>
                  <a:gd name="T55" fmla="*/ 34 h 48"/>
                  <a:gd name="T56" fmla="*/ 13 w 70"/>
                  <a:gd name="T57" fmla="*/ 34 h 48"/>
                  <a:gd name="T58" fmla="*/ 7 w 70"/>
                  <a:gd name="T59" fmla="*/ 31 h 4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70"/>
                  <a:gd name="T91" fmla="*/ 0 h 48"/>
                  <a:gd name="T92" fmla="*/ 70 w 70"/>
                  <a:gd name="T93" fmla="*/ 48 h 4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70" h="48">
                    <a:moveTo>
                      <a:pt x="6" y="26"/>
                    </a:moveTo>
                    <a:cubicBezTo>
                      <a:pt x="5" y="24"/>
                      <a:pt x="5" y="22"/>
                      <a:pt x="4" y="20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3"/>
                      <a:pt x="0" y="10"/>
                      <a:pt x="0" y="9"/>
                    </a:cubicBezTo>
                    <a:cubicBezTo>
                      <a:pt x="1" y="7"/>
                      <a:pt x="2" y="6"/>
                      <a:pt x="4" y="5"/>
                    </a:cubicBezTo>
                    <a:cubicBezTo>
                      <a:pt x="6" y="3"/>
                      <a:pt x="9" y="1"/>
                      <a:pt x="12" y="1"/>
                    </a:cubicBezTo>
                    <a:cubicBezTo>
                      <a:pt x="16" y="0"/>
                      <a:pt x="20" y="2"/>
                      <a:pt x="24" y="3"/>
                    </a:cubicBezTo>
                    <a:cubicBezTo>
                      <a:pt x="28" y="3"/>
                      <a:pt x="32" y="3"/>
                      <a:pt x="36" y="4"/>
                    </a:cubicBezTo>
                    <a:cubicBezTo>
                      <a:pt x="37" y="5"/>
                      <a:pt x="39" y="6"/>
                      <a:pt x="40" y="6"/>
                    </a:cubicBezTo>
                    <a:cubicBezTo>
                      <a:pt x="42" y="7"/>
                      <a:pt x="44" y="4"/>
                      <a:pt x="46" y="4"/>
                    </a:cubicBezTo>
                    <a:cubicBezTo>
                      <a:pt x="48" y="5"/>
                      <a:pt x="50" y="7"/>
                      <a:pt x="52" y="8"/>
                    </a:cubicBezTo>
                    <a:cubicBezTo>
                      <a:pt x="55" y="10"/>
                      <a:pt x="57" y="12"/>
                      <a:pt x="60" y="13"/>
                    </a:cubicBezTo>
                    <a:cubicBezTo>
                      <a:pt x="63" y="15"/>
                      <a:pt x="65" y="17"/>
                      <a:pt x="68" y="19"/>
                    </a:cubicBezTo>
                    <a:cubicBezTo>
                      <a:pt x="68" y="21"/>
                      <a:pt x="70" y="24"/>
                      <a:pt x="68" y="26"/>
                    </a:cubicBezTo>
                    <a:cubicBezTo>
                      <a:pt x="66" y="28"/>
                      <a:pt x="61" y="26"/>
                      <a:pt x="59" y="28"/>
                    </a:cubicBezTo>
                    <a:cubicBezTo>
                      <a:pt x="57" y="30"/>
                      <a:pt x="57" y="33"/>
                      <a:pt x="56" y="36"/>
                    </a:cubicBezTo>
                    <a:cubicBezTo>
                      <a:pt x="56" y="38"/>
                      <a:pt x="59" y="40"/>
                      <a:pt x="57" y="41"/>
                    </a:cubicBezTo>
                    <a:cubicBezTo>
                      <a:pt x="55" y="43"/>
                      <a:pt x="51" y="40"/>
                      <a:pt x="48" y="41"/>
                    </a:cubicBezTo>
                    <a:cubicBezTo>
                      <a:pt x="47" y="42"/>
                      <a:pt x="47" y="45"/>
                      <a:pt x="45" y="46"/>
                    </a:cubicBezTo>
                    <a:cubicBezTo>
                      <a:pt x="44" y="47"/>
                      <a:pt x="41" y="46"/>
                      <a:pt x="40" y="46"/>
                    </a:cubicBezTo>
                    <a:cubicBezTo>
                      <a:pt x="38" y="46"/>
                      <a:pt x="37" y="48"/>
                      <a:pt x="35" y="48"/>
                    </a:cubicBezTo>
                    <a:cubicBezTo>
                      <a:pt x="33" y="48"/>
                      <a:pt x="32" y="47"/>
                      <a:pt x="30" y="47"/>
                    </a:cubicBezTo>
                    <a:cubicBezTo>
                      <a:pt x="28" y="46"/>
                      <a:pt x="27" y="44"/>
                      <a:pt x="25" y="43"/>
                    </a:cubicBezTo>
                    <a:cubicBezTo>
                      <a:pt x="24" y="42"/>
                      <a:pt x="22" y="41"/>
                      <a:pt x="20" y="39"/>
                    </a:cubicBezTo>
                    <a:cubicBezTo>
                      <a:pt x="21" y="38"/>
                      <a:pt x="22" y="37"/>
                      <a:pt x="22" y="35"/>
                    </a:cubicBezTo>
                    <a:cubicBezTo>
                      <a:pt x="22" y="34"/>
                      <a:pt x="23" y="32"/>
                      <a:pt x="22" y="31"/>
                    </a:cubicBezTo>
                    <a:cubicBezTo>
                      <a:pt x="21" y="30"/>
                      <a:pt x="19" y="29"/>
                      <a:pt x="17" y="28"/>
                    </a:cubicBezTo>
                    <a:cubicBezTo>
                      <a:pt x="16" y="28"/>
                      <a:pt x="16" y="29"/>
                      <a:pt x="15" y="29"/>
                    </a:cubicBezTo>
                    <a:cubicBezTo>
                      <a:pt x="13" y="29"/>
                      <a:pt x="12" y="29"/>
                      <a:pt x="11" y="29"/>
                    </a:cubicBezTo>
                    <a:cubicBezTo>
                      <a:pt x="9" y="28"/>
                      <a:pt x="8" y="27"/>
                      <a:pt x="6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5" name="Freeform 2646"/>
              <p:cNvSpPr>
                <a:spLocks noChangeAspect="1"/>
              </p:cNvSpPr>
              <p:nvPr/>
            </p:nvSpPr>
            <p:spPr bwMode="auto">
              <a:xfrm>
                <a:off x="4934395" y="2244398"/>
                <a:ext cx="168466" cy="97448"/>
              </a:xfrm>
              <a:custGeom>
                <a:avLst/>
                <a:gdLst>
                  <a:gd name="T0" fmla="*/ 87 w 86"/>
                  <a:gd name="T1" fmla="*/ 11 h 50"/>
                  <a:gd name="T2" fmla="*/ 84 w 86"/>
                  <a:gd name="T3" fmla="*/ 11 h 50"/>
                  <a:gd name="T4" fmla="*/ 79 w 86"/>
                  <a:gd name="T5" fmla="*/ 13 h 50"/>
                  <a:gd name="T6" fmla="*/ 71 w 86"/>
                  <a:gd name="T7" fmla="*/ 7 h 50"/>
                  <a:gd name="T8" fmla="*/ 60 w 86"/>
                  <a:gd name="T9" fmla="*/ 2 h 50"/>
                  <a:gd name="T10" fmla="*/ 55 w 86"/>
                  <a:gd name="T11" fmla="*/ 1 h 50"/>
                  <a:gd name="T12" fmla="*/ 47 w 86"/>
                  <a:gd name="T13" fmla="*/ 6 h 50"/>
                  <a:gd name="T14" fmla="*/ 49 w 86"/>
                  <a:gd name="T15" fmla="*/ 17 h 50"/>
                  <a:gd name="T16" fmla="*/ 44 w 86"/>
                  <a:gd name="T17" fmla="*/ 24 h 50"/>
                  <a:gd name="T18" fmla="*/ 35 w 86"/>
                  <a:gd name="T19" fmla="*/ 28 h 50"/>
                  <a:gd name="T20" fmla="*/ 29 w 86"/>
                  <a:gd name="T21" fmla="*/ 19 h 50"/>
                  <a:gd name="T22" fmla="*/ 23 w 86"/>
                  <a:gd name="T23" fmla="*/ 13 h 50"/>
                  <a:gd name="T24" fmla="*/ 22 w 86"/>
                  <a:gd name="T25" fmla="*/ 10 h 50"/>
                  <a:gd name="T26" fmla="*/ 11 w 86"/>
                  <a:gd name="T27" fmla="*/ 14 h 50"/>
                  <a:gd name="T28" fmla="*/ 7 w 86"/>
                  <a:gd name="T29" fmla="*/ 19 h 50"/>
                  <a:gd name="T30" fmla="*/ 1 w 86"/>
                  <a:gd name="T31" fmla="*/ 34 h 50"/>
                  <a:gd name="T32" fmla="*/ 1 w 86"/>
                  <a:gd name="T33" fmla="*/ 48 h 50"/>
                  <a:gd name="T34" fmla="*/ 6 w 86"/>
                  <a:gd name="T35" fmla="*/ 43 h 50"/>
                  <a:gd name="T36" fmla="*/ 16 w 86"/>
                  <a:gd name="T37" fmla="*/ 38 h 50"/>
                  <a:gd name="T38" fmla="*/ 30 w 86"/>
                  <a:gd name="T39" fmla="*/ 41 h 50"/>
                  <a:gd name="T40" fmla="*/ 44 w 86"/>
                  <a:gd name="T41" fmla="*/ 42 h 50"/>
                  <a:gd name="T42" fmla="*/ 49 w 86"/>
                  <a:gd name="T43" fmla="*/ 44 h 50"/>
                  <a:gd name="T44" fmla="*/ 56 w 86"/>
                  <a:gd name="T45" fmla="*/ 42 h 50"/>
                  <a:gd name="T46" fmla="*/ 63 w 86"/>
                  <a:gd name="T47" fmla="*/ 47 h 50"/>
                  <a:gd name="T48" fmla="*/ 73 w 86"/>
                  <a:gd name="T49" fmla="*/ 53 h 50"/>
                  <a:gd name="T50" fmla="*/ 83 w 86"/>
                  <a:gd name="T51" fmla="*/ 60 h 50"/>
                  <a:gd name="T52" fmla="*/ 87 w 86"/>
                  <a:gd name="T53" fmla="*/ 55 h 50"/>
                  <a:gd name="T54" fmla="*/ 95 w 86"/>
                  <a:gd name="T55" fmla="*/ 56 h 50"/>
                  <a:gd name="T56" fmla="*/ 98 w 86"/>
                  <a:gd name="T57" fmla="*/ 49 h 50"/>
                  <a:gd name="T58" fmla="*/ 102 w 86"/>
                  <a:gd name="T59" fmla="*/ 46 h 50"/>
                  <a:gd name="T60" fmla="*/ 103 w 86"/>
                  <a:gd name="T61" fmla="*/ 41 h 50"/>
                  <a:gd name="T62" fmla="*/ 96 w 86"/>
                  <a:gd name="T63" fmla="*/ 29 h 50"/>
                  <a:gd name="T64" fmla="*/ 96 w 86"/>
                  <a:gd name="T65" fmla="*/ 20 h 50"/>
                  <a:gd name="T66" fmla="*/ 92 w 86"/>
                  <a:gd name="T67" fmla="*/ 16 h 50"/>
                  <a:gd name="T68" fmla="*/ 87 w 86"/>
                  <a:gd name="T69" fmla="*/ 11 h 5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86"/>
                  <a:gd name="T106" fmla="*/ 0 h 50"/>
                  <a:gd name="T107" fmla="*/ 86 w 86"/>
                  <a:gd name="T108" fmla="*/ 50 h 5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86" h="50">
                    <a:moveTo>
                      <a:pt x="73" y="9"/>
                    </a:moveTo>
                    <a:cubicBezTo>
                      <a:pt x="72" y="9"/>
                      <a:pt x="71" y="9"/>
                      <a:pt x="70" y="9"/>
                    </a:cubicBezTo>
                    <a:cubicBezTo>
                      <a:pt x="68" y="10"/>
                      <a:pt x="67" y="11"/>
                      <a:pt x="66" y="11"/>
                    </a:cubicBezTo>
                    <a:cubicBezTo>
                      <a:pt x="63" y="10"/>
                      <a:pt x="61" y="8"/>
                      <a:pt x="59" y="6"/>
                    </a:cubicBezTo>
                    <a:cubicBezTo>
                      <a:pt x="56" y="5"/>
                      <a:pt x="53" y="4"/>
                      <a:pt x="50" y="2"/>
                    </a:cubicBezTo>
                    <a:cubicBezTo>
                      <a:pt x="49" y="2"/>
                      <a:pt x="47" y="0"/>
                      <a:pt x="46" y="1"/>
                    </a:cubicBezTo>
                    <a:cubicBezTo>
                      <a:pt x="43" y="1"/>
                      <a:pt x="41" y="4"/>
                      <a:pt x="39" y="5"/>
                    </a:cubicBezTo>
                    <a:cubicBezTo>
                      <a:pt x="39" y="8"/>
                      <a:pt x="41" y="11"/>
                      <a:pt x="41" y="14"/>
                    </a:cubicBezTo>
                    <a:cubicBezTo>
                      <a:pt x="40" y="17"/>
                      <a:pt x="39" y="19"/>
                      <a:pt x="37" y="20"/>
                    </a:cubicBezTo>
                    <a:cubicBezTo>
                      <a:pt x="35" y="22"/>
                      <a:pt x="32" y="24"/>
                      <a:pt x="29" y="23"/>
                    </a:cubicBezTo>
                    <a:cubicBezTo>
                      <a:pt x="27" y="22"/>
                      <a:pt x="26" y="18"/>
                      <a:pt x="24" y="16"/>
                    </a:cubicBezTo>
                    <a:cubicBezTo>
                      <a:pt x="23" y="14"/>
                      <a:pt x="20" y="13"/>
                      <a:pt x="19" y="11"/>
                    </a:cubicBezTo>
                    <a:cubicBezTo>
                      <a:pt x="18" y="10"/>
                      <a:pt x="19" y="8"/>
                      <a:pt x="18" y="8"/>
                    </a:cubicBezTo>
                    <a:cubicBezTo>
                      <a:pt x="15" y="9"/>
                      <a:pt x="12" y="10"/>
                      <a:pt x="9" y="12"/>
                    </a:cubicBezTo>
                    <a:cubicBezTo>
                      <a:pt x="8" y="13"/>
                      <a:pt x="6" y="15"/>
                      <a:pt x="6" y="16"/>
                    </a:cubicBezTo>
                    <a:cubicBezTo>
                      <a:pt x="5" y="21"/>
                      <a:pt x="3" y="25"/>
                      <a:pt x="1" y="28"/>
                    </a:cubicBezTo>
                    <a:cubicBezTo>
                      <a:pt x="0" y="32"/>
                      <a:pt x="1" y="36"/>
                      <a:pt x="1" y="40"/>
                    </a:cubicBezTo>
                    <a:cubicBezTo>
                      <a:pt x="2" y="38"/>
                      <a:pt x="3" y="37"/>
                      <a:pt x="5" y="36"/>
                    </a:cubicBezTo>
                    <a:cubicBezTo>
                      <a:pt x="7" y="34"/>
                      <a:pt x="10" y="32"/>
                      <a:pt x="13" y="32"/>
                    </a:cubicBezTo>
                    <a:cubicBezTo>
                      <a:pt x="17" y="31"/>
                      <a:pt x="21" y="33"/>
                      <a:pt x="25" y="34"/>
                    </a:cubicBezTo>
                    <a:cubicBezTo>
                      <a:pt x="29" y="34"/>
                      <a:pt x="33" y="34"/>
                      <a:pt x="37" y="35"/>
                    </a:cubicBezTo>
                    <a:cubicBezTo>
                      <a:pt x="38" y="36"/>
                      <a:pt x="40" y="37"/>
                      <a:pt x="41" y="37"/>
                    </a:cubicBezTo>
                    <a:cubicBezTo>
                      <a:pt x="43" y="38"/>
                      <a:pt x="45" y="35"/>
                      <a:pt x="47" y="35"/>
                    </a:cubicBezTo>
                    <a:cubicBezTo>
                      <a:pt x="49" y="36"/>
                      <a:pt x="51" y="38"/>
                      <a:pt x="53" y="39"/>
                    </a:cubicBezTo>
                    <a:cubicBezTo>
                      <a:pt x="56" y="41"/>
                      <a:pt x="58" y="43"/>
                      <a:pt x="61" y="44"/>
                    </a:cubicBezTo>
                    <a:cubicBezTo>
                      <a:pt x="64" y="46"/>
                      <a:pt x="66" y="48"/>
                      <a:pt x="69" y="50"/>
                    </a:cubicBezTo>
                    <a:cubicBezTo>
                      <a:pt x="70" y="49"/>
                      <a:pt x="71" y="47"/>
                      <a:pt x="73" y="46"/>
                    </a:cubicBezTo>
                    <a:cubicBezTo>
                      <a:pt x="75" y="46"/>
                      <a:pt x="77" y="48"/>
                      <a:pt x="79" y="47"/>
                    </a:cubicBezTo>
                    <a:cubicBezTo>
                      <a:pt x="80" y="45"/>
                      <a:pt x="81" y="43"/>
                      <a:pt x="82" y="41"/>
                    </a:cubicBezTo>
                    <a:cubicBezTo>
                      <a:pt x="83" y="40"/>
                      <a:pt x="84" y="39"/>
                      <a:pt x="85" y="38"/>
                    </a:cubicBezTo>
                    <a:cubicBezTo>
                      <a:pt x="85" y="37"/>
                      <a:pt x="86" y="35"/>
                      <a:pt x="86" y="34"/>
                    </a:cubicBezTo>
                    <a:cubicBezTo>
                      <a:pt x="85" y="30"/>
                      <a:pt x="82" y="28"/>
                      <a:pt x="80" y="24"/>
                    </a:cubicBezTo>
                    <a:cubicBezTo>
                      <a:pt x="80" y="22"/>
                      <a:pt x="81" y="19"/>
                      <a:pt x="80" y="17"/>
                    </a:cubicBezTo>
                    <a:cubicBezTo>
                      <a:pt x="80" y="15"/>
                      <a:pt x="78" y="15"/>
                      <a:pt x="77" y="13"/>
                    </a:cubicBezTo>
                    <a:cubicBezTo>
                      <a:pt x="75" y="12"/>
                      <a:pt x="74" y="10"/>
                      <a:pt x="73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6" name="Freeform 2647"/>
              <p:cNvSpPr>
                <a:spLocks noChangeAspect="1"/>
              </p:cNvSpPr>
              <p:nvPr/>
            </p:nvSpPr>
            <p:spPr bwMode="auto">
              <a:xfrm>
                <a:off x="4986734" y="2194050"/>
                <a:ext cx="104678" cy="73086"/>
              </a:xfrm>
              <a:custGeom>
                <a:avLst/>
                <a:gdLst>
                  <a:gd name="T0" fmla="*/ 56 w 53"/>
                  <a:gd name="T1" fmla="*/ 43 h 37"/>
                  <a:gd name="T2" fmla="*/ 52 w 53"/>
                  <a:gd name="T3" fmla="*/ 43 h 37"/>
                  <a:gd name="T4" fmla="*/ 47 w 53"/>
                  <a:gd name="T5" fmla="*/ 45 h 37"/>
                  <a:gd name="T6" fmla="*/ 39 w 53"/>
                  <a:gd name="T7" fmla="*/ 39 h 37"/>
                  <a:gd name="T8" fmla="*/ 28 w 53"/>
                  <a:gd name="T9" fmla="*/ 34 h 37"/>
                  <a:gd name="T10" fmla="*/ 23 w 53"/>
                  <a:gd name="T11" fmla="*/ 33 h 37"/>
                  <a:gd name="T12" fmla="*/ 14 w 53"/>
                  <a:gd name="T13" fmla="*/ 38 h 37"/>
                  <a:gd name="T14" fmla="*/ 17 w 53"/>
                  <a:gd name="T15" fmla="*/ 27 h 37"/>
                  <a:gd name="T16" fmla="*/ 12 w 53"/>
                  <a:gd name="T17" fmla="*/ 27 h 37"/>
                  <a:gd name="T18" fmla="*/ 8 w 53"/>
                  <a:gd name="T19" fmla="*/ 29 h 37"/>
                  <a:gd name="T20" fmla="*/ 2 w 53"/>
                  <a:gd name="T21" fmla="*/ 23 h 37"/>
                  <a:gd name="T22" fmla="*/ 2 w 53"/>
                  <a:gd name="T23" fmla="*/ 18 h 37"/>
                  <a:gd name="T24" fmla="*/ 0 w 53"/>
                  <a:gd name="T25" fmla="*/ 13 h 37"/>
                  <a:gd name="T26" fmla="*/ 2 w 53"/>
                  <a:gd name="T27" fmla="*/ 7 h 37"/>
                  <a:gd name="T28" fmla="*/ 12 w 53"/>
                  <a:gd name="T29" fmla="*/ 4 h 37"/>
                  <a:gd name="T30" fmla="*/ 29 w 53"/>
                  <a:gd name="T31" fmla="*/ 0 h 37"/>
                  <a:gd name="T32" fmla="*/ 43 w 53"/>
                  <a:gd name="T33" fmla="*/ 0 h 37"/>
                  <a:gd name="T34" fmla="*/ 50 w 53"/>
                  <a:gd name="T35" fmla="*/ 4 h 37"/>
                  <a:gd name="T36" fmla="*/ 64 w 53"/>
                  <a:gd name="T37" fmla="*/ 4 h 37"/>
                  <a:gd name="T38" fmla="*/ 63 w 53"/>
                  <a:gd name="T39" fmla="*/ 10 h 37"/>
                  <a:gd name="T40" fmla="*/ 62 w 53"/>
                  <a:gd name="T41" fmla="*/ 13 h 37"/>
                  <a:gd name="T42" fmla="*/ 54 w 53"/>
                  <a:gd name="T43" fmla="*/ 15 h 37"/>
                  <a:gd name="T44" fmla="*/ 48 w 53"/>
                  <a:gd name="T45" fmla="*/ 17 h 37"/>
                  <a:gd name="T46" fmla="*/ 53 w 53"/>
                  <a:gd name="T47" fmla="*/ 27 h 37"/>
                  <a:gd name="T48" fmla="*/ 58 w 53"/>
                  <a:gd name="T49" fmla="*/ 38 h 37"/>
                  <a:gd name="T50" fmla="*/ 57 w 53"/>
                  <a:gd name="T51" fmla="*/ 40 h 37"/>
                  <a:gd name="T52" fmla="*/ 56 w 53"/>
                  <a:gd name="T53" fmla="*/ 43 h 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53"/>
                  <a:gd name="T82" fmla="*/ 0 h 37"/>
                  <a:gd name="T83" fmla="*/ 53 w 53"/>
                  <a:gd name="T84" fmla="*/ 37 h 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53" h="37">
                    <a:moveTo>
                      <a:pt x="46" y="35"/>
                    </a:moveTo>
                    <a:cubicBezTo>
                      <a:pt x="45" y="35"/>
                      <a:pt x="44" y="35"/>
                      <a:pt x="43" y="35"/>
                    </a:cubicBezTo>
                    <a:cubicBezTo>
                      <a:pt x="41" y="36"/>
                      <a:pt x="40" y="37"/>
                      <a:pt x="39" y="37"/>
                    </a:cubicBezTo>
                    <a:cubicBezTo>
                      <a:pt x="36" y="36"/>
                      <a:pt x="34" y="34"/>
                      <a:pt x="32" y="32"/>
                    </a:cubicBezTo>
                    <a:cubicBezTo>
                      <a:pt x="29" y="31"/>
                      <a:pt x="26" y="30"/>
                      <a:pt x="23" y="28"/>
                    </a:cubicBezTo>
                    <a:cubicBezTo>
                      <a:pt x="22" y="28"/>
                      <a:pt x="20" y="26"/>
                      <a:pt x="19" y="27"/>
                    </a:cubicBezTo>
                    <a:cubicBezTo>
                      <a:pt x="16" y="27"/>
                      <a:pt x="14" y="30"/>
                      <a:pt x="12" y="31"/>
                    </a:cubicBezTo>
                    <a:cubicBezTo>
                      <a:pt x="12" y="28"/>
                      <a:pt x="14" y="25"/>
                      <a:pt x="14" y="22"/>
                    </a:cubicBezTo>
                    <a:cubicBezTo>
                      <a:pt x="13" y="21"/>
                      <a:pt x="11" y="22"/>
                      <a:pt x="10" y="22"/>
                    </a:cubicBezTo>
                    <a:cubicBezTo>
                      <a:pt x="9" y="23"/>
                      <a:pt x="8" y="24"/>
                      <a:pt x="7" y="24"/>
                    </a:cubicBezTo>
                    <a:cubicBezTo>
                      <a:pt x="4" y="23"/>
                      <a:pt x="3" y="21"/>
                      <a:pt x="2" y="19"/>
                    </a:cubicBezTo>
                    <a:cubicBezTo>
                      <a:pt x="1" y="18"/>
                      <a:pt x="2" y="16"/>
                      <a:pt x="2" y="15"/>
                    </a:cubicBezTo>
                    <a:cubicBezTo>
                      <a:pt x="2" y="14"/>
                      <a:pt x="0" y="12"/>
                      <a:pt x="0" y="11"/>
                    </a:cubicBezTo>
                    <a:cubicBezTo>
                      <a:pt x="0" y="9"/>
                      <a:pt x="1" y="7"/>
                      <a:pt x="2" y="6"/>
                    </a:cubicBezTo>
                    <a:cubicBezTo>
                      <a:pt x="4" y="4"/>
                      <a:pt x="7" y="3"/>
                      <a:pt x="10" y="3"/>
                    </a:cubicBezTo>
                    <a:cubicBezTo>
                      <a:pt x="14" y="1"/>
                      <a:pt x="19" y="0"/>
                      <a:pt x="24" y="0"/>
                    </a:cubicBezTo>
                    <a:cubicBezTo>
                      <a:pt x="28" y="0"/>
                      <a:pt x="32" y="0"/>
                      <a:pt x="36" y="0"/>
                    </a:cubicBezTo>
                    <a:cubicBezTo>
                      <a:pt x="38" y="1"/>
                      <a:pt x="39" y="3"/>
                      <a:pt x="41" y="3"/>
                    </a:cubicBezTo>
                    <a:cubicBezTo>
                      <a:pt x="45" y="4"/>
                      <a:pt x="49" y="3"/>
                      <a:pt x="53" y="3"/>
                    </a:cubicBezTo>
                    <a:cubicBezTo>
                      <a:pt x="53" y="4"/>
                      <a:pt x="52" y="6"/>
                      <a:pt x="52" y="8"/>
                    </a:cubicBezTo>
                    <a:cubicBezTo>
                      <a:pt x="51" y="9"/>
                      <a:pt x="51" y="10"/>
                      <a:pt x="51" y="11"/>
                    </a:cubicBezTo>
                    <a:cubicBezTo>
                      <a:pt x="49" y="11"/>
                      <a:pt x="47" y="11"/>
                      <a:pt x="45" y="12"/>
                    </a:cubicBezTo>
                    <a:cubicBezTo>
                      <a:pt x="43" y="12"/>
                      <a:pt x="40" y="13"/>
                      <a:pt x="40" y="14"/>
                    </a:cubicBezTo>
                    <a:cubicBezTo>
                      <a:pt x="40" y="17"/>
                      <a:pt x="43" y="20"/>
                      <a:pt x="44" y="22"/>
                    </a:cubicBezTo>
                    <a:cubicBezTo>
                      <a:pt x="45" y="25"/>
                      <a:pt x="47" y="28"/>
                      <a:pt x="48" y="31"/>
                    </a:cubicBezTo>
                    <a:cubicBezTo>
                      <a:pt x="48" y="31"/>
                      <a:pt x="48" y="32"/>
                      <a:pt x="47" y="33"/>
                    </a:cubicBezTo>
                    <a:cubicBezTo>
                      <a:pt x="47" y="34"/>
                      <a:pt x="46" y="34"/>
                      <a:pt x="46" y="3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7" name="Freeform 2648"/>
              <p:cNvSpPr>
                <a:spLocks noChangeAspect="1"/>
              </p:cNvSpPr>
              <p:nvPr/>
            </p:nvSpPr>
            <p:spPr bwMode="auto">
              <a:xfrm>
                <a:off x="4908226" y="1775025"/>
                <a:ext cx="250245" cy="410906"/>
              </a:xfrm>
              <a:custGeom>
                <a:avLst/>
                <a:gdLst>
                  <a:gd name="T0" fmla="*/ 58 w 127"/>
                  <a:gd name="T1" fmla="*/ 114 h 211"/>
                  <a:gd name="T2" fmla="*/ 66 w 127"/>
                  <a:gd name="T3" fmla="*/ 131 h 211"/>
                  <a:gd name="T4" fmla="*/ 47 w 127"/>
                  <a:gd name="T5" fmla="*/ 146 h 211"/>
                  <a:gd name="T6" fmla="*/ 27 w 127"/>
                  <a:gd name="T7" fmla="*/ 169 h 211"/>
                  <a:gd name="T8" fmla="*/ 12 w 127"/>
                  <a:gd name="T9" fmla="*/ 180 h 211"/>
                  <a:gd name="T10" fmla="*/ 16 w 127"/>
                  <a:gd name="T11" fmla="*/ 222 h 211"/>
                  <a:gd name="T12" fmla="*/ 31 w 127"/>
                  <a:gd name="T13" fmla="*/ 237 h 211"/>
                  <a:gd name="T14" fmla="*/ 41 w 127"/>
                  <a:gd name="T15" fmla="*/ 251 h 211"/>
                  <a:gd name="T16" fmla="*/ 71 w 127"/>
                  <a:gd name="T17" fmla="*/ 245 h 211"/>
                  <a:gd name="T18" fmla="*/ 99 w 127"/>
                  <a:gd name="T19" fmla="*/ 237 h 211"/>
                  <a:gd name="T20" fmla="*/ 113 w 127"/>
                  <a:gd name="T21" fmla="*/ 228 h 211"/>
                  <a:gd name="T22" fmla="*/ 135 w 127"/>
                  <a:gd name="T23" fmla="*/ 206 h 211"/>
                  <a:gd name="T24" fmla="*/ 153 w 127"/>
                  <a:gd name="T25" fmla="*/ 179 h 211"/>
                  <a:gd name="T26" fmla="*/ 134 w 127"/>
                  <a:gd name="T27" fmla="*/ 158 h 211"/>
                  <a:gd name="T28" fmla="*/ 136 w 127"/>
                  <a:gd name="T29" fmla="*/ 145 h 211"/>
                  <a:gd name="T30" fmla="*/ 131 w 127"/>
                  <a:gd name="T31" fmla="*/ 134 h 211"/>
                  <a:gd name="T32" fmla="*/ 126 w 127"/>
                  <a:gd name="T33" fmla="*/ 126 h 211"/>
                  <a:gd name="T34" fmla="*/ 124 w 127"/>
                  <a:gd name="T35" fmla="*/ 119 h 211"/>
                  <a:gd name="T36" fmla="*/ 131 w 127"/>
                  <a:gd name="T37" fmla="*/ 106 h 211"/>
                  <a:gd name="T38" fmla="*/ 125 w 127"/>
                  <a:gd name="T39" fmla="*/ 64 h 211"/>
                  <a:gd name="T40" fmla="*/ 106 w 127"/>
                  <a:gd name="T41" fmla="*/ 50 h 211"/>
                  <a:gd name="T42" fmla="*/ 106 w 127"/>
                  <a:gd name="T43" fmla="*/ 34 h 211"/>
                  <a:gd name="T44" fmla="*/ 107 w 127"/>
                  <a:gd name="T45" fmla="*/ 28 h 211"/>
                  <a:gd name="T46" fmla="*/ 101 w 127"/>
                  <a:gd name="T47" fmla="*/ 8 h 211"/>
                  <a:gd name="T48" fmla="*/ 73 w 127"/>
                  <a:gd name="T49" fmla="*/ 4 h 211"/>
                  <a:gd name="T50" fmla="*/ 66 w 127"/>
                  <a:gd name="T51" fmla="*/ 30 h 211"/>
                  <a:gd name="T52" fmla="*/ 58 w 127"/>
                  <a:gd name="T53" fmla="*/ 40 h 211"/>
                  <a:gd name="T54" fmla="*/ 33 w 127"/>
                  <a:gd name="T55" fmla="*/ 38 h 211"/>
                  <a:gd name="T56" fmla="*/ 5 w 127"/>
                  <a:gd name="T57" fmla="*/ 17 h 211"/>
                  <a:gd name="T58" fmla="*/ 0 w 127"/>
                  <a:gd name="T59" fmla="*/ 28 h 211"/>
                  <a:gd name="T60" fmla="*/ 27 w 127"/>
                  <a:gd name="T61" fmla="*/ 43 h 211"/>
                  <a:gd name="T62" fmla="*/ 37 w 127"/>
                  <a:gd name="T63" fmla="*/ 65 h 211"/>
                  <a:gd name="T64" fmla="*/ 41 w 127"/>
                  <a:gd name="T65" fmla="*/ 72 h 211"/>
                  <a:gd name="T66" fmla="*/ 42 w 127"/>
                  <a:gd name="T67" fmla="*/ 95 h 21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27"/>
                  <a:gd name="T103" fmla="*/ 0 h 211"/>
                  <a:gd name="T104" fmla="*/ 127 w 127"/>
                  <a:gd name="T105" fmla="*/ 211 h 21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27" h="211">
                    <a:moveTo>
                      <a:pt x="40" y="91"/>
                    </a:moveTo>
                    <a:cubicBezTo>
                      <a:pt x="43" y="92"/>
                      <a:pt x="45" y="93"/>
                      <a:pt x="48" y="95"/>
                    </a:cubicBezTo>
                    <a:cubicBezTo>
                      <a:pt x="51" y="96"/>
                      <a:pt x="54" y="97"/>
                      <a:pt x="56" y="100"/>
                    </a:cubicBezTo>
                    <a:cubicBezTo>
                      <a:pt x="57" y="102"/>
                      <a:pt x="57" y="106"/>
                      <a:pt x="55" y="109"/>
                    </a:cubicBezTo>
                    <a:cubicBezTo>
                      <a:pt x="53" y="111"/>
                      <a:pt x="49" y="110"/>
                      <a:pt x="47" y="112"/>
                    </a:cubicBezTo>
                    <a:cubicBezTo>
                      <a:pt x="43" y="114"/>
                      <a:pt x="42" y="119"/>
                      <a:pt x="39" y="122"/>
                    </a:cubicBezTo>
                    <a:cubicBezTo>
                      <a:pt x="36" y="126"/>
                      <a:pt x="32" y="129"/>
                      <a:pt x="29" y="132"/>
                    </a:cubicBezTo>
                    <a:cubicBezTo>
                      <a:pt x="26" y="135"/>
                      <a:pt x="25" y="139"/>
                      <a:pt x="22" y="141"/>
                    </a:cubicBezTo>
                    <a:cubicBezTo>
                      <a:pt x="20" y="142"/>
                      <a:pt x="17" y="142"/>
                      <a:pt x="15" y="144"/>
                    </a:cubicBezTo>
                    <a:cubicBezTo>
                      <a:pt x="13" y="145"/>
                      <a:pt x="10" y="148"/>
                      <a:pt x="10" y="150"/>
                    </a:cubicBezTo>
                    <a:cubicBezTo>
                      <a:pt x="9" y="157"/>
                      <a:pt x="10" y="164"/>
                      <a:pt x="11" y="171"/>
                    </a:cubicBezTo>
                    <a:cubicBezTo>
                      <a:pt x="11" y="175"/>
                      <a:pt x="13" y="180"/>
                      <a:pt x="13" y="185"/>
                    </a:cubicBezTo>
                    <a:cubicBezTo>
                      <a:pt x="13" y="188"/>
                      <a:pt x="11" y="193"/>
                      <a:pt x="13" y="195"/>
                    </a:cubicBezTo>
                    <a:cubicBezTo>
                      <a:pt x="16" y="198"/>
                      <a:pt x="22" y="197"/>
                      <a:pt x="26" y="198"/>
                    </a:cubicBezTo>
                    <a:cubicBezTo>
                      <a:pt x="29" y="199"/>
                      <a:pt x="32" y="199"/>
                      <a:pt x="33" y="201"/>
                    </a:cubicBezTo>
                    <a:cubicBezTo>
                      <a:pt x="35" y="203"/>
                      <a:pt x="32" y="209"/>
                      <a:pt x="34" y="209"/>
                    </a:cubicBezTo>
                    <a:cubicBezTo>
                      <a:pt x="38" y="211"/>
                      <a:pt x="42" y="207"/>
                      <a:pt x="46" y="206"/>
                    </a:cubicBezTo>
                    <a:cubicBezTo>
                      <a:pt x="50" y="205"/>
                      <a:pt x="55" y="205"/>
                      <a:pt x="59" y="204"/>
                    </a:cubicBezTo>
                    <a:cubicBezTo>
                      <a:pt x="62" y="203"/>
                      <a:pt x="64" y="199"/>
                      <a:pt x="67" y="198"/>
                    </a:cubicBezTo>
                    <a:cubicBezTo>
                      <a:pt x="72" y="197"/>
                      <a:pt x="77" y="198"/>
                      <a:pt x="82" y="198"/>
                    </a:cubicBezTo>
                    <a:cubicBezTo>
                      <a:pt x="85" y="198"/>
                      <a:pt x="87" y="198"/>
                      <a:pt x="90" y="198"/>
                    </a:cubicBezTo>
                    <a:cubicBezTo>
                      <a:pt x="92" y="195"/>
                      <a:pt x="92" y="192"/>
                      <a:pt x="94" y="190"/>
                    </a:cubicBezTo>
                    <a:cubicBezTo>
                      <a:pt x="97" y="187"/>
                      <a:pt x="102" y="186"/>
                      <a:pt x="105" y="183"/>
                    </a:cubicBezTo>
                    <a:cubicBezTo>
                      <a:pt x="108" y="180"/>
                      <a:pt x="110" y="176"/>
                      <a:pt x="112" y="172"/>
                    </a:cubicBezTo>
                    <a:cubicBezTo>
                      <a:pt x="115" y="167"/>
                      <a:pt x="117" y="162"/>
                      <a:pt x="120" y="158"/>
                    </a:cubicBezTo>
                    <a:cubicBezTo>
                      <a:pt x="122" y="155"/>
                      <a:pt x="127" y="153"/>
                      <a:pt x="127" y="149"/>
                    </a:cubicBezTo>
                    <a:cubicBezTo>
                      <a:pt x="127" y="145"/>
                      <a:pt x="122" y="143"/>
                      <a:pt x="120" y="140"/>
                    </a:cubicBezTo>
                    <a:cubicBezTo>
                      <a:pt x="117" y="137"/>
                      <a:pt x="113" y="135"/>
                      <a:pt x="111" y="132"/>
                    </a:cubicBezTo>
                    <a:cubicBezTo>
                      <a:pt x="110" y="130"/>
                      <a:pt x="114" y="128"/>
                      <a:pt x="115" y="126"/>
                    </a:cubicBezTo>
                    <a:cubicBezTo>
                      <a:pt x="115" y="124"/>
                      <a:pt x="114" y="122"/>
                      <a:pt x="113" y="121"/>
                    </a:cubicBezTo>
                    <a:cubicBezTo>
                      <a:pt x="112" y="120"/>
                      <a:pt x="110" y="120"/>
                      <a:pt x="109" y="118"/>
                    </a:cubicBezTo>
                    <a:cubicBezTo>
                      <a:pt x="108" y="116"/>
                      <a:pt x="110" y="114"/>
                      <a:pt x="109" y="112"/>
                    </a:cubicBezTo>
                    <a:cubicBezTo>
                      <a:pt x="108" y="111"/>
                      <a:pt x="106" y="113"/>
                      <a:pt x="105" y="112"/>
                    </a:cubicBezTo>
                    <a:cubicBezTo>
                      <a:pt x="104" y="110"/>
                      <a:pt x="104" y="107"/>
                      <a:pt x="105" y="105"/>
                    </a:cubicBezTo>
                    <a:cubicBezTo>
                      <a:pt x="105" y="103"/>
                      <a:pt x="108" y="102"/>
                      <a:pt x="107" y="101"/>
                    </a:cubicBezTo>
                    <a:cubicBezTo>
                      <a:pt x="107" y="99"/>
                      <a:pt x="103" y="101"/>
                      <a:pt x="103" y="99"/>
                    </a:cubicBezTo>
                    <a:cubicBezTo>
                      <a:pt x="103" y="96"/>
                      <a:pt x="105" y="94"/>
                      <a:pt x="106" y="92"/>
                    </a:cubicBezTo>
                    <a:lnTo>
                      <a:pt x="109" y="88"/>
                    </a:lnTo>
                    <a:lnTo>
                      <a:pt x="94" y="65"/>
                    </a:lnTo>
                    <a:lnTo>
                      <a:pt x="104" y="53"/>
                    </a:lnTo>
                    <a:cubicBezTo>
                      <a:pt x="100" y="49"/>
                      <a:pt x="97" y="46"/>
                      <a:pt x="96" y="44"/>
                    </a:cubicBezTo>
                    <a:cubicBezTo>
                      <a:pt x="95" y="42"/>
                      <a:pt x="90" y="44"/>
                      <a:pt x="88" y="42"/>
                    </a:cubicBezTo>
                    <a:cubicBezTo>
                      <a:pt x="86" y="40"/>
                      <a:pt x="86" y="37"/>
                      <a:pt x="86" y="35"/>
                    </a:cubicBezTo>
                    <a:cubicBezTo>
                      <a:pt x="86" y="32"/>
                      <a:pt x="88" y="31"/>
                      <a:pt x="88" y="28"/>
                    </a:cubicBezTo>
                    <a:cubicBezTo>
                      <a:pt x="88" y="27"/>
                      <a:pt x="85" y="28"/>
                      <a:pt x="85" y="27"/>
                    </a:cubicBezTo>
                    <a:cubicBezTo>
                      <a:pt x="85" y="25"/>
                      <a:pt x="88" y="24"/>
                      <a:pt x="89" y="23"/>
                    </a:cubicBezTo>
                    <a:cubicBezTo>
                      <a:pt x="90" y="19"/>
                      <a:pt x="93" y="16"/>
                      <a:pt x="92" y="12"/>
                    </a:cubicBezTo>
                    <a:cubicBezTo>
                      <a:pt x="92" y="9"/>
                      <a:pt x="87" y="9"/>
                      <a:pt x="84" y="7"/>
                    </a:cubicBezTo>
                    <a:cubicBezTo>
                      <a:pt x="80" y="6"/>
                      <a:pt x="76" y="0"/>
                      <a:pt x="72" y="2"/>
                    </a:cubicBezTo>
                    <a:cubicBezTo>
                      <a:pt x="69" y="5"/>
                      <a:pt x="64" y="4"/>
                      <a:pt x="61" y="3"/>
                    </a:cubicBezTo>
                    <a:cubicBezTo>
                      <a:pt x="59" y="5"/>
                      <a:pt x="56" y="10"/>
                      <a:pt x="55" y="15"/>
                    </a:cubicBezTo>
                    <a:cubicBezTo>
                      <a:pt x="54" y="18"/>
                      <a:pt x="56" y="22"/>
                      <a:pt x="55" y="25"/>
                    </a:cubicBezTo>
                    <a:cubicBezTo>
                      <a:pt x="54" y="27"/>
                      <a:pt x="50" y="25"/>
                      <a:pt x="49" y="27"/>
                    </a:cubicBezTo>
                    <a:cubicBezTo>
                      <a:pt x="47" y="29"/>
                      <a:pt x="50" y="33"/>
                      <a:pt x="48" y="33"/>
                    </a:cubicBezTo>
                    <a:cubicBezTo>
                      <a:pt x="43" y="33"/>
                      <a:pt x="39" y="28"/>
                      <a:pt x="35" y="28"/>
                    </a:cubicBezTo>
                    <a:cubicBezTo>
                      <a:pt x="32" y="28"/>
                      <a:pt x="29" y="33"/>
                      <a:pt x="27" y="32"/>
                    </a:cubicBezTo>
                    <a:cubicBezTo>
                      <a:pt x="23" y="30"/>
                      <a:pt x="19" y="31"/>
                      <a:pt x="17" y="30"/>
                    </a:cubicBezTo>
                    <a:cubicBezTo>
                      <a:pt x="13" y="25"/>
                      <a:pt x="12" y="16"/>
                      <a:pt x="4" y="14"/>
                    </a:cubicBezTo>
                    <a:cubicBezTo>
                      <a:pt x="2" y="14"/>
                      <a:pt x="5" y="19"/>
                      <a:pt x="4" y="21"/>
                    </a:cubicBezTo>
                    <a:cubicBezTo>
                      <a:pt x="3" y="22"/>
                      <a:pt x="1" y="22"/>
                      <a:pt x="0" y="23"/>
                    </a:cubicBezTo>
                    <a:cubicBezTo>
                      <a:pt x="3" y="26"/>
                      <a:pt x="6" y="31"/>
                      <a:pt x="10" y="33"/>
                    </a:cubicBezTo>
                    <a:cubicBezTo>
                      <a:pt x="14" y="35"/>
                      <a:pt x="19" y="34"/>
                      <a:pt x="22" y="36"/>
                    </a:cubicBezTo>
                    <a:cubicBezTo>
                      <a:pt x="26" y="38"/>
                      <a:pt x="29" y="41"/>
                      <a:pt x="31" y="45"/>
                    </a:cubicBezTo>
                    <a:cubicBezTo>
                      <a:pt x="33" y="48"/>
                      <a:pt x="31" y="51"/>
                      <a:pt x="31" y="54"/>
                    </a:cubicBezTo>
                    <a:cubicBezTo>
                      <a:pt x="32" y="55"/>
                      <a:pt x="34" y="56"/>
                      <a:pt x="34" y="58"/>
                    </a:cubicBezTo>
                    <a:cubicBezTo>
                      <a:pt x="35" y="59"/>
                      <a:pt x="34" y="59"/>
                      <a:pt x="34" y="60"/>
                    </a:cubicBezTo>
                    <a:cubicBezTo>
                      <a:pt x="34" y="63"/>
                      <a:pt x="37" y="66"/>
                      <a:pt x="37" y="69"/>
                    </a:cubicBezTo>
                    <a:cubicBezTo>
                      <a:pt x="37" y="73"/>
                      <a:pt x="34" y="76"/>
                      <a:pt x="35" y="79"/>
                    </a:cubicBezTo>
                    <a:cubicBezTo>
                      <a:pt x="35" y="83"/>
                      <a:pt x="38" y="87"/>
                      <a:pt x="40" y="9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8" name="Freeform 2649"/>
              <p:cNvSpPr>
                <a:spLocks noChangeAspect="1"/>
              </p:cNvSpPr>
              <p:nvPr/>
            </p:nvSpPr>
            <p:spPr bwMode="auto">
              <a:xfrm>
                <a:off x="4707048" y="1815627"/>
                <a:ext cx="279686" cy="534340"/>
              </a:xfrm>
              <a:custGeom>
                <a:avLst/>
                <a:gdLst>
                  <a:gd name="T0" fmla="*/ 6 w 143"/>
                  <a:gd name="T1" fmla="*/ 234 h 274"/>
                  <a:gd name="T2" fmla="*/ 17 w 143"/>
                  <a:gd name="T3" fmla="*/ 217 h 274"/>
                  <a:gd name="T4" fmla="*/ 19 w 143"/>
                  <a:gd name="T5" fmla="*/ 195 h 274"/>
                  <a:gd name="T6" fmla="*/ 11 w 143"/>
                  <a:gd name="T7" fmla="*/ 177 h 274"/>
                  <a:gd name="T8" fmla="*/ 19 w 143"/>
                  <a:gd name="T9" fmla="*/ 125 h 274"/>
                  <a:gd name="T10" fmla="*/ 33 w 143"/>
                  <a:gd name="T11" fmla="*/ 115 h 274"/>
                  <a:gd name="T12" fmla="*/ 42 w 143"/>
                  <a:gd name="T13" fmla="*/ 74 h 274"/>
                  <a:gd name="T14" fmla="*/ 62 w 143"/>
                  <a:gd name="T15" fmla="*/ 54 h 274"/>
                  <a:gd name="T16" fmla="*/ 79 w 143"/>
                  <a:gd name="T17" fmla="*/ 26 h 274"/>
                  <a:gd name="T18" fmla="*/ 88 w 143"/>
                  <a:gd name="T19" fmla="*/ 13 h 274"/>
                  <a:gd name="T20" fmla="*/ 114 w 143"/>
                  <a:gd name="T21" fmla="*/ 18 h 274"/>
                  <a:gd name="T22" fmla="*/ 123 w 143"/>
                  <a:gd name="T23" fmla="*/ 2 h 274"/>
                  <a:gd name="T24" fmla="*/ 149 w 143"/>
                  <a:gd name="T25" fmla="*/ 18 h 274"/>
                  <a:gd name="T26" fmla="*/ 160 w 143"/>
                  <a:gd name="T27" fmla="*/ 40 h 274"/>
                  <a:gd name="T28" fmla="*/ 164 w 143"/>
                  <a:gd name="T29" fmla="*/ 47 h 274"/>
                  <a:gd name="T30" fmla="*/ 165 w 143"/>
                  <a:gd name="T31" fmla="*/ 70 h 274"/>
                  <a:gd name="T32" fmla="*/ 160 w 143"/>
                  <a:gd name="T33" fmla="*/ 84 h 274"/>
                  <a:gd name="T34" fmla="*/ 148 w 143"/>
                  <a:gd name="T35" fmla="*/ 91 h 274"/>
                  <a:gd name="T36" fmla="*/ 139 w 143"/>
                  <a:gd name="T37" fmla="*/ 98 h 274"/>
                  <a:gd name="T38" fmla="*/ 140 w 143"/>
                  <a:gd name="T39" fmla="*/ 116 h 274"/>
                  <a:gd name="T40" fmla="*/ 123 w 143"/>
                  <a:gd name="T41" fmla="*/ 134 h 274"/>
                  <a:gd name="T42" fmla="*/ 102 w 143"/>
                  <a:gd name="T43" fmla="*/ 146 h 274"/>
                  <a:gd name="T44" fmla="*/ 92 w 143"/>
                  <a:gd name="T45" fmla="*/ 161 h 274"/>
                  <a:gd name="T46" fmla="*/ 87 w 143"/>
                  <a:gd name="T47" fmla="*/ 168 h 274"/>
                  <a:gd name="T48" fmla="*/ 81 w 143"/>
                  <a:gd name="T49" fmla="*/ 184 h 274"/>
                  <a:gd name="T50" fmla="*/ 90 w 143"/>
                  <a:gd name="T51" fmla="*/ 214 h 274"/>
                  <a:gd name="T52" fmla="*/ 111 w 143"/>
                  <a:gd name="T53" fmla="*/ 227 h 274"/>
                  <a:gd name="T54" fmla="*/ 93 w 143"/>
                  <a:gd name="T55" fmla="*/ 234 h 274"/>
                  <a:gd name="T56" fmla="*/ 103 w 143"/>
                  <a:gd name="T57" fmla="*/ 238 h 274"/>
                  <a:gd name="T58" fmla="*/ 92 w 143"/>
                  <a:gd name="T59" fmla="*/ 245 h 274"/>
                  <a:gd name="T60" fmla="*/ 80 w 143"/>
                  <a:gd name="T61" fmla="*/ 257 h 274"/>
                  <a:gd name="T62" fmla="*/ 75 w 143"/>
                  <a:gd name="T63" fmla="*/ 298 h 274"/>
                  <a:gd name="T64" fmla="*/ 55 w 143"/>
                  <a:gd name="T65" fmla="*/ 310 h 274"/>
                  <a:gd name="T66" fmla="*/ 51 w 143"/>
                  <a:gd name="T67" fmla="*/ 325 h 274"/>
                  <a:gd name="T68" fmla="*/ 29 w 143"/>
                  <a:gd name="T69" fmla="*/ 328 h 274"/>
                  <a:gd name="T70" fmla="*/ 31 w 143"/>
                  <a:gd name="T71" fmla="*/ 319 h 274"/>
                  <a:gd name="T72" fmla="*/ 29 w 143"/>
                  <a:gd name="T73" fmla="*/ 309 h 274"/>
                  <a:gd name="T74" fmla="*/ 29 w 143"/>
                  <a:gd name="T75" fmla="*/ 303 h 274"/>
                  <a:gd name="T76" fmla="*/ 12 w 143"/>
                  <a:gd name="T77" fmla="*/ 285 h 274"/>
                  <a:gd name="T78" fmla="*/ 10 w 143"/>
                  <a:gd name="T79" fmla="*/ 262 h 274"/>
                  <a:gd name="T80" fmla="*/ 5 w 143"/>
                  <a:gd name="T81" fmla="*/ 249 h 274"/>
                  <a:gd name="T82" fmla="*/ 6 w 143"/>
                  <a:gd name="T83" fmla="*/ 244 h 27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43"/>
                  <a:gd name="T127" fmla="*/ 0 h 274"/>
                  <a:gd name="T128" fmla="*/ 143 w 143"/>
                  <a:gd name="T129" fmla="*/ 274 h 27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43" h="274">
                    <a:moveTo>
                      <a:pt x="5" y="203"/>
                    </a:moveTo>
                    <a:cubicBezTo>
                      <a:pt x="5" y="200"/>
                      <a:pt x="5" y="197"/>
                      <a:pt x="5" y="195"/>
                    </a:cubicBezTo>
                    <a:cubicBezTo>
                      <a:pt x="6" y="192"/>
                      <a:pt x="7" y="189"/>
                      <a:pt x="9" y="186"/>
                    </a:cubicBezTo>
                    <a:cubicBezTo>
                      <a:pt x="10" y="184"/>
                      <a:pt x="14" y="184"/>
                      <a:pt x="14" y="181"/>
                    </a:cubicBezTo>
                    <a:cubicBezTo>
                      <a:pt x="15" y="176"/>
                      <a:pt x="12" y="170"/>
                      <a:pt x="13" y="164"/>
                    </a:cubicBezTo>
                    <a:cubicBezTo>
                      <a:pt x="13" y="163"/>
                      <a:pt x="16" y="163"/>
                      <a:pt x="16" y="162"/>
                    </a:cubicBezTo>
                    <a:cubicBezTo>
                      <a:pt x="17" y="161"/>
                      <a:pt x="18" y="159"/>
                      <a:pt x="17" y="158"/>
                    </a:cubicBezTo>
                    <a:cubicBezTo>
                      <a:pt x="15" y="154"/>
                      <a:pt x="9" y="151"/>
                      <a:pt x="9" y="147"/>
                    </a:cubicBezTo>
                    <a:cubicBezTo>
                      <a:pt x="9" y="136"/>
                      <a:pt x="9" y="125"/>
                      <a:pt x="10" y="113"/>
                    </a:cubicBezTo>
                    <a:cubicBezTo>
                      <a:pt x="10" y="110"/>
                      <a:pt x="13" y="106"/>
                      <a:pt x="16" y="104"/>
                    </a:cubicBezTo>
                    <a:cubicBezTo>
                      <a:pt x="21" y="102"/>
                      <a:pt x="27" y="107"/>
                      <a:pt x="31" y="104"/>
                    </a:cubicBezTo>
                    <a:cubicBezTo>
                      <a:pt x="33" y="102"/>
                      <a:pt x="28" y="99"/>
                      <a:pt x="28" y="96"/>
                    </a:cubicBezTo>
                    <a:cubicBezTo>
                      <a:pt x="28" y="86"/>
                      <a:pt x="32" y="77"/>
                      <a:pt x="33" y="68"/>
                    </a:cubicBezTo>
                    <a:cubicBezTo>
                      <a:pt x="34" y="66"/>
                      <a:pt x="33" y="64"/>
                      <a:pt x="35" y="62"/>
                    </a:cubicBezTo>
                    <a:cubicBezTo>
                      <a:pt x="37" y="60"/>
                      <a:pt x="43" y="62"/>
                      <a:pt x="44" y="59"/>
                    </a:cubicBezTo>
                    <a:cubicBezTo>
                      <a:pt x="45" y="54"/>
                      <a:pt x="48" y="49"/>
                      <a:pt x="52" y="45"/>
                    </a:cubicBezTo>
                    <a:cubicBezTo>
                      <a:pt x="54" y="43"/>
                      <a:pt x="51" y="40"/>
                      <a:pt x="52" y="37"/>
                    </a:cubicBezTo>
                    <a:cubicBezTo>
                      <a:pt x="56" y="31"/>
                      <a:pt x="60" y="25"/>
                      <a:pt x="66" y="22"/>
                    </a:cubicBezTo>
                    <a:cubicBezTo>
                      <a:pt x="68" y="21"/>
                      <a:pt x="71" y="27"/>
                      <a:pt x="72" y="25"/>
                    </a:cubicBezTo>
                    <a:cubicBezTo>
                      <a:pt x="75" y="21"/>
                      <a:pt x="72" y="15"/>
                      <a:pt x="74" y="11"/>
                    </a:cubicBezTo>
                    <a:cubicBezTo>
                      <a:pt x="76" y="9"/>
                      <a:pt x="80" y="9"/>
                      <a:pt x="82" y="10"/>
                    </a:cubicBezTo>
                    <a:cubicBezTo>
                      <a:pt x="87" y="11"/>
                      <a:pt x="91" y="18"/>
                      <a:pt x="95" y="15"/>
                    </a:cubicBezTo>
                    <a:cubicBezTo>
                      <a:pt x="99" y="13"/>
                      <a:pt x="94" y="6"/>
                      <a:pt x="96" y="2"/>
                    </a:cubicBezTo>
                    <a:cubicBezTo>
                      <a:pt x="97" y="0"/>
                      <a:pt x="101" y="2"/>
                      <a:pt x="103" y="2"/>
                    </a:cubicBezTo>
                    <a:cubicBezTo>
                      <a:pt x="106" y="5"/>
                      <a:pt x="109" y="10"/>
                      <a:pt x="113" y="12"/>
                    </a:cubicBezTo>
                    <a:cubicBezTo>
                      <a:pt x="117" y="14"/>
                      <a:pt x="122" y="13"/>
                      <a:pt x="125" y="15"/>
                    </a:cubicBezTo>
                    <a:cubicBezTo>
                      <a:pt x="129" y="17"/>
                      <a:pt x="132" y="20"/>
                      <a:pt x="134" y="24"/>
                    </a:cubicBezTo>
                    <a:cubicBezTo>
                      <a:pt x="136" y="27"/>
                      <a:pt x="134" y="30"/>
                      <a:pt x="134" y="33"/>
                    </a:cubicBezTo>
                    <a:cubicBezTo>
                      <a:pt x="135" y="34"/>
                      <a:pt x="137" y="35"/>
                      <a:pt x="137" y="37"/>
                    </a:cubicBezTo>
                    <a:cubicBezTo>
                      <a:pt x="138" y="38"/>
                      <a:pt x="137" y="38"/>
                      <a:pt x="137" y="39"/>
                    </a:cubicBezTo>
                    <a:cubicBezTo>
                      <a:pt x="137" y="42"/>
                      <a:pt x="140" y="45"/>
                      <a:pt x="140" y="48"/>
                    </a:cubicBezTo>
                    <a:cubicBezTo>
                      <a:pt x="140" y="52"/>
                      <a:pt x="137" y="55"/>
                      <a:pt x="138" y="58"/>
                    </a:cubicBezTo>
                    <a:cubicBezTo>
                      <a:pt x="138" y="62"/>
                      <a:pt x="141" y="66"/>
                      <a:pt x="143" y="70"/>
                    </a:cubicBezTo>
                    <a:cubicBezTo>
                      <a:pt x="140" y="70"/>
                      <a:pt x="137" y="70"/>
                      <a:pt x="134" y="70"/>
                    </a:cubicBezTo>
                    <a:cubicBezTo>
                      <a:pt x="130" y="70"/>
                      <a:pt x="127" y="67"/>
                      <a:pt x="124" y="69"/>
                    </a:cubicBezTo>
                    <a:cubicBezTo>
                      <a:pt x="122" y="70"/>
                      <a:pt x="126" y="74"/>
                      <a:pt x="124" y="76"/>
                    </a:cubicBezTo>
                    <a:cubicBezTo>
                      <a:pt x="122" y="78"/>
                      <a:pt x="118" y="76"/>
                      <a:pt x="116" y="78"/>
                    </a:cubicBezTo>
                    <a:cubicBezTo>
                      <a:pt x="115" y="79"/>
                      <a:pt x="117" y="81"/>
                      <a:pt x="116" y="82"/>
                    </a:cubicBezTo>
                    <a:cubicBezTo>
                      <a:pt x="114" y="84"/>
                      <a:pt x="108" y="86"/>
                      <a:pt x="109" y="89"/>
                    </a:cubicBezTo>
                    <a:cubicBezTo>
                      <a:pt x="109" y="93"/>
                      <a:pt x="117" y="94"/>
                      <a:pt x="117" y="97"/>
                    </a:cubicBezTo>
                    <a:cubicBezTo>
                      <a:pt x="117" y="101"/>
                      <a:pt x="110" y="100"/>
                      <a:pt x="109" y="102"/>
                    </a:cubicBezTo>
                    <a:cubicBezTo>
                      <a:pt x="108" y="106"/>
                      <a:pt x="107" y="110"/>
                      <a:pt x="103" y="112"/>
                    </a:cubicBezTo>
                    <a:cubicBezTo>
                      <a:pt x="99" y="113"/>
                      <a:pt x="95" y="116"/>
                      <a:pt x="91" y="118"/>
                    </a:cubicBezTo>
                    <a:cubicBezTo>
                      <a:pt x="89" y="119"/>
                      <a:pt x="87" y="120"/>
                      <a:pt x="85" y="122"/>
                    </a:cubicBezTo>
                    <a:cubicBezTo>
                      <a:pt x="82" y="124"/>
                      <a:pt x="78" y="127"/>
                      <a:pt x="76" y="130"/>
                    </a:cubicBezTo>
                    <a:cubicBezTo>
                      <a:pt x="75" y="131"/>
                      <a:pt x="77" y="133"/>
                      <a:pt x="77" y="134"/>
                    </a:cubicBezTo>
                    <a:cubicBezTo>
                      <a:pt x="75" y="135"/>
                      <a:pt x="71" y="135"/>
                      <a:pt x="71" y="137"/>
                    </a:cubicBezTo>
                    <a:cubicBezTo>
                      <a:pt x="71" y="139"/>
                      <a:pt x="73" y="138"/>
                      <a:pt x="73" y="140"/>
                    </a:cubicBezTo>
                    <a:cubicBezTo>
                      <a:pt x="74" y="145"/>
                      <a:pt x="73" y="149"/>
                      <a:pt x="71" y="153"/>
                    </a:cubicBezTo>
                    <a:cubicBezTo>
                      <a:pt x="70" y="154"/>
                      <a:pt x="69" y="151"/>
                      <a:pt x="68" y="153"/>
                    </a:cubicBezTo>
                    <a:cubicBezTo>
                      <a:pt x="67" y="155"/>
                      <a:pt x="68" y="158"/>
                      <a:pt x="69" y="161"/>
                    </a:cubicBezTo>
                    <a:cubicBezTo>
                      <a:pt x="70" y="167"/>
                      <a:pt x="71" y="173"/>
                      <a:pt x="75" y="178"/>
                    </a:cubicBezTo>
                    <a:cubicBezTo>
                      <a:pt x="77" y="180"/>
                      <a:pt x="82" y="176"/>
                      <a:pt x="85" y="178"/>
                    </a:cubicBezTo>
                    <a:cubicBezTo>
                      <a:pt x="89" y="181"/>
                      <a:pt x="93" y="184"/>
                      <a:pt x="93" y="189"/>
                    </a:cubicBezTo>
                    <a:cubicBezTo>
                      <a:pt x="93" y="193"/>
                      <a:pt x="88" y="195"/>
                      <a:pt x="85" y="196"/>
                    </a:cubicBezTo>
                    <a:cubicBezTo>
                      <a:pt x="83" y="197"/>
                      <a:pt x="80" y="194"/>
                      <a:pt x="78" y="195"/>
                    </a:cubicBezTo>
                    <a:cubicBezTo>
                      <a:pt x="77" y="196"/>
                      <a:pt x="74" y="200"/>
                      <a:pt x="76" y="200"/>
                    </a:cubicBezTo>
                    <a:cubicBezTo>
                      <a:pt x="79" y="202"/>
                      <a:pt x="83" y="196"/>
                      <a:pt x="86" y="198"/>
                    </a:cubicBezTo>
                    <a:cubicBezTo>
                      <a:pt x="88" y="200"/>
                      <a:pt x="84" y="204"/>
                      <a:pt x="81" y="205"/>
                    </a:cubicBezTo>
                    <a:cubicBezTo>
                      <a:pt x="80" y="206"/>
                      <a:pt x="79" y="204"/>
                      <a:pt x="77" y="204"/>
                    </a:cubicBezTo>
                    <a:cubicBezTo>
                      <a:pt x="76" y="205"/>
                      <a:pt x="76" y="206"/>
                      <a:pt x="75" y="207"/>
                    </a:cubicBezTo>
                    <a:cubicBezTo>
                      <a:pt x="72" y="209"/>
                      <a:pt x="68" y="210"/>
                      <a:pt x="67" y="214"/>
                    </a:cubicBezTo>
                    <a:cubicBezTo>
                      <a:pt x="66" y="217"/>
                      <a:pt x="68" y="222"/>
                      <a:pt x="68" y="226"/>
                    </a:cubicBezTo>
                    <a:cubicBezTo>
                      <a:pt x="67" y="233"/>
                      <a:pt x="65" y="241"/>
                      <a:pt x="63" y="248"/>
                    </a:cubicBezTo>
                    <a:cubicBezTo>
                      <a:pt x="62" y="251"/>
                      <a:pt x="60" y="256"/>
                      <a:pt x="57" y="258"/>
                    </a:cubicBezTo>
                    <a:cubicBezTo>
                      <a:pt x="54" y="260"/>
                      <a:pt x="49" y="257"/>
                      <a:pt x="46" y="258"/>
                    </a:cubicBezTo>
                    <a:cubicBezTo>
                      <a:pt x="43" y="259"/>
                      <a:pt x="40" y="261"/>
                      <a:pt x="40" y="263"/>
                    </a:cubicBezTo>
                    <a:cubicBezTo>
                      <a:pt x="39" y="266"/>
                      <a:pt x="45" y="268"/>
                      <a:pt x="43" y="271"/>
                    </a:cubicBezTo>
                    <a:cubicBezTo>
                      <a:pt x="42" y="273"/>
                      <a:pt x="37" y="272"/>
                      <a:pt x="33" y="272"/>
                    </a:cubicBezTo>
                    <a:cubicBezTo>
                      <a:pt x="30" y="273"/>
                      <a:pt x="27" y="274"/>
                      <a:pt x="24" y="273"/>
                    </a:cubicBezTo>
                    <a:cubicBezTo>
                      <a:pt x="23" y="273"/>
                      <a:pt x="24" y="271"/>
                      <a:pt x="24" y="270"/>
                    </a:cubicBezTo>
                    <a:cubicBezTo>
                      <a:pt x="25" y="269"/>
                      <a:pt x="27" y="267"/>
                      <a:pt x="26" y="266"/>
                    </a:cubicBezTo>
                    <a:cubicBezTo>
                      <a:pt x="25" y="263"/>
                      <a:pt x="19" y="261"/>
                      <a:pt x="18" y="257"/>
                    </a:cubicBezTo>
                    <a:cubicBezTo>
                      <a:pt x="18" y="256"/>
                      <a:pt x="23" y="259"/>
                      <a:pt x="24" y="257"/>
                    </a:cubicBezTo>
                    <a:cubicBezTo>
                      <a:pt x="25" y="255"/>
                      <a:pt x="20" y="254"/>
                      <a:pt x="20" y="252"/>
                    </a:cubicBezTo>
                    <a:cubicBezTo>
                      <a:pt x="20" y="251"/>
                      <a:pt x="25" y="253"/>
                      <a:pt x="24" y="252"/>
                    </a:cubicBezTo>
                    <a:cubicBezTo>
                      <a:pt x="22" y="246"/>
                      <a:pt x="18" y="240"/>
                      <a:pt x="14" y="236"/>
                    </a:cubicBezTo>
                    <a:cubicBezTo>
                      <a:pt x="13" y="235"/>
                      <a:pt x="10" y="239"/>
                      <a:pt x="10" y="237"/>
                    </a:cubicBezTo>
                    <a:cubicBezTo>
                      <a:pt x="8" y="233"/>
                      <a:pt x="9" y="229"/>
                      <a:pt x="9" y="225"/>
                    </a:cubicBezTo>
                    <a:cubicBezTo>
                      <a:pt x="9" y="222"/>
                      <a:pt x="9" y="220"/>
                      <a:pt x="8" y="218"/>
                    </a:cubicBezTo>
                    <a:cubicBezTo>
                      <a:pt x="8" y="217"/>
                      <a:pt x="5" y="217"/>
                      <a:pt x="5" y="216"/>
                    </a:cubicBezTo>
                    <a:cubicBezTo>
                      <a:pt x="4" y="213"/>
                      <a:pt x="5" y="210"/>
                      <a:pt x="4" y="207"/>
                    </a:cubicBezTo>
                    <a:cubicBezTo>
                      <a:pt x="3" y="206"/>
                      <a:pt x="0" y="205"/>
                      <a:pt x="1" y="204"/>
                    </a:cubicBezTo>
                    <a:cubicBezTo>
                      <a:pt x="1" y="202"/>
                      <a:pt x="4" y="203"/>
                      <a:pt x="5" y="20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39" name="Freeform 2650"/>
              <p:cNvSpPr>
                <a:spLocks noChangeAspect="1"/>
              </p:cNvSpPr>
              <p:nvPr/>
            </p:nvSpPr>
            <p:spPr bwMode="auto">
              <a:xfrm>
                <a:off x="4564752" y="1731173"/>
                <a:ext cx="564278" cy="519722"/>
              </a:xfrm>
              <a:custGeom>
                <a:avLst/>
                <a:gdLst>
                  <a:gd name="T0" fmla="*/ 84 w 287"/>
                  <a:gd name="T1" fmla="*/ 283 h 267"/>
                  <a:gd name="T2" fmla="*/ 78 w 287"/>
                  <a:gd name="T3" fmla="*/ 294 h 267"/>
                  <a:gd name="T4" fmla="*/ 47 w 287"/>
                  <a:gd name="T5" fmla="*/ 316 h 267"/>
                  <a:gd name="T6" fmla="*/ 7 w 287"/>
                  <a:gd name="T7" fmla="*/ 300 h 267"/>
                  <a:gd name="T8" fmla="*/ 16 w 287"/>
                  <a:gd name="T9" fmla="*/ 284 h 267"/>
                  <a:gd name="T10" fmla="*/ 16 w 287"/>
                  <a:gd name="T11" fmla="*/ 276 h 267"/>
                  <a:gd name="T12" fmla="*/ 11 w 287"/>
                  <a:gd name="T13" fmla="*/ 274 h 267"/>
                  <a:gd name="T14" fmla="*/ 6 w 287"/>
                  <a:gd name="T15" fmla="*/ 250 h 267"/>
                  <a:gd name="T16" fmla="*/ 8 w 287"/>
                  <a:gd name="T17" fmla="*/ 233 h 267"/>
                  <a:gd name="T18" fmla="*/ 1 w 287"/>
                  <a:gd name="T19" fmla="*/ 223 h 267"/>
                  <a:gd name="T20" fmla="*/ 30 w 287"/>
                  <a:gd name="T21" fmla="*/ 222 h 267"/>
                  <a:gd name="T22" fmla="*/ 36 w 287"/>
                  <a:gd name="T23" fmla="*/ 213 h 267"/>
                  <a:gd name="T24" fmla="*/ 46 w 287"/>
                  <a:gd name="T25" fmla="*/ 211 h 267"/>
                  <a:gd name="T26" fmla="*/ 54 w 287"/>
                  <a:gd name="T27" fmla="*/ 195 h 267"/>
                  <a:gd name="T28" fmla="*/ 65 w 287"/>
                  <a:gd name="T29" fmla="*/ 192 h 267"/>
                  <a:gd name="T30" fmla="*/ 85 w 287"/>
                  <a:gd name="T31" fmla="*/ 182 h 267"/>
                  <a:gd name="T32" fmla="*/ 65 w 287"/>
                  <a:gd name="T33" fmla="*/ 183 h 267"/>
                  <a:gd name="T34" fmla="*/ 94 w 287"/>
                  <a:gd name="T35" fmla="*/ 168 h 267"/>
                  <a:gd name="T36" fmla="*/ 103 w 287"/>
                  <a:gd name="T37" fmla="*/ 149 h 267"/>
                  <a:gd name="T38" fmla="*/ 108 w 287"/>
                  <a:gd name="T39" fmla="*/ 129 h 267"/>
                  <a:gd name="T40" fmla="*/ 112 w 287"/>
                  <a:gd name="T41" fmla="*/ 119 h 267"/>
                  <a:gd name="T42" fmla="*/ 127 w 287"/>
                  <a:gd name="T43" fmla="*/ 107 h 267"/>
                  <a:gd name="T44" fmla="*/ 137 w 287"/>
                  <a:gd name="T45" fmla="*/ 96 h 267"/>
                  <a:gd name="T46" fmla="*/ 132 w 287"/>
                  <a:gd name="T47" fmla="*/ 89 h 267"/>
                  <a:gd name="T48" fmla="*/ 165 w 287"/>
                  <a:gd name="T49" fmla="*/ 72 h 267"/>
                  <a:gd name="T50" fmla="*/ 142 w 287"/>
                  <a:gd name="T51" fmla="*/ 56 h 267"/>
                  <a:gd name="T52" fmla="*/ 155 w 287"/>
                  <a:gd name="T53" fmla="*/ 67 h 267"/>
                  <a:gd name="T54" fmla="*/ 161 w 287"/>
                  <a:gd name="T55" fmla="*/ 59 h 267"/>
                  <a:gd name="T56" fmla="*/ 173 w 287"/>
                  <a:gd name="T57" fmla="*/ 43 h 267"/>
                  <a:gd name="T58" fmla="*/ 189 w 287"/>
                  <a:gd name="T59" fmla="*/ 48 h 267"/>
                  <a:gd name="T60" fmla="*/ 194 w 287"/>
                  <a:gd name="T61" fmla="*/ 43 h 267"/>
                  <a:gd name="T62" fmla="*/ 200 w 287"/>
                  <a:gd name="T63" fmla="*/ 47 h 267"/>
                  <a:gd name="T64" fmla="*/ 224 w 287"/>
                  <a:gd name="T65" fmla="*/ 42 h 267"/>
                  <a:gd name="T66" fmla="*/ 225 w 287"/>
                  <a:gd name="T67" fmla="*/ 23 h 267"/>
                  <a:gd name="T68" fmla="*/ 244 w 287"/>
                  <a:gd name="T69" fmla="*/ 24 h 267"/>
                  <a:gd name="T70" fmla="*/ 257 w 287"/>
                  <a:gd name="T71" fmla="*/ 4 h 267"/>
                  <a:gd name="T72" fmla="*/ 274 w 287"/>
                  <a:gd name="T73" fmla="*/ 10 h 267"/>
                  <a:gd name="T74" fmla="*/ 279 w 287"/>
                  <a:gd name="T75" fmla="*/ 12 h 267"/>
                  <a:gd name="T76" fmla="*/ 291 w 287"/>
                  <a:gd name="T77" fmla="*/ 18 h 267"/>
                  <a:gd name="T78" fmla="*/ 303 w 287"/>
                  <a:gd name="T79" fmla="*/ 1 h 267"/>
                  <a:gd name="T80" fmla="*/ 305 w 287"/>
                  <a:gd name="T81" fmla="*/ 14 h 267"/>
                  <a:gd name="T82" fmla="*/ 315 w 287"/>
                  <a:gd name="T83" fmla="*/ 8 h 267"/>
                  <a:gd name="T84" fmla="*/ 343 w 287"/>
                  <a:gd name="T85" fmla="*/ 23 h 267"/>
                  <a:gd name="T86" fmla="*/ 329 w 287"/>
                  <a:gd name="T87" fmla="*/ 34 h 267"/>
                  <a:gd name="T88" fmla="*/ 345 w 287"/>
                  <a:gd name="T89" fmla="*/ 40 h 267"/>
                  <a:gd name="T90" fmla="*/ 332 w 287"/>
                  <a:gd name="T91" fmla="*/ 46 h 267"/>
                  <a:gd name="T92" fmla="*/ 317 w 287"/>
                  <a:gd name="T93" fmla="*/ 55 h 267"/>
                  <a:gd name="T94" fmla="*/ 297 w 287"/>
                  <a:gd name="T95" fmla="*/ 30 h 267"/>
                  <a:gd name="T96" fmla="*/ 276 w 287"/>
                  <a:gd name="T97" fmla="*/ 58 h 267"/>
                  <a:gd name="T98" fmla="*/ 252 w 287"/>
                  <a:gd name="T99" fmla="*/ 61 h 267"/>
                  <a:gd name="T100" fmla="*/ 215 w 287"/>
                  <a:gd name="T101" fmla="*/ 44 h 267"/>
                  <a:gd name="T102" fmla="*/ 202 w 287"/>
                  <a:gd name="T103" fmla="*/ 55 h 267"/>
                  <a:gd name="T104" fmla="*/ 176 w 287"/>
                  <a:gd name="T105" fmla="*/ 66 h 267"/>
                  <a:gd name="T106" fmla="*/ 149 w 287"/>
                  <a:gd name="T107" fmla="*/ 97 h 267"/>
                  <a:gd name="T108" fmla="*/ 129 w 287"/>
                  <a:gd name="T109" fmla="*/ 127 h 267"/>
                  <a:gd name="T110" fmla="*/ 124 w 287"/>
                  <a:gd name="T111" fmla="*/ 177 h 267"/>
                  <a:gd name="T112" fmla="*/ 97 w 287"/>
                  <a:gd name="T113" fmla="*/ 229 h 267"/>
                  <a:gd name="T114" fmla="*/ 102 w 287"/>
                  <a:gd name="T115" fmla="*/ 249 h 267"/>
                  <a:gd name="T116" fmla="*/ 93 w 287"/>
                  <a:gd name="T117" fmla="*/ 286 h 26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7"/>
                  <a:gd name="T178" fmla="*/ 0 h 267"/>
                  <a:gd name="T179" fmla="*/ 287 w 287"/>
                  <a:gd name="T180" fmla="*/ 267 h 26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7" h="267">
                    <a:moveTo>
                      <a:pt x="77" y="247"/>
                    </a:moveTo>
                    <a:cubicBezTo>
                      <a:pt x="76" y="246"/>
                      <a:pt x="71" y="246"/>
                      <a:pt x="70" y="244"/>
                    </a:cubicBezTo>
                    <a:cubicBezTo>
                      <a:pt x="68" y="242"/>
                      <a:pt x="70" y="239"/>
                      <a:pt x="70" y="236"/>
                    </a:cubicBezTo>
                    <a:cubicBezTo>
                      <a:pt x="69" y="234"/>
                      <a:pt x="69" y="230"/>
                      <a:pt x="66" y="230"/>
                    </a:cubicBezTo>
                    <a:cubicBezTo>
                      <a:pt x="64" y="231"/>
                      <a:pt x="65" y="235"/>
                      <a:pt x="65" y="237"/>
                    </a:cubicBezTo>
                    <a:cubicBezTo>
                      <a:pt x="65" y="240"/>
                      <a:pt x="66" y="243"/>
                      <a:pt x="65" y="245"/>
                    </a:cubicBezTo>
                    <a:cubicBezTo>
                      <a:pt x="64" y="247"/>
                      <a:pt x="62" y="249"/>
                      <a:pt x="60" y="249"/>
                    </a:cubicBezTo>
                    <a:cubicBezTo>
                      <a:pt x="58" y="250"/>
                      <a:pt x="57" y="247"/>
                      <a:pt x="55" y="248"/>
                    </a:cubicBezTo>
                    <a:cubicBezTo>
                      <a:pt x="49" y="252"/>
                      <a:pt x="45" y="260"/>
                      <a:pt x="39" y="264"/>
                    </a:cubicBezTo>
                    <a:cubicBezTo>
                      <a:pt x="36" y="266"/>
                      <a:pt x="32" y="267"/>
                      <a:pt x="29" y="266"/>
                    </a:cubicBezTo>
                    <a:cubicBezTo>
                      <a:pt x="23" y="264"/>
                      <a:pt x="17" y="261"/>
                      <a:pt x="11" y="258"/>
                    </a:cubicBezTo>
                    <a:cubicBezTo>
                      <a:pt x="9" y="256"/>
                      <a:pt x="6" y="253"/>
                      <a:pt x="6" y="250"/>
                    </a:cubicBezTo>
                    <a:cubicBezTo>
                      <a:pt x="7" y="248"/>
                      <a:pt x="12" y="250"/>
                      <a:pt x="14" y="249"/>
                    </a:cubicBezTo>
                    <a:cubicBezTo>
                      <a:pt x="16" y="247"/>
                      <a:pt x="16" y="244"/>
                      <a:pt x="16" y="242"/>
                    </a:cubicBezTo>
                    <a:cubicBezTo>
                      <a:pt x="16" y="240"/>
                      <a:pt x="15" y="237"/>
                      <a:pt x="13" y="237"/>
                    </a:cubicBezTo>
                    <a:cubicBezTo>
                      <a:pt x="10" y="236"/>
                      <a:pt x="7" y="241"/>
                      <a:pt x="5" y="240"/>
                    </a:cubicBezTo>
                    <a:cubicBezTo>
                      <a:pt x="3" y="239"/>
                      <a:pt x="7" y="236"/>
                      <a:pt x="8" y="235"/>
                    </a:cubicBezTo>
                    <a:cubicBezTo>
                      <a:pt x="10" y="233"/>
                      <a:pt x="11" y="232"/>
                      <a:pt x="13" y="230"/>
                    </a:cubicBezTo>
                    <a:cubicBezTo>
                      <a:pt x="15" y="227"/>
                      <a:pt x="17" y="224"/>
                      <a:pt x="19" y="221"/>
                    </a:cubicBezTo>
                    <a:cubicBezTo>
                      <a:pt x="19" y="220"/>
                      <a:pt x="17" y="220"/>
                      <a:pt x="17" y="221"/>
                    </a:cubicBezTo>
                    <a:cubicBezTo>
                      <a:pt x="14" y="223"/>
                      <a:pt x="13" y="228"/>
                      <a:pt x="9" y="229"/>
                    </a:cubicBezTo>
                    <a:cubicBezTo>
                      <a:pt x="6" y="229"/>
                      <a:pt x="6" y="224"/>
                      <a:pt x="5" y="222"/>
                    </a:cubicBezTo>
                    <a:cubicBezTo>
                      <a:pt x="3" y="220"/>
                      <a:pt x="0" y="218"/>
                      <a:pt x="0" y="215"/>
                    </a:cubicBezTo>
                    <a:cubicBezTo>
                      <a:pt x="0" y="213"/>
                      <a:pt x="4" y="212"/>
                      <a:pt x="5" y="209"/>
                    </a:cubicBezTo>
                    <a:cubicBezTo>
                      <a:pt x="5" y="207"/>
                      <a:pt x="5" y="204"/>
                      <a:pt x="5" y="202"/>
                    </a:cubicBezTo>
                    <a:cubicBezTo>
                      <a:pt x="4" y="200"/>
                      <a:pt x="0" y="200"/>
                      <a:pt x="0" y="199"/>
                    </a:cubicBezTo>
                    <a:cubicBezTo>
                      <a:pt x="1" y="196"/>
                      <a:pt x="4" y="195"/>
                      <a:pt x="7" y="194"/>
                    </a:cubicBezTo>
                    <a:cubicBezTo>
                      <a:pt x="9" y="193"/>
                      <a:pt x="15" y="195"/>
                      <a:pt x="13" y="194"/>
                    </a:cubicBezTo>
                    <a:cubicBezTo>
                      <a:pt x="10" y="192"/>
                      <a:pt x="6" y="193"/>
                      <a:pt x="3" y="191"/>
                    </a:cubicBezTo>
                    <a:cubicBezTo>
                      <a:pt x="2" y="190"/>
                      <a:pt x="0" y="187"/>
                      <a:pt x="1" y="186"/>
                    </a:cubicBezTo>
                    <a:cubicBezTo>
                      <a:pt x="3" y="184"/>
                      <a:pt x="5" y="187"/>
                      <a:pt x="8" y="187"/>
                    </a:cubicBezTo>
                    <a:cubicBezTo>
                      <a:pt x="11" y="187"/>
                      <a:pt x="14" y="186"/>
                      <a:pt x="17" y="185"/>
                    </a:cubicBezTo>
                    <a:cubicBezTo>
                      <a:pt x="20" y="185"/>
                      <a:pt x="26" y="187"/>
                      <a:pt x="25" y="185"/>
                    </a:cubicBezTo>
                    <a:cubicBezTo>
                      <a:pt x="24" y="181"/>
                      <a:pt x="17" y="183"/>
                      <a:pt x="15" y="180"/>
                    </a:cubicBezTo>
                    <a:cubicBezTo>
                      <a:pt x="14" y="178"/>
                      <a:pt x="19" y="179"/>
                      <a:pt x="21" y="178"/>
                    </a:cubicBezTo>
                    <a:cubicBezTo>
                      <a:pt x="24" y="178"/>
                      <a:pt x="29" y="181"/>
                      <a:pt x="30" y="178"/>
                    </a:cubicBezTo>
                    <a:cubicBezTo>
                      <a:pt x="32" y="176"/>
                      <a:pt x="23" y="176"/>
                      <a:pt x="24" y="173"/>
                    </a:cubicBezTo>
                    <a:cubicBezTo>
                      <a:pt x="24" y="171"/>
                      <a:pt x="29" y="171"/>
                      <a:pt x="32" y="172"/>
                    </a:cubicBezTo>
                    <a:cubicBezTo>
                      <a:pt x="34" y="172"/>
                      <a:pt x="35" y="176"/>
                      <a:pt x="38" y="176"/>
                    </a:cubicBezTo>
                    <a:cubicBezTo>
                      <a:pt x="40" y="175"/>
                      <a:pt x="41" y="172"/>
                      <a:pt x="41" y="170"/>
                    </a:cubicBezTo>
                    <a:cubicBezTo>
                      <a:pt x="41" y="169"/>
                      <a:pt x="38" y="168"/>
                      <a:pt x="38" y="166"/>
                    </a:cubicBezTo>
                    <a:cubicBezTo>
                      <a:pt x="40" y="164"/>
                      <a:pt x="43" y="165"/>
                      <a:pt x="45" y="163"/>
                    </a:cubicBezTo>
                    <a:cubicBezTo>
                      <a:pt x="46" y="162"/>
                      <a:pt x="45" y="158"/>
                      <a:pt x="46" y="158"/>
                    </a:cubicBezTo>
                    <a:cubicBezTo>
                      <a:pt x="49" y="158"/>
                      <a:pt x="49" y="164"/>
                      <a:pt x="52" y="164"/>
                    </a:cubicBezTo>
                    <a:cubicBezTo>
                      <a:pt x="54" y="165"/>
                      <a:pt x="53" y="160"/>
                      <a:pt x="54" y="160"/>
                    </a:cubicBezTo>
                    <a:cubicBezTo>
                      <a:pt x="56" y="159"/>
                      <a:pt x="58" y="162"/>
                      <a:pt x="60" y="162"/>
                    </a:cubicBezTo>
                    <a:cubicBezTo>
                      <a:pt x="61" y="163"/>
                      <a:pt x="63" y="162"/>
                      <a:pt x="64" y="161"/>
                    </a:cubicBezTo>
                    <a:cubicBezTo>
                      <a:pt x="67" y="159"/>
                      <a:pt x="69" y="155"/>
                      <a:pt x="71" y="152"/>
                    </a:cubicBezTo>
                    <a:cubicBezTo>
                      <a:pt x="71" y="151"/>
                      <a:pt x="69" y="150"/>
                      <a:pt x="69" y="151"/>
                    </a:cubicBezTo>
                    <a:cubicBezTo>
                      <a:pt x="65" y="153"/>
                      <a:pt x="63" y="158"/>
                      <a:pt x="59" y="159"/>
                    </a:cubicBezTo>
                    <a:cubicBezTo>
                      <a:pt x="56" y="159"/>
                      <a:pt x="54" y="155"/>
                      <a:pt x="54" y="153"/>
                    </a:cubicBezTo>
                    <a:cubicBezTo>
                      <a:pt x="55" y="149"/>
                      <a:pt x="59" y="146"/>
                      <a:pt x="62" y="143"/>
                    </a:cubicBezTo>
                    <a:cubicBezTo>
                      <a:pt x="65" y="141"/>
                      <a:pt x="67" y="140"/>
                      <a:pt x="70" y="139"/>
                    </a:cubicBezTo>
                    <a:cubicBezTo>
                      <a:pt x="73" y="138"/>
                      <a:pt x="77" y="142"/>
                      <a:pt x="78" y="140"/>
                    </a:cubicBezTo>
                    <a:cubicBezTo>
                      <a:pt x="80" y="137"/>
                      <a:pt x="74" y="132"/>
                      <a:pt x="76" y="130"/>
                    </a:cubicBezTo>
                    <a:cubicBezTo>
                      <a:pt x="78" y="127"/>
                      <a:pt x="83" y="130"/>
                      <a:pt x="86" y="128"/>
                    </a:cubicBezTo>
                    <a:cubicBezTo>
                      <a:pt x="88" y="127"/>
                      <a:pt x="86" y="125"/>
                      <a:pt x="86" y="124"/>
                    </a:cubicBezTo>
                    <a:cubicBezTo>
                      <a:pt x="86" y="121"/>
                      <a:pt x="85" y="118"/>
                      <a:pt x="86" y="116"/>
                    </a:cubicBezTo>
                    <a:cubicBezTo>
                      <a:pt x="88" y="114"/>
                      <a:pt x="92" y="116"/>
                      <a:pt x="93" y="113"/>
                    </a:cubicBezTo>
                    <a:cubicBezTo>
                      <a:pt x="94" y="111"/>
                      <a:pt x="89" y="110"/>
                      <a:pt x="90" y="108"/>
                    </a:cubicBezTo>
                    <a:cubicBezTo>
                      <a:pt x="92" y="106"/>
                      <a:pt x="97" y="109"/>
                      <a:pt x="100" y="106"/>
                    </a:cubicBezTo>
                    <a:cubicBezTo>
                      <a:pt x="101" y="105"/>
                      <a:pt x="95" y="107"/>
                      <a:pt x="94" y="105"/>
                    </a:cubicBezTo>
                    <a:cubicBezTo>
                      <a:pt x="92" y="103"/>
                      <a:pt x="92" y="100"/>
                      <a:pt x="93" y="99"/>
                    </a:cubicBezTo>
                    <a:cubicBezTo>
                      <a:pt x="95" y="97"/>
                      <a:pt x="98" y="100"/>
                      <a:pt x="99" y="99"/>
                    </a:cubicBezTo>
                    <a:cubicBezTo>
                      <a:pt x="100" y="97"/>
                      <a:pt x="98" y="94"/>
                      <a:pt x="99" y="93"/>
                    </a:cubicBezTo>
                    <a:cubicBezTo>
                      <a:pt x="100" y="90"/>
                      <a:pt x="103" y="89"/>
                      <a:pt x="106" y="89"/>
                    </a:cubicBezTo>
                    <a:cubicBezTo>
                      <a:pt x="110" y="88"/>
                      <a:pt x="117" y="92"/>
                      <a:pt x="117" y="88"/>
                    </a:cubicBezTo>
                    <a:cubicBezTo>
                      <a:pt x="118" y="85"/>
                      <a:pt x="108" y="88"/>
                      <a:pt x="107" y="85"/>
                    </a:cubicBezTo>
                    <a:cubicBezTo>
                      <a:pt x="106" y="82"/>
                      <a:pt x="111" y="81"/>
                      <a:pt x="114" y="80"/>
                    </a:cubicBezTo>
                    <a:cubicBezTo>
                      <a:pt x="116" y="80"/>
                      <a:pt x="119" y="83"/>
                      <a:pt x="120" y="81"/>
                    </a:cubicBezTo>
                    <a:cubicBezTo>
                      <a:pt x="121" y="79"/>
                      <a:pt x="119" y="76"/>
                      <a:pt x="117" y="74"/>
                    </a:cubicBezTo>
                    <a:cubicBezTo>
                      <a:pt x="115" y="73"/>
                      <a:pt x="109" y="76"/>
                      <a:pt x="110" y="74"/>
                    </a:cubicBezTo>
                    <a:cubicBezTo>
                      <a:pt x="112" y="71"/>
                      <a:pt x="117" y="72"/>
                      <a:pt x="120" y="70"/>
                    </a:cubicBezTo>
                    <a:cubicBezTo>
                      <a:pt x="122" y="67"/>
                      <a:pt x="122" y="63"/>
                      <a:pt x="125" y="61"/>
                    </a:cubicBezTo>
                    <a:cubicBezTo>
                      <a:pt x="128" y="59"/>
                      <a:pt x="134" y="62"/>
                      <a:pt x="137" y="60"/>
                    </a:cubicBezTo>
                    <a:cubicBezTo>
                      <a:pt x="139" y="59"/>
                      <a:pt x="133" y="58"/>
                      <a:pt x="131" y="58"/>
                    </a:cubicBezTo>
                    <a:cubicBezTo>
                      <a:pt x="125" y="58"/>
                      <a:pt x="117" y="63"/>
                      <a:pt x="112" y="59"/>
                    </a:cubicBezTo>
                    <a:cubicBezTo>
                      <a:pt x="109" y="56"/>
                      <a:pt x="115" y="50"/>
                      <a:pt x="118" y="47"/>
                    </a:cubicBezTo>
                    <a:cubicBezTo>
                      <a:pt x="120" y="46"/>
                      <a:pt x="118" y="52"/>
                      <a:pt x="120" y="52"/>
                    </a:cubicBezTo>
                    <a:cubicBezTo>
                      <a:pt x="123" y="53"/>
                      <a:pt x="126" y="48"/>
                      <a:pt x="129" y="50"/>
                    </a:cubicBezTo>
                    <a:cubicBezTo>
                      <a:pt x="131" y="51"/>
                      <a:pt x="127" y="55"/>
                      <a:pt x="129" y="56"/>
                    </a:cubicBezTo>
                    <a:cubicBezTo>
                      <a:pt x="131" y="58"/>
                      <a:pt x="135" y="56"/>
                      <a:pt x="137" y="54"/>
                    </a:cubicBezTo>
                    <a:cubicBezTo>
                      <a:pt x="138" y="53"/>
                      <a:pt x="139" y="51"/>
                      <a:pt x="139" y="50"/>
                    </a:cubicBezTo>
                    <a:cubicBezTo>
                      <a:pt x="138" y="49"/>
                      <a:pt x="135" y="51"/>
                      <a:pt x="134" y="49"/>
                    </a:cubicBezTo>
                    <a:cubicBezTo>
                      <a:pt x="134" y="48"/>
                      <a:pt x="135" y="46"/>
                      <a:pt x="136" y="46"/>
                    </a:cubicBezTo>
                    <a:cubicBezTo>
                      <a:pt x="138" y="45"/>
                      <a:pt x="141" y="47"/>
                      <a:pt x="143" y="45"/>
                    </a:cubicBezTo>
                    <a:cubicBezTo>
                      <a:pt x="145" y="43"/>
                      <a:pt x="141" y="38"/>
                      <a:pt x="144" y="36"/>
                    </a:cubicBezTo>
                    <a:cubicBezTo>
                      <a:pt x="146" y="35"/>
                      <a:pt x="147" y="42"/>
                      <a:pt x="149" y="41"/>
                    </a:cubicBezTo>
                    <a:cubicBezTo>
                      <a:pt x="151" y="41"/>
                      <a:pt x="149" y="36"/>
                      <a:pt x="150" y="36"/>
                    </a:cubicBezTo>
                    <a:cubicBezTo>
                      <a:pt x="153" y="36"/>
                      <a:pt x="155" y="42"/>
                      <a:pt x="157" y="40"/>
                    </a:cubicBezTo>
                    <a:cubicBezTo>
                      <a:pt x="159" y="38"/>
                      <a:pt x="155" y="34"/>
                      <a:pt x="157" y="31"/>
                    </a:cubicBezTo>
                    <a:cubicBezTo>
                      <a:pt x="157" y="30"/>
                      <a:pt x="161" y="30"/>
                      <a:pt x="162" y="31"/>
                    </a:cubicBezTo>
                    <a:cubicBezTo>
                      <a:pt x="163" y="32"/>
                      <a:pt x="159" y="37"/>
                      <a:pt x="161" y="36"/>
                    </a:cubicBezTo>
                    <a:cubicBezTo>
                      <a:pt x="164" y="33"/>
                      <a:pt x="165" y="27"/>
                      <a:pt x="169" y="26"/>
                    </a:cubicBezTo>
                    <a:cubicBezTo>
                      <a:pt x="171" y="25"/>
                      <a:pt x="168" y="31"/>
                      <a:pt x="168" y="33"/>
                    </a:cubicBezTo>
                    <a:cubicBezTo>
                      <a:pt x="167" y="35"/>
                      <a:pt x="164" y="40"/>
                      <a:pt x="166" y="39"/>
                    </a:cubicBezTo>
                    <a:cubicBezTo>
                      <a:pt x="169" y="36"/>
                      <a:pt x="169" y="31"/>
                      <a:pt x="173" y="29"/>
                    </a:cubicBezTo>
                    <a:cubicBezTo>
                      <a:pt x="175" y="27"/>
                      <a:pt x="178" y="26"/>
                      <a:pt x="180" y="27"/>
                    </a:cubicBezTo>
                    <a:cubicBezTo>
                      <a:pt x="183" y="28"/>
                      <a:pt x="183" y="36"/>
                      <a:pt x="186" y="35"/>
                    </a:cubicBezTo>
                    <a:cubicBezTo>
                      <a:pt x="189" y="34"/>
                      <a:pt x="187" y="28"/>
                      <a:pt x="186" y="25"/>
                    </a:cubicBezTo>
                    <a:cubicBezTo>
                      <a:pt x="186" y="23"/>
                      <a:pt x="182" y="22"/>
                      <a:pt x="182" y="19"/>
                    </a:cubicBezTo>
                    <a:cubicBezTo>
                      <a:pt x="182" y="18"/>
                      <a:pt x="185" y="18"/>
                      <a:pt x="187" y="19"/>
                    </a:cubicBezTo>
                    <a:cubicBezTo>
                      <a:pt x="189" y="19"/>
                      <a:pt x="191" y="22"/>
                      <a:pt x="194" y="23"/>
                    </a:cubicBezTo>
                    <a:cubicBezTo>
                      <a:pt x="197" y="25"/>
                      <a:pt x="200" y="28"/>
                      <a:pt x="203" y="27"/>
                    </a:cubicBezTo>
                    <a:cubicBezTo>
                      <a:pt x="205" y="26"/>
                      <a:pt x="202" y="22"/>
                      <a:pt x="203" y="20"/>
                    </a:cubicBezTo>
                    <a:cubicBezTo>
                      <a:pt x="204" y="17"/>
                      <a:pt x="206" y="15"/>
                      <a:pt x="208" y="14"/>
                    </a:cubicBezTo>
                    <a:cubicBezTo>
                      <a:pt x="210" y="12"/>
                      <a:pt x="213" y="11"/>
                      <a:pt x="215" y="9"/>
                    </a:cubicBezTo>
                    <a:cubicBezTo>
                      <a:pt x="216" y="7"/>
                      <a:pt x="212" y="3"/>
                      <a:pt x="214" y="3"/>
                    </a:cubicBezTo>
                    <a:cubicBezTo>
                      <a:pt x="217" y="3"/>
                      <a:pt x="218" y="8"/>
                      <a:pt x="221" y="8"/>
                    </a:cubicBezTo>
                    <a:cubicBezTo>
                      <a:pt x="224" y="8"/>
                      <a:pt x="223" y="6"/>
                      <a:pt x="226" y="6"/>
                    </a:cubicBezTo>
                    <a:cubicBezTo>
                      <a:pt x="228" y="6"/>
                      <a:pt x="229" y="6"/>
                      <a:pt x="228" y="8"/>
                    </a:cubicBezTo>
                    <a:cubicBezTo>
                      <a:pt x="227" y="11"/>
                      <a:pt x="222" y="11"/>
                      <a:pt x="221" y="14"/>
                    </a:cubicBezTo>
                    <a:cubicBezTo>
                      <a:pt x="220" y="17"/>
                      <a:pt x="218" y="25"/>
                      <a:pt x="221" y="23"/>
                    </a:cubicBezTo>
                    <a:cubicBezTo>
                      <a:pt x="227" y="22"/>
                      <a:pt x="228" y="14"/>
                      <a:pt x="232" y="10"/>
                    </a:cubicBezTo>
                    <a:cubicBezTo>
                      <a:pt x="233" y="9"/>
                      <a:pt x="236" y="4"/>
                      <a:pt x="237" y="6"/>
                    </a:cubicBezTo>
                    <a:cubicBezTo>
                      <a:pt x="239" y="9"/>
                      <a:pt x="235" y="14"/>
                      <a:pt x="237" y="17"/>
                    </a:cubicBezTo>
                    <a:cubicBezTo>
                      <a:pt x="238" y="19"/>
                      <a:pt x="241" y="17"/>
                      <a:pt x="242" y="15"/>
                    </a:cubicBezTo>
                    <a:cubicBezTo>
                      <a:pt x="244" y="13"/>
                      <a:pt x="244" y="10"/>
                      <a:pt x="244" y="8"/>
                    </a:cubicBezTo>
                    <a:cubicBezTo>
                      <a:pt x="245" y="6"/>
                      <a:pt x="242" y="5"/>
                      <a:pt x="243" y="4"/>
                    </a:cubicBezTo>
                    <a:cubicBezTo>
                      <a:pt x="246" y="2"/>
                      <a:pt x="249" y="0"/>
                      <a:pt x="252" y="1"/>
                    </a:cubicBezTo>
                    <a:cubicBezTo>
                      <a:pt x="255" y="2"/>
                      <a:pt x="257" y="5"/>
                      <a:pt x="256" y="7"/>
                    </a:cubicBezTo>
                    <a:cubicBezTo>
                      <a:pt x="255" y="9"/>
                      <a:pt x="251" y="6"/>
                      <a:pt x="251" y="7"/>
                    </a:cubicBezTo>
                    <a:cubicBezTo>
                      <a:pt x="250" y="9"/>
                      <a:pt x="255" y="10"/>
                      <a:pt x="254" y="12"/>
                    </a:cubicBezTo>
                    <a:cubicBezTo>
                      <a:pt x="254" y="14"/>
                      <a:pt x="248" y="15"/>
                      <a:pt x="250" y="16"/>
                    </a:cubicBezTo>
                    <a:cubicBezTo>
                      <a:pt x="252" y="17"/>
                      <a:pt x="255" y="15"/>
                      <a:pt x="257" y="14"/>
                    </a:cubicBezTo>
                    <a:cubicBezTo>
                      <a:pt x="259" y="12"/>
                      <a:pt x="259" y="7"/>
                      <a:pt x="262" y="7"/>
                    </a:cubicBezTo>
                    <a:cubicBezTo>
                      <a:pt x="264" y="6"/>
                      <a:pt x="266" y="9"/>
                      <a:pt x="268" y="10"/>
                    </a:cubicBezTo>
                    <a:cubicBezTo>
                      <a:pt x="270" y="11"/>
                      <a:pt x="272" y="10"/>
                      <a:pt x="275" y="11"/>
                    </a:cubicBezTo>
                    <a:cubicBezTo>
                      <a:pt x="278" y="13"/>
                      <a:pt x="285" y="14"/>
                      <a:pt x="285" y="19"/>
                    </a:cubicBezTo>
                    <a:cubicBezTo>
                      <a:pt x="286" y="22"/>
                      <a:pt x="280" y="23"/>
                      <a:pt x="276" y="23"/>
                    </a:cubicBezTo>
                    <a:cubicBezTo>
                      <a:pt x="271" y="24"/>
                      <a:pt x="263" y="17"/>
                      <a:pt x="261" y="22"/>
                    </a:cubicBezTo>
                    <a:cubicBezTo>
                      <a:pt x="258" y="26"/>
                      <a:pt x="270" y="25"/>
                      <a:pt x="274" y="28"/>
                    </a:cubicBezTo>
                    <a:cubicBezTo>
                      <a:pt x="275" y="28"/>
                      <a:pt x="273" y="31"/>
                      <a:pt x="274" y="31"/>
                    </a:cubicBezTo>
                    <a:cubicBezTo>
                      <a:pt x="276" y="32"/>
                      <a:pt x="279" y="29"/>
                      <a:pt x="281" y="30"/>
                    </a:cubicBezTo>
                    <a:cubicBezTo>
                      <a:pt x="283" y="30"/>
                      <a:pt x="285" y="32"/>
                      <a:pt x="287" y="33"/>
                    </a:cubicBezTo>
                    <a:cubicBezTo>
                      <a:pt x="286" y="34"/>
                      <a:pt x="286" y="36"/>
                      <a:pt x="284" y="36"/>
                    </a:cubicBezTo>
                    <a:cubicBezTo>
                      <a:pt x="282" y="36"/>
                      <a:pt x="280" y="33"/>
                      <a:pt x="278" y="33"/>
                    </a:cubicBezTo>
                    <a:cubicBezTo>
                      <a:pt x="276" y="33"/>
                      <a:pt x="277" y="38"/>
                      <a:pt x="276" y="38"/>
                    </a:cubicBezTo>
                    <a:cubicBezTo>
                      <a:pt x="273" y="39"/>
                      <a:pt x="271" y="40"/>
                      <a:pt x="269" y="41"/>
                    </a:cubicBezTo>
                    <a:cubicBezTo>
                      <a:pt x="268" y="43"/>
                      <a:pt x="269" y="46"/>
                      <a:pt x="268" y="47"/>
                    </a:cubicBezTo>
                    <a:cubicBezTo>
                      <a:pt x="267" y="48"/>
                      <a:pt x="265" y="46"/>
                      <a:pt x="264" y="46"/>
                    </a:cubicBezTo>
                    <a:cubicBezTo>
                      <a:pt x="265" y="42"/>
                      <a:pt x="268" y="39"/>
                      <a:pt x="267" y="35"/>
                    </a:cubicBezTo>
                    <a:cubicBezTo>
                      <a:pt x="267" y="32"/>
                      <a:pt x="262" y="32"/>
                      <a:pt x="259" y="30"/>
                    </a:cubicBezTo>
                    <a:cubicBezTo>
                      <a:pt x="255" y="29"/>
                      <a:pt x="251" y="23"/>
                      <a:pt x="247" y="25"/>
                    </a:cubicBezTo>
                    <a:cubicBezTo>
                      <a:pt x="244" y="28"/>
                      <a:pt x="239" y="27"/>
                      <a:pt x="236" y="26"/>
                    </a:cubicBezTo>
                    <a:cubicBezTo>
                      <a:pt x="234" y="28"/>
                      <a:pt x="231" y="33"/>
                      <a:pt x="230" y="38"/>
                    </a:cubicBezTo>
                    <a:cubicBezTo>
                      <a:pt x="229" y="41"/>
                      <a:pt x="231" y="45"/>
                      <a:pt x="230" y="48"/>
                    </a:cubicBezTo>
                    <a:cubicBezTo>
                      <a:pt x="229" y="50"/>
                      <a:pt x="225" y="48"/>
                      <a:pt x="224" y="50"/>
                    </a:cubicBezTo>
                    <a:cubicBezTo>
                      <a:pt x="222" y="52"/>
                      <a:pt x="225" y="56"/>
                      <a:pt x="223" y="56"/>
                    </a:cubicBezTo>
                    <a:cubicBezTo>
                      <a:pt x="218" y="56"/>
                      <a:pt x="214" y="51"/>
                      <a:pt x="210" y="51"/>
                    </a:cubicBezTo>
                    <a:cubicBezTo>
                      <a:pt x="207" y="51"/>
                      <a:pt x="204" y="56"/>
                      <a:pt x="202" y="55"/>
                    </a:cubicBezTo>
                    <a:cubicBezTo>
                      <a:pt x="198" y="53"/>
                      <a:pt x="194" y="54"/>
                      <a:pt x="192" y="53"/>
                    </a:cubicBezTo>
                    <a:cubicBezTo>
                      <a:pt x="188" y="48"/>
                      <a:pt x="187" y="39"/>
                      <a:pt x="179" y="37"/>
                    </a:cubicBezTo>
                    <a:cubicBezTo>
                      <a:pt x="177" y="37"/>
                      <a:pt x="180" y="42"/>
                      <a:pt x="179" y="44"/>
                    </a:cubicBezTo>
                    <a:cubicBezTo>
                      <a:pt x="178" y="45"/>
                      <a:pt x="176" y="45"/>
                      <a:pt x="175" y="46"/>
                    </a:cubicBezTo>
                    <a:cubicBezTo>
                      <a:pt x="173" y="46"/>
                      <a:pt x="169" y="44"/>
                      <a:pt x="168" y="46"/>
                    </a:cubicBezTo>
                    <a:cubicBezTo>
                      <a:pt x="166" y="50"/>
                      <a:pt x="171" y="57"/>
                      <a:pt x="167" y="59"/>
                    </a:cubicBezTo>
                    <a:cubicBezTo>
                      <a:pt x="163" y="62"/>
                      <a:pt x="159" y="55"/>
                      <a:pt x="154" y="54"/>
                    </a:cubicBezTo>
                    <a:cubicBezTo>
                      <a:pt x="152" y="53"/>
                      <a:pt x="148" y="53"/>
                      <a:pt x="146" y="55"/>
                    </a:cubicBezTo>
                    <a:cubicBezTo>
                      <a:pt x="144" y="59"/>
                      <a:pt x="147" y="65"/>
                      <a:pt x="144" y="69"/>
                    </a:cubicBezTo>
                    <a:cubicBezTo>
                      <a:pt x="143" y="71"/>
                      <a:pt x="140" y="65"/>
                      <a:pt x="138" y="66"/>
                    </a:cubicBezTo>
                    <a:cubicBezTo>
                      <a:pt x="132" y="69"/>
                      <a:pt x="128" y="75"/>
                      <a:pt x="124" y="81"/>
                    </a:cubicBezTo>
                    <a:cubicBezTo>
                      <a:pt x="123" y="84"/>
                      <a:pt x="126" y="87"/>
                      <a:pt x="124" y="89"/>
                    </a:cubicBezTo>
                    <a:cubicBezTo>
                      <a:pt x="120" y="93"/>
                      <a:pt x="117" y="98"/>
                      <a:pt x="116" y="103"/>
                    </a:cubicBezTo>
                    <a:cubicBezTo>
                      <a:pt x="115" y="106"/>
                      <a:pt x="109" y="104"/>
                      <a:pt x="107" y="106"/>
                    </a:cubicBezTo>
                    <a:cubicBezTo>
                      <a:pt x="105" y="108"/>
                      <a:pt x="106" y="110"/>
                      <a:pt x="105" y="112"/>
                    </a:cubicBezTo>
                    <a:cubicBezTo>
                      <a:pt x="104" y="121"/>
                      <a:pt x="100" y="130"/>
                      <a:pt x="100" y="140"/>
                    </a:cubicBezTo>
                    <a:cubicBezTo>
                      <a:pt x="100" y="143"/>
                      <a:pt x="105" y="146"/>
                      <a:pt x="103" y="148"/>
                    </a:cubicBezTo>
                    <a:cubicBezTo>
                      <a:pt x="99" y="151"/>
                      <a:pt x="93" y="146"/>
                      <a:pt x="88" y="148"/>
                    </a:cubicBezTo>
                    <a:cubicBezTo>
                      <a:pt x="85" y="150"/>
                      <a:pt x="82" y="154"/>
                      <a:pt x="82" y="157"/>
                    </a:cubicBezTo>
                    <a:cubicBezTo>
                      <a:pt x="81" y="169"/>
                      <a:pt x="81" y="180"/>
                      <a:pt x="81" y="191"/>
                    </a:cubicBezTo>
                    <a:cubicBezTo>
                      <a:pt x="81" y="195"/>
                      <a:pt x="87" y="198"/>
                      <a:pt x="89" y="202"/>
                    </a:cubicBezTo>
                    <a:cubicBezTo>
                      <a:pt x="90" y="203"/>
                      <a:pt x="89" y="205"/>
                      <a:pt x="88" y="206"/>
                    </a:cubicBezTo>
                    <a:cubicBezTo>
                      <a:pt x="88" y="207"/>
                      <a:pt x="85" y="207"/>
                      <a:pt x="85" y="208"/>
                    </a:cubicBezTo>
                    <a:cubicBezTo>
                      <a:pt x="84" y="214"/>
                      <a:pt x="87" y="220"/>
                      <a:pt x="86" y="225"/>
                    </a:cubicBezTo>
                    <a:cubicBezTo>
                      <a:pt x="86" y="228"/>
                      <a:pt x="82" y="228"/>
                      <a:pt x="81" y="230"/>
                    </a:cubicBezTo>
                    <a:cubicBezTo>
                      <a:pt x="79" y="233"/>
                      <a:pt x="78" y="236"/>
                      <a:pt x="77" y="239"/>
                    </a:cubicBezTo>
                    <a:cubicBezTo>
                      <a:pt x="77" y="241"/>
                      <a:pt x="77" y="244"/>
                      <a:pt x="77" y="24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0" name="Freeform 2651"/>
              <p:cNvSpPr>
                <a:spLocks noChangeAspect="1"/>
              </p:cNvSpPr>
              <p:nvPr/>
            </p:nvSpPr>
            <p:spPr bwMode="auto">
              <a:xfrm>
                <a:off x="4592557" y="2361335"/>
                <a:ext cx="212626" cy="261486"/>
              </a:xfrm>
              <a:custGeom>
                <a:avLst/>
                <a:gdLst>
                  <a:gd name="T0" fmla="*/ 113 w 108"/>
                  <a:gd name="T1" fmla="*/ 24 h 134"/>
                  <a:gd name="T2" fmla="*/ 107 w 108"/>
                  <a:gd name="T3" fmla="*/ 18 h 134"/>
                  <a:gd name="T4" fmla="*/ 93 w 108"/>
                  <a:gd name="T5" fmla="*/ 13 h 134"/>
                  <a:gd name="T6" fmla="*/ 78 w 108"/>
                  <a:gd name="T7" fmla="*/ 19 h 134"/>
                  <a:gd name="T8" fmla="*/ 75 w 108"/>
                  <a:gd name="T9" fmla="*/ 11 h 134"/>
                  <a:gd name="T10" fmla="*/ 63 w 108"/>
                  <a:gd name="T11" fmla="*/ 11 h 134"/>
                  <a:gd name="T12" fmla="*/ 58 w 108"/>
                  <a:gd name="T13" fmla="*/ 5 h 134"/>
                  <a:gd name="T14" fmla="*/ 47 w 108"/>
                  <a:gd name="T15" fmla="*/ 2 h 134"/>
                  <a:gd name="T16" fmla="*/ 39 w 108"/>
                  <a:gd name="T17" fmla="*/ 0 h 134"/>
                  <a:gd name="T18" fmla="*/ 42 w 108"/>
                  <a:gd name="T19" fmla="*/ 10 h 134"/>
                  <a:gd name="T20" fmla="*/ 42 w 108"/>
                  <a:gd name="T21" fmla="*/ 18 h 134"/>
                  <a:gd name="T22" fmla="*/ 43 w 108"/>
                  <a:gd name="T23" fmla="*/ 20 h 134"/>
                  <a:gd name="T24" fmla="*/ 37 w 108"/>
                  <a:gd name="T25" fmla="*/ 23 h 134"/>
                  <a:gd name="T26" fmla="*/ 34 w 108"/>
                  <a:gd name="T27" fmla="*/ 26 h 134"/>
                  <a:gd name="T28" fmla="*/ 29 w 108"/>
                  <a:gd name="T29" fmla="*/ 31 h 134"/>
                  <a:gd name="T30" fmla="*/ 23 w 108"/>
                  <a:gd name="T31" fmla="*/ 26 h 134"/>
                  <a:gd name="T32" fmla="*/ 19 w 108"/>
                  <a:gd name="T33" fmla="*/ 32 h 134"/>
                  <a:gd name="T34" fmla="*/ 17 w 108"/>
                  <a:gd name="T35" fmla="*/ 42 h 134"/>
                  <a:gd name="T36" fmla="*/ 16 w 108"/>
                  <a:gd name="T37" fmla="*/ 55 h 134"/>
                  <a:gd name="T38" fmla="*/ 11 w 108"/>
                  <a:gd name="T39" fmla="*/ 64 h 134"/>
                  <a:gd name="T40" fmla="*/ 1 w 108"/>
                  <a:gd name="T41" fmla="*/ 65 h 134"/>
                  <a:gd name="T42" fmla="*/ 2 w 108"/>
                  <a:gd name="T43" fmla="*/ 79 h 134"/>
                  <a:gd name="T44" fmla="*/ 1 w 108"/>
                  <a:gd name="T45" fmla="*/ 87 h 134"/>
                  <a:gd name="T46" fmla="*/ 4 w 108"/>
                  <a:gd name="T47" fmla="*/ 93 h 134"/>
                  <a:gd name="T48" fmla="*/ 7 w 108"/>
                  <a:gd name="T49" fmla="*/ 96 h 134"/>
                  <a:gd name="T50" fmla="*/ 4 w 108"/>
                  <a:gd name="T51" fmla="*/ 103 h 134"/>
                  <a:gd name="T52" fmla="*/ 8 w 108"/>
                  <a:gd name="T53" fmla="*/ 109 h 134"/>
                  <a:gd name="T54" fmla="*/ 10 w 108"/>
                  <a:gd name="T55" fmla="*/ 115 h 134"/>
                  <a:gd name="T56" fmla="*/ 18 w 108"/>
                  <a:gd name="T57" fmla="*/ 121 h 134"/>
                  <a:gd name="T58" fmla="*/ 26 w 108"/>
                  <a:gd name="T59" fmla="*/ 124 h 134"/>
                  <a:gd name="T60" fmla="*/ 30 w 108"/>
                  <a:gd name="T61" fmla="*/ 129 h 134"/>
                  <a:gd name="T62" fmla="*/ 25 w 108"/>
                  <a:gd name="T63" fmla="*/ 143 h 134"/>
                  <a:gd name="T64" fmla="*/ 25 w 108"/>
                  <a:gd name="T65" fmla="*/ 156 h 134"/>
                  <a:gd name="T66" fmla="*/ 35 w 108"/>
                  <a:gd name="T67" fmla="*/ 155 h 134"/>
                  <a:gd name="T68" fmla="*/ 39 w 108"/>
                  <a:gd name="T69" fmla="*/ 150 h 134"/>
                  <a:gd name="T70" fmla="*/ 49 w 108"/>
                  <a:gd name="T71" fmla="*/ 153 h 134"/>
                  <a:gd name="T72" fmla="*/ 54 w 108"/>
                  <a:gd name="T73" fmla="*/ 160 h 134"/>
                  <a:gd name="T74" fmla="*/ 64 w 108"/>
                  <a:gd name="T75" fmla="*/ 161 h 134"/>
                  <a:gd name="T76" fmla="*/ 72 w 108"/>
                  <a:gd name="T77" fmla="*/ 156 h 134"/>
                  <a:gd name="T78" fmla="*/ 83 w 108"/>
                  <a:gd name="T79" fmla="*/ 155 h 134"/>
                  <a:gd name="T80" fmla="*/ 102 w 108"/>
                  <a:gd name="T81" fmla="*/ 149 h 134"/>
                  <a:gd name="T82" fmla="*/ 108 w 108"/>
                  <a:gd name="T83" fmla="*/ 138 h 134"/>
                  <a:gd name="T84" fmla="*/ 114 w 108"/>
                  <a:gd name="T85" fmla="*/ 133 h 134"/>
                  <a:gd name="T86" fmla="*/ 106 w 108"/>
                  <a:gd name="T87" fmla="*/ 121 h 134"/>
                  <a:gd name="T88" fmla="*/ 94 w 108"/>
                  <a:gd name="T89" fmla="*/ 108 h 134"/>
                  <a:gd name="T90" fmla="*/ 88 w 108"/>
                  <a:gd name="T91" fmla="*/ 97 h 134"/>
                  <a:gd name="T92" fmla="*/ 96 w 108"/>
                  <a:gd name="T93" fmla="*/ 95 h 134"/>
                  <a:gd name="T94" fmla="*/ 113 w 108"/>
                  <a:gd name="T95" fmla="*/ 89 h 134"/>
                  <a:gd name="T96" fmla="*/ 122 w 108"/>
                  <a:gd name="T97" fmla="*/ 82 h 134"/>
                  <a:gd name="T98" fmla="*/ 129 w 108"/>
                  <a:gd name="T99" fmla="*/ 82 h 134"/>
                  <a:gd name="T100" fmla="*/ 125 w 108"/>
                  <a:gd name="T101" fmla="*/ 73 h 134"/>
                  <a:gd name="T102" fmla="*/ 125 w 108"/>
                  <a:gd name="T103" fmla="*/ 61 h 134"/>
                  <a:gd name="T104" fmla="*/ 123 w 108"/>
                  <a:gd name="T105" fmla="*/ 52 h 134"/>
                  <a:gd name="T106" fmla="*/ 120 w 108"/>
                  <a:gd name="T107" fmla="*/ 34 h 13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08"/>
                  <a:gd name="T163" fmla="*/ 0 h 134"/>
                  <a:gd name="T164" fmla="*/ 108 w 108"/>
                  <a:gd name="T165" fmla="*/ 134 h 13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08" h="134">
                    <a:moveTo>
                      <a:pt x="98" y="21"/>
                    </a:moveTo>
                    <a:cubicBezTo>
                      <a:pt x="97" y="21"/>
                      <a:pt x="94" y="21"/>
                      <a:pt x="94" y="20"/>
                    </a:cubicBezTo>
                    <a:cubicBezTo>
                      <a:pt x="94" y="19"/>
                      <a:pt x="98" y="19"/>
                      <a:pt x="97" y="18"/>
                    </a:cubicBezTo>
                    <a:cubicBezTo>
                      <a:pt x="95" y="16"/>
                      <a:pt x="92" y="17"/>
                      <a:pt x="89" y="15"/>
                    </a:cubicBezTo>
                    <a:cubicBezTo>
                      <a:pt x="87" y="14"/>
                      <a:pt x="86" y="12"/>
                      <a:pt x="84" y="11"/>
                    </a:cubicBezTo>
                    <a:cubicBezTo>
                      <a:pt x="82" y="11"/>
                      <a:pt x="79" y="11"/>
                      <a:pt x="77" y="11"/>
                    </a:cubicBezTo>
                    <a:cubicBezTo>
                      <a:pt x="75" y="12"/>
                      <a:pt x="73" y="13"/>
                      <a:pt x="71" y="13"/>
                    </a:cubicBezTo>
                    <a:cubicBezTo>
                      <a:pt x="69" y="14"/>
                      <a:pt x="67" y="15"/>
                      <a:pt x="65" y="16"/>
                    </a:cubicBezTo>
                    <a:cubicBezTo>
                      <a:pt x="62" y="16"/>
                      <a:pt x="58" y="19"/>
                      <a:pt x="57" y="16"/>
                    </a:cubicBezTo>
                    <a:cubicBezTo>
                      <a:pt x="56" y="13"/>
                      <a:pt x="62" y="12"/>
                      <a:pt x="62" y="9"/>
                    </a:cubicBezTo>
                    <a:cubicBezTo>
                      <a:pt x="62" y="7"/>
                      <a:pt x="59" y="11"/>
                      <a:pt x="57" y="11"/>
                    </a:cubicBezTo>
                    <a:cubicBezTo>
                      <a:pt x="55" y="11"/>
                      <a:pt x="54" y="10"/>
                      <a:pt x="52" y="9"/>
                    </a:cubicBezTo>
                    <a:cubicBezTo>
                      <a:pt x="50" y="9"/>
                      <a:pt x="48" y="11"/>
                      <a:pt x="46" y="9"/>
                    </a:cubicBezTo>
                    <a:cubicBezTo>
                      <a:pt x="45" y="8"/>
                      <a:pt x="49" y="6"/>
                      <a:pt x="48" y="4"/>
                    </a:cubicBezTo>
                    <a:cubicBezTo>
                      <a:pt x="47" y="3"/>
                      <a:pt x="45" y="3"/>
                      <a:pt x="44" y="3"/>
                    </a:cubicBezTo>
                    <a:cubicBezTo>
                      <a:pt x="42" y="3"/>
                      <a:pt x="41" y="3"/>
                      <a:pt x="39" y="2"/>
                    </a:cubicBezTo>
                    <a:cubicBezTo>
                      <a:pt x="38" y="2"/>
                      <a:pt x="37" y="1"/>
                      <a:pt x="36" y="1"/>
                    </a:cubicBezTo>
                    <a:cubicBezTo>
                      <a:pt x="34" y="1"/>
                      <a:pt x="33" y="1"/>
                      <a:pt x="32" y="0"/>
                    </a:cubicBezTo>
                    <a:cubicBezTo>
                      <a:pt x="32" y="1"/>
                      <a:pt x="32" y="3"/>
                      <a:pt x="32" y="3"/>
                    </a:cubicBezTo>
                    <a:cubicBezTo>
                      <a:pt x="33" y="5"/>
                      <a:pt x="35" y="6"/>
                      <a:pt x="35" y="8"/>
                    </a:cubicBezTo>
                    <a:cubicBezTo>
                      <a:pt x="34" y="10"/>
                      <a:pt x="30" y="9"/>
                      <a:pt x="30" y="11"/>
                    </a:cubicBezTo>
                    <a:cubicBezTo>
                      <a:pt x="30" y="13"/>
                      <a:pt x="34" y="13"/>
                      <a:pt x="35" y="15"/>
                    </a:cubicBezTo>
                    <a:cubicBezTo>
                      <a:pt x="35" y="16"/>
                      <a:pt x="31" y="14"/>
                      <a:pt x="32" y="15"/>
                    </a:cubicBezTo>
                    <a:cubicBezTo>
                      <a:pt x="33" y="16"/>
                      <a:pt x="35" y="16"/>
                      <a:pt x="36" y="17"/>
                    </a:cubicBezTo>
                    <a:cubicBezTo>
                      <a:pt x="37" y="18"/>
                      <a:pt x="37" y="20"/>
                      <a:pt x="37" y="20"/>
                    </a:cubicBezTo>
                    <a:cubicBezTo>
                      <a:pt x="35" y="21"/>
                      <a:pt x="32" y="18"/>
                      <a:pt x="31" y="19"/>
                    </a:cubicBezTo>
                    <a:cubicBezTo>
                      <a:pt x="29" y="21"/>
                      <a:pt x="33" y="24"/>
                      <a:pt x="32" y="25"/>
                    </a:cubicBezTo>
                    <a:cubicBezTo>
                      <a:pt x="31" y="26"/>
                      <a:pt x="29" y="21"/>
                      <a:pt x="28" y="22"/>
                    </a:cubicBezTo>
                    <a:cubicBezTo>
                      <a:pt x="27" y="23"/>
                      <a:pt x="29" y="26"/>
                      <a:pt x="28" y="27"/>
                    </a:cubicBezTo>
                    <a:cubicBezTo>
                      <a:pt x="27" y="28"/>
                      <a:pt x="25" y="27"/>
                      <a:pt x="24" y="26"/>
                    </a:cubicBezTo>
                    <a:cubicBezTo>
                      <a:pt x="23" y="25"/>
                      <a:pt x="25" y="23"/>
                      <a:pt x="24" y="23"/>
                    </a:cubicBezTo>
                    <a:cubicBezTo>
                      <a:pt x="23" y="21"/>
                      <a:pt x="20" y="22"/>
                      <a:pt x="19" y="22"/>
                    </a:cubicBezTo>
                    <a:cubicBezTo>
                      <a:pt x="17" y="23"/>
                      <a:pt x="15" y="24"/>
                      <a:pt x="14" y="26"/>
                    </a:cubicBezTo>
                    <a:cubicBezTo>
                      <a:pt x="14" y="26"/>
                      <a:pt x="16" y="26"/>
                      <a:pt x="16" y="27"/>
                    </a:cubicBezTo>
                    <a:cubicBezTo>
                      <a:pt x="16" y="28"/>
                      <a:pt x="15" y="30"/>
                      <a:pt x="15" y="31"/>
                    </a:cubicBezTo>
                    <a:cubicBezTo>
                      <a:pt x="15" y="32"/>
                      <a:pt x="15" y="33"/>
                      <a:pt x="14" y="35"/>
                    </a:cubicBezTo>
                    <a:cubicBezTo>
                      <a:pt x="14" y="37"/>
                      <a:pt x="12" y="38"/>
                      <a:pt x="12" y="40"/>
                    </a:cubicBezTo>
                    <a:cubicBezTo>
                      <a:pt x="12" y="42"/>
                      <a:pt x="13" y="44"/>
                      <a:pt x="13" y="46"/>
                    </a:cubicBezTo>
                    <a:cubicBezTo>
                      <a:pt x="12" y="47"/>
                      <a:pt x="10" y="48"/>
                      <a:pt x="9" y="49"/>
                    </a:cubicBezTo>
                    <a:cubicBezTo>
                      <a:pt x="9" y="51"/>
                      <a:pt x="10" y="52"/>
                      <a:pt x="9" y="53"/>
                    </a:cubicBezTo>
                    <a:cubicBezTo>
                      <a:pt x="8" y="54"/>
                      <a:pt x="6" y="54"/>
                      <a:pt x="5" y="54"/>
                    </a:cubicBezTo>
                    <a:cubicBezTo>
                      <a:pt x="4" y="55"/>
                      <a:pt x="1" y="53"/>
                      <a:pt x="1" y="54"/>
                    </a:cubicBezTo>
                    <a:cubicBezTo>
                      <a:pt x="0" y="57"/>
                      <a:pt x="3" y="59"/>
                      <a:pt x="3" y="62"/>
                    </a:cubicBezTo>
                    <a:cubicBezTo>
                      <a:pt x="3" y="63"/>
                      <a:pt x="3" y="65"/>
                      <a:pt x="2" y="66"/>
                    </a:cubicBezTo>
                    <a:cubicBezTo>
                      <a:pt x="2" y="67"/>
                      <a:pt x="1" y="68"/>
                      <a:pt x="1" y="69"/>
                    </a:cubicBezTo>
                    <a:cubicBezTo>
                      <a:pt x="0" y="70"/>
                      <a:pt x="1" y="71"/>
                      <a:pt x="1" y="72"/>
                    </a:cubicBezTo>
                    <a:cubicBezTo>
                      <a:pt x="2" y="73"/>
                      <a:pt x="3" y="74"/>
                      <a:pt x="4" y="75"/>
                    </a:cubicBezTo>
                    <a:cubicBezTo>
                      <a:pt x="4" y="75"/>
                      <a:pt x="3" y="76"/>
                      <a:pt x="3" y="77"/>
                    </a:cubicBezTo>
                    <a:cubicBezTo>
                      <a:pt x="4" y="77"/>
                      <a:pt x="5" y="77"/>
                      <a:pt x="5" y="77"/>
                    </a:cubicBezTo>
                    <a:cubicBezTo>
                      <a:pt x="6" y="78"/>
                      <a:pt x="6" y="79"/>
                      <a:pt x="6" y="80"/>
                    </a:cubicBezTo>
                    <a:cubicBezTo>
                      <a:pt x="5" y="82"/>
                      <a:pt x="3" y="82"/>
                      <a:pt x="2" y="83"/>
                    </a:cubicBezTo>
                    <a:cubicBezTo>
                      <a:pt x="2" y="84"/>
                      <a:pt x="3" y="85"/>
                      <a:pt x="3" y="86"/>
                    </a:cubicBezTo>
                    <a:cubicBezTo>
                      <a:pt x="4" y="87"/>
                      <a:pt x="5" y="88"/>
                      <a:pt x="6" y="89"/>
                    </a:cubicBezTo>
                    <a:cubicBezTo>
                      <a:pt x="7" y="89"/>
                      <a:pt x="7" y="90"/>
                      <a:pt x="7" y="91"/>
                    </a:cubicBezTo>
                    <a:cubicBezTo>
                      <a:pt x="7" y="92"/>
                      <a:pt x="6" y="93"/>
                      <a:pt x="6" y="95"/>
                    </a:cubicBezTo>
                    <a:cubicBezTo>
                      <a:pt x="7" y="95"/>
                      <a:pt x="7" y="96"/>
                      <a:pt x="8" y="96"/>
                    </a:cubicBezTo>
                    <a:cubicBezTo>
                      <a:pt x="9" y="97"/>
                      <a:pt x="10" y="98"/>
                      <a:pt x="11" y="99"/>
                    </a:cubicBezTo>
                    <a:cubicBezTo>
                      <a:pt x="12" y="100"/>
                      <a:pt x="13" y="100"/>
                      <a:pt x="15" y="101"/>
                    </a:cubicBezTo>
                    <a:cubicBezTo>
                      <a:pt x="16" y="101"/>
                      <a:pt x="17" y="100"/>
                      <a:pt x="18" y="100"/>
                    </a:cubicBezTo>
                    <a:cubicBezTo>
                      <a:pt x="20" y="101"/>
                      <a:pt x="21" y="102"/>
                      <a:pt x="22" y="103"/>
                    </a:cubicBezTo>
                    <a:cubicBezTo>
                      <a:pt x="24" y="103"/>
                      <a:pt x="27" y="103"/>
                      <a:pt x="28" y="104"/>
                    </a:cubicBezTo>
                    <a:cubicBezTo>
                      <a:pt x="28" y="106"/>
                      <a:pt x="26" y="106"/>
                      <a:pt x="25" y="107"/>
                    </a:cubicBezTo>
                    <a:cubicBezTo>
                      <a:pt x="24" y="109"/>
                      <a:pt x="24" y="111"/>
                      <a:pt x="23" y="113"/>
                    </a:cubicBezTo>
                    <a:cubicBezTo>
                      <a:pt x="22" y="115"/>
                      <a:pt x="21" y="117"/>
                      <a:pt x="21" y="119"/>
                    </a:cubicBezTo>
                    <a:cubicBezTo>
                      <a:pt x="21" y="120"/>
                      <a:pt x="21" y="122"/>
                      <a:pt x="21" y="124"/>
                    </a:cubicBezTo>
                    <a:cubicBezTo>
                      <a:pt x="21" y="126"/>
                      <a:pt x="21" y="128"/>
                      <a:pt x="21" y="130"/>
                    </a:cubicBezTo>
                    <a:cubicBezTo>
                      <a:pt x="22" y="130"/>
                      <a:pt x="24" y="131"/>
                      <a:pt x="26" y="131"/>
                    </a:cubicBezTo>
                    <a:cubicBezTo>
                      <a:pt x="27" y="130"/>
                      <a:pt x="28" y="129"/>
                      <a:pt x="29" y="129"/>
                    </a:cubicBezTo>
                    <a:cubicBezTo>
                      <a:pt x="30" y="128"/>
                      <a:pt x="31" y="129"/>
                      <a:pt x="32" y="128"/>
                    </a:cubicBezTo>
                    <a:cubicBezTo>
                      <a:pt x="33" y="127"/>
                      <a:pt x="31" y="125"/>
                      <a:pt x="32" y="125"/>
                    </a:cubicBezTo>
                    <a:cubicBezTo>
                      <a:pt x="33" y="125"/>
                      <a:pt x="35" y="127"/>
                      <a:pt x="36" y="127"/>
                    </a:cubicBezTo>
                    <a:cubicBezTo>
                      <a:pt x="38" y="127"/>
                      <a:pt x="39" y="127"/>
                      <a:pt x="41" y="127"/>
                    </a:cubicBezTo>
                    <a:cubicBezTo>
                      <a:pt x="42" y="128"/>
                      <a:pt x="43" y="129"/>
                      <a:pt x="44" y="130"/>
                    </a:cubicBezTo>
                    <a:cubicBezTo>
                      <a:pt x="44" y="131"/>
                      <a:pt x="44" y="132"/>
                      <a:pt x="45" y="133"/>
                    </a:cubicBezTo>
                    <a:cubicBezTo>
                      <a:pt x="46" y="132"/>
                      <a:pt x="46" y="129"/>
                      <a:pt x="47" y="129"/>
                    </a:cubicBezTo>
                    <a:cubicBezTo>
                      <a:pt x="50" y="130"/>
                      <a:pt x="51" y="134"/>
                      <a:pt x="53" y="134"/>
                    </a:cubicBezTo>
                    <a:cubicBezTo>
                      <a:pt x="55" y="134"/>
                      <a:pt x="53" y="130"/>
                      <a:pt x="55" y="130"/>
                    </a:cubicBezTo>
                    <a:cubicBezTo>
                      <a:pt x="56" y="129"/>
                      <a:pt x="58" y="130"/>
                      <a:pt x="60" y="130"/>
                    </a:cubicBezTo>
                    <a:cubicBezTo>
                      <a:pt x="62" y="131"/>
                      <a:pt x="63" y="133"/>
                      <a:pt x="65" y="132"/>
                    </a:cubicBezTo>
                    <a:cubicBezTo>
                      <a:pt x="66" y="132"/>
                      <a:pt x="67" y="130"/>
                      <a:pt x="69" y="129"/>
                    </a:cubicBezTo>
                    <a:cubicBezTo>
                      <a:pt x="71" y="128"/>
                      <a:pt x="74" y="128"/>
                      <a:pt x="77" y="127"/>
                    </a:cubicBezTo>
                    <a:cubicBezTo>
                      <a:pt x="79" y="126"/>
                      <a:pt x="83" y="126"/>
                      <a:pt x="85" y="124"/>
                    </a:cubicBezTo>
                    <a:cubicBezTo>
                      <a:pt x="86" y="122"/>
                      <a:pt x="82" y="120"/>
                      <a:pt x="83" y="118"/>
                    </a:cubicBezTo>
                    <a:cubicBezTo>
                      <a:pt x="84" y="116"/>
                      <a:pt x="88" y="117"/>
                      <a:pt x="90" y="115"/>
                    </a:cubicBezTo>
                    <a:cubicBezTo>
                      <a:pt x="91" y="114"/>
                      <a:pt x="89" y="112"/>
                      <a:pt x="90" y="111"/>
                    </a:cubicBezTo>
                    <a:cubicBezTo>
                      <a:pt x="91" y="111"/>
                      <a:pt x="94" y="112"/>
                      <a:pt x="95" y="111"/>
                    </a:cubicBezTo>
                    <a:cubicBezTo>
                      <a:pt x="95" y="111"/>
                      <a:pt x="95" y="109"/>
                      <a:pt x="95" y="108"/>
                    </a:cubicBezTo>
                    <a:cubicBezTo>
                      <a:pt x="93" y="106"/>
                      <a:pt x="91" y="103"/>
                      <a:pt x="88" y="101"/>
                    </a:cubicBezTo>
                    <a:cubicBezTo>
                      <a:pt x="86" y="100"/>
                      <a:pt x="84" y="99"/>
                      <a:pt x="82" y="97"/>
                    </a:cubicBezTo>
                    <a:cubicBezTo>
                      <a:pt x="80" y="95"/>
                      <a:pt x="79" y="93"/>
                      <a:pt x="78" y="90"/>
                    </a:cubicBezTo>
                    <a:cubicBezTo>
                      <a:pt x="77" y="89"/>
                      <a:pt x="79" y="87"/>
                      <a:pt x="78" y="86"/>
                    </a:cubicBezTo>
                    <a:cubicBezTo>
                      <a:pt x="77" y="84"/>
                      <a:pt x="74" y="83"/>
                      <a:pt x="73" y="81"/>
                    </a:cubicBezTo>
                    <a:cubicBezTo>
                      <a:pt x="73" y="80"/>
                      <a:pt x="75" y="81"/>
                      <a:pt x="76" y="80"/>
                    </a:cubicBezTo>
                    <a:cubicBezTo>
                      <a:pt x="78" y="80"/>
                      <a:pt x="79" y="79"/>
                      <a:pt x="80" y="79"/>
                    </a:cubicBezTo>
                    <a:cubicBezTo>
                      <a:pt x="82" y="78"/>
                      <a:pt x="85" y="77"/>
                      <a:pt x="87" y="77"/>
                    </a:cubicBezTo>
                    <a:cubicBezTo>
                      <a:pt x="89" y="76"/>
                      <a:pt x="91" y="75"/>
                      <a:pt x="94" y="74"/>
                    </a:cubicBezTo>
                    <a:cubicBezTo>
                      <a:pt x="96" y="73"/>
                      <a:pt x="98" y="72"/>
                      <a:pt x="100" y="71"/>
                    </a:cubicBezTo>
                    <a:cubicBezTo>
                      <a:pt x="101" y="70"/>
                      <a:pt x="100" y="67"/>
                      <a:pt x="101" y="68"/>
                    </a:cubicBezTo>
                    <a:cubicBezTo>
                      <a:pt x="103" y="68"/>
                      <a:pt x="103" y="72"/>
                      <a:pt x="105" y="72"/>
                    </a:cubicBezTo>
                    <a:cubicBezTo>
                      <a:pt x="107" y="73"/>
                      <a:pt x="106" y="70"/>
                      <a:pt x="107" y="68"/>
                    </a:cubicBezTo>
                    <a:cubicBezTo>
                      <a:pt x="107" y="67"/>
                      <a:pt x="108" y="66"/>
                      <a:pt x="107" y="65"/>
                    </a:cubicBezTo>
                    <a:cubicBezTo>
                      <a:pt x="107" y="63"/>
                      <a:pt x="105" y="62"/>
                      <a:pt x="104" y="61"/>
                    </a:cubicBezTo>
                    <a:cubicBezTo>
                      <a:pt x="103" y="59"/>
                      <a:pt x="102" y="57"/>
                      <a:pt x="102" y="56"/>
                    </a:cubicBezTo>
                    <a:cubicBezTo>
                      <a:pt x="102" y="54"/>
                      <a:pt x="104" y="53"/>
                      <a:pt x="104" y="51"/>
                    </a:cubicBezTo>
                    <a:cubicBezTo>
                      <a:pt x="104" y="49"/>
                      <a:pt x="102" y="48"/>
                      <a:pt x="101" y="46"/>
                    </a:cubicBezTo>
                    <a:cubicBezTo>
                      <a:pt x="101" y="45"/>
                      <a:pt x="103" y="44"/>
                      <a:pt x="102" y="43"/>
                    </a:cubicBezTo>
                    <a:cubicBezTo>
                      <a:pt x="101" y="40"/>
                      <a:pt x="98" y="39"/>
                      <a:pt x="97" y="36"/>
                    </a:cubicBezTo>
                    <a:cubicBezTo>
                      <a:pt x="97" y="33"/>
                      <a:pt x="100" y="31"/>
                      <a:pt x="100" y="28"/>
                    </a:cubicBezTo>
                    <a:cubicBezTo>
                      <a:pt x="100" y="26"/>
                      <a:pt x="99" y="24"/>
                      <a:pt x="98" y="2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1" name="Freeform 2652"/>
              <p:cNvSpPr>
                <a:spLocks noChangeAspect="1"/>
              </p:cNvSpPr>
              <p:nvPr/>
            </p:nvSpPr>
            <p:spPr bwMode="auto">
              <a:xfrm>
                <a:off x="4514048" y="2481521"/>
                <a:ext cx="89958" cy="63342"/>
              </a:xfrm>
              <a:custGeom>
                <a:avLst/>
                <a:gdLst>
                  <a:gd name="T0" fmla="*/ 0 w 46"/>
                  <a:gd name="T1" fmla="*/ 8 h 33"/>
                  <a:gd name="T2" fmla="*/ 6 w 46"/>
                  <a:gd name="T3" fmla="*/ 4 h 33"/>
                  <a:gd name="T4" fmla="*/ 11 w 46"/>
                  <a:gd name="T5" fmla="*/ 2 h 33"/>
                  <a:gd name="T6" fmla="*/ 16 w 46"/>
                  <a:gd name="T7" fmla="*/ 5 h 33"/>
                  <a:gd name="T8" fmla="*/ 20 w 46"/>
                  <a:gd name="T9" fmla="*/ 5 h 33"/>
                  <a:gd name="T10" fmla="*/ 22 w 46"/>
                  <a:gd name="T11" fmla="*/ 4 h 33"/>
                  <a:gd name="T12" fmla="*/ 25 w 46"/>
                  <a:gd name="T13" fmla="*/ 1 h 33"/>
                  <a:gd name="T14" fmla="*/ 28 w 46"/>
                  <a:gd name="T15" fmla="*/ 0 h 33"/>
                  <a:gd name="T16" fmla="*/ 33 w 46"/>
                  <a:gd name="T17" fmla="*/ 0 h 33"/>
                  <a:gd name="T18" fmla="*/ 37 w 46"/>
                  <a:gd name="T19" fmla="*/ 2 h 33"/>
                  <a:gd name="T20" fmla="*/ 38 w 46"/>
                  <a:gd name="T21" fmla="*/ 5 h 33"/>
                  <a:gd name="T22" fmla="*/ 42 w 46"/>
                  <a:gd name="T23" fmla="*/ 5 h 33"/>
                  <a:gd name="T24" fmla="*/ 45 w 46"/>
                  <a:gd name="T25" fmla="*/ 7 h 33"/>
                  <a:gd name="T26" fmla="*/ 44 w 46"/>
                  <a:gd name="T27" fmla="*/ 13 h 33"/>
                  <a:gd name="T28" fmla="*/ 49 w 46"/>
                  <a:gd name="T29" fmla="*/ 13 h 33"/>
                  <a:gd name="T30" fmla="*/ 53 w 46"/>
                  <a:gd name="T31" fmla="*/ 17 h 33"/>
                  <a:gd name="T32" fmla="*/ 51 w 46"/>
                  <a:gd name="T33" fmla="*/ 19 h 33"/>
                  <a:gd name="T34" fmla="*/ 54 w 46"/>
                  <a:gd name="T35" fmla="*/ 19 h 33"/>
                  <a:gd name="T36" fmla="*/ 55 w 46"/>
                  <a:gd name="T37" fmla="*/ 22 h 33"/>
                  <a:gd name="T38" fmla="*/ 50 w 46"/>
                  <a:gd name="T39" fmla="*/ 26 h 33"/>
                  <a:gd name="T40" fmla="*/ 48 w 46"/>
                  <a:gd name="T41" fmla="*/ 27 h 33"/>
                  <a:gd name="T42" fmla="*/ 45 w 46"/>
                  <a:gd name="T43" fmla="*/ 31 h 33"/>
                  <a:gd name="T44" fmla="*/ 47 w 46"/>
                  <a:gd name="T45" fmla="*/ 34 h 33"/>
                  <a:gd name="T46" fmla="*/ 48 w 46"/>
                  <a:gd name="T47" fmla="*/ 39 h 33"/>
                  <a:gd name="T48" fmla="*/ 44 w 46"/>
                  <a:gd name="T49" fmla="*/ 39 h 33"/>
                  <a:gd name="T50" fmla="*/ 39 w 46"/>
                  <a:gd name="T51" fmla="*/ 37 h 33"/>
                  <a:gd name="T52" fmla="*/ 35 w 46"/>
                  <a:gd name="T53" fmla="*/ 33 h 33"/>
                  <a:gd name="T54" fmla="*/ 32 w 46"/>
                  <a:gd name="T55" fmla="*/ 30 h 33"/>
                  <a:gd name="T56" fmla="*/ 30 w 46"/>
                  <a:gd name="T57" fmla="*/ 30 h 33"/>
                  <a:gd name="T58" fmla="*/ 25 w 46"/>
                  <a:gd name="T59" fmla="*/ 30 h 33"/>
                  <a:gd name="T60" fmla="*/ 24 w 46"/>
                  <a:gd name="T61" fmla="*/ 26 h 33"/>
                  <a:gd name="T62" fmla="*/ 22 w 46"/>
                  <a:gd name="T63" fmla="*/ 22 h 33"/>
                  <a:gd name="T64" fmla="*/ 17 w 46"/>
                  <a:gd name="T65" fmla="*/ 22 h 33"/>
                  <a:gd name="T66" fmla="*/ 16 w 46"/>
                  <a:gd name="T67" fmla="*/ 20 h 33"/>
                  <a:gd name="T68" fmla="*/ 11 w 46"/>
                  <a:gd name="T69" fmla="*/ 19 h 33"/>
                  <a:gd name="T70" fmla="*/ 8 w 46"/>
                  <a:gd name="T71" fmla="*/ 15 h 33"/>
                  <a:gd name="T72" fmla="*/ 5 w 46"/>
                  <a:gd name="T73" fmla="*/ 14 h 33"/>
                  <a:gd name="T74" fmla="*/ 2 w 46"/>
                  <a:gd name="T75" fmla="*/ 13 h 33"/>
                  <a:gd name="T76" fmla="*/ 0 w 46"/>
                  <a:gd name="T77" fmla="*/ 8 h 3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6"/>
                  <a:gd name="T118" fmla="*/ 0 h 33"/>
                  <a:gd name="T119" fmla="*/ 46 w 46"/>
                  <a:gd name="T120" fmla="*/ 33 h 3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6" h="33">
                    <a:moveTo>
                      <a:pt x="0" y="7"/>
                    </a:moveTo>
                    <a:cubicBezTo>
                      <a:pt x="1" y="6"/>
                      <a:pt x="3" y="4"/>
                      <a:pt x="5" y="3"/>
                    </a:cubicBezTo>
                    <a:cubicBezTo>
                      <a:pt x="6" y="3"/>
                      <a:pt x="7" y="2"/>
                      <a:pt x="9" y="2"/>
                    </a:cubicBezTo>
                    <a:cubicBezTo>
                      <a:pt x="10" y="2"/>
                      <a:pt x="12" y="3"/>
                      <a:pt x="13" y="4"/>
                    </a:cubicBezTo>
                    <a:cubicBezTo>
                      <a:pt x="15" y="4"/>
                      <a:pt x="16" y="4"/>
                      <a:pt x="17" y="4"/>
                    </a:cubicBezTo>
                    <a:cubicBezTo>
                      <a:pt x="17" y="4"/>
                      <a:pt x="18" y="3"/>
                      <a:pt x="18" y="3"/>
                    </a:cubicBezTo>
                    <a:cubicBezTo>
                      <a:pt x="19" y="2"/>
                      <a:pt x="20" y="2"/>
                      <a:pt x="21" y="1"/>
                    </a:cubicBezTo>
                    <a:cubicBezTo>
                      <a:pt x="21" y="1"/>
                      <a:pt x="22" y="0"/>
                      <a:pt x="23" y="0"/>
                    </a:cubicBezTo>
                    <a:cubicBezTo>
                      <a:pt x="25" y="0"/>
                      <a:pt x="26" y="0"/>
                      <a:pt x="28" y="0"/>
                    </a:cubicBezTo>
                    <a:cubicBezTo>
                      <a:pt x="29" y="0"/>
                      <a:pt x="31" y="1"/>
                      <a:pt x="31" y="2"/>
                    </a:cubicBezTo>
                    <a:cubicBezTo>
                      <a:pt x="32" y="2"/>
                      <a:pt x="31" y="4"/>
                      <a:pt x="32" y="4"/>
                    </a:cubicBezTo>
                    <a:cubicBezTo>
                      <a:pt x="33" y="5"/>
                      <a:pt x="34" y="3"/>
                      <a:pt x="35" y="4"/>
                    </a:cubicBezTo>
                    <a:cubicBezTo>
                      <a:pt x="36" y="4"/>
                      <a:pt x="38" y="5"/>
                      <a:pt x="38" y="6"/>
                    </a:cubicBezTo>
                    <a:cubicBezTo>
                      <a:pt x="39" y="7"/>
                      <a:pt x="37" y="9"/>
                      <a:pt x="37" y="11"/>
                    </a:cubicBezTo>
                    <a:cubicBezTo>
                      <a:pt x="38" y="12"/>
                      <a:pt x="40" y="11"/>
                      <a:pt x="41" y="11"/>
                    </a:cubicBezTo>
                    <a:cubicBezTo>
                      <a:pt x="42" y="12"/>
                      <a:pt x="43" y="13"/>
                      <a:pt x="44" y="14"/>
                    </a:cubicBezTo>
                    <a:cubicBezTo>
                      <a:pt x="44" y="14"/>
                      <a:pt x="43" y="15"/>
                      <a:pt x="43" y="16"/>
                    </a:cubicBezTo>
                    <a:cubicBezTo>
                      <a:pt x="44" y="16"/>
                      <a:pt x="45" y="16"/>
                      <a:pt x="45" y="16"/>
                    </a:cubicBezTo>
                    <a:cubicBezTo>
                      <a:pt x="46" y="17"/>
                      <a:pt x="46" y="18"/>
                      <a:pt x="46" y="19"/>
                    </a:cubicBezTo>
                    <a:cubicBezTo>
                      <a:pt x="45" y="21"/>
                      <a:pt x="43" y="21"/>
                      <a:pt x="42" y="22"/>
                    </a:cubicBezTo>
                    <a:cubicBezTo>
                      <a:pt x="41" y="22"/>
                      <a:pt x="40" y="22"/>
                      <a:pt x="40" y="23"/>
                    </a:cubicBezTo>
                    <a:cubicBezTo>
                      <a:pt x="39" y="24"/>
                      <a:pt x="38" y="25"/>
                      <a:pt x="38" y="26"/>
                    </a:cubicBezTo>
                    <a:cubicBezTo>
                      <a:pt x="38" y="27"/>
                      <a:pt x="39" y="28"/>
                      <a:pt x="39" y="29"/>
                    </a:cubicBezTo>
                    <a:cubicBezTo>
                      <a:pt x="39" y="30"/>
                      <a:pt x="40" y="32"/>
                      <a:pt x="40" y="33"/>
                    </a:cubicBezTo>
                    <a:cubicBezTo>
                      <a:pt x="39" y="33"/>
                      <a:pt x="38" y="33"/>
                      <a:pt x="37" y="33"/>
                    </a:cubicBezTo>
                    <a:cubicBezTo>
                      <a:pt x="36" y="32"/>
                      <a:pt x="34" y="32"/>
                      <a:pt x="33" y="31"/>
                    </a:cubicBezTo>
                    <a:cubicBezTo>
                      <a:pt x="32" y="30"/>
                      <a:pt x="30" y="29"/>
                      <a:pt x="29" y="28"/>
                    </a:cubicBezTo>
                    <a:cubicBezTo>
                      <a:pt x="28" y="27"/>
                      <a:pt x="28" y="25"/>
                      <a:pt x="27" y="25"/>
                    </a:cubicBezTo>
                    <a:cubicBezTo>
                      <a:pt x="26" y="24"/>
                      <a:pt x="25" y="25"/>
                      <a:pt x="25" y="25"/>
                    </a:cubicBezTo>
                    <a:cubicBezTo>
                      <a:pt x="23" y="25"/>
                      <a:pt x="22" y="26"/>
                      <a:pt x="21" y="25"/>
                    </a:cubicBezTo>
                    <a:cubicBezTo>
                      <a:pt x="20" y="25"/>
                      <a:pt x="21" y="23"/>
                      <a:pt x="20" y="22"/>
                    </a:cubicBezTo>
                    <a:cubicBezTo>
                      <a:pt x="20" y="21"/>
                      <a:pt x="20" y="19"/>
                      <a:pt x="18" y="19"/>
                    </a:cubicBezTo>
                    <a:cubicBezTo>
                      <a:pt x="17" y="18"/>
                      <a:pt x="16" y="19"/>
                      <a:pt x="14" y="19"/>
                    </a:cubicBezTo>
                    <a:cubicBezTo>
                      <a:pt x="14" y="18"/>
                      <a:pt x="13" y="17"/>
                      <a:pt x="13" y="17"/>
                    </a:cubicBezTo>
                    <a:cubicBezTo>
                      <a:pt x="12" y="16"/>
                      <a:pt x="10" y="17"/>
                      <a:pt x="9" y="16"/>
                    </a:cubicBezTo>
                    <a:cubicBezTo>
                      <a:pt x="8" y="15"/>
                      <a:pt x="8" y="13"/>
                      <a:pt x="7" y="13"/>
                    </a:cubicBezTo>
                    <a:cubicBezTo>
                      <a:pt x="6" y="12"/>
                      <a:pt x="5" y="12"/>
                      <a:pt x="4" y="12"/>
                    </a:cubicBezTo>
                    <a:cubicBezTo>
                      <a:pt x="3" y="12"/>
                      <a:pt x="2" y="12"/>
                      <a:pt x="2" y="11"/>
                    </a:cubicBezTo>
                    <a:cubicBezTo>
                      <a:pt x="1" y="10"/>
                      <a:pt x="0" y="8"/>
                      <a:pt x="0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2" name="Freeform 2653"/>
              <p:cNvSpPr>
                <a:spLocks noChangeAspect="1"/>
              </p:cNvSpPr>
              <p:nvPr/>
            </p:nvSpPr>
            <p:spPr bwMode="auto">
              <a:xfrm>
                <a:off x="4553303" y="2413308"/>
                <a:ext cx="68695" cy="90951"/>
              </a:xfrm>
              <a:custGeom>
                <a:avLst/>
                <a:gdLst>
                  <a:gd name="T0" fmla="*/ 1 w 35"/>
                  <a:gd name="T1" fmla="*/ 43 h 47"/>
                  <a:gd name="T2" fmla="*/ 0 w 35"/>
                  <a:gd name="T3" fmla="*/ 37 h 47"/>
                  <a:gd name="T4" fmla="*/ 0 w 35"/>
                  <a:gd name="T5" fmla="*/ 32 h 47"/>
                  <a:gd name="T6" fmla="*/ 0 w 35"/>
                  <a:gd name="T7" fmla="*/ 27 h 47"/>
                  <a:gd name="T8" fmla="*/ 4 w 35"/>
                  <a:gd name="T9" fmla="*/ 21 h 47"/>
                  <a:gd name="T10" fmla="*/ 5 w 35"/>
                  <a:gd name="T11" fmla="*/ 14 h 47"/>
                  <a:gd name="T12" fmla="*/ 7 w 35"/>
                  <a:gd name="T13" fmla="*/ 11 h 47"/>
                  <a:gd name="T14" fmla="*/ 12 w 35"/>
                  <a:gd name="T15" fmla="*/ 10 h 47"/>
                  <a:gd name="T16" fmla="*/ 16 w 35"/>
                  <a:gd name="T17" fmla="*/ 6 h 47"/>
                  <a:gd name="T18" fmla="*/ 23 w 35"/>
                  <a:gd name="T19" fmla="*/ 1 h 47"/>
                  <a:gd name="T20" fmla="*/ 28 w 35"/>
                  <a:gd name="T21" fmla="*/ 2 h 47"/>
                  <a:gd name="T22" fmla="*/ 30 w 35"/>
                  <a:gd name="T23" fmla="*/ 1 h 47"/>
                  <a:gd name="T24" fmla="*/ 36 w 35"/>
                  <a:gd name="T25" fmla="*/ 0 h 47"/>
                  <a:gd name="T26" fmla="*/ 37 w 35"/>
                  <a:gd name="T27" fmla="*/ 2 h 47"/>
                  <a:gd name="T28" fmla="*/ 40 w 35"/>
                  <a:gd name="T29" fmla="*/ 4 h 47"/>
                  <a:gd name="T30" fmla="*/ 42 w 35"/>
                  <a:gd name="T31" fmla="*/ 6 h 47"/>
                  <a:gd name="T32" fmla="*/ 41 w 35"/>
                  <a:gd name="T33" fmla="*/ 11 h 47"/>
                  <a:gd name="T34" fmla="*/ 38 w 35"/>
                  <a:gd name="T35" fmla="*/ 17 h 47"/>
                  <a:gd name="T36" fmla="*/ 40 w 35"/>
                  <a:gd name="T37" fmla="*/ 24 h 47"/>
                  <a:gd name="T38" fmla="*/ 35 w 35"/>
                  <a:gd name="T39" fmla="*/ 27 h 47"/>
                  <a:gd name="T40" fmla="*/ 35 w 35"/>
                  <a:gd name="T41" fmla="*/ 32 h 47"/>
                  <a:gd name="T42" fmla="*/ 30 w 35"/>
                  <a:gd name="T43" fmla="*/ 33 h 47"/>
                  <a:gd name="T44" fmla="*/ 25 w 35"/>
                  <a:gd name="T45" fmla="*/ 33 h 47"/>
                  <a:gd name="T46" fmla="*/ 28 w 35"/>
                  <a:gd name="T47" fmla="*/ 43 h 47"/>
                  <a:gd name="T48" fmla="*/ 26 w 35"/>
                  <a:gd name="T49" fmla="*/ 48 h 47"/>
                  <a:gd name="T50" fmla="*/ 25 w 35"/>
                  <a:gd name="T51" fmla="*/ 51 h 47"/>
                  <a:gd name="T52" fmla="*/ 25 w 35"/>
                  <a:gd name="T53" fmla="*/ 55 h 47"/>
                  <a:gd name="T54" fmla="*/ 20 w 35"/>
                  <a:gd name="T55" fmla="*/ 55 h 47"/>
                  <a:gd name="T56" fmla="*/ 22 w 35"/>
                  <a:gd name="T57" fmla="*/ 49 h 47"/>
                  <a:gd name="T58" fmla="*/ 18 w 35"/>
                  <a:gd name="T59" fmla="*/ 46 h 47"/>
                  <a:gd name="T60" fmla="*/ 14 w 35"/>
                  <a:gd name="T61" fmla="*/ 46 h 47"/>
                  <a:gd name="T62" fmla="*/ 13 w 35"/>
                  <a:gd name="T63" fmla="*/ 44 h 47"/>
                  <a:gd name="T64" fmla="*/ 10 w 35"/>
                  <a:gd name="T65" fmla="*/ 42 h 47"/>
                  <a:gd name="T66" fmla="*/ 4 w 35"/>
                  <a:gd name="T67" fmla="*/ 42 h 47"/>
                  <a:gd name="T68" fmla="*/ 1 w 35"/>
                  <a:gd name="T69" fmla="*/ 43 h 4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"/>
                  <a:gd name="T106" fmla="*/ 0 h 47"/>
                  <a:gd name="T107" fmla="*/ 35 w 35"/>
                  <a:gd name="T108" fmla="*/ 47 h 4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" h="47">
                    <a:moveTo>
                      <a:pt x="1" y="36"/>
                    </a:moveTo>
                    <a:cubicBezTo>
                      <a:pt x="1" y="34"/>
                      <a:pt x="0" y="32"/>
                      <a:pt x="0" y="31"/>
                    </a:cubicBezTo>
                    <a:cubicBezTo>
                      <a:pt x="0" y="29"/>
                      <a:pt x="0" y="28"/>
                      <a:pt x="0" y="27"/>
                    </a:cubicBezTo>
                    <a:cubicBezTo>
                      <a:pt x="0" y="26"/>
                      <a:pt x="0" y="25"/>
                      <a:pt x="0" y="23"/>
                    </a:cubicBezTo>
                    <a:cubicBezTo>
                      <a:pt x="1" y="21"/>
                      <a:pt x="2" y="20"/>
                      <a:pt x="3" y="18"/>
                    </a:cubicBezTo>
                    <a:cubicBezTo>
                      <a:pt x="4" y="16"/>
                      <a:pt x="4" y="14"/>
                      <a:pt x="4" y="12"/>
                    </a:cubicBezTo>
                    <a:cubicBezTo>
                      <a:pt x="5" y="11"/>
                      <a:pt x="5" y="10"/>
                      <a:pt x="6" y="9"/>
                    </a:cubicBezTo>
                    <a:cubicBezTo>
                      <a:pt x="8" y="8"/>
                      <a:pt x="9" y="9"/>
                      <a:pt x="10" y="8"/>
                    </a:cubicBezTo>
                    <a:cubicBezTo>
                      <a:pt x="12" y="7"/>
                      <a:pt x="12" y="6"/>
                      <a:pt x="13" y="5"/>
                    </a:cubicBezTo>
                    <a:cubicBezTo>
                      <a:pt x="15" y="3"/>
                      <a:pt x="17" y="2"/>
                      <a:pt x="19" y="1"/>
                    </a:cubicBezTo>
                    <a:cubicBezTo>
                      <a:pt x="20" y="1"/>
                      <a:pt x="22" y="2"/>
                      <a:pt x="23" y="2"/>
                    </a:cubicBezTo>
                    <a:cubicBezTo>
                      <a:pt x="24" y="2"/>
                      <a:pt x="24" y="1"/>
                      <a:pt x="25" y="1"/>
                    </a:cubicBezTo>
                    <a:cubicBezTo>
                      <a:pt x="27" y="0"/>
                      <a:pt x="28" y="0"/>
                      <a:pt x="30" y="0"/>
                    </a:cubicBezTo>
                    <a:cubicBezTo>
                      <a:pt x="31" y="0"/>
                      <a:pt x="30" y="2"/>
                      <a:pt x="31" y="2"/>
                    </a:cubicBezTo>
                    <a:cubicBezTo>
                      <a:pt x="31" y="3"/>
                      <a:pt x="33" y="2"/>
                      <a:pt x="33" y="3"/>
                    </a:cubicBezTo>
                    <a:cubicBezTo>
                      <a:pt x="34" y="3"/>
                      <a:pt x="34" y="4"/>
                      <a:pt x="35" y="5"/>
                    </a:cubicBezTo>
                    <a:cubicBezTo>
                      <a:pt x="35" y="6"/>
                      <a:pt x="35" y="7"/>
                      <a:pt x="34" y="9"/>
                    </a:cubicBezTo>
                    <a:cubicBezTo>
                      <a:pt x="34" y="11"/>
                      <a:pt x="32" y="12"/>
                      <a:pt x="32" y="14"/>
                    </a:cubicBezTo>
                    <a:cubicBezTo>
                      <a:pt x="32" y="16"/>
                      <a:pt x="33" y="18"/>
                      <a:pt x="33" y="20"/>
                    </a:cubicBezTo>
                    <a:cubicBezTo>
                      <a:pt x="32" y="21"/>
                      <a:pt x="30" y="22"/>
                      <a:pt x="29" y="23"/>
                    </a:cubicBezTo>
                    <a:cubicBezTo>
                      <a:pt x="29" y="25"/>
                      <a:pt x="30" y="26"/>
                      <a:pt x="29" y="27"/>
                    </a:cubicBezTo>
                    <a:cubicBezTo>
                      <a:pt x="28" y="28"/>
                      <a:pt x="26" y="28"/>
                      <a:pt x="25" y="28"/>
                    </a:cubicBezTo>
                    <a:cubicBezTo>
                      <a:pt x="24" y="29"/>
                      <a:pt x="21" y="27"/>
                      <a:pt x="21" y="28"/>
                    </a:cubicBezTo>
                    <a:cubicBezTo>
                      <a:pt x="20" y="31"/>
                      <a:pt x="23" y="33"/>
                      <a:pt x="23" y="36"/>
                    </a:cubicBezTo>
                    <a:cubicBezTo>
                      <a:pt x="23" y="37"/>
                      <a:pt x="23" y="39"/>
                      <a:pt x="22" y="40"/>
                    </a:cubicBezTo>
                    <a:cubicBezTo>
                      <a:pt x="22" y="41"/>
                      <a:pt x="21" y="42"/>
                      <a:pt x="21" y="43"/>
                    </a:cubicBezTo>
                    <a:cubicBezTo>
                      <a:pt x="20" y="44"/>
                      <a:pt x="21" y="45"/>
                      <a:pt x="21" y="46"/>
                    </a:cubicBezTo>
                    <a:cubicBezTo>
                      <a:pt x="20" y="46"/>
                      <a:pt x="18" y="47"/>
                      <a:pt x="17" y="46"/>
                    </a:cubicBezTo>
                    <a:cubicBezTo>
                      <a:pt x="17" y="44"/>
                      <a:pt x="19" y="42"/>
                      <a:pt x="18" y="41"/>
                    </a:cubicBezTo>
                    <a:cubicBezTo>
                      <a:pt x="18" y="40"/>
                      <a:pt x="16" y="39"/>
                      <a:pt x="15" y="39"/>
                    </a:cubicBezTo>
                    <a:cubicBezTo>
                      <a:pt x="14" y="38"/>
                      <a:pt x="13" y="40"/>
                      <a:pt x="12" y="39"/>
                    </a:cubicBezTo>
                    <a:cubicBezTo>
                      <a:pt x="11" y="39"/>
                      <a:pt x="12" y="37"/>
                      <a:pt x="11" y="37"/>
                    </a:cubicBezTo>
                    <a:cubicBezTo>
                      <a:pt x="11" y="36"/>
                      <a:pt x="9" y="35"/>
                      <a:pt x="8" y="35"/>
                    </a:cubicBezTo>
                    <a:cubicBezTo>
                      <a:pt x="6" y="35"/>
                      <a:pt x="5" y="35"/>
                      <a:pt x="3" y="35"/>
                    </a:cubicBezTo>
                    <a:cubicBezTo>
                      <a:pt x="2" y="35"/>
                      <a:pt x="1" y="36"/>
                      <a:pt x="1" y="3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3" name="Freeform 2654"/>
              <p:cNvSpPr>
                <a:spLocks noChangeAspect="1"/>
              </p:cNvSpPr>
              <p:nvPr/>
            </p:nvSpPr>
            <p:spPr bwMode="auto">
              <a:xfrm>
                <a:off x="4206558" y="2341846"/>
                <a:ext cx="109585" cy="141300"/>
              </a:xfrm>
              <a:custGeom>
                <a:avLst/>
                <a:gdLst>
                  <a:gd name="T0" fmla="*/ 63 w 56"/>
                  <a:gd name="T1" fmla="*/ 39 h 72"/>
                  <a:gd name="T2" fmla="*/ 67 w 56"/>
                  <a:gd name="T3" fmla="*/ 54 h 72"/>
                  <a:gd name="T4" fmla="*/ 61 w 56"/>
                  <a:gd name="T5" fmla="*/ 69 h 72"/>
                  <a:gd name="T6" fmla="*/ 50 w 56"/>
                  <a:gd name="T7" fmla="*/ 70 h 72"/>
                  <a:gd name="T8" fmla="*/ 35 w 56"/>
                  <a:gd name="T9" fmla="*/ 79 h 72"/>
                  <a:gd name="T10" fmla="*/ 17 w 56"/>
                  <a:gd name="T11" fmla="*/ 85 h 72"/>
                  <a:gd name="T12" fmla="*/ 16 w 56"/>
                  <a:gd name="T13" fmla="*/ 81 h 72"/>
                  <a:gd name="T14" fmla="*/ 12 w 56"/>
                  <a:gd name="T15" fmla="*/ 79 h 72"/>
                  <a:gd name="T16" fmla="*/ 6 w 56"/>
                  <a:gd name="T17" fmla="*/ 74 h 72"/>
                  <a:gd name="T18" fmla="*/ 2 w 56"/>
                  <a:gd name="T19" fmla="*/ 71 h 72"/>
                  <a:gd name="T20" fmla="*/ 12 w 56"/>
                  <a:gd name="T21" fmla="*/ 68 h 72"/>
                  <a:gd name="T22" fmla="*/ 20 w 56"/>
                  <a:gd name="T23" fmla="*/ 62 h 72"/>
                  <a:gd name="T24" fmla="*/ 23 w 56"/>
                  <a:gd name="T25" fmla="*/ 58 h 72"/>
                  <a:gd name="T26" fmla="*/ 14 w 56"/>
                  <a:gd name="T27" fmla="*/ 59 h 72"/>
                  <a:gd name="T28" fmla="*/ 20 w 56"/>
                  <a:gd name="T29" fmla="*/ 51 h 72"/>
                  <a:gd name="T30" fmla="*/ 23 w 56"/>
                  <a:gd name="T31" fmla="*/ 45 h 72"/>
                  <a:gd name="T32" fmla="*/ 18 w 56"/>
                  <a:gd name="T33" fmla="*/ 42 h 72"/>
                  <a:gd name="T34" fmla="*/ 14 w 56"/>
                  <a:gd name="T35" fmla="*/ 47 h 72"/>
                  <a:gd name="T36" fmla="*/ 10 w 56"/>
                  <a:gd name="T37" fmla="*/ 39 h 72"/>
                  <a:gd name="T38" fmla="*/ 16 w 56"/>
                  <a:gd name="T39" fmla="*/ 33 h 72"/>
                  <a:gd name="T40" fmla="*/ 13 w 56"/>
                  <a:gd name="T41" fmla="*/ 29 h 72"/>
                  <a:gd name="T42" fmla="*/ 14 w 56"/>
                  <a:gd name="T43" fmla="*/ 23 h 72"/>
                  <a:gd name="T44" fmla="*/ 24 w 56"/>
                  <a:gd name="T45" fmla="*/ 27 h 72"/>
                  <a:gd name="T46" fmla="*/ 31 w 56"/>
                  <a:gd name="T47" fmla="*/ 25 h 72"/>
                  <a:gd name="T48" fmla="*/ 36 w 56"/>
                  <a:gd name="T49" fmla="*/ 18 h 72"/>
                  <a:gd name="T50" fmla="*/ 29 w 56"/>
                  <a:gd name="T51" fmla="*/ 13 h 72"/>
                  <a:gd name="T52" fmla="*/ 36 w 56"/>
                  <a:gd name="T53" fmla="*/ 5 h 72"/>
                  <a:gd name="T54" fmla="*/ 48 w 56"/>
                  <a:gd name="T55" fmla="*/ 0 h 72"/>
                  <a:gd name="T56" fmla="*/ 49 w 56"/>
                  <a:gd name="T57" fmla="*/ 10 h 72"/>
                  <a:gd name="T58" fmla="*/ 41 w 56"/>
                  <a:gd name="T59" fmla="*/ 13 h 72"/>
                  <a:gd name="T60" fmla="*/ 36 w 56"/>
                  <a:gd name="T61" fmla="*/ 19 h 72"/>
                  <a:gd name="T62" fmla="*/ 49 w 56"/>
                  <a:gd name="T63" fmla="*/ 28 h 72"/>
                  <a:gd name="T64" fmla="*/ 50 w 56"/>
                  <a:gd name="T65" fmla="*/ 22 h 72"/>
                  <a:gd name="T66" fmla="*/ 57 w 56"/>
                  <a:gd name="T67" fmla="*/ 27 h 72"/>
                  <a:gd name="T68" fmla="*/ 65 w 56"/>
                  <a:gd name="T69" fmla="*/ 34 h 7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6"/>
                  <a:gd name="T106" fmla="*/ 0 h 72"/>
                  <a:gd name="T107" fmla="*/ 56 w 56"/>
                  <a:gd name="T108" fmla="*/ 72 h 7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6" h="72">
                    <a:moveTo>
                      <a:pt x="54" y="28"/>
                    </a:moveTo>
                    <a:cubicBezTo>
                      <a:pt x="54" y="29"/>
                      <a:pt x="53" y="30"/>
                      <a:pt x="53" y="32"/>
                    </a:cubicBezTo>
                    <a:cubicBezTo>
                      <a:pt x="54" y="33"/>
                      <a:pt x="55" y="34"/>
                      <a:pt x="55" y="36"/>
                    </a:cubicBezTo>
                    <a:cubicBezTo>
                      <a:pt x="56" y="39"/>
                      <a:pt x="56" y="42"/>
                      <a:pt x="56" y="45"/>
                    </a:cubicBezTo>
                    <a:cubicBezTo>
                      <a:pt x="55" y="47"/>
                      <a:pt x="54" y="48"/>
                      <a:pt x="54" y="50"/>
                    </a:cubicBezTo>
                    <a:cubicBezTo>
                      <a:pt x="53" y="53"/>
                      <a:pt x="53" y="56"/>
                      <a:pt x="51" y="57"/>
                    </a:cubicBezTo>
                    <a:cubicBezTo>
                      <a:pt x="50" y="58"/>
                      <a:pt x="47" y="57"/>
                      <a:pt x="46" y="57"/>
                    </a:cubicBezTo>
                    <a:cubicBezTo>
                      <a:pt x="44" y="57"/>
                      <a:pt x="43" y="58"/>
                      <a:pt x="42" y="58"/>
                    </a:cubicBezTo>
                    <a:cubicBezTo>
                      <a:pt x="40" y="59"/>
                      <a:pt x="39" y="60"/>
                      <a:pt x="37" y="60"/>
                    </a:cubicBezTo>
                    <a:cubicBezTo>
                      <a:pt x="34" y="62"/>
                      <a:pt x="32" y="63"/>
                      <a:pt x="29" y="65"/>
                    </a:cubicBezTo>
                    <a:cubicBezTo>
                      <a:pt x="26" y="66"/>
                      <a:pt x="24" y="68"/>
                      <a:pt x="21" y="69"/>
                    </a:cubicBezTo>
                    <a:cubicBezTo>
                      <a:pt x="19" y="70"/>
                      <a:pt x="16" y="69"/>
                      <a:pt x="14" y="70"/>
                    </a:cubicBezTo>
                    <a:cubicBezTo>
                      <a:pt x="13" y="70"/>
                      <a:pt x="11" y="72"/>
                      <a:pt x="10" y="71"/>
                    </a:cubicBezTo>
                    <a:cubicBezTo>
                      <a:pt x="9" y="69"/>
                      <a:pt x="14" y="68"/>
                      <a:pt x="13" y="67"/>
                    </a:cubicBezTo>
                    <a:cubicBezTo>
                      <a:pt x="11" y="66"/>
                      <a:pt x="8" y="70"/>
                      <a:pt x="7" y="69"/>
                    </a:cubicBezTo>
                    <a:cubicBezTo>
                      <a:pt x="6" y="67"/>
                      <a:pt x="11" y="66"/>
                      <a:pt x="10" y="65"/>
                    </a:cubicBezTo>
                    <a:cubicBezTo>
                      <a:pt x="9" y="63"/>
                      <a:pt x="5" y="66"/>
                      <a:pt x="3" y="65"/>
                    </a:cubicBezTo>
                    <a:cubicBezTo>
                      <a:pt x="2" y="64"/>
                      <a:pt x="4" y="62"/>
                      <a:pt x="5" y="61"/>
                    </a:cubicBezTo>
                    <a:cubicBezTo>
                      <a:pt x="7" y="60"/>
                      <a:pt x="12" y="60"/>
                      <a:pt x="10" y="59"/>
                    </a:cubicBezTo>
                    <a:cubicBezTo>
                      <a:pt x="8" y="58"/>
                      <a:pt x="4" y="61"/>
                      <a:pt x="2" y="59"/>
                    </a:cubicBezTo>
                    <a:cubicBezTo>
                      <a:pt x="0" y="58"/>
                      <a:pt x="5" y="57"/>
                      <a:pt x="7" y="56"/>
                    </a:cubicBezTo>
                    <a:cubicBezTo>
                      <a:pt x="8" y="56"/>
                      <a:pt x="9" y="57"/>
                      <a:pt x="10" y="56"/>
                    </a:cubicBezTo>
                    <a:cubicBezTo>
                      <a:pt x="11" y="55"/>
                      <a:pt x="10" y="53"/>
                      <a:pt x="11" y="52"/>
                    </a:cubicBezTo>
                    <a:cubicBezTo>
                      <a:pt x="13" y="51"/>
                      <a:pt x="15" y="51"/>
                      <a:pt x="17" y="51"/>
                    </a:cubicBezTo>
                    <a:cubicBezTo>
                      <a:pt x="19" y="50"/>
                      <a:pt x="21" y="51"/>
                      <a:pt x="23" y="49"/>
                    </a:cubicBezTo>
                    <a:cubicBezTo>
                      <a:pt x="23" y="48"/>
                      <a:pt x="20" y="48"/>
                      <a:pt x="19" y="48"/>
                    </a:cubicBezTo>
                    <a:cubicBezTo>
                      <a:pt x="18" y="48"/>
                      <a:pt x="17" y="49"/>
                      <a:pt x="15" y="49"/>
                    </a:cubicBezTo>
                    <a:cubicBezTo>
                      <a:pt x="14" y="50"/>
                      <a:pt x="12" y="51"/>
                      <a:pt x="12" y="49"/>
                    </a:cubicBezTo>
                    <a:cubicBezTo>
                      <a:pt x="12" y="48"/>
                      <a:pt x="14" y="47"/>
                      <a:pt x="15" y="46"/>
                    </a:cubicBezTo>
                    <a:cubicBezTo>
                      <a:pt x="16" y="44"/>
                      <a:pt x="16" y="43"/>
                      <a:pt x="17" y="42"/>
                    </a:cubicBezTo>
                    <a:cubicBezTo>
                      <a:pt x="18" y="41"/>
                      <a:pt x="20" y="41"/>
                      <a:pt x="21" y="40"/>
                    </a:cubicBezTo>
                    <a:cubicBezTo>
                      <a:pt x="21" y="39"/>
                      <a:pt x="19" y="38"/>
                      <a:pt x="19" y="37"/>
                    </a:cubicBezTo>
                    <a:cubicBezTo>
                      <a:pt x="18" y="36"/>
                      <a:pt x="17" y="35"/>
                      <a:pt x="16" y="34"/>
                    </a:cubicBezTo>
                    <a:cubicBezTo>
                      <a:pt x="16" y="34"/>
                      <a:pt x="14" y="35"/>
                      <a:pt x="15" y="35"/>
                    </a:cubicBezTo>
                    <a:cubicBezTo>
                      <a:pt x="15" y="37"/>
                      <a:pt x="20" y="38"/>
                      <a:pt x="19" y="39"/>
                    </a:cubicBezTo>
                    <a:cubicBezTo>
                      <a:pt x="17" y="41"/>
                      <a:pt x="14" y="39"/>
                      <a:pt x="12" y="39"/>
                    </a:cubicBezTo>
                    <a:cubicBezTo>
                      <a:pt x="11" y="38"/>
                      <a:pt x="9" y="37"/>
                      <a:pt x="9" y="36"/>
                    </a:cubicBezTo>
                    <a:cubicBezTo>
                      <a:pt x="8" y="35"/>
                      <a:pt x="8" y="33"/>
                      <a:pt x="8" y="32"/>
                    </a:cubicBezTo>
                    <a:cubicBezTo>
                      <a:pt x="9" y="31"/>
                      <a:pt x="12" y="30"/>
                      <a:pt x="13" y="29"/>
                    </a:cubicBezTo>
                    <a:cubicBezTo>
                      <a:pt x="14" y="28"/>
                      <a:pt x="14" y="27"/>
                      <a:pt x="13" y="27"/>
                    </a:cubicBezTo>
                    <a:cubicBezTo>
                      <a:pt x="12" y="26"/>
                      <a:pt x="10" y="28"/>
                      <a:pt x="10" y="27"/>
                    </a:cubicBezTo>
                    <a:cubicBezTo>
                      <a:pt x="9" y="26"/>
                      <a:pt x="11" y="25"/>
                      <a:pt x="11" y="24"/>
                    </a:cubicBezTo>
                    <a:cubicBezTo>
                      <a:pt x="11" y="22"/>
                      <a:pt x="9" y="21"/>
                      <a:pt x="9" y="20"/>
                    </a:cubicBezTo>
                    <a:cubicBezTo>
                      <a:pt x="10" y="19"/>
                      <a:pt x="11" y="19"/>
                      <a:pt x="12" y="19"/>
                    </a:cubicBezTo>
                    <a:cubicBezTo>
                      <a:pt x="14" y="19"/>
                      <a:pt x="17" y="19"/>
                      <a:pt x="19" y="19"/>
                    </a:cubicBezTo>
                    <a:cubicBezTo>
                      <a:pt x="19" y="20"/>
                      <a:pt x="19" y="21"/>
                      <a:pt x="20" y="22"/>
                    </a:cubicBezTo>
                    <a:cubicBezTo>
                      <a:pt x="21" y="22"/>
                      <a:pt x="21" y="20"/>
                      <a:pt x="22" y="20"/>
                    </a:cubicBezTo>
                    <a:cubicBezTo>
                      <a:pt x="24" y="20"/>
                      <a:pt x="25" y="22"/>
                      <a:pt x="26" y="21"/>
                    </a:cubicBezTo>
                    <a:cubicBezTo>
                      <a:pt x="27" y="21"/>
                      <a:pt x="27" y="19"/>
                      <a:pt x="27" y="18"/>
                    </a:cubicBezTo>
                    <a:cubicBezTo>
                      <a:pt x="28" y="17"/>
                      <a:pt x="30" y="16"/>
                      <a:pt x="30" y="15"/>
                    </a:cubicBezTo>
                    <a:cubicBezTo>
                      <a:pt x="29" y="13"/>
                      <a:pt x="26" y="15"/>
                      <a:pt x="24" y="14"/>
                    </a:cubicBezTo>
                    <a:cubicBezTo>
                      <a:pt x="23" y="13"/>
                      <a:pt x="24" y="12"/>
                      <a:pt x="24" y="11"/>
                    </a:cubicBezTo>
                    <a:cubicBezTo>
                      <a:pt x="26" y="9"/>
                      <a:pt x="28" y="9"/>
                      <a:pt x="30" y="8"/>
                    </a:cubicBezTo>
                    <a:cubicBezTo>
                      <a:pt x="30" y="7"/>
                      <a:pt x="29" y="5"/>
                      <a:pt x="30" y="4"/>
                    </a:cubicBezTo>
                    <a:cubicBezTo>
                      <a:pt x="32" y="3"/>
                      <a:pt x="35" y="4"/>
                      <a:pt x="38" y="3"/>
                    </a:cubicBezTo>
                    <a:cubicBezTo>
                      <a:pt x="39" y="3"/>
                      <a:pt x="39" y="0"/>
                      <a:pt x="40" y="0"/>
                    </a:cubicBezTo>
                    <a:cubicBezTo>
                      <a:pt x="42" y="0"/>
                      <a:pt x="43" y="2"/>
                      <a:pt x="45" y="3"/>
                    </a:cubicBezTo>
                    <a:cubicBezTo>
                      <a:pt x="43" y="4"/>
                      <a:pt x="42" y="6"/>
                      <a:pt x="41" y="8"/>
                    </a:cubicBezTo>
                    <a:cubicBezTo>
                      <a:pt x="40" y="9"/>
                      <a:pt x="39" y="11"/>
                      <a:pt x="38" y="11"/>
                    </a:cubicBezTo>
                    <a:cubicBezTo>
                      <a:pt x="37" y="12"/>
                      <a:pt x="35" y="10"/>
                      <a:pt x="34" y="11"/>
                    </a:cubicBezTo>
                    <a:cubicBezTo>
                      <a:pt x="33" y="12"/>
                      <a:pt x="35" y="13"/>
                      <a:pt x="35" y="14"/>
                    </a:cubicBezTo>
                    <a:cubicBezTo>
                      <a:pt x="34" y="15"/>
                      <a:pt x="30" y="15"/>
                      <a:pt x="30" y="16"/>
                    </a:cubicBezTo>
                    <a:cubicBezTo>
                      <a:pt x="31" y="19"/>
                      <a:pt x="33" y="20"/>
                      <a:pt x="35" y="22"/>
                    </a:cubicBezTo>
                    <a:cubicBezTo>
                      <a:pt x="37" y="23"/>
                      <a:pt x="39" y="23"/>
                      <a:pt x="41" y="23"/>
                    </a:cubicBezTo>
                    <a:cubicBezTo>
                      <a:pt x="42" y="23"/>
                      <a:pt x="43" y="22"/>
                      <a:pt x="43" y="21"/>
                    </a:cubicBezTo>
                    <a:cubicBezTo>
                      <a:pt x="44" y="20"/>
                      <a:pt x="42" y="19"/>
                      <a:pt x="42" y="18"/>
                    </a:cubicBezTo>
                    <a:cubicBezTo>
                      <a:pt x="43" y="18"/>
                      <a:pt x="44" y="18"/>
                      <a:pt x="45" y="18"/>
                    </a:cubicBezTo>
                    <a:cubicBezTo>
                      <a:pt x="47" y="19"/>
                      <a:pt x="47" y="21"/>
                      <a:pt x="48" y="22"/>
                    </a:cubicBezTo>
                    <a:cubicBezTo>
                      <a:pt x="50" y="23"/>
                      <a:pt x="51" y="24"/>
                      <a:pt x="52" y="25"/>
                    </a:cubicBezTo>
                    <a:cubicBezTo>
                      <a:pt x="53" y="25"/>
                      <a:pt x="53" y="27"/>
                      <a:pt x="54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4" name="Freeform 2655"/>
              <p:cNvSpPr>
                <a:spLocks noChangeAspect="1"/>
              </p:cNvSpPr>
              <p:nvPr/>
            </p:nvSpPr>
            <p:spPr bwMode="auto">
              <a:xfrm>
                <a:off x="4265439" y="2348342"/>
                <a:ext cx="60517" cy="48724"/>
              </a:xfrm>
              <a:custGeom>
                <a:avLst/>
                <a:gdLst>
                  <a:gd name="T0" fmla="*/ 29 w 31"/>
                  <a:gd name="T1" fmla="*/ 30 h 25"/>
                  <a:gd name="T2" fmla="*/ 31 w 31"/>
                  <a:gd name="T3" fmla="*/ 24 h 25"/>
                  <a:gd name="T4" fmla="*/ 36 w 31"/>
                  <a:gd name="T5" fmla="*/ 22 h 25"/>
                  <a:gd name="T6" fmla="*/ 36 w 31"/>
                  <a:gd name="T7" fmla="*/ 16 h 25"/>
                  <a:gd name="T8" fmla="*/ 35 w 31"/>
                  <a:gd name="T9" fmla="*/ 10 h 25"/>
                  <a:gd name="T10" fmla="*/ 32 w 31"/>
                  <a:gd name="T11" fmla="*/ 2 h 25"/>
                  <a:gd name="T12" fmla="*/ 26 w 31"/>
                  <a:gd name="T13" fmla="*/ 0 h 25"/>
                  <a:gd name="T14" fmla="*/ 20 w 31"/>
                  <a:gd name="T15" fmla="*/ 1 h 25"/>
                  <a:gd name="T16" fmla="*/ 18 w 31"/>
                  <a:gd name="T17" fmla="*/ 0 h 25"/>
                  <a:gd name="T18" fmla="*/ 13 w 31"/>
                  <a:gd name="T19" fmla="*/ 6 h 25"/>
                  <a:gd name="T20" fmla="*/ 10 w 31"/>
                  <a:gd name="T21" fmla="*/ 10 h 25"/>
                  <a:gd name="T22" fmla="*/ 5 w 31"/>
                  <a:gd name="T23" fmla="*/ 10 h 25"/>
                  <a:gd name="T24" fmla="*/ 6 w 31"/>
                  <a:gd name="T25" fmla="*/ 13 h 25"/>
                  <a:gd name="T26" fmla="*/ 0 w 31"/>
                  <a:gd name="T27" fmla="*/ 16 h 25"/>
                  <a:gd name="T28" fmla="*/ 6 w 31"/>
                  <a:gd name="T29" fmla="*/ 23 h 25"/>
                  <a:gd name="T30" fmla="*/ 13 w 31"/>
                  <a:gd name="T31" fmla="*/ 24 h 25"/>
                  <a:gd name="T32" fmla="*/ 16 w 31"/>
                  <a:gd name="T33" fmla="*/ 22 h 25"/>
                  <a:gd name="T34" fmla="*/ 14 w 31"/>
                  <a:gd name="T35" fmla="*/ 18 h 25"/>
                  <a:gd name="T36" fmla="*/ 18 w 31"/>
                  <a:gd name="T37" fmla="*/ 18 h 25"/>
                  <a:gd name="T38" fmla="*/ 21 w 31"/>
                  <a:gd name="T39" fmla="*/ 23 h 25"/>
                  <a:gd name="T40" fmla="*/ 26 w 31"/>
                  <a:gd name="T41" fmla="*/ 26 h 25"/>
                  <a:gd name="T42" fmla="*/ 29 w 31"/>
                  <a:gd name="T43" fmla="*/ 30 h 2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1"/>
                  <a:gd name="T67" fmla="*/ 0 h 25"/>
                  <a:gd name="T68" fmla="*/ 31 w 31"/>
                  <a:gd name="T69" fmla="*/ 25 h 2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1" h="25">
                    <a:moveTo>
                      <a:pt x="24" y="25"/>
                    </a:moveTo>
                    <a:lnTo>
                      <a:pt x="26" y="20"/>
                    </a:lnTo>
                    <a:cubicBezTo>
                      <a:pt x="27" y="19"/>
                      <a:pt x="30" y="20"/>
                      <a:pt x="30" y="18"/>
                    </a:cubicBezTo>
                    <a:cubicBezTo>
                      <a:pt x="31" y="17"/>
                      <a:pt x="30" y="15"/>
                      <a:pt x="30" y="13"/>
                    </a:cubicBezTo>
                    <a:cubicBezTo>
                      <a:pt x="30" y="11"/>
                      <a:pt x="29" y="9"/>
                      <a:pt x="29" y="8"/>
                    </a:cubicBezTo>
                    <a:cubicBezTo>
                      <a:pt x="28" y="6"/>
                      <a:pt x="28" y="4"/>
                      <a:pt x="27" y="2"/>
                    </a:cubicBezTo>
                    <a:cubicBezTo>
                      <a:pt x="26" y="1"/>
                      <a:pt x="24" y="0"/>
                      <a:pt x="22" y="0"/>
                    </a:cubicBezTo>
                    <a:cubicBezTo>
                      <a:pt x="21" y="0"/>
                      <a:pt x="19" y="1"/>
                      <a:pt x="17" y="1"/>
                    </a:cubicBezTo>
                    <a:cubicBezTo>
                      <a:pt x="16" y="1"/>
                      <a:pt x="15" y="0"/>
                      <a:pt x="15" y="0"/>
                    </a:cubicBezTo>
                    <a:cubicBezTo>
                      <a:pt x="13" y="1"/>
                      <a:pt x="12" y="3"/>
                      <a:pt x="11" y="5"/>
                    </a:cubicBezTo>
                    <a:cubicBezTo>
                      <a:pt x="10" y="6"/>
                      <a:pt x="9" y="8"/>
                      <a:pt x="8" y="8"/>
                    </a:cubicBezTo>
                    <a:cubicBezTo>
                      <a:pt x="7" y="9"/>
                      <a:pt x="5" y="7"/>
                      <a:pt x="4" y="8"/>
                    </a:cubicBezTo>
                    <a:cubicBezTo>
                      <a:pt x="3" y="9"/>
                      <a:pt x="5" y="10"/>
                      <a:pt x="5" y="11"/>
                    </a:cubicBezTo>
                    <a:cubicBezTo>
                      <a:pt x="4" y="12"/>
                      <a:pt x="0" y="12"/>
                      <a:pt x="0" y="13"/>
                    </a:cubicBezTo>
                    <a:cubicBezTo>
                      <a:pt x="1" y="16"/>
                      <a:pt x="3" y="17"/>
                      <a:pt x="5" y="19"/>
                    </a:cubicBezTo>
                    <a:cubicBezTo>
                      <a:pt x="7" y="20"/>
                      <a:pt x="9" y="20"/>
                      <a:pt x="11" y="20"/>
                    </a:cubicBezTo>
                    <a:cubicBezTo>
                      <a:pt x="12" y="20"/>
                      <a:pt x="13" y="19"/>
                      <a:pt x="13" y="18"/>
                    </a:cubicBezTo>
                    <a:cubicBezTo>
                      <a:pt x="14" y="17"/>
                      <a:pt x="12" y="16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7" y="16"/>
                      <a:pt x="17" y="18"/>
                      <a:pt x="18" y="19"/>
                    </a:cubicBezTo>
                    <a:cubicBezTo>
                      <a:pt x="20" y="20"/>
                      <a:pt x="21" y="21"/>
                      <a:pt x="22" y="22"/>
                    </a:cubicBezTo>
                    <a:cubicBezTo>
                      <a:pt x="23" y="22"/>
                      <a:pt x="23" y="24"/>
                      <a:pt x="24" y="2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5" name="Freeform 2656"/>
              <p:cNvSpPr>
                <a:spLocks noChangeAspect="1"/>
              </p:cNvSpPr>
              <p:nvPr/>
            </p:nvSpPr>
            <p:spPr bwMode="auto">
              <a:xfrm>
                <a:off x="1267407" y="1688945"/>
                <a:ext cx="1894011" cy="1101161"/>
              </a:xfrm>
              <a:custGeom>
                <a:avLst/>
                <a:gdLst>
                  <a:gd name="T0" fmla="*/ 938 w 965"/>
                  <a:gd name="T1" fmla="*/ 566 h 565"/>
                  <a:gd name="T2" fmla="*/ 1022 w 965"/>
                  <a:gd name="T3" fmla="*/ 509 h 565"/>
                  <a:gd name="T4" fmla="*/ 1120 w 965"/>
                  <a:gd name="T5" fmla="*/ 488 h 565"/>
                  <a:gd name="T6" fmla="*/ 1156 w 965"/>
                  <a:gd name="T7" fmla="*/ 449 h 565"/>
                  <a:gd name="T8" fmla="*/ 1112 w 965"/>
                  <a:gd name="T9" fmla="*/ 436 h 565"/>
                  <a:gd name="T10" fmla="*/ 1117 w 965"/>
                  <a:gd name="T11" fmla="*/ 407 h 565"/>
                  <a:gd name="T12" fmla="*/ 1074 w 965"/>
                  <a:gd name="T13" fmla="*/ 372 h 565"/>
                  <a:gd name="T14" fmla="*/ 1080 w 965"/>
                  <a:gd name="T15" fmla="*/ 340 h 565"/>
                  <a:gd name="T16" fmla="*/ 1062 w 965"/>
                  <a:gd name="T17" fmla="*/ 310 h 565"/>
                  <a:gd name="T18" fmla="*/ 1028 w 965"/>
                  <a:gd name="T19" fmla="*/ 329 h 565"/>
                  <a:gd name="T20" fmla="*/ 976 w 965"/>
                  <a:gd name="T21" fmla="*/ 324 h 565"/>
                  <a:gd name="T22" fmla="*/ 985 w 965"/>
                  <a:gd name="T23" fmla="*/ 281 h 565"/>
                  <a:gd name="T24" fmla="*/ 948 w 965"/>
                  <a:gd name="T25" fmla="*/ 248 h 565"/>
                  <a:gd name="T26" fmla="*/ 888 w 965"/>
                  <a:gd name="T27" fmla="*/ 236 h 565"/>
                  <a:gd name="T28" fmla="*/ 877 w 965"/>
                  <a:gd name="T29" fmla="*/ 286 h 565"/>
                  <a:gd name="T30" fmla="*/ 874 w 965"/>
                  <a:gd name="T31" fmla="*/ 349 h 565"/>
                  <a:gd name="T32" fmla="*/ 832 w 965"/>
                  <a:gd name="T33" fmla="*/ 444 h 565"/>
                  <a:gd name="T34" fmla="*/ 799 w 965"/>
                  <a:gd name="T35" fmla="*/ 491 h 565"/>
                  <a:gd name="T36" fmla="*/ 790 w 965"/>
                  <a:gd name="T37" fmla="*/ 414 h 565"/>
                  <a:gd name="T38" fmla="*/ 702 w 965"/>
                  <a:gd name="T39" fmla="*/ 371 h 565"/>
                  <a:gd name="T40" fmla="*/ 653 w 965"/>
                  <a:gd name="T41" fmla="*/ 326 h 565"/>
                  <a:gd name="T42" fmla="*/ 664 w 965"/>
                  <a:gd name="T43" fmla="*/ 253 h 565"/>
                  <a:gd name="T44" fmla="*/ 686 w 965"/>
                  <a:gd name="T45" fmla="*/ 211 h 565"/>
                  <a:gd name="T46" fmla="*/ 763 w 965"/>
                  <a:gd name="T47" fmla="*/ 184 h 565"/>
                  <a:gd name="T48" fmla="*/ 782 w 965"/>
                  <a:gd name="T49" fmla="*/ 140 h 565"/>
                  <a:gd name="T50" fmla="*/ 821 w 965"/>
                  <a:gd name="T51" fmla="*/ 145 h 565"/>
                  <a:gd name="T52" fmla="*/ 854 w 965"/>
                  <a:gd name="T53" fmla="*/ 85 h 565"/>
                  <a:gd name="T54" fmla="*/ 829 w 965"/>
                  <a:gd name="T55" fmla="*/ 58 h 565"/>
                  <a:gd name="T56" fmla="*/ 781 w 965"/>
                  <a:gd name="T57" fmla="*/ 121 h 565"/>
                  <a:gd name="T58" fmla="*/ 752 w 965"/>
                  <a:gd name="T59" fmla="*/ 82 h 565"/>
                  <a:gd name="T60" fmla="*/ 721 w 965"/>
                  <a:gd name="T61" fmla="*/ 67 h 565"/>
                  <a:gd name="T62" fmla="*/ 725 w 965"/>
                  <a:gd name="T63" fmla="*/ 20 h 565"/>
                  <a:gd name="T64" fmla="*/ 684 w 965"/>
                  <a:gd name="T65" fmla="*/ 14 h 565"/>
                  <a:gd name="T66" fmla="*/ 698 w 965"/>
                  <a:gd name="T67" fmla="*/ 65 h 565"/>
                  <a:gd name="T68" fmla="*/ 696 w 965"/>
                  <a:gd name="T69" fmla="*/ 82 h 565"/>
                  <a:gd name="T70" fmla="*/ 656 w 965"/>
                  <a:gd name="T71" fmla="*/ 133 h 565"/>
                  <a:gd name="T72" fmla="*/ 632 w 965"/>
                  <a:gd name="T73" fmla="*/ 97 h 565"/>
                  <a:gd name="T74" fmla="*/ 564 w 965"/>
                  <a:gd name="T75" fmla="*/ 103 h 565"/>
                  <a:gd name="T76" fmla="*/ 538 w 965"/>
                  <a:gd name="T77" fmla="*/ 90 h 565"/>
                  <a:gd name="T78" fmla="*/ 499 w 965"/>
                  <a:gd name="T79" fmla="*/ 125 h 565"/>
                  <a:gd name="T80" fmla="*/ 403 w 965"/>
                  <a:gd name="T81" fmla="*/ 108 h 565"/>
                  <a:gd name="T82" fmla="*/ 352 w 965"/>
                  <a:gd name="T83" fmla="*/ 68 h 565"/>
                  <a:gd name="T84" fmla="*/ 282 w 965"/>
                  <a:gd name="T85" fmla="*/ 68 h 565"/>
                  <a:gd name="T86" fmla="*/ 204 w 965"/>
                  <a:gd name="T87" fmla="*/ 72 h 565"/>
                  <a:gd name="T88" fmla="*/ 217 w 965"/>
                  <a:gd name="T89" fmla="*/ 49 h 565"/>
                  <a:gd name="T90" fmla="*/ 107 w 965"/>
                  <a:gd name="T91" fmla="*/ 74 h 565"/>
                  <a:gd name="T92" fmla="*/ 28 w 965"/>
                  <a:gd name="T93" fmla="*/ 301 h 565"/>
                  <a:gd name="T94" fmla="*/ 86 w 965"/>
                  <a:gd name="T95" fmla="*/ 331 h 565"/>
                  <a:gd name="T96" fmla="*/ 131 w 965"/>
                  <a:gd name="T97" fmla="*/ 406 h 565"/>
                  <a:gd name="T98" fmla="*/ 132 w 965"/>
                  <a:gd name="T99" fmla="*/ 432 h 565"/>
                  <a:gd name="T100" fmla="*/ 133 w 965"/>
                  <a:gd name="T101" fmla="*/ 481 h 565"/>
                  <a:gd name="T102" fmla="*/ 169 w 965"/>
                  <a:gd name="T103" fmla="*/ 522 h 565"/>
                  <a:gd name="T104" fmla="*/ 594 w 965"/>
                  <a:gd name="T105" fmla="*/ 540 h 565"/>
                  <a:gd name="T106" fmla="*/ 678 w 965"/>
                  <a:gd name="T107" fmla="*/ 542 h 565"/>
                  <a:gd name="T108" fmla="*/ 728 w 965"/>
                  <a:gd name="T109" fmla="*/ 560 h 565"/>
                  <a:gd name="T110" fmla="*/ 770 w 965"/>
                  <a:gd name="T111" fmla="*/ 599 h 565"/>
                  <a:gd name="T112" fmla="*/ 775 w 965"/>
                  <a:gd name="T113" fmla="*/ 620 h 565"/>
                  <a:gd name="T114" fmla="*/ 750 w 965"/>
                  <a:gd name="T115" fmla="*/ 672 h 565"/>
                  <a:gd name="T116" fmla="*/ 803 w 965"/>
                  <a:gd name="T117" fmla="*/ 662 h 565"/>
                  <a:gd name="T118" fmla="*/ 842 w 965"/>
                  <a:gd name="T119" fmla="*/ 635 h 56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65"/>
                  <a:gd name="T181" fmla="*/ 0 h 565"/>
                  <a:gd name="T182" fmla="*/ 965 w 965"/>
                  <a:gd name="T183" fmla="*/ 565 h 56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65" h="565">
                    <a:moveTo>
                      <a:pt x="711" y="522"/>
                    </a:moveTo>
                    <a:cubicBezTo>
                      <a:pt x="712" y="520"/>
                      <a:pt x="713" y="519"/>
                      <a:pt x="714" y="518"/>
                    </a:cubicBezTo>
                    <a:cubicBezTo>
                      <a:pt x="716" y="516"/>
                      <a:pt x="717" y="515"/>
                      <a:pt x="721" y="514"/>
                    </a:cubicBezTo>
                    <a:cubicBezTo>
                      <a:pt x="724" y="513"/>
                      <a:pt x="726" y="512"/>
                      <a:pt x="729" y="511"/>
                    </a:cubicBezTo>
                    <a:cubicBezTo>
                      <a:pt x="731" y="510"/>
                      <a:pt x="734" y="508"/>
                      <a:pt x="736" y="506"/>
                    </a:cubicBezTo>
                    <a:cubicBezTo>
                      <a:pt x="738" y="504"/>
                      <a:pt x="740" y="502"/>
                      <a:pt x="742" y="500"/>
                    </a:cubicBezTo>
                    <a:cubicBezTo>
                      <a:pt x="744" y="498"/>
                      <a:pt x="746" y="496"/>
                      <a:pt x="749" y="495"/>
                    </a:cubicBezTo>
                    <a:cubicBezTo>
                      <a:pt x="751" y="493"/>
                      <a:pt x="754" y="492"/>
                      <a:pt x="757" y="490"/>
                    </a:cubicBezTo>
                    <a:cubicBezTo>
                      <a:pt x="760" y="488"/>
                      <a:pt x="763" y="486"/>
                      <a:pt x="767" y="484"/>
                    </a:cubicBezTo>
                    <a:cubicBezTo>
                      <a:pt x="769" y="483"/>
                      <a:pt x="772" y="482"/>
                      <a:pt x="774" y="480"/>
                    </a:cubicBezTo>
                    <a:cubicBezTo>
                      <a:pt x="777" y="478"/>
                      <a:pt x="780" y="475"/>
                      <a:pt x="782" y="472"/>
                    </a:cubicBezTo>
                    <a:cubicBezTo>
                      <a:pt x="786" y="468"/>
                      <a:pt x="789" y="463"/>
                      <a:pt x="793" y="459"/>
                    </a:cubicBezTo>
                    <a:cubicBezTo>
                      <a:pt x="796" y="456"/>
                      <a:pt x="798" y="452"/>
                      <a:pt x="801" y="450"/>
                    </a:cubicBezTo>
                    <a:cubicBezTo>
                      <a:pt x="804" y="448"/>
                      <a:pt x="807" y="446"/>
                      <a:pt x="810" y="444"/>
                    </a:cubicBezTo>
                    <a:cubicBezTo>
                      <a:pt x="811" y="443"/>
                      <a:pt x="812" y="442"/>
                      <a:pt x="813" y="441"/>
                    </a:cubicBezTo>
                    <a:cubicBezTo>
                      <a:pt x="815" y="440"/>
                      <a:pt x="816" y="441"/>
                      <a:pt x="818" y="440"/>
                    </a:cubicBezTo>
                    <a:cubicBezTo>
                      <a:pt x="820" y="440"/>
                      <a:pt x="822" y="439"/>
                      <a:pt x="823" y="438"/>
                    </a:cubicBezTo>
                    <a:cubicBezTo>
                      <a:pt x="824" y="437"/>
                      <a:pt x="824" y="434"/>
                      <a:pt x="825" y="433"/>
                    </a:cubicBezTo>
                    <a:cubicBezTo>
                      <a:pt x="825" y="431"/>
                      <a:pt x="827" y="430"/>
                      <a:pt x="828" y="429"/>
                    </a:cubicBezTo>
                    <a:cubicBezTo>
                      <a:pt x="830" y="427"/>
                      <a:pt x="832" y="427"/>
                      <a:pt x="834" y="426"/>
                    </a:cubicBezTo>
                    <a:cubicBezTo>
                      <a:pt x="838" y="425"/>
                      <a:pt x="841" y="426"/>
                      <a:pt x="844" y="425"/>
                    </a:cubicBezTo>
                    <a:cubicBezTo>
                      <a:pt x="847" y="425"/>
                      <a:pt x="849" y="424"/>
                      <a:pt x="852" y="424"/>
                    </a:cubicBezTo>
                    <a:cubicBezTo>
                      <a:pt x="856" y="424"/>
                      <a:pt x="860" y="424"/>
                      <a:pt x="864" y="424"/>
                    </a:cubicBezTo>
                    <a:cubicBezTo>
                      <a:pt x="866" y="424"/>
                      <a:pt x="868" y="426"/>
                      <a:pt x="871" y="426"/>
                    </a:cubicBezTo>
                    <a:cubicBezTo>
                      <a:pt x="873" y="426"/>
                      <a:pt x="876" y="424"/>
                      <a:pt x="879" y="424"/>
                    </a:cubicBezTo>
                    <a:cubicBezTo>
                      <a:pt x="882" y="424"/>
                      <a:pt x="885" y="426"/>
                      <a:pt x="888" y="426"/>
                    </a:cubicBezTo>
                    <a:cubicBezTo>
                      <a:pt x="889" y="427"/>
                      <a:pt x="890" y="428"/>
                      <a:pt x="891" y="428"/>
                    </a:cubicBezTo>
                    <a:cubicBezTo>
                      <a:pt x="897" y="427"/>
                      <a:pt x="903" y="427"/>
                      <a:pt x="909" y="426"/>
                    </a:cubicBezTo>
                    <a:cubicBezTo>
                      <a:pt x="912" y="425"/>
                      <a:pt x="914" y="423"/>
                      <a:pt x="916" y="422"/>
                    </a:cubicBezTo>
                    <a:cubicBezTo>
                      <a:pt x="918" y="420"/>
                      <a:pt x="918" y="417"/>
                      <a:pt x="921" y="415"/>
                    </a:cubicBezTo>
                    <a:cubicBezTo>
                      <a:pt x="922" y="415"/>
                      <a:pt x="923" y="417"/>
                      <a:pt x="924" y="417"/>
                    </a:cubicBezTo>
                    <a:cubicBezTo>
                      <a:pt x="926" y="414"/>
                      <a:pt x="926" y="410"/>
                      <a:pt x="928" y="408"/>
                    </a:cubicBezTo>
                    <a:cubicBezTo>
                      <a:pt x="929" y="407"/>
                      <a:pt x="932" y="407"/>
                      <a:pt x="933" y="407"/>
                    </a:cubicBezTo>
                    <a:cubicBezTo>
                      <a:pt x="936" y="406"/>
                      <a:pt x="938" y="404"/>
                      <a:pt x="941" y="403"/>
                    </a:cubicBezTo>
                    <a:cubicBezTo>
                      <a:pt x="943" y="403"/>
                      <a:pt x="945" y="404"/>
                      <a:pt x="947" y="404"/>
                    </a:cubicBezTo>
                    <a:cubicBezTo>
                      <a:pt x="950" y="403"/>
                      <a:pt x="953" y="402"/>
                      <a:pt x="956" y="400"/>
                    </a:cubicBezTo>
                    <a:cubicBezTo>
                      <a:pt x="959" y="398"/>
                      <a:pt x="962" y="396"/>
                      <a:pt x="963" y="393"/>
                    </a:cubicBezTo>
                    <a:cubicBezTo>
                      <a:pt x="964" y="391"/>
                      <a:pt x="960" y="390"/>
                      <a:pt x="961" y="388"/>
                    </a:cubicBezTo>
                    <a:cubicBezTo>
                      <a:pt x="961" y="387"/>
                      <a:pt x="965" y="389"/>
                      <a:pt x="964" y="388"/>
                    </a:cubicBezTo>
                    <a:cubicBezTo>
                      <a:pt x="962" y="386"/>
                      <a:pt x="957" y="387"/>
                      <a:pt x="955" y="384"/>
                    </a:cubicBezTo>
                    <a:cubicBezTo>
                      <a:pt x="954" y="382"/>
                      <a:pt x="960" y="385"/>
                      <a:pt x="962" y="384"/>
                    </a:cubicBezTo>
                    <a:cubicBezTo>
                      <a:pt x="963" y="384"/>
                      <a:pt x="961" y="382"/>
                      <a:pt x="961" y="381"/>
                    </a:cubicBezTo>
                    <a:cubicBezTo>
                      <a:pt x="962" y="380"/>
                      <a:pt x="964" y="379"/>
                      <a:pt x="964" y="378"/>
                    </a:cubicBezTo>
                    <a:cubicBezTo>
                      <a:pt x="965" y="377"/>
                      <a:pt x="963" y="375"/>
                      <a:pt x="963" y="374"/>
                    </a:cubicBezTo>
                    <a:cubicBezTo>
                      <a:pt x="963" y="373"/>
                      <a:pt x="965" y="375"/>
                      <a:pt x="965" y="374"/>
                    </a:cubicBezTo>
                    <a:cubicBezTo>
                      <a:pt x="965" y="372"/>
                      <a:pt x="965" y="369"/>
                      <a:pt x="964" y="367"/>
                    </a:cubicBezTo>
                    <a:cubicBezTo>
                      <a:pt x="962" y="365"/>
                      <a:pt x="960" y="364"/>
                      <a:pt x="958" y="363"/>
                    </a:cubicBezTo>
                    <a:cubicBezTo>
                      <a:pt x="957" y="362"/>
                      <a:pt x="955" y="362"/>
                      <a:pt x="953" y="363"/>
                    </a:cubicBezTo>
                    <a:cubicBezTo>
                      <a:pt x="951" y="364"/>
                      <a:pt x="950" y="367"/>
                      <a:pt x="948" y="368"/>
                    </a:cubicBezTo>
                    <a:cubicBezTo>
                      <a:pt x="947" y="368"/>
                      <a:pt x="946" y="366"/>
                      <a:pt x="946" y="365"/>
                    </a:cubicBezTo>
                    <a:cubicBezTo>
                      <a:pt x="946" y="363"/>
                      <a:pt x="949" y="362"/>
                      <a:pt x="949" y="360"/>
                    </a:cubicBezTo>
                    <a:cubicBezTo>
                      <a:pt x="949" y="358"/>
                      <a:pt x="947" y="358"/>
                      <a:pt x="945" y="357"/>
                    </a:cubicBezTo>
                    <a:cubicBezTo>
                      <a:pt x="944" y="356"/>
                      <a:pt x="941" y="355"/>
                      <a:pt x="939" y="355"/>
                    </a:cubicBezTo>
                    <a:cubicBezTo>
                      <a:pt x="938" y="355"/>
                      <a:pt x="938" y="357"/>
                      <a:pt x="937" y="358"/>
                    </a:cubicBezTo>
                    <a:cubicBezTo>
                      <a:pt x="934" y="360"/>
                      <a:pt x="930" y="362"/>
                      <a:pt x="927" y="363"/>
                    </a:cubicBezTo>
                    <a:cubicBezTo>
                      <a:pt x="923" y="365"/>
                      <a:pt x="920" y="368"/>
                      <a:pt x="916" y="368"/>
                    </a:cubicBezTo>
                    <a:cubicBezTo>
                      <a:pt x="915" y="368"/>
                      <a:pt x="913" y="365"/>
                      <a:pt x="914" y="364"/>
                    </a:cubicBezTo>
                    <a:cubicBezTo>
                      <a:pt x="917" y="362"/>
                      <a:pt x="921" y="361"/>
                      <a:pt x="925" y="360"/>
                    </a:cubicBezTo>
                    <a:cubicBezTo>
                      <a:pt x="928" y="358"/>
                      <a:pt x="932" y="357"/>
                      <a:pt x="935" y="356"/>
                    </a:cubicBezTo>
                    <a:cubicBezTo>
                      <a:pt x="937" y="354"/>
                      <a:pt x="940" y="353"/>
                      <a:pt x="942" y="351"/>
                    </a:cubicBezTo>
                    <a:cubicBezTo>
                      <a:pt x="945" y="350"/>
                      <a:pt x="948" y="351"/>
                      <a:pt x="950" y="348"/>
                    </a:cubicBezTo>
                    <a:cubicBezTo>
                      <a:pt x="950" y="347"/>
                      <a:pt x="946" y="349"/>
                      <a:pt x="944" y="347"/>
                    </a:cubicBezTo>
                    <a:cubicBezTo>
                      <a:pt x="943" y="346"/>
                      <a:pt x="946" y="344"/>
                      <a:pt x="944" y="344"/>
                    </a:cubicBezTo>
                    <a:cubicBezTo>
                      <a:pt x="942" y="343"/>
                      <a:pt x="940" y="345"/>
                      <a:pt x="937" y="345"/>
                    </a:cubicBezTo>
                    <a:cubicBezTo>
                      <a:pt x="935" y="345"/>
                      <a:pt x="932" y="344"/>
                      <a:pt x="931" y="342"/>
                    </a:cubicBezTo>
                    <a:cubicBezTo>
                      <a:pt x="930" y="341"/>
                      <a:pt x="932" y="340"/>
                      <a:pt x="931" y="339"/>
                    </a:cubicBezTo>
                    <a:cubicBezTo>
                      <a:pt x="930" y="338"/>
                      <a:pt x="928" y="339"/>
                      <a:pt x="926" y="339"/>
                    </a:cubicBezTo>
                    <a:cubicBezTo>
                      <a:pt x="925" y="338"/>
                      <a:pt x="924" y="337"/>
                      <a:pt x="922" y="337"/>
                    </a:cubicBezTo>
                    <a:cubicBezTo>
                      <a:pt x="920" y="336"/>
                      <a:pt x="917" y="338"/>
                      <a:pt x="915" y="336"/>
                    </a:cubicBezTo>
                    <a:cubicBezTo>
                      <a:pt x="914" y="334"/>
                      <a:pt x="917" y="330"/>
                      <a:pt x="916" y="327"/>
                    </a:cubicBezTo>
                    <a:cubicBezTo>
                      <a:pt x="916" y="326"/>
                      <a:pt x="913" y="328"/>
                      <a:pt x="912" y="327"/>
                    </a:cubicBezTo>
                    <a:cubicBezTo>
                      <a:pt x="910" y="326"/>
                      <a:pt x="907" y="325"/>
                      <a:pt x="906" y="323"/>
                    </a:cubicBezTo>
                    <a:cubicBezTo>
                      <a:pt x="905" y="322"/>
                      <a:pt x="908" y="321"/>
                      <a:pt x="907" y="320"/>
                    </a:cubicBezTo>
                    <a:cubicBezTo>
                      <a:pt x="906" y="319"/>
                      <a:pt x="903" y="319"/>
                      <a:pt x="901" y="317"/>
                    </a:cubicBezTo>
                    <a:cubicBezTo>
                      <a:pt x="900" y="317"/>
                      <a:pt x="898" y="316"/>
                      <a:pt x="899" y="315"/>
                    </a:cubicBezTo>
                    <a:cubicBezTo>
                      <a:pt x="899" y="314"/>
                      <a:pt x="904" y="314"/>
                      <a:pt x="903" y="313"/>
                    </a:cubicBezTo>
                    <a:cubicBezTo>
                      <a:pt x="901" y="310"/>
                      <a:pt x="897" y="312"/>
                      <a:pt x="895" y="310"/>
                    </a:cubicBezTo>
                    <a:cubicBezTo>
                      <a:pt x="894" y="310"/>
                      <a:pt x="895" y="308"/>
                      <a:pt x="895" y="308"/>
                    </a:cubicBezTo>
                    <a:cubicBezTo>
                      <a:pt x="898" y="307"/>
                      <a:pt x="901" y="308"/>
                      <a:pt x="904" y="308"/>
                    </a:cubicBezTo>
                    <a:cubicBezTo>
                      <a:pt x="905" y="308"/>
                      <a:pt x="907" y="307"/>
                      <a:pt x="908" y="305"/>
                    </a:cubicBezTo>
                    <a:cubicBezTo>
                      <a:pt x="908" y="304"/>
                      <a:pt x="909" y="302"/>
                      <a:pt x="908" y="301"/>
                    </a:cubicBezTo>
                    <a:cubicBezTo>
                      <a:pt x="906" y="300"/>
                      <a:pt x="904" y="302"/>
                      <a:pt x="903" y="301"/>
                    </a:cubicBezTo>
                    <a:cubicBezTo>
                      <a:pt x="902" y="300"/>
                      <a:pt x="903" y="298"/>
                      <a:pt x="902" y="298"/>
                    </a:cubicBezTo>
                    <a:cubicBezTo>
                      <a:pt x="901" y="296"/>
                      <a:pt x="896" y="298"/>
                      <a:pt x="896" y="295"/>
                    </a:cubicBezTo>
                    <a:cubicBezTo>
                      <a:pt x="896" y="293"/>
                      <a:pt x="902" y="295"/>
                      <a:pt x="903" y="292"/>
                    </a:cubicBezTo>
                    <a:cubicBezTo>
                      <a:pt x="904" y="291"/>
                      <a:pt x="902" y="288"/>
                      <a:pt x="901" y="287"/>
                    </a:cubicBezTo>
                    <a:cubicBezTo>
                      <a:pt x="900" y="286"/>
                      <a:pt x="896" y="288"/>
                      <a:pt x="896" y="287"/>
                    </a:cubicBezTo>
                    <a:cubicBezTo>
                      <a:pt x="895" y="285"/>
                      <a:pt x="900" y="285"/>
                      <a:pt x="900" y="283"/>
                    </a:cubicBezTo>
                    <a:cubicBezTo>
                      <a:pt x="900" y="282"/>
                      <a:pt x="897" y="283"/>
                      <a:pt x="896" y="281"/>
                    </a:cubicBezTo>
                    <a:cubicBezTo>
                      <a:pt x="896" y="280"/>
                      <a:pt x="898" y="277"/>
                      <a:pt x="897" y="276"/>
                    </a:cubicBezTo>
                    <a:cubicBezTo>
                      <a:pt x="894" y="275"/>
                      <a:pt x="891" y="278"/>
                      <a:pt x="888" y="277"/>
                    </a:cubicBezTo>
                    <a:cubicBezTo>
                      <a:pt x="887" y="277"/>
                      <a:pt x="887" y="275"/>
                      <a:pt x="888" y="275"/>
                    </a:cubicBezTo>
                    <a:cubicBezTo>
                      <a:pt x="890" y="274"/>
                      <a:pt x="893" y="275"/>
                      <a:pt x="894" y="273"/>
                    </a:cubicBezTo>
                    <a:cubicBezTo>
                      <a:pt x="895" y="273"/>
                      <a:pt x="895" y="271"/>
                      <a:pt x="894" y="270"/>
                    </a:cubicBezTo>
                    <a:cubicBezTo>
                      <a:pt x="893" y="270"/>
                      <a:pt x="891" y="271"/>
                      <a:pt x="890" y="270"/>
                    </a:cubicBezTo>
                    <a:cubicBezTo>
                      <a:pt x="889" y="269"/>
                      <a:pt x="892" y="266"/>
                      <a:pt x="890" y="265"/>
                    </a:cubicBezTo>
                    <a:cubicBezTo>
                      <a:pt x="889" y="264"/>
                      <a:pt x="885" y="268"/>
                      <a:pt x="884" y="266"/>
                    </a:cubicBezTo>
                    <a:cubicBezTo>
                      <a:pt x="883" y="264"/>
                      <a:pt x="888" y="263"/>
                      <a:pt x="888" y="261"/>
                    </a:cubicBezTo>
                    <a:cubicBezTo>
                      <a:pt x="889" y="260"/>
                      <a:pt x="886" y="259"/>
                      <a:pt x="885" y="258"/>
                    </a:cubicBezTo>
                    <a:cubicBezTo>
                      <a:pt x="884" y="256"/>
                      <a:pt x="885" y="254"/>
                      <a:pt x="884" y="252"/>
                    </a:cubicBezTo>
                    <a:cubicBezTo>
                      <a:pt x="884" y="250"/>
                      <a:pt x="881" y="249"/>
                      <a:pt x="881" y="247"/>
                    </a:cubicBezTo>
                    <a:cubicBezTo>
                      <a:pt x="880" y="245"/>
                      <a:pt x="881" y="243"/>
                      <a:pt x="881" y="240"/>
                    </a:cubicBezTo>
                    <a:cubicBezTo>
                      <a:pt x="880" y="237"/>
                      <a:pt x="878" y="240"/>
                      <a:pt x="877" y="240"/>
                    </a:cubicBezTo>
                    <a:cubicBezTo>
                      <a:pt x="875" y="244"/>
                      <a:pt x="873" y="248"/>
                      <a:pt x="871" y="252"/>
                    </a:cubicBezTo>
                    <a:cubicBezTo>
                      <a:pt x="870" y="254"/>
                      <a:pt x="869" y="256"/>
                      <a:pt x="868" y="258"/>
                    </a:cubicBezTo>
                    <a:cubicBezTo>
                      <a:pt x="868" y="260"/>
                      <a:pt x="867" y="261"/>
                      <a:pt x="866" y="263"/>
                    </a:cubicBezTo>
                    <a:cubicBezTo>
                      <a:pt x="866" y="264"/>
                      <a:pt x="867" y="265"/>
                      <a:pt x="866" y="266"/>
                    </a:cubicBezTo>
                    <a:cubicBezTo>
                      <a:pt x="865" y="268"/>
                      <a:pt x="861" y="267"/>
                      <a:pt x="860" y="269"/>
                    </a:cubicBezTo>
                    <a:cubicBezTo>
                      <a:pt x="858" y="272"/>
                      <a:pt x="860" y="276"/>
                      <a:pt x="858" y="279"/>
                    </a:cubicBezTo>
                    <a:cubicBezTo>
                      <a:pt x="857" y="280"/>
                      <a:pt x="858" y="275"/>
                      <a:pt x="857" y="274"/>
                    </a:cubicBezTo>
                    <a:cubicBezTo>
                      <a:pt x="856" y="272"/>
                      <a:pt x="855" y="270"/>
                      <a:pt x="854" y="270"/>
                    </a:cubicBezTo>
                    <a:cubicBezTo>
                      <a:pt x="851" y="271"/>
                      <a:pt x="852" y="275"/>
                      <a:pt x="850" y="277"/>
                    </a:cubicBezTo>
                    <a:cubicBezTo>
                      <a:pt x="848" y="278"/>
                      <a:pt x="845" y="278"/>
                      <a:pt x="844" y="279"/>
                    </a:cubicBezTo>
                    <a:cubicBezTo>
                      <a:pt x="841" y="280"/>
                      <a:pt x="840" y="286"/>
                      <a:pt x="837" y="285"/>
                    </a:cubicBezTo>
                    <a:cubicBezTo>
                      <a:pt x="834" y="284"/>
                      <a:pt x="838" y="277"/>
                      <a:pt x="835" y="276"/>
                    </a:cubicBezTo>
                    <a:cubicBezTo>
                      <a:pt x="832" y="276"/>
                      <a:pt x="834" y="284"/>
                      <a:pt x="831" y="284"/>
                    </a:cubicBezTo>
                    <a:cubicBezTo>
                      <a:pt x="828" y="284"/>
                      <a:pt x="832" y="278"/>
                      <a:pt x="831" y="276"/>
                    </a:cubicBezTo>
                    <a:cubicBezTo>
                      <a:pt x="831" y="273"/>
                      <a:pt x="831" y="270"/>
                      <a:pt x="828" y="269"/>
                    </a:cubicBezTo>
                    <a:cubicBezTo>
                      <a:pt x="825" y="268"/>
                      <a:pt x="821" y="269"/>
                      <a:pt x="818" y="270"/>
                    </a:cubicBezTo>
                    <a:cubicBezTo>
                      <a:pt x="816" y="271"/>
                      <a:pt x="816" y="274"/>
                      <a:pt x="814" y="274"/>
                    </a:cubicBezTo>
                    <a:cubicBezTo>
                      <a:pt x="812" y="274"/>
                      <a:pt x="812" y="272"/>
                      <a:pt x="813" y="270"/>
                    </a:cubicBezTo>
                    <a:cubicBezTo>
                      <a:pt x="813" y="269"/>
                      <a:pt x="815" y="268"/>
                      <a:pt x="816" y="267"/>
                    </a:cubicBezTo>
                    <a:cubicBezTo>
                      <a:pt x="817" y="266"/>
                      <a:pt x="819" y="265"/>
                      <a:pt x="820" y="263"/>
                    </a:cubicBezTo>
                    <a:cubicBezTo>
                      <a:pt x="821" y="262"/>
                      <a:pt x="820" y="260"/>
                      <a:pt x="819" y="259"/>
                    </a:cubicBezTo>
                    <a:cubicBezTo>
                      <a:pt x="818" y="258"/>
                      <a:pt x="816" y="260"/>
                      <a:pt x="816" y="259"/>
                    </a:cubicBezTo>
                    <a:cubicBezTo>
                      <a:pt x="815" y="258"/>
                      <a:pt x="815" y="256"/>
                      <a:pt x="816" y="254"/>
                    </a:cubicBezTo>
                    <a:cubicBezTo>
                      <a:pt x="816" y="253"/>
                      <a:pt x="818" y="254"/>
                      <a:pt x="818" y="253"/>
                    </a:cubicBezTo>
                    <a:cubicBezTo>
                      <a:pt x="819" y="252"/>
                      <a:pt x="820" y="249"/>
                      <a:pt x="818" y="248"/>
                    </a:cubicBezTo>
                    <a:cubicBezTo>
                      <a:pt x="816" y="247"/>
                      <a:pt x="808" y="250"/>
                      <a:pt x="809" y="248"/>
                    </a:cubicBezTo>
                    <a:cubicBezTo>
                      <a:pt x="811" y="244"/>
                      <a:pt x="817" y="247"/>
                      <a:pt x="820" y="245"/>
                    </a:cubicBezTo>
                    <a:cubicBezTo>
                      <a:pt x="821" y="244"/>
                      <a:pt x="819" y="241"/>
                      <a:pt x="820" y="239"/>
                    </a:cubicBezTo>
                    <a:cubicBezTo>
                      <a:pt x="820" y="237"/>
                      <a:pt x="820" y="236"/>
                      <a:pt x="821" y="234"/>
                    </a:cubicBezTo>
                    <a:cubicBezTo>
                      <a:pt x="822" y="233"/>
                      <a:pt x="825" y="233"/>
                      <a:pt x="826" y="231"/>
                    </a:cubicBezTo>
                    <a:cubicBezTo>
                      <a:pt x="826" y="230"/>
                      <a:pt x="826" y="228"/>
                      <a:pt x="825" y="228"/>
                    </a:cubicBezTo>
                    <a:cubicBezTo>
                      <a:pt x="823" y="228"/>
                      <a:pt x="822" y="230"/>
                      <a:pt x="820" y="230"/>
                    </a:cubicBezTo>
                    <a:cubicBezTo>
                      <a:pt x="819" y="230"/>
                      <a:pt x="818" y="227"/>
                      <a:pt x="817" y="226"/>
                    </a:cubicBezTo>
                    <a:cubicBezTo>
                      <a:pt x="812" y="226"/>
                      <a:pt x="808" y="227"/>
                      <a:pt x="803" y="226"/>
                    </a:cubicBezTo>
                    <a:cubicBezTo>
                      <a:pt x="802" y="226"/>
                      <a:pt x="800" y="224"/>
                      <a:pt x="800" y="223"/>
                    </a:cubicBezTo>
                    <a:cubicBezTo>
                      <a:pt x="799" y="221"/>
                      <a:pt x="801" y="219"/>
                      <a:pt x="800" y="218"/>
                    </a:cubicBezTo>
                    <a:cubicBezTo>
                      <a:pt x="799" y="217"/>
                      <a:pt x="797" y="218"/>
                      <a:pt x="796" y="217"/>
                    </a:cubicBezTo>
                    <a:cubicBezTo>
                      <a:pt x="796" y="216"/>
                      <a:pt x="797" y="215"/>
                      <a:pt x="796" y="214"/>
                    </a:cubicBezTo>
                    <a:cubicBezTo>
                      <a:pt x="795" y="212"/>
                      <a:pt x="792" y="212"/>
                      <a:pt x="790" y="210"/>
                    </a:cubicBezTo>
                    <a:cubicBezTo>
                      <a:pt x="790" y="209"/>
                      <a:pt x="790" y="208"/>
                      <a:pt x="790" y="207"/>
                    </a:cubicBezTo>
                    <a:cubicBezTo>
                      <a:pt x="787" y="205"/>
                      <a:pt x="784" y="203"/>
                      <a:pt x="782" y="201"/>
                    </a:cubicBezTo>
                    <a:cubicBezTo>
                      <a:pt x="781" y="201"/>
                      <a:pt x="780" y="200"/>
                      <a:pt x="780" y="200"/>
                    </a:cubicBezTo>
                    <a:cubicBezTo>
                      <a:pt x="777" y="202"/>
                      <a:pt x="775" y="204"/>
                      <a:pt x="772" y="205"/>
                    </a:cubicBezTo>
                    <a:cubicBezTo>
                      <a:pt x="771" y="206"/>
                      <a:pt x="770" y="204"/>
                      <a:pt x="769" y="205"/>
                    </a:cubicBezTo>
                    <a:cubicBezTo>
                      <a:pt x="769" y="205"/>
                      <a:pt x="769" y="208"/>
                      <a:pt x="768" y="207"/>
                    </a:cubicBezTo>
                    <a:cubicBezTo>
                      <a:pt x="765" y="207"/>
                      <a:pt x="764" y="203"/>
                      <a:pt x="761" y="203"/>
                    </a:cubicBezTo>
                    <a:cubicBezTo>
                      <a:pt x="760" y="202"/>
                      <a:pt x="759" y="204"/>
                      <a:pt x="758" y="204"/>
                    </a:cubicBezTo>
                    <a:cubicBezTo>
                      <a:pt x="757" y="204"/>
                      <a:pt x="758" y="202"/>
                      <a:pt x="757" y="201"/>
                    </a:cubicBezTo>
                    <a:cubicBezTo>
                      <a:pt x="755" y="201"/>
                      <a:pt x="753" y="202"/>
                      <a:pt x="752" y="201"/>
                    </a:cubicBezTo>
                    <a:cubicBezTo>
                      <a:pt x="749" y="200"/>
                      <a:pt x="747" y="199"/>
                      <a:pt x="745" y="198"/>
                    </a:cubicBezTo>
                    <a:cubicBezTo>
                      <a:pt x="743" y="198"/>
                      <a:pt x="742" y="197"/>
                      <a:pt x="740" y="197"/>
                    </a:cubicBezTo>
                    <a:cubicBezTo>
                      <a:pt x="738" y="197"/>
                      <a:pt x="736" y="199"/>
                      <a:pt x="734" y="201"/>
                    </a:cubicBezTo>
                    <a:cubicBezTo>
                      <a:pt x="733" y="202"/>
                      <a:pt x="731" y="202"/>
                      <a:pt x="730" y="203"/>
                    </a:cubicBezTo>
                    <a:cubicBezTo>
                      <a:pt x="729" y="205"/>
                      <a:pt x="729" y="207"/>
                      <a:pt x="729" y="209"/>
                    </a:cubicBezTo>
                    <a:cubicBezTo>
                      <a:pt x="729" y="211"/>
                      <a:pt x="728" y="213"/>
                      <a:pt x="729" y="215"/>
                    </a:cubicBezTo>
                    <a:cubicBezTo>
                      <a:pt x="730" y="216"/>
                      <a:pt x="734" y="216"/>
                      <a:pt x="734" y="217"/>
                    </a:cubicBezTo>
                    <a:cubicBezTo>
                      <a:pt x="734" y="219"/>
                      <a:pt x="731" y="220"/>
                      <a:pt x="730" y="221"/>
                    </a:cubicBezTo>
                    <a:cubicBezTo>
                      <a:pt x="729" y="223"/>
                      <a:pt x="729" y="226"/>
                      <a:pt x="728" y="228"/>
                    </a:cubicBezTo>
                    <a:cubicBezTo>
                      <a:pt x="726" y="231"/>
                      <a:pt x="719" y="230"/>
                      <a:pt x="720" y="234"/>
                    </a:cubicBezTo>
                    <a:cubicBezTo>
                      <a:pt x="720" y="237"/>
                      <a:pt x="726" y="232"/>
                      <a:pt x="729" y="234"/>
                    </a:cubicBezTo>
                    <a:cubicBezTo>
                      <a:pt x="731" y="234"/>
                      <a:pt x="727" y="236"/>
                      <a:pt x="728" y="237"/>
                    </a:cubicBezTo>
                    <a:cubicBezTo>
                      <a:pt x="728" y="238"/>
                      <a:pt x="730" y="237"/>
                      <a:pt x="731" y="238"/>
                    </a:cubicBezTo>
                    <a:cubicBezTo>
                      <a:pt x="731" y="239"/>
                      <a:pt x="728" y="239"/>
                      <a:pt x="728" y="240"/>
                    </a:cubicBezTo>
                    <a:cubicBezTo>
                      <a:pt x="727" y="242"/>
                      <a:pt x="728" y="244"/>
                      <a:pt x="728" y="245"/>
                    </a:cubicBezTo>
                    <a:cubicBezTo>
                      <a:pt x="729" y="247"/>
                      <a:pt x="732" y="247"/>
                      <a:pt x="732" y="248"/>
                    </a:cubicBezTo>
                    <a:cubicBezTo>
                      <a:pt x="732" y="251"/>
                      <a:pt x="730" y="253"/>
                      <a:pt x="728" y="255"/>
                    </a:cubicBezTo>
                    <a:cubicBezTo>
                      <a:pt x="727" y="255"/>
                      <a:pt x="726" y="255"/>
                      <a:pt x="726" y="255"/>
                    </a:cubicBezTo>
                    <a:cubicBezTo>
                      <a:pt x="725" y="257"/>
                      <a:pt x="726" y="259"/>
                      <a:pt x="725" y="261"/>
                    </a:cubicBezTo>
                    <a:cubicBezTo>
                      <a:pt x="723" y="263"/>
                      <a:pt x="720" y="265"/>
                      <a:pt x="718" y="267"/>
                    </a:cubicBezTo>
                    <a:cubicBezTo>
                      <a:pt x="717" y="268"/>
                      <a:pt x="715" y="270"/>
                      <a:pt x="715" y="272"/>
                    </a:cubicBezTo>
                    <a:cubicBezTo>
                      <a:pt x="714" y="273"/>
                      <a:pt x="714" y="276"/>
                      <a:pt x="715" y="277"/>
                    </a:cubicBezTo>
                    <a:cubicBezTo>
                      <a:pt x="717" y="280"/>
                      <a:pt x="721" y="281"/>
                      <a:pt x="723" y="284"/>
                    </a:cubicBezTo>
                    <a:cubicBezTo>
                      <a:pt x="725" y="286"/>
                      <a:pt x="727" y="288"/>
                      <a:pt x="728" y="291"/>
                    </a:cubicBezTo>
                    <a:cubicBezTo>
                      <a:pt x="729" y="294"/>
                      <a:pt x="730" y="298"/>
                      <a:pt x="729" y="301"/>
                    </a:cubicBezTo>
                    <a:cubicBezTo>
                      <a:pt x="729" y="306"/>
                      <a:pt x="729" y="311"/>
                      <a:pt x="728" y="315"/>
                    </a:cubicBezTo>
                    <a:cubicBezTo>
                      <a:pt x="727" y="319"/>
                      <a:pt x="725" y="323"/>
                      <a:pt x="722" y="326"/>
                    </a:cubicBezTo>
                    <a:cubicBezTo>
                      <a:pt x="720" y="329"/>
                      <a:pt x="717" y="331"/>
                      <a:pt x="714" y="334"/>
                    </a:cubicBezTo>
                    <a:cubicBezTo>
                      <a:pt x="710" y="336"/>
                      <a:pt x="707" y="339"/>
                      <a:pt x="704" y="341"/>
                    </a:cubicBezTo>
                    <a:cubicBezTo>
                      <a:pt x="701" y="343"/>
                      <a:pt x="698" y="344"/>
                      <a:pt x="695" y="345"/>
                    </a:cubicBezTo>
                    <a:cubicBezTo>
                      <a:pt x="693" y="346"/>
                      <a:pt x="689" y="345"/>
                      <a:pt x="688" y="347"/>
                    </a:cubicBezTo>
                    <a:cubicBezTo>
                      <a:pt x="686" y="350"/>
                      <a:pt x="688" y="353"/>
                      <a:pt x="689" y="356"/>
                    </a:cubicBezTo>
                    <a:cubicBezTo>
                      <a:pt x="690" y="358"/>
                      <a:pt x="693" y="357"/>
                      <a:pt x="694" y="359"/>
                    </a:cubicBezTo>
                    <a:cubicBezTo>
                      <a:pt x="695" y="361"/>
                      <a:pt x="692" y="364"/>
                      <a:pt x="692" y="366"/>
                    </a:cubicBezTo>
                    <a:cubicBezTo>
                      <a:pt x="692" y="367"/>
                      <a:pt x="693" y="369"/>
                      <a:pt x="693" y="370"/>
                    </a:cubicBezTo>
                    <a:cubicBezTo>
                      <a:pt x="693" y="373"/>
                      <a:pt x="693" y="376"/>
                      <a:pt x="694" y="378"/>
                    </a:cubicBezTo>
                    <a:cubicBezTo>
                      <a:pt x="694" y="382"/>
                      <a:pt x="696" y="386"/>
                      <a:pt x="695" y="389"/>
                    </a:cubicBezTo>
                    <a:cubicBezTo>
                      <a:pt x="694" y="393"/>
                      <a:pt x="690" y="395"/>
                      <a:pt x="689" y="399"/>
                    </a:cubicBezTo>
                    <a:cubicBezTo>
                      <a:pt x="689" y="401"/>
                      <a:pt x="691" y="402"/>
                      <a:pt x="691" y="404"/>
                    </a:cubicBezTo>
                    <a:cubicBezTo>
                      <a:pt x="691" y="406"/>
                      <a:pt x="691" y="409"/>
                      <a:pt x="689" y="410"/>
                    </a:cubicBezTo>
                    <a:cubicBezTo>
                      <a:pt x="688" y="410"/>
                      <a:pt x="687" y="407"/>
                      <a:pt x="686" y="406"/>
                    </a:cubicBezTo>
                    <a:cubicBezTo>
                      <a:pt x="685" y="405"/>
                      <a:pt x="683" y="404"/>
                      <a:pt x="683" y="405"/>
                    </a:cubicBezTo>
                    <a:cubicBezTo>
                      <a:pt x="681" y="406"/>
                      <a:pt x="681" y="409"/>
                      <a:pt x="680" y="410"/>
                    </a:cubicBezTo>
                    <a:cubicBezTo>
                      <a:pt x="679" y="411"/>
                      <a:pt x="677" y="410"/>
                      <a:pt x="676" y="410"/>
                    </a:cubicBezTo>
                    <a:cubicBezTo>
                      <a:pt x="674" y="410"/>
                      <a:pt x="672" y="409"/>
                      <a:pt x="671" y="408"/>
                    </a:cubicBezTo>
                    <a:cubicBezTo>
                      <a:pt x="669" y="408"/>
                      <a:pt x="667" y="410"/>
                      <a:pt x="666" y="409"/>
                    </a:cubicBezTo>
                    <a:cubicBezTo>
                      <a:pt x="666" y="407"/>
                      <a:pt x="670" y="406"/>
                      <a:pt x="670" y="404"/>
                    </a:cubicBezTo>
                    <a:cubicBezTo>
                      <a:pt x="670" y="402"/>
                      <a:pt x="668" y="400"/>
                      <a:pt x="667" y="398"/>
                    </a:cubicBezTo>
                    <a:cubicBezTo>
                      <a:pt x="666" y="396"/>
                      <a:pt x="664" y="394"/>
                      <a:pt x="662" y="392"/>
                    </a:cubicBezTo>
                    <a:cubicBezTo>
                      <a:pt x="661" y="391"/>
                      <a:pt x="658" y="393"/>
                      <a:pt x="657" y="392"/>
                    </a:cubicBezTo>
                    <a:cubicBezTo>
                      <a:pt x="656" y="390"/>
                      <a:pt x="660" y="389"/>
                      <a:pt x="660" y="388"/>
                    </a:cubicBezTo>
                    <a:cubicBezTo>
                      <a:pt x="658" y="384"/>
                      <a:pt x="654" y="382"/>
                      <a:pt x="653" y="379"/>
                    </a:cubicBezTo>
                    <a:cubicBezTo>
                      <a:pt x="652" y="377"/>
                      <a:pt x="653" y="376"/>
                      <a:pt x="653" y="374"/>
                    </a:cubicBezTo>
                    <a:cubicBezTo>
                      <a:pt x="654" y="372"/>
                      <a:pt x="654" y="370"/>
                      <a:pt x="655" y="368"/>
                    </a:cubicBezTo>
                    <a:cubicBezTo>
                      <a:pt x="656" y="366"/>
                      <a:pt x="657" y="364"/>
                      <a:pt x="657" y="362"/>
                    </a:cubicBezTo>
                    <a:cubicBezTo>
                      <a:pt x="656" y="359"/>
                      <a:pt x="654" y="355"/>
                      <a:pt x="655" y="352"/>
                    </a:cubicBezTo>
                    <a:cubicBezTo>
                      <a:pt x="655" y="349"/>
                      <a:pt x="657" y="348"/>
                      <a:pt x="658" y="345"/>
                    </a:cubicBezTo>
                    <a:cubicBezTo>
                      <a:pt x="659" y="344"/>
                      <a:pt x="659" y="341"/>
                      <a:pt x="658" y="340"/>
                    </a:cubicBezTo>
                    <a:cubicBezTo>
                      <a:pt x="656" y="338"/>
                      <a:pt x="652" y="338"/>
                      <a:pt x="649" y="338"/>
                    </a:cubicBezTo>
                    <a:cubicBezTo>
                      <a:pt x="645" y="337"/>
                      <a:pt x="640" y="337"/>
                      <a:pt x="636" y="337"/>
                    </a:cubicBezTo>
                    <a:cubicBezTo>
                      <a:pt x="634" y="337"/>
                      <a:pt x="632" y="339"/>
                      <a:pt x="630" y="339"/>
                    </a:cubicBezTo>
                    <a:cubicBezTo>
                      <a:pt x="628" y="340"/>
                      <a:pt x="626" y="339"/>
                      <a:pt x="624" y="338"/>
                    </a:cubicBezTo>
                    <a:cubicBezTo>
                      <a:pt x="622" y="337"/>
                      <a:pt x="622" y="333"/>
                      <a:pt x="620" y="332"/>
                    </a:cubicBezTo>
                    <a:cubicBezTo>
                      <a:pt x="618" y="330"/>
                      <a:pt x="615" y="329"/>
                      <a:pt x="612" y="328"/>
                    </a:cubicBezTo>
                    <a:cubicBezTo>
                      <a:pt x="610" y="327"/>
                      <a:pt x="607" y="326"/>
                      <a:pt x="604" y="325"/>
                    </a:cubicBezTo>
                    <a:cubicBezTo>
                      <a:pt x="602" y="325"/>
                      <a:pt x="600" y="324"/>
                      <a:pt x="598" y="323"/>
                    </a:cubicBezTo>
                    <a:cubicBezTo>
                      <a:pt x="596" y="321"/>
                      <a:pt x="594" y="318"/>
                      <a:pt x="592" y="316"/>
                    </a:cubicBezTo>
                    <a:cubicBezTo>
                      <a:pt x="590" y="314"/>
                      <a:pt x="588" y="311"/>
                      <a:pt x="585" y="309"/>
                    </a:cubicBezTo>
                    <a:cubicBezTo>
                      <a:pt x="583" y="308"/>
                      <a:pt x="581" y="307"/>
                      <a:pt x="578" y="306"/>
                    </a:cubicBezTo>
                    <a:cubicBezTo>
                      <a:pt x="576" y="306"/>
                      <a:pt x="574" y="305"/>
                      <a:pt x="572" y="304"/>
                    </a:cubicBezTo>
                    <a:cubicBezTo>
                      <a:pt x="570" y="303"/>
                      <a:pt x="570" y="300"/>
                      <a:pt x="567" y="300"/>
                    </a:cubicBezTo>
                    <a:cubicBezTo>
                      <a:pt x="565" y="299"/>
                      <a:pt x="562" y="300"/>
                      <a:pt x="560" y="301"/>
                    </a:cubicBezTo>
                    <a:cubicBezTo>
                      <a:pt x="556" y="302"/>
                      <a:pt x="552" y="304"/>
                      <a:pt x="548" y="305"/>
                    </a:cubicBezTo>
                    <a:cubicBezTo>
                      <a:pt x="546" y="306"/>
                      <a:pt x="542" y="309"/>
                      <a:pt x="543" y="307"/>
                    </a:cubicBezTo>
                    <a:cubicBezTo>
                      <a:pt x="543" y="304"/>
                      <a:pt x="547" y="304"/>
                      <a:pt x="549" y="302"/>
                    </a:cubicBezTo>
                    <a:cubicBezTo>
                      <a:pt x="549" y="300"/>
                      <a:pt x="549" y="299"/>
                      <a:pt x="549" y="297"/>
                    </a:cubicBezTo>
                    <a:cubicBezTo>
                      <a:pt x="548" y="294"/>
                      <a:pt x="547" y="292"/>
                      <a:pt x="547" y="290"/>
                    </a:cubicBezTo>
                    <a:cubicBezTo>
                      <a:pt x="546" y="287"/>
                      <a:pt x="547" y="285"/>
                      <a:pt x="547" y="282"/>
                    </a:cubicBezTo>
                    <a:cubicBezTo>
                      <a:pt x="546" y="279"/>
                      <a:pt x="546" y="274"/>
                      <a:pt x="544" y="272"/>
                    </a:cubicBezTo>
                    <a:cubicBezTo>
                      <a:pt x="542" y="270"/>
                      <a:pt x="538" y="271"/>
                      <a:pt x="536" y="272"/>
                    </a:cubicBezTo>
                    <a:cubicBezTo>
                      <a:pt x="533" y="273"/>
                      <a:pt x="533" y="278"/>
                      <a:pt x="530" y="278"/>
                    </a:cubicBezTo>
                    <a:cubicBezTo>
                      <a:pt x="528" y="278"/>
                      <a:pt x="531" y="274"/>
                      <a:pt x="530" y="272"/>
                    </a:cubicBezTo>
                    <a:cubicBezTo>
                      <a:pt x="530" y="270"/>
                      <a:pt x="526" y="270"/>
                      <a:pt x="526" y="268"/>
                    </a:cubicBezTo>
                    <a:cubicBezTo>
                      <a:pt x="526" y="267"/>
                      <a:pt x="528" y="266"/>
                      <a:pt x="529" y="265"/>
                    </a:cubicBezTo>
                    <a:cubicBezTo>
                      <a:pt x="529" y="262"/>
                      <a:pt x="528" y="258"/>
                      <a:pt x="529" y="254"/>
                    </a:cubicBezTo>
                    <a:cubicBezTo>
                      <a:pt x="530" y="250"/>
                      <a:pt x="532" y="247"/>
                      <a:pt x="534" y="243"/>
                    </a:cubicBezTo>
                    <a:cubicBezTo>
                      <a:pt x="535" y="240"/>
                      <a:pt x="536" y="237"/>
                      <a:pt x="538" y="234"/>
                    </a:cubicBezTo>
                    <a:cubicBezTo>
                      <a:pt x="540" y="230"/>
                      <a:pt x="543" y="227"/>
                      <a:pt x="546" y="224"/>
                    </a:cubicBezTo>
                    <a:cubicBezTo>
                      <a:pt x="549" y="221"/>
                      <a:pt x="553" y="219"/>
                      <a:pt x="555" y="215"/>
                    </a:cubicBezTo>
                    <a:cubicBezTo>
                      <a:pt x="556" y="214"/>
                      <a:pt x="553" y="213"/>
                      <a:pt x="553" y="211"/>
                    </a:cubicBezTo>
                    <a:cubicBezTo>
                      <a:pt x="554" y="209"/>
                      <a:pt x="557" y="209"/>
                      <a:pt x="558" y="208"/>
                    </a:cubicBezTo>
                    <a:cubicBezTo>
                      <a:pt x="560" y="207"/>
                      <a:pt x="561" y="205"/>
                      <a:pt x="563" y="204"/>
                    </a:cubicBezTo>
                    <a:cubicBezTo>
                      <a:pt x="564" y="203"/>
                      <a:pt x="566" y="201"/>
                      <a:pt x="567" y="200"/>
                    </a:cubicBezTo>
                    <a:cubicBezTo>
                      <a:pt x="569" y="199"/>
                      <a:pt x="571" y="200"/>
                      <a:pt x="573" y="198"/>
                    </a:cubicBezTo>
                    <a:cubicBezTo>
                      <a:pt x="573" y="197"/>
                      <a:pt x="571" y="195"/>
                      <a:pt x="572" y="195"/>
                    </a:cubicBezTo>
                    <a:cubicBezTo>
                      <a:pt x="575" y="194"/>
                      <a:pt x="578" y="196"/>
                      <a:pt x="581" y="195"/>
                    </a:cubicBezTo>
                    <a:cubicBezTo>
                      <a:pt x="585" y="194"/>
                      <a:pt x="588" y="192"/>
                      <a:pt x="590" y="189"/>
                    </a:cubicBezTo>
                    <a:cubicBezTo>
                      <a:pt x="591" y="187"/>
                      <a:pt x="590" y="184"/>
                      <a:pt x="589" y="182"/>
                    </a:cubicBezTo>
                    <a:cubicBezTo>
                      <a:pt x="588" y="181"/>
                      <a:pt x="587" y="181"/>
                      <a:pt x="586" y="180"/>
                    </a:cubicBezTo>
                    <a:cubicBezTo>
                      <a:pt x="584" y="179"/>
                      <a:pt x="583" y="177"/>
                      <a:pt x="581" y="177"/>
                    </a:cubicBezTo>
                    <a:cubicBezTo>
                      <a:pt x="578" y="176"/>
                      <a:pt x="575" y="177"/>
                      <a:pt x="572" y="176"/>
                    </a:cubicBezTo>
                    <a:cubicBezTo>
                      <a:pt x="571" y="175"/>
                      <a:pt x="566" y="174"/>
                      <a:pt x="567" y="173"/>
                    </a:cubicBezTo>
                    <a:cubicBezTo>
                      <a:pt x="570" y="171"/>
                      <a:pt x="573" y="174"/>
                      <a:pt x="575" y="174"/>
                    </a:cubicBezTo>
                    <a:cubicBezTo>
                      <a:pt x="579" y="175"/>
                      <a:pt x="582" y="175"/>
                      <a:pt x="585" y="175"/>
                    </a:cubicBezTo>
                    <a:cubicBezTo>
                      <a:pt x="587" y="176"/>
                      <a:pt x="589" y="178"/>
                      <a:pt x="591" y="178"/>
                    </a:cubicBezTo>
                    <a:cubicBezTo>
                      <a:pt x="594" y="177"/>
                      <a:pt x="596" y="176"/>
                      <a:pt x="598" y="175"/>
                    </a:cubicBezTo>
                    <a:cubicBezTo>
                      <a:pt x="600" y="174"/>
                      <a:pt x="600" y="172"/>
                      <a:pt x="601" y="171"/>
                    </a:cubicBezTo>
                    <a:cubicBezTo>
                      <a:pt x="602" y="169"/>
                      <a:pt x="601" y="166"/>
                      <a:pt x="603" y="165"/>
                    </a:cubicBezTo>
                    <a:cubicBezTo>
                      <a:pt x="605" y="165"/>
                      <a:pt x="607" y="168"/>
                      <a:pt x="609" y="169"/>
                    </a:cubicBezTo>
                    <a:cubicBezTo>
                      <a:pt x="611" y="170"/>
                      <a:pt x="615" y="171"/>
                      <a:pt x="617" y="170"/>
                    </a:cubicBezTo>
                    <a:cubicBezTo>
                      <a:pt x="621" y="169"/>
                      <a:pt x="623" y="165"/>
                      <a:pt x="626" y="162"/>
                    </a:cubicBezTo>
                    <a:cubicBezTo>
                      <a:pt x="630" y="159"/>
                      <a:pt x="633" y="156"/>
                      <a:pt x="636" y="153"/>
                    </a:cubicBezTo>
                    <a:cubicBezTo>
                      <a:pt x="638" y="151"/>
                      <a:pt x="641" y="147"/>
                      <a:pt x="639" y="145"/>
                    </a:cubicBezTo>
                    <a:cubicBezTo>
                      <a:pt x="636" y="142"/>
                      <a:pt x="630" y="143"/>
                      <a:pt x="625" y="142"/>
                    </a:cubicBezTo>
                    <a:cubicBezTo>
                      <a:pt x="622" y="142"/>
                      <a:pt x="618" y="142"/>
                      <a:pt x="615" y="140"/>
                    </a:cubicBezTo>
                    <a:cubicBezTo>
                      <a:pt x="612" y="138"/>
                      <a:pt x="606" y="134"/>
                      <a:pt x="608" y="130"/>
                    </a:cubicBezTo>
                    <a:cubicBezTo>
                      <a:pt x="611" y="127"/>
                      <a:pt x="616" y="133"/>
                      <a:pt x="620" y="134"/>
                    </a:cubicBezTo>
                    <a:cubicBezTo>
                      <a:pt x="624" y="136"/>
                      <a:pt x="627" y="139"/>
                      <a:pt x="631" y="140"/>
                    </a:cubicBezTo>
                    <a:cubicBezTo>
                      <a:pt x="633" y="141"/>
                      <a:pt x="636" y="142"/>
                      <a:pt x="639" y="141"/>
                    </a:cubicBezTo>
                    <a:cubicBezTo>
                      <a:pt x="644" y="138"/>
                      <a:pt x="649" y="133"/>
                      <a:pt x="653" y="129"/>
                    </a:cubicBezTo>
                    <a:cubicBezTo>
                      <a:pt x="654" y="128"/>
                      <a:pt x="656" y="127"/>
                      <a:pt x="656" y="126"/>
                    </a:cubicBezTo>
                    <a:cubicBezTo>
                      <a:pt x="655" y="123"/>
                      <a:pt x="651" y="122"/>
                      <a:pt x="649" y="119"/>
                    </a:cubicBezTo>
                    <a:cubicBezTo>
                      <a:pt x="649" y="118"/>
                      <a:pt x="651" y="117"/>
                      <a:pt x="652" y="117"/>
                    </a:cubicBezTo>
                    <a:cubicBezTo>
                      <a:pt x="656" y="117"/>
                      <a:pt x="659" y="118"/>
                      <a:pt x="662" y="119"/>
                    </a:cubicBezTo>
                    <a:cubicBezTo>
                      <a:pt x="664" y="119"/>
                      <a:pt x="665" y="121"/>
                      <a:pt x="666" y="122"/>
                    </a:cubicBezTo>
                    <a:cubicBezTo>
                      <a:pt x="668" y="123"/>
                      <a:pt x="669" y="125"/>
                      <a:pt x="671" y="125"/>
                    </a:cubicBezTo>
                    <a:cubicBezTo>
                      <a:pt x="672" y="125"/>
                      <a:pt x="671" y="123"/>
                      <a:pt x="672" y="123"/>
                    </a:cubicBezTo>
                    <a:cubicBezTo>
                      <a:pt x="674" y="123"/>
                      <a:pt x="677" y="126"/>
                      <a:pt x="680" y="125"/>
                    </a:cubicBezTo>
                    <a:cubicBezTo>
                      <a:pt x="681" y="124"/>
                      <a:pt x="680" y="121"/>
                      <a:pt x="679" y="120"/>
                    </a:cubicBezTo>
                    <a:cubicBezTo>
                      <a:pt x="678" y="117"/>
                      <a:pt x="675" y="115"/>
                      <a:pt x="673" y="112"/>
                    </a:cubicBezTo>
                    <a:cubicBezTo>
                      <a:pt x="672" y="112"/>
                      <a:pt x="669" y="111"/>
                      <a:pt x="670" y="110"/>
                    </a:cubicBezTo>
                    <a:cubicBezTo>
                      <a:pt x="672" y="109"/>
                      <a:pt x="674" y="109"/>
                      <a:pt x="676" y="110"/>
                    </a:cubicBezTo>
                    <a:cubicBezTo>
                      <a:pt x="678" y="111"/>
                      <a:pt x="679" y="114"/>
                      <a:pt x="680" y="115"/>
                    </a:cubicBezTo>
                    <a:cubicBezTo>
                      <a:pt x="682" y="117"/>
                      <a:pt x="682" y="121"/>
                      <a:pt x="684" y="121"/>
                    </a:cubicBezTo>
                    <a:cubicBezTo>
                      <a:pt x="689" y="120"/>
                      <a:pt x="693" y="115"/>
                      <a:pt x="697" y="113"/>
                    </a:cubicBezTo>
                    <a:cubicBezTo>
                      <a:pt x="701" y="111"/>
                      <a:pt x="705" y="111"/>
                      <a:pt x="708" y="108"/>
                    </a:cubicBezTo>
                    <a:cubicBezTo>
                      <a:pt x="710" y="107"/>
                      <a:pt x="710" y="104"/>
                      <a:pt x="711" y="102"/>
                    </a:cubicBezTo>
                    <a:cubicBezTo>
                      <a:pt x="711" y="101"/>
                      <a:pt x="712" y="100"/>
                      <a:pt x="712" y="98"/>
                    </a:cubicBezTo>
                    <a:cubicBezTo>
                      <a:pt x="712" y="96"/>
                      <a:pt x="709" y="94"/>
                      <a:pt x="708" y="91"/>
                    </a:cubicBezTo>
                    <a:cubicBezTo>
                      <a:pt x="707" y="89"/>
                      <a:pt x="707" y="87"/>
                      <a:pt x="706" y="86"/>
                    </a:cubicBezTo>
                    <a:cubicBezTo>
                      <a:pt x="705" y="84"/>
                      <a:pt x="703" y="82"/>
                      <a:pt x="704" y="80"/>
                    </a:cubicBezTo>
                    <a:cubicBezTo>
                      <a:pt x="705" y="78"/>
                      <a:pt x="708" y="79"/>
                      <a:pt x="710" y="79"/>
                    </a:cubicBezTo>
                    <a:cubicBezTo>
                      <a:pt x="711" y="77"/>
                      <a:pt x="716" y="76"/>
                      <a:pt x="719" y="75"/>
                    </a:cubicBezTo>
                    <a:cubicBezTo>
                      <a:pt x="720" y="74"/>
                      <a:pt x="720" y="72"/>
                      <a:pt x="719" y="71"/>
                    </a:cubicBezTo>
                    <a:cubicBezTo>
                      <a:pt x="717" y="70"/>
                      <a:pt x="715" y="70"/>
                      <a:pt x="712" y="71"/>
                    </a:cubicBezTo>
                    <a:cubicBezTo>
                      <a:pt x="711" y="71"/>
                      <a:pt x="710" y="74"/>
                      <a:pt x="708" y="74"/>
                    </a:cubicBezTo>
                    <a:cubicBezTo>
                      <a:pt x="706" y="75"/>
                      <a:pt x="702" y="75"/>
                      <a:pt x="703" y="74"/>
                    </a:cubicBezTo>
                    <a:cubicBezTo>
                      <a:pt x="704" y="71"/>
                      <a:pt x="708" y="70"/>
                      <a:pt x="711" y="68"/>
                    </a:cubicBezTo>
                    <a:cubicBezTo>
                      <a:pt x="713" y="67"/>
                      <a:pt x="715" y="65"/>
                      <a:pt x="717" y="64"/>
                    </a:cubicBezTo>
                    <a:cubicBezTo>
                      <a:pt x="718" y="64"/>
                      <a:pt x="722" y="64"/>
                      <a:pt x="721" y="63"/>
                    </a:cubicBezTo>
                    <a:cubicBezTo>
                      <a:pt x="718" y="61"/>
                      <a:pt x="715" y="61"/>
                      <a:pt x="712" y="59"/>
                    </a:cubicBezTo>
                    <a:cubicBezTo>
                      <a:pt x="709" y="58"/>
                      <a:pt x="706" y="57"/>
                      <a:pt x="705" y="54"/>
                    </a:cubicBezTo>
                    <a:cubicBezTo>
                      <a:pt x="704" y="53"/>
                      <a:pt x="708" y="53"/>
                      <a:pt x="708" y="52"/>
                    </a:cubicBezTo>
                    <a:cubicBezTo>
                      <a:pt x="707" y="51"/>
                      <a:pt x="705" y="51"/>
                      <a:pt x="703" y="50"/>
                    </a:cubicBezTo>
                    <a:cubicBezTo>
                      <a:pt x="702" y="50"/>
                      <a:pt x="701" y="51"/>
                      <a:pt x="699" y="51"/>
                    </a:cubicBezTo>
                    <a:cubicBezTo>
                      <a:pt x="696" y="50"/>
                      <a:pt x="694" y="48"/>
                      <a:pt x="691" y="48"/>
                    </a:cubicBezTo>
                    <a:cubicBezTo>
                      <a:pt x="688" y="48"/>
                      <a:pt x="686" y="49"/>
                      <a:pt x="683" y="49"/>
                    </a:cubicBezTo>
                    <a:cubicBezTo>
                      <a:pt x="682" y="49"/>
                      <a:pt x="680" y="47"/>
                      <a:pt x="680" y="48"/>
                    </a:cubicBezTo>
                    <a:cubicBezTo>
                      <a:pt x="677" y="52"/>
                      <a:pt x="676" y="56"/>
                      <a:pt x="676" y="60"/>
                    </a:cubicBezTo>
                    <a:cubicBezTo>
                      <a:pt x="677" y="63"/>
                      <a:pt x="682" y="65"/>
                      <a:pt x="682" y="68"/>
                    </a:cubicBezTo>
                    <a:cubicBezTo>
                      <a:pt x="683" y="69"/>
                      <a:pt x="679" y="67"/>
                      <a:pt x="678" y="68"/>
                    </a:cubicBezTo>
                    <a:cubicBezTo>
                      <a:pt x="677" y="69"/>
                      <a:pt x="679" y="70"/>
                      <a:pt x="678" y="71"/>
                    </a:cubicBezTo>
                    <a:cubicBezTo>
                      <a:pt x="676" y="72"/>
                      <a:pt x="672" y="69"/>
                      <a:pt x="672" y="73"/>
                    </a:cubicBezTo>
                    <a:cubicBezTo>
                      <a:pt x="670" y="73"/>
                      <a:pt x="669" y="75"/>
                      <a:pt x="668" y="76"/>
                    </a:cubicBezTo>
                    <a:cubicBezTo>
                      <a:pt x="665" y="81"/>
                      <a:pt x="662" y="86"/>
                      <a:pt x="659" y="92"/>
                    </a:cubicBezTo>
                    <a:cubicBezTo>
                      <a:pt x="658" y="94"/>
                      <a:pt x="659" y="97"/>
                      <a:pt x="658" y="98"/>
                    </a:cubicBezTo>
                    <a:cubicBezTo>
                      <a:pt x="656" y="100"/>
                      <a:pt x="653" y="100"/>
                      <a:pt x="651" y="101"/>
                    </a:cubicBezTo>
                    <a:cubicBezTo>
                      <a:pt x="649" y="103"/>
                      <a:pt x="647" y="105"/>
                      <a:pt x="644" y="105"/>
                    </a:cubicBezTo>
                    <a:cubicBezTo>
                      <a:pt x="643" y="105"/>
                      <a:pt x="645" y="102"/>
                      <a:pt x="644" y="101"/>
                    </a:cubicBezTo>
                    <a:cubicBezTo>
                      <a:pt x="643" y="97"/>
                      <a:pt x="639" y="93"/>
                      <a:pt x="639" y="89"/>
                    </a:cubicBezTo>
                    <a:cubicBezTo>
                      <a:pt x="639" y="87"/>
                      <a:pt x="641" y="86"/>
                      <a:pt x="641" y="84"/>
                    </a:cubicBezTo>
                    <a:cubicBezTo>
                      <a:pt x="642" y="83"/>
                      <a:pt x="641" y="81"/>
                      <a:pt x="641" y="80"/>
                    </a:cubicBezTo>
                    <a:cubicBezTo>
                      <a:pt x="642" y="79"/>
                      <a:pt x="644" y="80"/>
                      <a:pt x="644" y="79"/>
                    </a:cubicBezTo>
                    <a:cubicBezTo>
                      <a:pt x="646" y="76"/>
                      <a:pt x="646" y="73"/>
                      <a:pt x="645" y="70"/>
                    </a:cubicBezTo>
                    <a:cubicBezTo>
                      <a:pt x="645" y="68"/>
                      <a:pt x="642" y="67"/>
                      <a:pt x="641" y="65"/>
                    </a:cubicBezTo>
                    <a:cubicBezTo>
                      <a:pt x="639" y="63"/>
                      <a:pt x="638" y="59"/>
                      <a:pt x="635" y="57"/>
                    </a:cubicBezTo>
                    <a:cubicBezTo>
                      <a:pt x="634" y="57"/>
                      <a:pt x="633" y="60"/>
                      <a:pt x="631" y="62"/>
                    </a:cubicBezTo>
                    <a:cubicBezTo>
                      <a:pt x="630" y="64"/>
                      <a:pt x="628" y="66"/>
                      <a:pt x="627" y="68"/>
                    </a:cubicBezTo>
                    <a:cubicBezTo>
                      <a:pt x="625" y="70"/>
                      <a:pt x="625" y="74"/>
                      <a:pt x="623" y="76"/>
                    </a:cubicBezTo>
                    <a:cubicBezTo>
                      <a:pt x="622" y="79"/>
                      <a:pt x="621" y="82"/>
                      <a:pt x="619" y="82"/>
                    </a:cubicBezTo>
                    <a:cubicBezTo>
                      <a:pt x="617" y="83"/>
                      <a:pt x="617" y="80"/>
                      <a:pt x="617" y="79"/>
                    </a:cubicBezTo>
                    <a:cubicBezTo>
                      <a:pt x="617" y="75"/>
                      <a:pt x="618" y="72"/>
                      <a:pt x="618" y="69"/>
                    </a:cubicBezTo>
                    <a:cubicBezTo>
                      <a:pt x="618" y="67"/>
                      <a:pt x="617" y="64"/>
                      <a:pt x="616" y="62"/>
                    </a:cubicBezTo>
                    <a:cubicBezTo>
                      <a:pt x="615" y="60"/>
                      <a:pt x="612" y="58"/>
                      <a:pt x="613" y="56"/>
                    </a:cubicBezTo>
                    <a:cubicBezTo>
                      <a:pt x="613" y="54"/>
                      <a:pt x="617" y="55"/>
                      <a:pt x="617" y="53"/>
                    </a:cubicBezTo>
                    <a:cubicBezTo>
                      <a:pt x="618" y="52"/>
                      <a:pt x="616" y="50"/>
                      <a:pt x="615" y="50"/>
                    </a:cubicBezTo>
                    <a:cubicBezTo>
                      <a:pt x="612" y="51"/>
                      <a:pt x="612" y="54"/>
                      <a:pt x="609" y="54"/>
                    </a:cubicBezTo>
                    <a:cubicBezTo>
                      <a:pt x="608" y="55"/>
                      <a:pt x="607" y="53"/>
                      <a:pt x="605" y="53"/>
                    </a:cubicBezTo>
                    <a:cubicBezTo>
                      <a:pt x="604" y="54"/>
                      <a:pt x="603" y="56"/>
                      <a:pt x="601" y="56"/>
                    </a:cubicBezTo>
                    <a:cubicBezTo>
                      <a:pt x="600" y="55"/>
                      <a:pt x="603" y="52"/>
                      <a:pt x="602" y="51"/>
                    </a:cubicBezTo>
                    <a:cubicBezTo>
                      <a:pt x="602" y="50"/>
                      <a:pt x="599" y="50"/>
                      <a:pt x="600" y="50"/>
                    </a:cubicBezTo>
                    <a:cubicBezTo>
                      <a:pt x="601" y="47"/>
                      <a:pt x="606" y="47"/>
                      <a:pt x="607" y="44"/>
                    </a:cubicBezTo>
                    <a:cubicBezTo>
                      <a:pt x="607" y="42"/>
                      <a:pt x="603" y="43"/>
                      <a:pt x="602" y="41"/>
                    </a:cubicBezTo>
                    <a:cubicBezTo>
                      <a:pt x="602" y="40"/>
                      <a:pt x="603" y="39"/>
                      <a:pt x="604" y="39"/>
                    </a:cubicBezTo>
                    <a:cubicBezTo>
                      <a:pt x="605" y="39"/>
                      <a:pt x="607" y="40"/>
                      <a:pt x="608" y="40"/>
                    </a:cubicBezTo>
                    <a:cubicBezTo>
                      <a:pt x="609" y="40"/>
                      <a:pt x="611" y="40"/>
                      <a:pt x="612" y="39"/>
                    </a:cubicBezTo>
                    <a:cubicBezTo>
                      <a:pt x="612" y="37"/>
                      <a:pt x="611" y="36"/>
                      <a:pt x="610" y="35"/>
                    </a:cubicBezTo>
                    <a:cubicBezTo>
                      <a:pt x="609" y="34"/>
                      <a:pt x="608" y="33"/>
                      <a:pt x="607" y="32"/>
                    </a:cubicBezTo>
                    <a:cubicBezTo>
                      <a:pt x="605" y="30"/>
                      <a:pt x="601" y="28"/>
                      <a:pt x="600" y="25"/>
                    </a:cubicBezTo>
                    <a:cubicBezTo>
                      <a:pt x="600" y="22"/>
                      <a:pt x="603" y="20"/>
                      <a:pt x="604" y="17"/>
                    </a:cubicBezTo>
                    <a:cubicBezTo>
                      <a:pt x="604" y="15"/>
                      <a:pt x="604" y="12"/>
                      <a:pt x="603" y="10"/>
                    </a:cubicBezTo>
                    <a:cubicBezTo>
                      <a:pt x="602" y="9"/>
                      <a:pt x="599" y="9"/>
                      <a:pt x="598" y="8"/>
                    </a:cubicBezTo>
                    <a:cubicBezTo>
                      <a:pt x="597" y="8"/>
                      <a:pt x="597" y="7"/>
                      <a:pt x="596" y="6"/>
                    </a:cubicBezTo>
                    <a:cubicBezTo>
                      <a:pt x="594" y="5"/>
                      <a:pt x="592" y="5"/>
                      <a:pt x="590" y="4"/>
                    </a:cubicBezTo>
                    <a:cubicBezTo>
                      <a:pt x="589" y="3"/>
                      <a:pt x="589" y="1"/>
                      <a:pt x="588" y="1"/>
                    </a:cubicBezTo>
                    <a:cubicBezTo>
                      <a:pt x="586" y="0"/>
                      <a:pt x="584" y="1"/>
                      <a:pt x="582" y="2"/>
                    </a:cubicBezTo>
                    <a:cubicBezTo>
                      <a:pt x="580" y="3"/>
                      <a:pt x="578" y="5"/>
                      <a:pt x="576" y="6"/>
                    </a:cubicBezTo>
                    <a:cubicBezTo>
                      <a:pt x="575" y="7"/>
                      <a:pt x="573" y="9"/>
                      <a:pt x="574" y="10"/>
                    </a:cubicBezTo>
                    <a:cubicBezTo>
                      <a:pt x="574" y="11"/>
                      <a:pt x="578" y="10"/>
                      <a:pt x="578" y="12"/>
                    </a:cubicBezTo>
                    <a:cubicBezTo>
                      <a:pt x="578" y="13"/>
                      <a:pt x="576" y="15"/>
                      <a:pt x="574" y="15"/>
                    </a:cubicBezTo>
                    <a:cubicBezTo>
                      <a:pt x="573" y="15"/>
                      <a:pt x="572" y="12"/>
                      <a:pt x="570" y="12"/>
                    </a:cubicBezTo>
                    <a:cubicBezTo>
                      <a:pt x="567" y="14"/>
                      <a:pt x="566" y="18"/>
                      <a:pt x="565" y="21"/>
                    </a:cubicBezTo>
                    <a:cubicBezTo>
                      <a:pt x="564" y="22"/>
                      <a:pt x="564" y="24"/>
                      <a:pt x="564" y="25"/>
                    </a:cubicBezTo>
                    <a:cubicBezTo>
                      <a:pt x="565" y="27"/>
                      <a:pt x="567" y="27"/>
                      <a:pt x="568" y="29"/>
                    </a:cubicBezTo>
                    <a:cubicBezTo>
                      <a:pt x="568" y="30"/>
                      <a:pt x="569" y="31"/>
                      <a:pt x="568" y="31"/>
                    </a:cubicBezTo>
                    <a:cubicBezTo>
                      <a:pt x="566" y="32"/>
                      <a:pt x="564" y="31"/>
                      <a:pt x="562" y="32"/>
                    </a:cubicBezTo>
                    <a:cubicBezTo>
                      <a:pt x="560" y="33"/>
                      <a:pt x="558" y="36"/>
                      <a:pt x="557" y="39"/>
                    </a:cubicBezTo>
                    <a:cubicBezTo>
                      <a:pt x="556" y="41"/>
                      <a:pt x="557" y="44"/>
                      <a:pt x="559" y="46"/>
                    </a:cubicBezTo>
                    <a:cubicBezTo>
                      <a:pt x="560" y="47"/>
                      <a:pt x="563" y="47"/>
                      <a:pt x="565" y="48"/>
                    </a:cubicBezTo>
                    <a:cubicBezTo>
                      <a:pt x="568" y="49"/>
                      <a:pt x="571" y="52"/>
                      <a:pt x="575" y="52"/>
                    </a:cubicBezTo>
                    <a:cubicBezTo>
                      <a:pt x="576" y="52"/>
                      <a:pt x="577" y="49"/>
                      <a:pt x="578" y="50"/>
                    </a:cubicBezTo>
                    <a:cubicBezTo>
                      <a:pt x="580" y="50"/>
                      <a:pt x="580" y="54"/>
                      <a:pt x="582" y="54"/>
                    </a:cubicBezTo>
                    <a:cubicBezTo>
                      <a:pt x="585" y="55"/>
                      <a:pt x="588" y="53"/>
                      <a:pt x="591" y="53"/>
                    </a:cubicBezTo>
                    <a:cubicBezTo>
                      <a:pt x="592" y="53"/>
                      <a:pt x="595" y="53"/>
                      <a:pt x="595" y="54"/>
                    </a:cubicBezTo>
                    <a:cubicBezTo>
                      <a:pt x="595" y="57"/>
                      <a:pt x="593" y="58"/>
                      <a:pt x="591" y="59"/>
                    </a:cubicBezTo>
                    <a:cubicBezTo>
                      <a:pt x="590" y="60"/>
                      <a:pt x="588" y="61"/>
                      <a:pt x="586" y="60"/>
                    </a:cubicBezTo>
                    <a:cubicBezTo>
                      <a:pt x="585" y="60"/>
                      <a:pt x="585" y="58"/>
                      <a:pt x="584" y="57"/>
                    </a:cubicBezTo>
                    <a:cubicBezTo>
                      <a:pt x="582" y="57"/>
                      <a:pt x="580" y="56"/>
                      <a:pt x="579" y="57"/>
                    </a:cubicBezTo>
                    <a:cubicBezTo>
                      <a:pt x="577" y="59"/>
                      <a:pt x="578" y="62"/>
                      <a:pt x="577" y="63"/>
                    </a:cubicBezTo>
                    <a:cubicBezTo>
                      <a:pt x="575" y="65"/>
                      <a:pt x="572" y="66"/>
                      <a:pt x="570" y="69"/>
                    </a:cubicBezTo>
                    <a:cubicBezTo>
                      <a:pt x="570" y="70"/>
                      <a:pt x="569" y="73"/>
                      <a:pt x="570" y="73"/>
                    </a:cubicBezTo>
                    <a:cubicBezTo>
                      <a:pt x="572" y="74"/>
                      <a:pt x="575" y="72"/>
                      <a:pt x="577" y="71"/>
                    </a:cubicBezTo>
                    <a:cubicBezTo>
                      <a:pt x="578" y="70"/>
                      <a:pt x="579" y="69"/>
                      <a:pt x="580" y="68"/>
                    </a:cubicBezTo>
                    <a:cubicBezTo>
                      <a:pt x="580" y="67"/>
                      <a:pt x="579" y="65"/>
                      <a:pt x="580" y="66"/>
                    </a:cubicBezTo>
                    <a:cubicBezTo>
                      <a:pt x="581" y="67"/>
                      <a:pt x="582" y="69"/>
                      <a:pt x="583" y="71"/>
                    </a:cubicBezTo>
                    <a:cubicBezTo>
                      <a:pt x="583" y="73"/>
                      <a:pt x="584" y="74"/>
                      <a:pt x="583" y="76"/>
                    </a:cubicBezTo>
                    <a:cubicBezTo>
                      <a:pt x="580" y="78"/>
                      <a:pt x="577" y="80"/>
                      <a:pt x="574" y="81"/>
                    </a:cubicBezTo>
                    <a:cubicBezTo>
                      <a:pt x="571" y="83"/>
                      <a:pt x="568" y="85"/>
                      <a:pt x="565" y="86"/>
                    </a:cubicBezTo>
                    <a:cubicBezTo>
                      <a:pt x="563" y="87"/>
                      <a:pt x="561" y="85"/>
                      <a:pt x="560" y="86"/>
                    </a:cubicBezTo>
                    <a:cubicBezTo>
                      <a:pt x="557" y="87"/>
                      <a:pt x="554" y="89"/>
                      <a:pt x="553" y="92"/>
                    </a:cubicBezTo>
                    <a:cubicBezTo>
                      <a:pt x="553" y="94"/>
                      <a:pt x="558" y="95"/>
                      <a:pt x="558" y="97"/>
                    </a:cubicBezTo>
                    <a:cubicBezTo>
                      <a:pt x="559" y="100"/>
                      <a:pt x="559" y="103"/>
                      <a:pt x="558" y="105"/>
                    </a:cubicBezTo>
                    <a:cubicBezTo>
                      <a:pt x="558" y="107"/>
                      <a:pt x="559" y="110"/>
                      <a:pt x="557" y="111"/>
                    </a:cubicBezTo>
                    <a:cubicBezTo>
                      <a:pt x="554" y="112"/>
                      <a:pt x="550" y="111"/>
                      <a:pt x="547" y="111"/>
                    </a:cubicBezTo>
                    <a:cubicBezTo>
                      <a:pt x="546" y="110"/>
                      <a:pt x="543" y="108"/>
                      <a:pt x="544" y="107"/>
                    </a:cubicBezTo>
                    <a:cubicBezTo>
                      <a:pt x="548" y="106"/>
                      <a:pt x="552" y="110"/>
                      <a:pt x="555" y="108"/>
                    </a:cubicBezTo>
                    <a:cubicBezTo>
                      <a:pt x="557" y="107"/>
                      <a:pt x="556" y="103"/>
                      <a:pt x="555" y="102"/>
                    </a:cubicBezTo>
                    <a:cubicBezTo>
                      <a:pt x="553" y="100"/>
                      <a:pt x="550" y="103"/>
                      <a:pt x="548" y="102"/>
                    </a:cubicBezTo>
                    <a:cubicBezTo>
                      <a:pt x="546" y="101"/>
                      <a:pt x="545" y="99"/>
                      <a:pt x="545" y="97"/>
                    </a:cubicBezTo>
                    <a:cubicBezTo>
                      <a:pt x="546" y="95"/>
                      <a:pt x="548" y="93"/>
                      <a:pt x="549" y="91"/>
                    </a:cubicBezTo>
                    <a:cubicBezTo>
                      <a:pt x="551" y="88"/>
                      <a:pt x="554" y="85"/>
                      <a:pt x="553" y="82"/>
                    </a:cubicBezTo>
                    <a:cubicBezTo>
                      <a:pt x="553" y="80"/>
                      <a:pt x="550" y="82"/>
                      <a:pt x="548" y="82"/>
                    </a:cubicBezTo>
                    <a:cubicBezTo>
                      <a:pt x="546" y="82"/>
                      <a:pt x="544" y="81"/>
                      <a:pt x="542" y="81"/>
                    </a:cubicBezTo>
                    <a:cubicBezTo>
                      <a:pt x="539" y="80"/>
                      <a:pt x="537" y="77"/>
                      <a:pt x="534" y="77"/>
                    </a:cubicBezTo>
                    <a:cubicBezTo>
                      <a:pt x="531" y="77"/>
                      <a:pt x="528" y="79"/>
                      <a:pt x="527" y="81"/>
                    </a:cubicBezTo>
                    <a:cubicBezTo>
                      <a:pt x="527" y="83"/>
                      <a:pt x="528" y="86"/>
                      <a:pt x="530" y="87"/>
                    </a:cubicBezTo>
                    <a:cubicBezTo>
                      <a:pt x="532" y="89"/>
                      <a:pt x="535" y="89"/>
                      <a:pt x="538" y="91"/>
                    </a:cubicBezTo>
                    <a:cubicBezTo>
                      <a:pt x="539" y="92"/>
                      <a:pt x="539" y="94"/>
                      <a:pt x="538" y="95"/>
                    </a:cubicBezTo>
                    <a:cubicBezTo>
                      <a:pt x="537" y="96"/>
                      <a:pt x="535" y="97"/>
                      <a:pt x="533" y="96"/>
                    </a:cubicBezTo>
                    <a:cubicBezTo>
                      <a:pt x="531" y="95"/>
                      <a:pt x="530" y="92"/>
                      <a:pt x="527" y="91"/>
                    </a:cubicBezTo>
                    <a:cubicBezTo>
                      <a:pt x="524" y="91"/>
                      <a:pt x="521" y="92"/>
                      <a:pt x="518" y="92"/>
                    </a:cubicBezTo>
                    <a:cubicBezTo>
                      <a:pt x="516" y="92"/>
                      <a:pt x="514" y="91"/>
                      <a:pt x="513" y="90"/>
                    </a:cubicBezTo>
                    <a:cubicBezTo>
                      <a:pt x="506" y="90"/>
                      <a:pt x="500" y="91"/>
                      <a:pt x="494" y="91"/>
                    </a:cubicBezTo>
                    <a:cubicBezTo>
                      <a:pt x="490" y="91"/>
                      <a:pt x="486" y="92"/>
                      <a:pt x="483" y="91"/>
                    </a:cubicBezTo>
                    <a:cubicBezTo>
                      <a:pt x="480" y="91"/>
                      <a:pt x="478" y="90"/>
                      <a:pt x="476" y="89"/>
                    </a:cubicBezTo>
                    <a:cubicBezTo>
                      <a:pt x="474" y="88"/>
                      <a:pt x="472" y="86"/>
                      <a:pt x="470" y="86"/>
                    </a:cubicBezTo>
                    <a:cubicBezTo>
                      <a:pt x="467" y="85"/>
                      <a:pt x="463" y="87"/>
                      <a:pt x="460" y="86"/>
                    </a:cubicBezTo>
                    <a:cubicBezTo>
                      <a:pt x="458" y="85"/>
                      <a:pt x="457" y="83"/>
                      <a:pt x="456" y="82"/>
                    </a:cubicBezTo>
                    <a:cubicBezTo>
                      <a:pt x="454" y="81"/>
                      <a:pt x="452" y="80"/>
                      <a:pt x="451" y="78"/>
                    </a:cubicBezTo>
                    <a:cubicBezTo>
                      <a:pt x="450" y="76"/>
                      <a:pt x="452" y="73"/>
                      <a:pt x="451" y="71"/>
                    </a:cubicBezTo>
                    <a:cubicBezTo>
                      <a:pt x="450" y="69"/>
                      <a:pt x="446" y="66"/>
                      <a:pt x="444" y="68"/>
                    </a:cubicBezTo>
                    <a:cubicBezTo>
                      <a:pt x="436" y="72"/>
                      <a:pt x="428" y="74"/>
                      <a:pt x="421" y="75"/>
                    </a:cubicBezTo>
                    <a:cubicBezTo>
                      <a:pt x="419" y="76"/>
                      <a:pt x="414" y="80"/>
                      <a:pt x="414" y="82"/>
                    </a:cubicBezTo>
                    <a:cubicBezTo>
                      <a:pt x="415" y="85"/>
                      <a:pt x="420" y="83"/>
                      <a:pt x="424" y="83"/>
                    </a:cubicBezTo>
                    <a:cubicBezTo>
                      <a:pt x="424" y="79"/>
                      <a:pt x="428" y="80"/>
                      <a:pt x="431" y="79"/>
                    </a:cubicBezTo>
                    <a:cubicBezTo>
                      <a:pt x="436" y="79"/>
                      <a:pt x="441" y="77"/>
                      <a:pt x="445" y="74"/>
                    </a:cubicBezTo>
                    <a:cubicBezTo>
                      <a:pt x="446" y="73"/>
                      <a:pt x="448" y="73"/>
                      <a:pt x="448" y="75"/>
                    </a:cubicBezTo>
                    <a:cubicBezTo>
                      <a:pt x="448" y="76"/>
                      <a:pt x="447" y="78"/>
                      <a:pt x="445" y="79"/>
                    </a:cubicBezTo>
                    <a:cubicBezTo>
                      <a:pt x="441" y="81"/>
                      <a:pt x="437" y="84"/>
                      <a:pt x="433" y="85"/>
                    </a:cubicBezTo>
                    <a:cubicBezTo>
                      <a:pt x="430" y="86"/>
                      <a:pt x="426" y="85"/>
                      <a:pt x="423" y="87"/>
                    </a:cubicBezTo>
                    <a:cubicBezTo>
                      <a:pt x="421" y="87"/>
                      <a:pt x="419" y="89"/>
                      <a:pt x="418" y="91"/>
                    </a:cubicBezTo>
                    <a:cubicBezTo>
                      <a:pt x="418" y="94"/>
                      <a:pt x="420" y="97"/>
                      <a:pt x="421" y="100"/>
                    </a:cubicBezTo>
                    <a:cubicBezTo>
                      <a:pt x="421" y="104"/>
                      <a:pt x="422" y="108"/>
                      <a:pt x="421" y="111"/>
                    </a:cubicBezTo>
                    <a:cubicBezTo>
                      <a:pt x="421" y="114"/>
                      <a:pt x="420" y="108"/>
                      <a:pt x="418" y="110"/>
                    </a:cubicBezTo>
                    <a:cubicBezTo>
                      <a:pt x="417" y="110"/>
                      <a:pt x="418" y="117"/>
                      <a:pt x="417" y="117"/>
                    </a:cubicBezTo>
                    <a:cubicBezTo>
                      <a:pt x="415" y="117"/>
                      <a:pt x="413" y="114"/>
                      <a:pt x="411" y="112"/>
                    </a:cubicBezTo>
                    <a:cubicBezTo>
                      <a:pt x="411" y="110"/>
                      <a:pt x="410" y="107"/>
                      <a:pt x="411" y="106"/>
                    </a:cubicBezTo>
                    <a:cubicBezTo>
                      <a:pt x="412" y="104"/>
                      <a:pt x="416" y="106"/>
                      <a:pt x="416" y="104"/>
                    </a:cubicBezTo>
                    <a:cubicBezTo>
                      <a:pt x="417" y="101"/>
                      <a:pt x="415" y="96"/>
                      <a:pt x="412" y="95"/>
                    </a:cubicBezTo>
                    <a:cubicBezTo>
                      <a:pt x="410" y="94"/>
                      <a:pt x="409" y="100"/>
                      <a:pt x="407" y="100"/>
                    </a:cubicBezTo>
                    <a:cubicBezTo>
                      <a:pt x="405" y="100"/>
                      <a:pt x="408" y="96"/>
                      <a:pt x="407" y="94"/>
                    </a:cubicBezTo>
                    <a:cubicBezTo>
                      <a:pt x="406" y="93"/>
                      <a:pt x="404" y="91"/>
                      <a:pt x="402" y="91"/>
                    </a:cubicBezTo>
                    <a:cubicBezTo>
                      <a:pt x="400" y="91"/>
                      <a:pt x="399" y="94"/>
                      <a:pt x="398" y="93"/>
                    </a:cubicBezTo>
                    <a:cubicBezTo>
                      <a:pt x="396" y="92"/>
                      <a:pt x="399" y="87"/>
                      <a:pt x="397" y="87"/>
                    </a:cubicBezTo>
                    <a:cubicBezTo>
                      <a:pt x="391" y="87"/>
                      <a:pt x="387" y="92"/>
                      <a:pt x="381" y="93"/>
                    </a:cubicBezTo>
                    <a:cubicBezTo>
                      <a:pt x="377" y="94"/>
                      <a:pt x="374" y="92"/>
                      <a:pt x="370" y="92"/>
                    </a:cubicBezTo>
                    <a:cubicBezTo>
                      <a:pt x="366" y="92"/>
                      <a:pt x="361" y="94"/>
                      <a:pt x="356" y="93"/>
                    </a:cubicBezTo>
                    <a:cubicBezTo>
                      <a:pt x="352" y="93"/>
                      <a:pt x="348" y="91"/>
                      <a:pt x="344" y="90"/>
                    </a:cubicBezTo>
                    <a:cubicBezTo>
                      <a:pt x="341" y="90"/>
                      <a:pt x="338" y="92"/>
                      <a:pt x="336" y="90"/>
                    </a:cubicBezTo>
                    <a:cubicBezTo>
                      <a:pt x="335" y="88"/>
                      <a:pt x="337" y="85"/>
                      <a:pt x="339" y="84"/>
                    </a:cubicBezTo>
                    <a:cubicBezTo>
                      <a:pt x="341" y="82"/>
                      <a:pt x="344" y="81"/>
                      <a:pt x="346" y="81"/>
                    </a:cubicBezTo>
                    <a:cubicBezTo>
                      <a:pt x="348" y="80"/>
                      <a:pt x="351" y="82"/>
                      <a:pt x="352" y="81"/>
                    </a:cubicBezTo>
                    <a:cubicBezTo>
                      <a:pt x="353" y="80"/>
                      <a:pt x="353" y="78"/>
                      <a:pt x="353" y="76"/>
                    </a:cubicBezTo>
                    <a:cubicBezTo>
                      <a:pt x="351" y="74"/>
                      <a:pt x="349" y="71"/>
                      <a:pt x="347" y="69"/>
                    </a:cubicBezTo>
                    <a:cubicBezTo>
                      <a:pt x="344" y="67"/>
                      <a:pt x="341" y="65"/>
                      <a:pt x="338" y="65"/>
                    </a:cubicBezTo>
                    <a:cubicBezTo>
                      <a:pt x="335" y="65"/>
                      <a:pt x="334" y="68"/>
                      <a:pt x="331" y="68"/>
                    </a:cubicBezTo>
                    <a:cubicBezTo>
                      <a:pt x="328" y="69"/>
                      <a:pt x="324" y="68"/>
                      <a:pt x="320" y="67"/>
                    </a:cubicBezTo>
                    <a:cubicBezTo>
                      <a:pt x="317" y="67"/>
                      <a:pt x="314" y="65"/>
                      <a:pt x="311" y="64"/>
                    </a:cubicBezTo>
                    <a:cubicBezTo>
                      <a:pt x="308" y="62"/>
                      <a:pt x="307" y="59"/>
                      <a:pt x="305" y="59"/>
                    </a:cubicBezTo>
                    <a:cubicBezTo>
                      <a:pt x="301" y="57"/>
                      <a:pt x="297" y="58"/>
                      <a:pt x="293" y="57"/>
                    </a:cubicBezTo>
                    <a:cubicBezTo>
                      <a:pt x="290" y="57"/>
                      <a:pt x="286" y="57"/>
                      <a:pt x="284" y="56"/>
                    </a:cubicBezTo>
                    <a:cubicBezTo>
                      <a:pt x="282" y="54"/>
                      <a:pt x="282" y="50"/>
                      <a:pt x="279" y="50"/>
                    </a:cubicBezTo>
                    <a:cubicBezTo>
                      <a:pt x="274" y="48"/>
                      <a:pt x="268" y="46"/>
                      <a:pt x="262" y="48"/>
                    </a:cubicBezTo>
                    <a:cubicBezTo>
                      <a:pt x="259" y="48"/>
                      <a:pt x="260" y="53"/>
                      <a:pt x="258" y="55"/>
                    </a:cubicBezTo>
                    <a:cubicBezTo>
                      <a:pt x="255" y="58"/>
                      <a:pt x="252" y="59"/>
                      <a:pt x="248" y="59"/>
                    </a:cubicBezTo>
                    <a:cubicBezTo>
                      <a:pt x="246" y="60"/>
                      <a:pt x="242" y="61"/>
                      <a:pt x="242" y="59"/>
                    </a:cubicBezTo>
                    <a:cubicBezTo>
                      <a:pt x="241" y="56"/>
                      <a:pt x="246" y="54"/>
                      <a:pt x="247" y="51"/>
                    </a:cubicBezTo>
                    <a:cubicBezTo>
                      <a:pt x="247" y="49"/>
                      <a:pt x="246" y="47"/>
                      <a:pt x="246" y="46"/>
                    </a:cubicBezTo>
                    <a:cubicBezTo>
                      <a:pt x="246" y="45"/>
                      <a:pt x="248" y="42"/>
                      <a:pt x="246" y="42"/>
                    </a:cubicBezTo>
                    <a:cubicBezTo>
                      <a:pt x="244" y="42"/>
                      <a:pt x="241" y="44"/>
                      <a:pt x="240" y="46"/>
                    </a:cubicBezTo>
                    <a:cubicBezTo>
                      <a:pt x="237" y="49"/>
                      <a:pt x="237" y="54"/>
                      <a:pt x="235" y="57"/>
                    </a:cubicBezTo>
                    <a:cubicBezTo>
                      <a:pt x="234" y="58"/>
                      <a:pt x="231" y="59"/>
                      <a:pt x="230" y="58"/>
                    </a:cubicBezTo>
                    <a:cubicBezTo>
                      <a:pt x="227" y="57"/>
                      <a:pt x="224" y="55"/>
                      <a:pt x="222" y="53"/>
                    </a:cubicBezTo>
                    <a:cubicBezTo>
                      <a:pt x="220" y="51"/>
                      <a:pt x="220" y="49"/>
                      <a:pt x="219" y="46"/>
                    </a:cubicBezTo>
                    <a:cubicBezTo>
                      <a:pt x="218" y="44"/>
                      <a:pt x="218" y="41"/>
                      <a:pt x="217" y="39"/>
                    </a:cubicBezTo>
                    <a:cubicBezTo>
                      <a:pt x="216" y="36"/>
                      <a:pt x="215" y="33"/>
                      <a:pt x="212" y="31"/>
                    </a:cubicBezTo>
                    <a:cubicBezTo>
                      <a:pt x="211" y="31"/>
                      <a:pt x="210" y="33"/>
                      <a:pt x="209" y="34"/>
                    </a:cubicBezTo>
                    <a:cubicBezTo>
                      <a:pt x="211" y="37"/>
                      <a:pt x="210" y="39"/>
                      <a:pt x="205" y="39"/>
                    </a:cubicBezTo>
                    <a:cubicBezTo>
                      <a:pt x="204" y="46"/>
                      <a:pt x="197" y="49"/>
                      <a:pt x="194" y="49"/>
                    </a:cubicBezTo>
                    <a:cubicBezTo>
                      <a:pt x="196" y="47"/>
                      <a:pt x="197" y="45"/>
                      <a:pt x="195" y="45"/>
                    </a:cubicBezTo>
                    <a:cubicBezTo>
                      <a:pt x="193" y="45"/>
                      <a:pt x="183" y="50"/>
                      <a:pt x="180" y="51"/>
                    </a:cubicBezTo>
                    <a:cubicBezTo>
                      <a:pt x="176" y="53"/>
                      <a:pt x="174" y="58"/>
                      <a:pt x="170" y="60"/>
                    </a:cubicBezTo>
                    <a:cubicBezTo>
                      <a:pt x="169" y="60"/>
                      <a:pt x="170" y="56"/>
                      <a:pt x="169" y="56"/>
                    </a:cubicBezTo>
                    <a:cubicBezTo>
                      <a:pt x="166" y="56"/>
                      <a:pt x="163" y="58"/>
                      <a:pt x="160" y="59"/>
                    </a:cubicBezTo>
                    <a:cubicBezTo>
                      <a:pt x="158" y="60"/>
                      <a:pt x="155" y="61"/>
                      <a:pt x="152" y="63"/>
                    </a:cubicBezTo>
                    <a:cubicBezTo>
                      <a:pt x="151" y="64"/>
                      <a:pt x="151" y="67"/>
                      <a:pt x="149" y="68"/>
                    </a:cubicBezTo>
                    <a:cubicBezTo>
                      <a:pt x="147" y="69"/>
                      <a:pt x="143" y="70"/>
                      <a:pt x="143" y="68"/>
                    </a:cubicBezTo>
                    <a:cubicBezTo>
                      <a:pt x="144" y="65"/>
                      <a:pt x="147" y="63"/>
                      <a:pt x="150" y="60"/>
                    </a:cubicBezTo>
                    <a:cubicBezTo>
                      <a:pt x="152" y="58"/>
                      <a:pt x="155" y="56"/>
                      <a:pt x="158" y="55"/>
                    </a:cubicBezTo>
                    <a:cubicBezTo>
                      <a:pt x="163" y="53"/>
                      <a:pt x="168" y="53"/>
                      <a:pt x="172" y="52"/>
                    </a:cubicBezTo>
                    <a:cubicBezTo>
                      <a:pt x="179" y="49"/>
                      <a:pt x="187" y="47"/>
                      <a:pt x="192" y="42"/>
                    </a:cubicBezTo>
                    <a:cubicBezTo>
                      <a:pt x="194" y="41"/>
                      <a:pt x="191" y="39"/>
                      <a:pt x="189" y="39"/>
                    </a:cubicBezTo>
                    <a:cubicBezTo>
                      <a:pt x="187" y="41"/>
                      <a:pt x="184" y="40"/>
                      <a:pt x="181" y="41"/>
                    </a:cubicBezTo>
                    <a:cubicBezTo>
                      <a:pt x="178" y="42"/>
                      <a:pt x="176" y="45"/>
                      <a:pt x="173" y="46"/>
                    </a:cubicBezTo>
                    <a:cubicBezTo>
                      <a:pt x="168" y="47"/>
                      <a:pt x="163" y="48"/>
                      <a:pt x="158" y="50"/>
                    </a:cubicBezTo>
                    <a:cubicBezTo>
                      <a:pt x="155" y="51"/>
                      <a:pt x="153" y="52"/>
                      <a:pt x="150" y="54"/>
                    </a:cubicBezTo>
                    <a:cubicBezTo>
                      <a:pt x="149" y="54"/>
                      <a:pt x="148" y="55"/>
                      <a:pt x="146" y="56"/>
                    </a:cubicBezTo>
                    <a:cubicBezTo>
                      <a:pt x="145" y="57"/>
                      <a:pt x="142" y="57"/>
                      <a:pt x="141" y="57"/>
                    </a:cubicBezTo>
                    <a:cubicBezTo>
                      <a:pt x="137" y="60"/>
                      <a:pt x="133" y="62"/>
                      <a:pt x="130" y="65"/>
                    </a:cubicBezTo>
                    <a:cubicBezTo>
                      <a:pt x="129" y="66"/>
                      <a:pt x="128" y="68"/>
                      <a:pt x="127" y="68"/>
                    </a:cubicBezTo>
                    <a:cubicBezTo>
                      <a:pt x="125" y="69"/>
                      <a:pt x="122" y="68"/>
                      <a:pt x="119" y="68"/>
                    </a:cubicBezTo>
                    <a:cubicBezTo>
                      <a:pt x="116" y="68"/>
                      <a:pt x="112" y="68"/>
                      <a:pt x="109" y="68"/>
                    </a:cubicBezTo>
                    <a:cubicBezTo>
                      <a:pt x="106" y="68"/>
                      <a:pt x="102" y="68"/>
                      <a:pt x="99" y="67"/>
                    </a:cubicBezTo>
                    <a:cubicBezTo>
                      <a:pt x="95" y="66"/>
                      <a:pt x="92" y="64"/>
                      <a:pt x="89" y="62"/>
                    </a:cubicBezTo>
                    <a:cubicBezTo>
                      <a:pt x="87" y="60"/>
                      <a:pt x="85" y="57"/>
                      <a:pt x="82" y="55"/>
                    </a:cubicBezTo>
                    <a:cubicBezTo>
                      <a:pt x="83" y="54"/>
                      <a:pt x="85" y="53"/>
                      <a:pt x="83" y="52"/>
                    </a:cubicBezTo>
                    <a:cubicBezTo>
                      <a:pt x="83" y="51"/>
                      <a:pt x="79" y="54"/>
                      <a:pt x="79" y="53"/>
                    </a:cubicBezTo>
                    <a:cubicBezTo>
                      <a:pt x="77" y="52"/>
                      <a:pt x="75" y="52"/>
                      <a:pt x="74" y="51"/>
                    </a:cubicBezTo>
                    <a:cubicBezTo>
                      <a:pt x="70" y="51"/>
                      <a:pt x="65" y="52"/>
                      <a:pt x="62" y="53"/>
                    </a:cubicBezTo>
                    <a:lnTo>
                      <a:pt x="0" y="241"/>
                    </a:lnTo>
                    <a:lnTo>
                      <a:pt x="5" y="244"/>
                    </a:lnTo>
                    <a:cubicBezTo>
                      <a:pt x="7" y="245"/>
                      <a:pt x="7" y="247"/>
                      <a:pt x="9" y="246"/>
                    </a:cubicBezTo>
                    <a:cubicBezTo>
                      <a:pt x="11" y="245"/>
                      <a:pt x="12" y="238"/>
                      <a:pt x="15" y="239"/>
                    </a:cubicBezTo>
                    <a:lnTo>
                      <a:pt x="21" y="242"/>
                    </a:lnTo>
                    <a:cubicBezTo>
                      <a:pt x="24" y="243"/>
                      <a:pt x="22" y="248"/>
                      <a:pt x="23" y="251"/>
                    </a:cubicBezTo>
                    <a:cubicBezTo>
                      <a:pt x="25" y="256"/>
                      <a:pt x="28" y="260"/>
                      <a:pt x="30" y="264"/>
                    </a:cubicBezTo>
                    <a:cubicBezTo>
                      <a:pt x="31" y="266"/>
                      <a:pt x="31" y="268"/>
                      <a:pt x="33" y="268"/>
                    </a:cubicBezTo>
                    <a:cubicBezTo>
                      <a:pt x="36" y="269"/>
                      <a:pt x="36" y="266"/>
                      <a:pt x="38" y="265"/>
                    </a:cubicBezTo>
                    <a:cubicBezTo>
                      <a:pt x="40" y="264"/>
                      <a:pt x="44" y="267"/>
                      <a:pt x="45" y="265"/>
                    </a:cubicBezTo>
                    <a:cubicBezTo>
                      <a:pt x="45" y="262"/>
                      <a:pt x="47" y="260"/>
                      <a:pt x="50" y="259"/>
                    </a:cubicBezTo>
                    <a:cubicBezTo>
                      <a:pt x="51" y="259"/>
                      <a:pt x="50" y="257"/>
                      <a:pt x="50" y="256"/>
                    </a:cubicBezTo>
                    <a:cubicBezTo>
                      <a:pt x="53" y="254"/>
                      <a:pt x="57" y="252"/>
                      <a:pt x="60" y="253"/>
                    </a:cubicBezTo>
                    <a:cubicBezTo>
                      <a:pt x="62" y="253"/>
                      <a:pt x="63" y="256"/>
                      <a:pt x="64" y="259"/>
                    </a:cubicBezTo>
                    <a:cubicBezTo>
                      <a:pt x="65" y="261"/>
                      <a:pt x="62" y="263"/>
                      <a:pt x="63" y="265"/>
                    </a:cubicBezTo>
                    <a:cubicBezTo>
                      <a:pt x="64" y="267"/>
                      <a:pt x="67" y="266"/>
                      <a:pt x="69" y="268"/>
                    </a:cubicBezTo>
                    <a:cubicBezTo>
                      <a:pt x="70" y="270"/>
                      <a:pt x="70" y="274"/>
                      <a:pt x="72" y="276"/>
                    </a:cubicBezTo>
                    <a:cubicBezTo>
                      <a:pt x="74" y="280"/>
                      <a:pt x="79" y="282"/>
                      <a:pt x="81" y="286"/>
                    </a:cubicBezTo>
                    <a:cubicBezTo>
                      <a:pt x="82" y="289"/>
                      <a:pt x="79" y="294"/>
                      <a:pt x="81" y="298"/>
                    </a:cubicBezTo>
                    <a:cubicBezTo>
                      <a:pt x="83" y="302"/>
                      <a:pt x="84" y="307"/>
                      <a:pt x="87" y="311"/>
                    </a:cubicBezTo>
                    <a:cubicBezTo>
                      <a:pt x="89" y="315"/>
                      <a:pt x="94" y="314"/>
                      <a:pt x="97" y="317"/>
                    </a:cubicBezTo>
                    <a:cubicBezTo>
                      <a:pt x="98" y="317"/>
                      <a:pt x="97" y="319"/>
                      <a:pt x="98" y="320"/>
                    </a:cubicBezTo>
                    <a:cubicBezTo>
                      <a:pt x="99" y="322"/>
                      <a:pt x="101" y="322"/>
                      <a:pt x="103" y="322"/>
                    </a:cubicBezTo>
                    <a:cubicBezTo>
                      <a:pt x="102" y="324"/>
                      <a:pt x="101" y="326"/>
                      <a:pt x="101" y="328"/>
                    </a:cubicBezTo>
                    <a:cubicBezTo>
                      <a:pt x="101" y="330"/>
                      <a:pt x="100" y="333"/>
                      <a:pt x="101" y="335"/>
                    </a:cubicBezTo>
                    <a:cubicBezTo>
                      <a:pt x="102" y="336"/>
                      <a:pt x="104" y="330"/>
                      <a:pt x="104" y="332"/>
                    </a:cubicBezTo>
                    <a:cubicBezTo>
                      <a:pt x="104" y="334"/>
                      <a:pt x="99" y="337"/>
                      <a:pt x="101" y="339"/>
                    </a:cubicBezTo>
                    <a:cubicBezTo>
                      <a:pt x="103" y="341"/>
                      <a:pt x="111" y="336"/>
                      <a:pt x="109" y="338"/>
                    </a:cubicBezTo>
                    <a:cubicBezTo>
                      <a:pt x="107" y="341"/>
                      <a:pt x="102" y="340"/>
                      <a:pt x="99" y="342"/>
                    </a:cubicBezTo>
                    <a:cubicBezTo>
                      <a:pt x="97" y="343"/>
                      <a:pt x="96" y="345"/>
                      <a:pt x="96" y="347"/>
                    </a:cubicBezTo>
                    <a:cubicBezTo>
                      <a:pt x="96" y="349"/>
                      <a:pt x="96" y="351"/>
                      <a:pt x="98" y="351"/>
                    </a:cubicBezTo>
                    <a:cubicBezTo>
                      <a:pt x="101" y="352"/>
                      <a:pt x="105" y="348"/>
                      <a:pt x="109" y="350"/>
                    </a:cubicBezTo>
                    <a:cubicBezTo>
                      <a:pt x="111" y="351"/>
                      <a:pt x="106" y="354"/>
                      <a:pt x="103" y="354"/>
                    </a:cubicBezTo>
                    <a:cubicBezTo>
                      <a:pt x="100" y="355"/>
                      <a:pt x="97" y="354"/>
                      <a:pt x="94" y="354"/>
                    </a:cubicBezTo>
                    <a:cubicBezTo>
                      <a:pt x="93" y="355"/>
                      <a:pt x="93" y="356"/>
                      <a:pt x="93" y="357"/>
                    </a:cubicBezTo>
                    <a:cubicBezTo>
                      <a:pt x="93" y="359"/>
                      <a:pt x="93" y="361"/>
                      <a:pt x="94" y="362"/>
                    </a:cubicBezTo>
                    <a:cubicBezTo>
                      <a:pt x="95" y="364"/>
                      <a:pt x="96" y="365"/>
                      <a:pt x="98" y="366"/>
                    </a:cubicBezTo>
                    <a:cubicBezTo>
                      <a:pt x="100" y="366"/>
                      <a:pt x="103" y="366"/>
                      <a:pt x="104" y="365"/>
                    </a:cubicBezTo>
                    <a:cubicBezTo>
                      <a:pt x="107" y="364"/>
                      <a:pt x="108" y="359"/>
                      <a:pt x="110" y="360"/>
                    </a:cubicBezTo>
                    <a:cubicBezTo>
                      <a:pt x="112" y="361"/>
                      <a:pt x="108" y="364"/>
                      <a:pt x="107" y="366"/>
                    </a:cubicBezTo>
                    <a:cubicBezTo>
                      <a:pt x="106" y="368"/>
                      <a:pt x="105" y="369"/>
                      <a:pt x="104" y="371"/>
                    </a:cubicBezTo>
                    <a:cubicBezTo>
                      <a:pt x="103" y="373"/>
                      <a:pt x="101" y="374"/>
                      <a:pt x="101" y="376"/>
                    </a:cubicBezTo>
                    <a:cubicBezTo>
                      <a:pt x="101" y="378"/>
                      <a:pt x="103" y="380"/>
                      <a:pt x="104" y="380"/>
                    </a:cubicBezTo>
                    <a:cubicBezTo>
                      <a:pt x="106" y="380"/>
                      <a:pt x="105" y="377"/>
                      <a:pt x="107" y="376"/>
                    </a:cubicBezTo>
                    <a:cubicBezTo>
                      <a:pt x="109" y="376"/>
                      <a:pt x="112" y="377"/>
                      <a:pt x="112" y="378"/>
                    </a:cubicBezTo>
                    <a:cubicBezTo>
                      <a:pt x="114" y="381"/>
                      <a:pt x="112" y="385"/>
                      <a:pt x="112" y="388"/>
                    </a:cubicBezTo>
                    <a:cubicBezTo>
                      <a:pt x="113" y="390"/>
                      <a:pt x="115" y="390"/>
                      <a:pt x="115" y="392"/>
                    </a:cubicBezTo>
                    <a:cubicBezTo>
                      <a:pt x="114" y="394"/>
                      <a:pt x="111" y="394"/>
                      <a:pt x="111" y="396"/>
                    </a:cubicBezTo>
                    <a:cubicBezTo>
                      <a:pt x="110" y="398"/>
                      <a:pt x="113" y="398"/>
                      <a:pt x="114" y="400"/>
                    </a:cubicBezTo>
                    <a:cubicBezTo>
                      <a:pt x="114" y="401"/>
                      <a:pt x="111" y="401"/>
                      <a:pt x="111" y="401"/>
                    </a:cubicBezTo>
                    <a:cubicBezTo>
                      <a:pt x="112" y="403"/>
                      <a:pt x="115" y="402"/>
                      <a:pt x="115" y="403"/>
                    </a:cubicBezTo>
                    <a:cubicBezTo>
                      <a:pt x="116" y="405"/>
                      <a:pt x="114" y="408"/>
                      <a:pt x="115" y="409"/>
                    </a:cubicBezTo>
                    <a:cubicBezTo>
                      <a:pt x="117" y="411"/>
                      <a:pt x="120" y="411"/>
                      <a:pt x="122" y="412"/>
                    </a:cubicBezTo>
                    <a:cubicBezTo>
                      <a:pt x="124" y="413"/>
                      <a:pt x="125" y="415"/>
                      <a:pt x="127" y="417"/>
                    </a:cubicBezTo>
                    <a:cubicBezTo>
                      <a:pt x="129" y="418"/>
                      <a:pt x="131" y="420"/>
                      <a:pt x="133" y="421"/>
                    </a:cubicBezTo>
                    <a:cubicBezTo>
                      <a:pt x="134" y="422"/>
                      <a:pt x="136" y="420"/>
                      <a:pt x="137" y="420"/>
                    </a:cubicBezTo>
                    <a:cubicBezTo>
                      <a:pt x="139" y="420"/>
                      <a:pt x="141" y="419"/>
                      <a:pt x="142" y="421"/>
                    </a:cubicBezTo>
                    <a:cubicBezTo>
                      <a:pt x="143" y="422"/>
                      <a:pt x="140" y="424"/>
                      <a:pt x="140" y="425"/>
                    </a:cubicBezTo>
                    <a:cubicBezTo>
                      <a:pt x="139" y="428"/>
                      <a:pt x="139" y="431"/>
                      <a:pt x="139" y="434"/>
                    </a:cubicBezTo>
                    <a:cubicBezTo>
                      <a:pt x="139" y="435"/>
                      <a:pt x="139" y="437"/>
                      <a:pt x="141" y="437"/>
                    </a:cubicBezTo>
                    <a:cubicBezTo>
                      <a:pt x="142" y="438"/>
                      <a:pt x="141" y="435"/>
                      <a:pt x="141" y="435"/>
                    </a:cubicBezTo>
                    <a:cubicBezTo>
                      <a:pt x="144" y="434"/>
                      <a:pt x="147" y="432"/>
                      <a:pt x="149" y="433"/>
                    </a:cubicBezTo>
                    <a:cubicBezTo>
                      <a:pt x="151" y="435"/>
                      <a:pt x="147" y="439"/>
                      <a:pt x="149" y="441"/>
                    </a:cubicBezTo>
                    <a:cubicBezTo>
                      <a:pt x="151" y="442"/>
                      <a:pt x="153" y="438"/>
                      <a:pt x="155" y="438"/>
                    </a:cubicBezTo>
                    <a:cubicBezTo>
                      <a:pt x="156" y="438"/>
                      <a:pt x="155" y="441"/>
                      <a:pt x="155" y="442"/>
                    </a:cubicBezTo>
                    <a:cubicBezTo>
                      <a:pt x="156" y="444"/>
                      <a:pt x="157" y="446"/>
                      <a:pt x="158" y="448"/>
                    </a:cubicBezTo>
                    <a:cubicBezTo>
                      <a:pt x="167" y="448"/>
                      <a:pt x="176" y="449"/>
                      <a:pt x="184" y="449"/>
                    </a:cubicBezTo>
                    <a:cubicBezTo>
                      <a:pt x="226" y="449"/>
                      <a:pt x="268" y="449"/>
                      <a:pt x="310" y="449"/>
                    </a:cubicBezTo>
                    <a:cubicBezTo>
                      <a:pt x="345" y="449"/>
                      <a:pt x="380" y="450"/>
                      <a:pt x="415" y="450"/>
                    </a:cubicBezTo>
                    <a:cubicBezTo>
                      <a:pt x="432" y="450"/>
                      <a:pt x="450" y="450"/>
                      <a:pt x="467" y="449"/>
                    </a:cubicBezTo>
                    <a:cubicBezTo>
                      <a:pt x="474" y="449"/>
                      <a:pt x="481" y="448"/>
                      <a:pt x="488" y="448"/>
                    </a:cubicBezTo>
                    <a:cubicBezTo>
                      <a:pt x="490" y="448"/>
                      <a:pt x="492" y="449"/>
                      <a:pt x="495" y="450"/>
                    </a:cubicBezTo>
                    <a:cubicBezTo>
                      <a:pt x="498" y="451"/>
                      <a:pt x="500" y="453"/>
                      <a:pt x="503" y="454"/>
                    </a:cubicBezTo>
                    <a:cubicBezTo>
                      <a:pt x="506" y="455"/>
                      <a:pt x="510" y="454"/>
                      <a:pt x="513" y="455"/>
                    </a:cubicBezTo>
                    <a:cubicBezTo>
                      <a:pt x="515" y="456"/>
                      <a:pt x="517" y="458"/>
                      <a:pt x="519" y="459"/>
                    </a:cubicBezTo>
                    <a:cubicBezTo>
                      <a:pt x="523" y="461"/>
                      <a:pt x="526" y="463"/>
                      <a:pt x="530" y="463"/>
                    </a:cubicBezTo>
                    <a:cubicBezTo>
                      <a:pt x="532" y="464"/>
                      <a:pt x="535" y="463"/>
                      <a:pt x="538" y="463"/>
                    </a:cubicBezTo>
                    <a:cubicBezTo>
                      <a:pt x="542" y="464"/>
                      <a:pt x="546" y="466"/>
                      <a:pt x="549" y="466"/>
                    </a:cubicBezTo>
                    <a:cubicBezTo>
                      <a:pt x="551" y="465"/>
                      <a:pt x="552" y="464"/>
                      <a:pt x="554" y="463"/>
                    </a:cubicBezTo>
                    <a:cubicBezTo>
                      <a:pt x="555" y="462"/>
                      <a:pt x="556" y="460"/>
                      <a:pt x="557" y="459"/>
                    </a:cubicBezTo>
                    <a:cubicBezTo>
                      <a:pt x="559" y="458"/>
                      <a:pt x="560" y="456"/>
                      <a:pt x="562" y="456"/>
                    </a:cubicBezTo>
                    <a:cubicBezTo>
                      <a:pt x="562" y="456"/>
                      <a:pt x="561" y="459"/>
                      <a:pt x="562" y="458"/>
                    </a:cubicBezTo>
                    <a:cubicBezTo>
                      <a:pt x="564" y="457"/>
                      <a:pt x="564" y="454"/>
                      <a:pt x="565" y="452"/>
                    </a:cubicBezTo>
                    <a:cubicBezTo>
                      <a:pt x="566" y="452"/>
                      <a:pt x="567" y="452"/>
                      <a:pt x="567" y="453"/>
                    </a:cubicBezTo>
                    <a:cubicBezTo>
                      <a:pt x="567" y="454"/>
                      <a:pt x="564" y="457"/>
                      <a:pt x="566" y="457"/>
                    </a:cubicBezTo>
                    <a:cubicBezTo>
                      <a:pt x="567" y="458"/>
                      <a:pt x="569" y="455"/>
                      <a:pt x="570" y="454"/>
                    </a:cubicBezTo>
                    <a:cubicBezTo>
                      <a:pt x="571" y="452"/>
                      <a:pt x="570" y="450"/>
                      <a:pt x="572" y="449"/>
                    </a:cubicBezTo>
                    <a:cubicBezTo>
                      <a:pt x="573" y="449"/>
                      <a:pt x="575" y="451"/>
                      <a:pt x="577" y="451"/>
                    </a:cubicBezTo>
                    <a:cubicBezTo>
                      <a:pt x="580" y="452"/>
                      <a:pt x="583" y="452"/>
                      <a:pt x="586" y="452"/>
                    </a:cubicBezTo>
                    <a:cubicBezTo>
                      <a:pt x="588" y="452"/>
                      <a:pt x="591" y="452"/>
                      <a:pt x="593" y="453"/>
                    </a:cubicBezTo>
                    <a:cubicBezTo>
                      <a:pt x="594" y="455"/>
                      <a:pt x="593" y="458"/>
                      <a:pt x="594" y="460"/>
                    </a:cubicBezTo>
                    <a:cubicBezTo>
                      <a:pt x="595" y="462"/>
                      <a:pt x="595" y="465"/>
                      <a:pt x="597" y="466"/>
                    </a:cubicBezTo>
                    <a:cubicBezTo>
                      <a:pt x="598" y="468"/>
                      <a:pt x="599" y="468"/>
                      <a:pt x="601" y="469"/>
                    </a:cubicBezTo>
                    <a:cubicBezTo>
                      <a:pt x="603" y="469"/>
                      <a:pt x="605" y="467"/>
                      <a:pt x="607" y="467"/>
                    </a:cubicBezTo>
                    <a:cubicBezTo>
                      <a:pt x="608" y="468"/>
                      <a:pt x="606" y="470"/>
                      <a:pt x="606" y="471"/>
                    </a:cubicBezTo>
                    <a:cubicBezTo>
                      <a:pt x="606" y="472"/>
                      <a:pt x="604" y="472"/>
                      <a:pt x="604" y="473"/>
                    </a:cubicBezTo>
                    <a:cubicBezTo>
                      <a:pt x="605" y="476"/>
                      <a:pt x="607" y="477"/>
                      <a:pt x="608" y="479"/>
                    </a:cubicBezTo>
                    <a:cubicBezTo>
                      <a:pt x="608" y="481"/>
                      <a:pt x="606" y="482"/>
                      <a:pt x="607" y="484"/>
                    </a:cubicBezTo>
                    <a:cubicBezTo>
                      <a:pt x="608" y="486"/>
                      <a:pt x="611" y="486"/>
                      <a:pt x="612" y="487"/>
                    </a:cubicBezTo>
                    <a:cubicBezTo>
                      <a:pt x="612" y="489"/>
                      <a:pt x="609" y="489"/>
                      <a:pt x="609" y="490"/>
                    </a:cubicBezTo>
                    <a:cubicBezTo>
                      <a:pt x="609" y="491"/>
                      <a:pt x="610" y="493"/>
                      <a:pt x="611" y="493"/>
                    </a:cubicBezTo>
                    <a:cubicBezTo>
                      <a:pt x="612" y="494"/>
                      <a:pt x="614" y="494"/>
                      <a:pt x="616" y="494"/>
                    </a:cubicBezTo>
                    <a:cubicBezTo>
                      <a:pt x="618" y="495"/>
                      <a:pt x="621" y="494"/>
                      <a:pt x="624" y="495"/>
                    </a:cubicBezTo>
                    <a:cubicBezTo>
                      <a:pt x="628" y="496"/>
                      <a:pt x="632" y="497"/>
                      <a:pt x="636" y="498"/>
                    </a:cubicBezTo>
                    <a:cubicBezTo>
                      <a:pt x="638" y="498"/>
                      <a:pt x="640" y="499"/>
                      <a:pt x="642" y="499"/>
                    </a:cubicBezTo>
                    <a:cubicBezTo>
                      <a:pt x="645" y="500"/>
                      <a:pt x="648" y="500"/>
                      <a:pt x="651" y="502"/>
                    </a:cubicBezTo>
                    <a:cubicBezTo>
                      <a:pt x="653" y="504"/>
                      <a:pt x="656" y="506"/>
                      <a:pt x="658" y="509"/>
                    </a:cubicBezTo>
                    <a:cubicBezTo>
                      <a:pt x="659" y="510"/>
                      <a:pt x="659" y="513"/>
                      <a:pt x="660" y="515"/>
                    </a:cubicBezTo>
                    <a:cubicBezTo>
                      <a:pt x="660" y="517"/>
                      <a:pt x="662" y="519"/>
                      <a:pt x="660" y="521"/>
                    </a:cubicBezTo>
                    <a:cubicBezTo>
                      <a:pt x="659" y="522"/>
                      <a:pt x="658" y="517"/>
                      <a:pt x="657" y="518"/>
                    </a:cubicBezTo>
                    <a:cubicBezTo>
                      <a:pt x="656" y="520"/>
                      <a:pt x="659" y="522"/>
                      <a:pt x="658" y="524"/>
                    </a:cubicBezTo>
                    <a:cubicBezTo>
                      <a:pt x="657" y="525"/>
                      <a:pt x="654" y="524"/>
                      <a:pt x="653" y="523"/>
                    </a:cubicBezTo>
                    <a:cubicBezTo>
                      <a:pt x="652" y="523"/>
                      <a:pt x="652" y="521"/>
                      <a:pt x="651" y="521"/>
                    </a:cubicBezTo>
                    <a:cubicBezTo>
                      <a:pt x="650" y="521"/>
                      <a:pt x="649" y="523"/>
                      <a:pt x="648" y="522"/>
                    </a:cubicBezTo>
                    <a:cubicBezTo>
                      <a:pt x="647" y="520"/>
                      <a:pt x="648" y="517"/>
                      <a:pt x="647" y="515"/>
                    </a:cubicBezTo>
                    <a:cubicBezTo>
                      <a:pt x="646" y="514"/>
                      <a:pt x="646" y="518"/>
                      <a:pt x="646" y="517"/>
                    </a:cubicBezTo>
                    <a:cubicBezTo>
                      <a:pt x="644" y="516"/>
                      <a:pt x="644" y="513"/>
                      <a:pt x="642" y="512"/>
                    </a:cubicBezTo>
                    <a:cubicBezTo>
                      <a:pt x="641" y="512"/>
                      <a:pt x="639" y="511"/>
                      <a:pt x="639" y="512"/>
                    </a:cubicBezTo>
                    <a:cubicBezTo>
                      <a:pt x="639" y="515"/>
                      <a:pt x="642" y="518"/>
                      <a:pt x="642" y="521"/>
                    </a:cubicBezTo>
                    <a:cubicBezTo>
                      <a:pt x="642" y="524"/>
                      <a:pt x="639" y="526"/>
                      <a:pt x="638" y="529"/>
                    </a:cubicBezTo>
                    <a:cubicBezTo>
                      <a:pt x="637" y="531"/>
                      <a:pt x="636" y="532"/>
                      <a:pt x="636" y="534"/>
                    </a:cubicBezTo>
                    <a:cubicBezTo>
                      <a:pt x="636" y="536"/>
                      <a:pt x="637" y="538"/>
                      <a:pt x="637" y="540"/>
                    </a:cubicBezTo>
                    <a:cubicBezTo>
                      <a:pt x="637" y="542"/>
                      <a:pt x="636" y="543"/>
                      <a:pt x="634" y="545"/>
                    </a:cubicBezTo>
                    <a:cubicBezTo>
                      <a:pt x="632" y="547"/>
                      <a:pt x="629" y="548"/>
                      <a:pt x="627" y="550"/>
                    </a:cubicBezTo>
                    <a:cubicBezTo>
                      <a:pt x="626" y="552"/>
                      <a:pt x="626" y="554"/>
                      <a:pt x="625" y="555"/>
                    </a:cubicBezTo>
                    <a:cubicBezTo>
                      <a:pt x="625" y="556"/>
                      <a:pt x="627" y="557"/>
                      <a:pt x="627" y="558"/>
                    </a:cubicBezTo>
                    <a:cubicBezTo>
                      <a:pt x="627" y="559"/>
                      <a:pt x="626" y="560"/>
                      <a:pt x="625" y="560"/>
                    </a:cubicBezTo>
                    <a:cubicBezTo>
                      <a:pt x="622" y="561"/>
                      <a:pt x="620" y="559"/>
                      <a:pt x="617" y="559"/>
                    </a:cubicBezTo>
                    <a:cubicBezTo>
                      <a:pt x="617" y="560"/>
                      <a:pt x="616" y="562"/>
                      <a:pt x="615" y="563"/>
                    </a:cubicBezTo>
                    <a:cubicBezTo>
                      <a:pt x="618" y="564"/>
                      <a:pt x="620" y="565"/>
                      <a:pt x="623" y="564"/>
                    </a:cubicBezTo>
                    <a:cubicBezTo>
                      <a:pt x="626" y="564"/>
                      <a:pt x="630" y="562"/>
                      <a:pt x="633" y="560"/>
                    </a:cubicBezTo>
                    <a:cubicBezTo>
                      <a:pt x="635" y="559"/>
                      <a:pt x="636" y="556"/>
                      <a:pt x="638" y="555"/>
                    </a:cubicBezTo>
                    <a:cubicBezTo>
                      <a:pt x="640" y="554"/>
                      <a:pt x="643" y="554"/>
                      <a:pt x="645" y="554"/>
                    </a:cubicBezTo>
                    <a:cubicBezTo>
                      <a:pt x="648" y="554"/>
                      <a:pt x="650" y="556"/>
                      <a:pt x="652" y="555"/>
                    </a:cubicBezTo>
                    <a:cubicBezTo>
                      <a:pt x="652" y="555"/>
                      <a:pt x="650" y="553"/>
                      <a:pt x="651" y="553"/>
                    </a:cubicBezTo>
                    <a:cubicBezTo>
                      <a:pt x="652" y="552"/>
                      <a:pt x="655" y="552"/>
                      <a:pt x="657" y="552"/>
                    </a:cubicBezTo>
                    <a:cubicBezTo>
                      <a:pt x="659" y="552"/>
                      <a:pt x="661" y="552"/>
                      <a:pt x="663" y="552"/>
                    </a:cubicBezTo>
                    <a:cubicBezTo>
                      <a:pt x="665" y="552"/>
                      <a:pt x="667" y="552"/>
                      <a:pt x="669" y="552"/>
                    </a:cubicBezTo>
                    <a:cubicBezTo>
                      <a:pt x="668" y="551"/>
                      <a:pt x="668" y="550"/>
                      <a:pt x="668" y="549"/>
                    </a:cubicBezTo>
                    <a:cubicBezTo>
                      <a:pt x="668" y="547"/>
                      <a:pt x="668" y="546"/>
                      <a:pt x="668" y="545"/>
                    </a:cubicBezTo>
                    <a:cubicBezTo>
                      <a:pt x="667" y="545"/>
                      <a:pt x="666" y="545"/>
                      <a:pt x="664" y="545"/>
                    </a:cubicBezTo>
                    <a:cubicBezTo>
                      <a:pt x="663" y="545"/>
                      <a:pt x="660" y="547"/>
                      <a:pt x="660" y="545"/>
                    </a:cubicBezTo>
                    <a:cubicBezTo>
                      <a:pt x="659" y="544"/>
                      <a:pt x="661" y="542"/>
                      <a:pt x="662" y="541"/>
                    </a:cubicBezTo>
                    <a:cubicBezTo>
                      <a:pt x="663" y="539"/>
                      <a:pt x="664" y="537"/>
                      <a:pt x="666" y="536"/>
                    </a:cubicBezTo>
                    <a:cubicBezTo>
                      <a:pt x="668" y="535"/>
                      <a:pt x="671" y="535"/>
                      <a:pt x="673" y="535"/>
                    </a:cubicBezTo>
                    <a:cubicBezTo>
                      <a:pt x="676" y="535"/>
                      <a:pt x="679" y="534"/>
                      <a:pt x="681" y="533"/>
                    </a:cubicBezTo>
                    <a:cubicBezTo>
                      <a:pt x="684" y="532"/>
                      <a:pt x="686" y="531"/>
                      <a:pt x="689" y="531"/>
                    </a:cubicBezTo>
                    <a:cubicBezTo>
                      <a:pt x="690" y="530"/>
                      <a:pt x="691" y="530"/>
                      <a:pt x="693" y="530"/>
                    </a:cubicBezTo>
                    <a:cubicBezTo>
                      <a:pt x="696" y="529"/>
                      <a:pt x="699" y="530"/>
                      <a:pt x="702" y="529"/>
                    </a:cubicBezTo>
                    <a:cubicBezTo>
                      <a:pt x="703" y="529"/>
                      <a:pt x="706" y="529"/>
                      <a:pt x="707" y="528"/>
                    </a:cubicBezTo>
                    <a:cubicBezTo>
                      <a:pt x="709" y="527"/>
                      <a:pt x="710" y="523"/>
                      <a:pt x="711" y="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6" name="Freeform 2657"/>
              <p:cNvSpPr>
                <a:spLocks noChangeAspect="1"/>
              </p:cNvSpPr>
              <p:nvPr/>
            </p:nvSpPr>
            <p:spPr bwMode="auto">
              <a:xfrm>
                <a:off x="2664199" y="2546486"/>
                <a:ext cx="350016" cy="201392"/>
              </a:xfrm>
              <a:custGeom>
                <a:avLst/>
                <a:gdLst>
                  <a:gd name="T0" fmla="*/ 130 w 178"/>
                  <a:gd name="T1" fmla="*/ 90 h 103"/>
                  <a:gd name="T2" fmla="*/ 137 w 178"/>
                  <a:gd name="T3" fmla="*/ 84 h 103"/>
                  <a:gd name="T4" fmla="*/ 143 w 178"/>
                  <a:gd name="T5" fmla="*/ 83 h 103"/>
                  <a:gd name="T6" fmla="*/ 147 w 178"/>
                  <a:gd name="T7" fmla="*/ 88 h 103"/>
                  <a:gd name="T8" fmla="*/ 165 w 178"/>
                  <a:gd name="T9" fmla="*/ 77 h 103"/>
                  <a:gd name="T10" fmla="*/ 160 w 178"/>
                  <a:gd name="T11" fmla="*/ 84 h 103"/>
                  <a:gd name="T12" fmla="*/ 179 w 178"/>
                  <a:gd name="T13" fmla="*/ 87 h 103"/>
                  <a:gd name="T14" fmla="*/ 165 w 178"/>
                  <a:gd name="T15" fmla="*/ 93 h 103"/>
                  <a:gd name="T16" fmla="*/ 150 w 178"/>
                  <a:gd name="T17" fmla="*/ 91 h 103"/>
                  <a:gd name="T18" fmla="*/ 136 w 178"/>
                  <a:gd name="T19" fmla="*/ 110 h 103"/>
                  <a:gd name="T20" fmla="*/ 142 w 178"/>
                  <a:gd name="T21" fmla="*/ 123 h 103"/>
                  <a:gd name="T22" fmla="*/ 157 w 178"/>
                  <a:gd name="T23" fmla="*/ 110 h 103"/>
                  <a:gd name="T24" fmla="*/ 170 w 178"/>
                  <a:gd name="T25" fmla="*/ 102 h 103"/>
                  <a:gd name="T26" fmla="*/ 200 w 178"/>
                  <a:gd name="T27" fmla="*/ 91 h 103"/>
                  <a:gd name="T28" fmla="*/ 208 w 178"/>
                  <a:gd name="T29" fmla="*/ 81 h 103"/>
                  <a:gd name="T30" fmla="*/ 201 w 178"/>
                  <a:gd name="T31" fmla="*/ 75 h 103"/>
                  <a:gd name="T32" fmla="*/ 189 w 178"/>
                  <a:gd name="T33" fmla="*/ 76 h 103"/>
                  <a:gd name="T34" fmla="*/ 171 w 178"/>
                  <a:gd name="T35" fmla="*/ 71 h 103"/>
                  <a:gd name="T36" fmla="*/ 171 w 178"/>
                  <a:gd name="T37" fmla="*/ 67 h 103"/>
                  <a:gd name="T38" fmla="*/ 159 w 178"/>
                  <a:gd name="T39" fmla="*/ 59 h 103"/>
                  <a:gd name="T40" fmla="*/ 157 w 178"/>
                  <a:gd name="T41" fmla="*/ 49 h 103"/>
                  <a:gd name="T42" fmla="*/ 160 w 178"/>
                  <a:gd name="T43" fmla="*/ 43 h 103"/>
                  <a:gd name="T44" fmla="*/ 160 w 178"/>
                  <a:gd name="T45" fmla="*/ 34 h 103"/>
                  <a:gd name="T46" fmla="*/ 148 w 178"/>
                  <a:gd name="T47" fmla="*/ 35 h 103"/>
                  <a:gd name="T48" fmla="*/ 133 w 178"/>
                  <a:gd name="T49" fmla="*/ 28 h 103"/>
                  <a:gd name="T50" fmla="*/ 157 w 178"/>
                  <a:gd name="T51" fmla="*/ 26 h 103"/>
                  <a:gd name="T52" fmla="*/ 172 w 178"/>
                  <a:gd name="T53" fmla="*/ 12 h 103"/>
                  <a:gd name="T54" fmla="*/ 160 w 178"/>
                  <a:gd name="T55" fmla="*/ 1 h 103"/>
                  <a:gd name="T56" fmla="*/ 133 w 178"/>
                  <a:gd name="T57" fmla="*/ 10 h 103"/>
                  <a:gd name="T58" fmla="*/ 112 w 178"/>
                  <a:gd name="T59" fmla="*/ 19 h 103"/>
                  <a:gd name="T60" fmla="*/ 90 w 178"/>
                  <a:gd name="T61" fmla="*/ 39 h 103"/>
                  <a:gd name="T62" fmla="*/ 75 w 178"/>
                  <a:gd name="T63" fmla="*/ 53 h 103"/>
                  <a:gd name="T64" fmla="*/ 57 w 178"/>
                  <a:gd name="T65" fmla="*/ 60 h 103"/>
                  <a:gd name="T66" fmla="*/ 40 w 178"/>
                  <a:gd name="T67" fmla="*/ 71 h 103"/>
                  <a:gd name="T68" fmla="*/ 23 w 178"/>
                  <a:gd name="T69" fmla="*/ 87 h 103"/>
                  <a:gd name="T70" fmla="*/ 7 w 178"/>
                  <a:gd name="T71" fmla="*/ 93 h 103"/>
                  <a:gd name="T72" fmla="*/ 7 w 178"/>
                  <a:gd name="T73" fmla="*/ 93 h 103"/>
                  <a:gd name="T74" fmla="*/ 60 w 178"/>
                  <a:gd name="T75" fmla="*/ 93 h 103"/>
                  <a:gd name="T76" fmla="*/ 65 w 178"/>
                  <a:gd name="T77" fmla="*/ 85 h 103"/>
                  <a:gd name="T78" fmla="*/ 75 w 178"/>
                  <a:gd name="T79" fmla="*/ 79 h 103"/>
                  <a:gd name="T80" fmla="*/ 81 w 178"/>
                  <a:gd name="T81" fmla="*/ 69 h 103"/>
                  <a:gd name="T82" fmla="*/ 87 w 178"/>
                  <a:gd name="T83" fmla="*/ 58 h 103"/>
                  <a:gd name="T84" fmla="*/ 101 w 178"/>
                  <a:gd name="T85" fmla="*/ 41 h 103"/>
                  <a:gd name="T86" fmla="*/ 111 w 178"/>
                  <a:gd name="T87" fmla="*/ 43 h 103"/>
                  <a:gd name="T88" fmla="*/ 120 w 178"/>
                  <a:gd name="T89" fmla="*/ 47 h 103"/>
                  <a:gd name="T90" fmla="*/ 120 w 178"/>
                  <a:gd name="T91" fmla="*/ 73 h 10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8"/>
                  <a:gd name="T139" fmla="*/ 0 h 103"/>
                  <a:gd name="T140" fmla="*/ 178 w 178"/>
                  <a:gd name="T141" fmla="*/ 103 h 10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8" h="103">
                    <a:moveTo>
                      <a:pt x="100" y="75"/>
                    </a:moveTo>
                    <a:cubicBezTo>
                      <a:pt x="103" y="75"/>
                      <a:pt x="106" y="75"/>
                      <a:pt x="108" y="75"/>
                    </a:cubicBezTo>
                    <a:cubicBezTo>
                      <a:pt x="110" y="75"/>
                      <a:pt x="113" y="76"/>
                      <a:pt x="114" y="75"/>
                    </a:cubicBezTo>
                    <a:cubicBezTo>
                      <a:pt x="115" y="74"/>
                      <a:pt x="113" y="71"/>
                      <a:pt x="114" y="70"/>
                    </a:cubicBezTo>
                    <a:cubicBezTo>
                      <a:pt x="114" y="68"/>
                      <a:pt x="115" y="64"/>
                      <a:pt x="118" y="64"/>
                    </a:cubicBezTo>
                    <a:cubicBezTo>
                      <a:pt x="119" y="64"/>
                      <a:pt x="118" y="67"/>
                      <a:pt x="119" y="69"/>
                    </a:cubicBezTo>
                    <a:cubicBezTo>
                      <a:pt x="119" y="70"/>
                      <a:pt x="118" y="72"/>
                      <a:pt x="119" y="73"/>
                    </a:cubicBezTo>
                    <a:cubicBezTo>
                      <a:pt x="119" y="74"/>
                      <a:pt x="121" y="74"/>
                      <a:pt x="122" y="73"/>
                    </a:cubicBezTo>
                    <a:cubicBezTo>
                      <a:pt x="126" y="72"/>
                      <a:pt x="128" y="69"/>
                      <a:pt x="131" y="67"/>
                    </a:cubicBezTo>
                    <a:cubicBezTo>
                      <a:pt x="133" y="66"/>
                      <a:pt x="135" y="63"/>
                      <a:pt x="137" y="64"/>
                    </a:cubicBezTo>
                    <a:cubicBezTo>
                      <a:pt x="139" y="65"/>
                      <a:pt x="135" y="66"/>
                      <a:pt x="134" y="68"/>
                    </a:cubicBezTo>
                    <a:cubicBezTo>
                      <a:pt x="133" y="69"/>
                      <a:pt x="132" y="70"/>
                      <a:pt x="133" y="70"/>
                    </a:cubicBezTo>
                    <a:cubicBezTo>
                      <a:pt x="135" y="71"/>
                      <a:pt x="137" y="70"/>
                      <a:pt x="139" y="70"/>
                    </a:cubicBezTo>
                    <a:cubicBezTo>
                      <a:pt x="143" y="71"/>
                      <a:pt x="149" y="69"/>
                      <a:pt x="149" y="72"/>
                    </a:cubicBezTo>
                    <a:cubicBezTo>
                      <a:pt x="149" y="75"/>
                      <a:pt x="142" y="72"/>
                      <a:pt x="139" y="74"/>
                    </a:cubicBezTo>
                    <a:cubicBezTo>
                      <a:pt x="138" y="74"/>
                      <a:pt x="138" y="76"/>
                      <a:pt x="137" y="77"/>
                    </a:cubicBezTo>
                    <a:cubicBezTo>
                      <a:pt x="136" y="77"/>
                      <a:pt x="136" y="74"/>
                      <a:pt x="135" y="74"/>
                    </a:cubicBezTo>
                    <a:cubicBezTo>
                      <a:pt x="132" y="74"/>
                      <a:pt x="128" y="75"/>
                      <a:pt x="125" y="76"/>
                    </a:cubicBezTo>
                    <a:cubicBezTo>
                      <a:pt x="122" y="78"/>
                      <a:pt x="118" y="80"/>
                      <a:pt x="116" y="83"/>
                    </a:cubicBezTo>
                    <a:cubicBezTo>
                      <a:pt x="114" y="85"/>
                      <a:pt x="113" y="88"/>
                      <a:pt x="113" y="91"/>
                    </a:cubicBezTo>
                    <a:cubicBezTo>
                      <a:pt x="112" y="93"/>
                      <a:pt x="113" y="95"/>
                      <a:pt x="114" y="96"/>
                    </a:cubicBezTo>
                    <a:cubicBezTo>
                      <a:pt x="115" y="98"/>
                      <a:pt x="116" y="102"/>
                      <a:pt x="118" y="102"/>
                    </a:cubicBezTo>
                    <a:cubicBezTo>
                      <a:pt x="120" y="103"/>
                      <a:pt x="123" y="100"/>
                      <a:pt x="125" y="98"/>
                    </a:cubicBezTo>
                    <a:cubicBezTo>
                      <a:pt x="127" y="96"/>
                      <a:pt x="129" y="94"/>
                      <a:pt x="131" y="91"/>
                    </a:cubicBezTo>
                    <a:cubicBezTo>
                      <a:pt x="133" y="89"/>
                      <a:pt x="133" y="85"/>
                      <a:pt x="136" y="83"/>
                    </a:cubicBezTo>
                    <a:cubicBezTo>
                      <a:pt x="137" y="82"/>
                      <a:pt x="139" y="85"/>
                      <a:pt x="141" y="85"/>
                    </a:cubicBezTo>
                    <a:cubicBezTo>
                      <a:pt x="144" y="85"/>
                      <a:pt x="146" y="85"/>
                      <a:pt x="148" y="84"/>
                    </a:cubicBezTo>
                    <a:cubicBezTo>
                      <a:pt x="154" y="82"/>
                      <a:pt x="160" y="78"/>
                      <a:pt x="166" y="76"/>
                    </a:cubicBezTo>
                    <a:cubicBezTo>
                      <a:pt x="170" y="75"/>
                      <a:pt x="174" y="76"/>
                      <a:pt x="176" y="73"/>
                    </a:cubicBezTo>
                    <a:cubicBezTo>
                      <a:pt x="178" y="71"/>
                      <a:pt x="175" y="68"/>
                      <a:pt x="173" y="67"/>
                    </a:cubicBezTo>
                    <a:cubicBezTo>
                      <a:pt x="171" y="66"/>
                      <a:pt x="168" y="67"/>
                      <a:pt x="167" y="66"/>
                    </a:cubicBezTo>
                    <a:cubicBezTo>
                      <a:pt x="166" y="65"/>
                      <a:pt x="168" y="62"/>
                      <a:pt x="167" y="62"/>
                    </a:cubicBezTo>
                    <a:cubicBezTo>
                      <a:pt x="163" y="62"/>
                      <a:pt x="161" y="66"/>
                      <a:pt x="157" y="67"/>
                    </a:cubicBezTo>
                    <a:cubicBezTo>
                      <a:pt x="156" y="67"/>
                      <a:pt x="158" y="64"/>
                      <a:pt x="157" y="63"/>
                    </a:cubicBezTo>
                    <a:cubicBezTo>
                      <a:pt x="154" y="62"/>
                      <a:pt x="150" y="63"/>
                      <a:pt x="146" y="62"/>
                    </a:cubicBezTo>
                    <a:cubicBezTo>
                      <a:pt x="144" y="61"/>
                      <a:pt x="143" y="60"/>
                      <a:pt x="142" y="59"/>
                    </a:cubicBezTo>
                    <a:cubicBezTo>
                      <a:pt x="141" y="58"/>
                      <a:pt x="144" y="58"/>
                      <a:pt x="144" y="57"/>
                    </a:cubicBezTo>
                    <a:cubicBezTo>
                      <a:pt x="144" y="56"/>
                      <a:pt x="143" y="56"/>
                      <a:pt x="142" y="56"/>
                    </a:cubicBezTo>
                    <a:cubicBezTo>
                      <a:pt x="140" y="55"/>
                      <a:pt x="138" y="56"/>
                      <a:pt x="136" y="55"/>
                    </a:cubicBezTo>
                    <a:cubicBezTo>
                      <a:pt x="134" y="53"/>
                      <a:pt x="133" y="51"/>
                      <a:pt x="132" y="49"/>
                    </a:cubicBezTo>
                    <a:cubicBezTo>
                      <a:pt x="132" y="46"/>
                      <a:pt x="135" y="44"/>
                      <a:pt x="134" y="41"/>
                    </a:cubicBezTo>
                    <a:cubicBezTo>
                      <a:pt x="134" y="40"/>
                      <a:pt x="132" y="41"/>
                      <a:pt x="131" y="41"/>
                    </a:cubicBezTo>
                    <a:cubicBezTo>
                      <a:pt x="129" y="41"/>
                      <a:pt x="126" y="42"/>
                      <a:pt x="127" y="41"/>
                    </a:cubicBezTo>
                    <a:cubicBezTo>
                      <a:pt x="128" y="38"/>
                      <a:pt x="132" y="38"/>
                      <a:pt x="133" y="36"/>
                    </a:cubicBezTo>
                    <a:cubicBezTo>
                      <a:pt x="135" y="34"/>
                      <a:pt x="137" y="31"/>
                      <a:pt x="137" y="28"/>
                    </a:cubicBezTo>
                    <a:cubicBezTo>
                      <a:pt x="137" y="27"/>
                      <a:pt x="134" y="28"/>
                      <a:pt x="133" y="28"/>
                    </a:cubicBezTo>
                    <a:cubicBezTo>
                      <a:pt x="131" y="28"/>
                      <a:pt x="129" y="29"/>
                      <a:pt x="127" y="30"/>
                    </a:cubicBezTo>
                    <a:cubicBezTo>
                      <a:pt x="125" y="30"/>
                      <a:pt x="124" y="30"/>
                      <a:pt x="123" y="29"/>
                    </a:cubicBezTo>
                    <a:cubicBezTo>
                      <a:pt x="123" y="28"/>
                      <a:pt x="124" y="27"/>
                      <a:pt x="123" y="26"/>
                    </a:cubicBezTo>
                    <a:cubicBezTo>
                      <a:pt x="120" y="24"/>
                      <a:pt x="111" y="27"/>
                      <a:pt x="111" y="23"/>
                    </a:cubicBezTo>
                    <a:cubicBezTo>
                      <a:pt x="111" y="19"/>
                      <a:pt x="119" y="20"/>
                      <a:pt x="123" y="20"/>
                    </a:cubicBezTo>
                    <a:cubicBezTo>
                      <a:pt x="126" y="20"/>
                      <a:pt x="128" y="23"/>
                      <a:pt x="131" y="22"/>
                    </a:cubicBezTo>
                    <a:cubicBezTo>
                      <a:pt x="136" y="20"/>
                      <a:pt x="141" y="17"/>
                      <a:pt x="145" y="13"/>
                    </a:cubicBezTo>
                    <a:cubicBezTo>
                      <a:pt x="146" y="12"/>
                      <a:pt x="143" y="11"/>
                      <a:pt x="143" y="10"/>
                    </a:cubicBezTo>
                    <a:cubicBezTo>
                      <a:pt x="143" y="9"/>
                      <a:pt x="147" y="8"/>
                      <a:pt x="146" y="7"/>
                    </a:cubicBezTo>
                    <a:cubicBezTo>
                      <a:pt x="143" y="4"/>
                      <a:pt x="138" y="2"/>
                      <a:pt x="133" y="1"/>
                    </a:cubicBezTo>
                    <a:cubicBezTo>
                      <a:pt x="130" y="0"/>
                      <a:pt x="127" y="0"/>
                      <a:pt x="124" y="1"/>
                    </a:cubicBezTo>
                    <a:cubicBezTo>
                      <a:pt x="119" y="3"/>
                      <a:pt x="116" y="6"/>
                      <a:pt x="111" y="8"/>
                    </a:cubicBezTo>
                    <a:cubicBezTo>
                      <a:pt x="109" y="9"/>
                      <a:pt x="107" y="7"/>
                      <a:pt x="105" y="8"/>
                    </a:cubicBezTo>
                    <a:cubicBezTo>
                      <a:pt x="101" y="10"/>
                      <a:pt x="97" y="13"/>
                      <a:pt x="93" y="16"/>
                    </a:cubicBezTo>
                    <a:cubicBezTo>
                      <a:pt x="90" y="18"/>
                      <a:pt x="87" y="20"/>
                      <a:pt x="84" y="22"/>
                    </a:cubicBezTo>
                    <a:cubicBezTo>
                      <a:pt x="81" y="25"/>
                      <a:pt x="78" y="29"/>
                      <a:pt x="75" y="32"/>
                    </a:cubicBezTo>
                    <a:cubicBezTo>
                      <a:pt x="73" y="35"/>
                      <a:pt x="71" y="37"/>
                      <a:pt x="69" y="39"/>
                    </a:cubicBezTo>
                    <a:cubicBezTo>
                      <a:pt x="67" y="41"/>
                      <a:pt x="65" y="43"/>
                      <a:pt x="62" y="44"/>
                    </a:cubicBezTo>
                    <a:cubicBezTo>
                      <a:pt x="60" y="45"/>
                      <a:pt x="57" y="46"/>
                      <a:pt x="54" y="47"/>
                    </a:cubicBezTo>
                    <a:cubicBezTo>
                      <a:pt x="51" y="48"/>
                      <a:pt x="49" y="49"/>
                      <a:pt x="47" y="50"/>
                    </a:cubicBezTo>
                    <a:cubicBezTo>
                      <a:pt x="44" y="52"/>
                      <a:pt x="42" y="55"/>
                      <a:pt x="39" y="57"/>
                    </a:cubicBezTo>
                    <a:cubicBezTo>
                      <a:pt x="37" y="58"/>
                      <a:pt x="35" y="57"/>
                      <a:pt x="33" y="59"/>
                    </a:cubicBezTo>
                    <a:cubicBezTo>
                      <a:pt x="31" y="61"/>
                      <a:pt x="29" y="64"/>
                      <a:pt x="27" y="66"/>
                    </a:cubicBezTo>
                    <a:cubicBezTo>
                      <a:pt x="25" y="68"/>
                      <a:pt x="22" y="71"/>
                      <a:pt x="19" y="72"/>
                    </a:cubicBezTo>
                    <a:cubicBezTo>
                      <a:pt x="17" y="74"/>
                      <a:pt x="14" y="74"/>
                      <a:pt x="12" y="75"/>
                    </a:cubicBezTo>
                    <a:cubicBezTo>
                      <a:pt x="10" y="76"/>
                      <a:pt x="8" y="76"/>
                      <a:pt x="6" y="77"/>
                    </a:cubicBezTo>
                    <a:cubicBezTo>
                      <a:pt x="4" y="78"/>
                      <a:pt x="2" y="81"/>
                      <a:pt x="0" y="83"/>
                    </a:cubicBezTo>
                    <a:cubicBezTo>
                      <a:pt x="3" y="81"/>
                      <a:pt x="4" y="79"/>
                      <a:pt x="6" y="77"/>
                    </a:cubicBezTo>
                    <a:cubicBezTo>
                      <a:pt x="12" y="77"/>
                      <a:pt x="19" y="77"/>
                      <a:pt x="25" y="77"/>
                    </a:cubicBezTo>
                    <a:cubicBezTo>
                      <a:pt x="33" y="77"/>
                      <a:pt x="42" y="77"/>
                      <a:pt x="50" y="77"/>
                    </a:cubicBezTo>
                    <a:cubicBezTo>
                      <a:pt x="50" y="76"/>
                      <a:pt x="49" y="74"/>
                      <a:pt x="50" y="73"/>
                    </a:cubicBezTo>
                    <a:cubicBezTo>
                      <a:pt x="51" y="72"/>
                      <a:pt x="52" y="71"/>
                      <a:pt x="54" y="71"/>
                    </a:cubicBezTo>
                    <a:cubicBezTo>
                      <a:pt x="56" y="70"/>
                      <a:pt x="59" y="72"/>
                      <a:pt x="60" y="71"/>
                    </a:cubicBezTo>
                    <a:cubicBezTo>
                      <a:pt x="62" y="70"/>
                      <a:pt x="61" y="68"/>
                      <a:pt x="62" y="66"/>
                    </a:cubicBezTo>
                    <a:cubicBezTo>
                      <a:pt x="63" y="65"/>
                      <a:pt x="65" y="65"/>
                      <a:pt x="66" y="63"/>
                    </a:cubicBezTo>
                    <a:cubicBezTo>
                      <a:pt x="67" y="61"/>
                      <a:pt x="66" y="59"/>
                      <a:pt x="67" y="57"/>
                    </a:cubicBezTo>
                    <a:cubicBezTo>
                      <a:pt x="68" y="55"/>
                      <a:pt x="71" y="53"/>
                      <a:pt x="73" y="51"/>
                    </a:cubicBezTo>
                    <a:cubicBezTo>
                      <a:pt x="73" y="50"/>
                      <a:pt x="71" y="49"/>
                      <a:pt x="72" y="48"/>
                    </a:cubicBezTo>
                    <a:cubicBezTo>
                      <a:pt x="73" y="45"/>
                      <a:pt x="76" y="42"/>
                      <a:pt x="78" y="39"/>
                    </a:cubicBezTo>
                    <a:cubicBezTo>
                      <a:pt x="79" y="37"/>
                      <a:pt x="81" y="34"/>
                      <a:pt x="84" y="34"/>
                    </a:cubicBezTo>
                    <a:cubicBezTo>
                      <a:pt x="86" y="34"/>
                      <a:pt x="85" y="39"/>
                      <a:pt x="87" y="39"/>
                    </a:cubicBezTo>
                    <a:cubicBezTo>
                      <a:pt x="89" y="40"/>
                      <a:pt x="90" y="36"/>
                      <a:pt x="92" y="36"/>
                    </a:cubicBezTo>
                    <a:cubicBezTo>
                      <a:pt x="94" y="36"/>
                      <a:pt x="96" y="37"/>
                      <a:pt x="98" y="38"/>
                    </a:cubicBezTo>
                    <a:cubicBezTo>
                      <a:pt x="98" y="38"/>
                      <a:pt x="99" y="39"/>
                      <a:pt x="100" y="39"/>
                    </a:cubicBezTo>
                    <a:cubicBezTo>
                      <a:pt x="99" y="46"/>
                      <a:pt x="98" y="53"/>
                      <a:pt x="98" y="61"/>
                    </a:cubicBezTo>
                    <a:cubicBezTo>
                      <a:pt x="98" y="61"/>
                      <a:pt x="99" y="61"/>
                      <a:pt x="100" y="61"/>
                    </a:cubicBezTo>
                    <a:cubicBezTo>
                      <a:pt x="100" y="65"/>
                      <a:pt x="100" y="70"/>
                      <a:pt x="100" y="7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7" name="Freeform 2658"/>
              <p:cNvSpPr>
                <a:spLocks noChangeAspect="1"/>
              </p:cNvSpPr>
              <p:nvPr/>
            </p:nvSpPr>
            <p:spPr bwMode="auto">
              <a:xfrm>
                <a:off x="696586" y="1718179"/>
                <a:ext cx="771998" cy="641532"/>
              </a:xfrm>
              <a:custGeom>
                <a:avLst/>
                <a:gdLst>
                  <a:gd name="T0" fmla="*/ 460 w 394"/>
                  <a:gd name="T1" fmla="*/ 395 h 329"/>
                  <a:gd name="T2" fmla="*/ 456 w 394"/>
                  <a:gd name="T3" fmla="*/ 369 h 329"/>
                  <a:gd name="T4" fmla="*/ 447 w 394"/>
                  <a:gd name="T5" fmla="*/ 366 h 329"/>
                  <a:gd name="T6" fmla="*/ 432 w 394"/>
                  <a:gd name="T7" fmla="*/ 343 h 329"/>
                  <a:gd name="T8" fmla="*/ 419 w 394"/>
                  <a:gd name="T9" fmla="*/ 311 h 329"/>
                  <a:gd name="T10" fmla="*/ 420 w 394"/>
                  <a:gd name="T11" fmla="*/ 324 h 329"/>
                  <a:gd name="T12" fmla="*/ 416 w 394"/>
                  <a:gd name="T13" fmla="*/ 347 h 329"/>
                  <a:gd name="T14" fmla="*/ 404 w 394"/>
                  <a:gd name="T15" fmla="*/ 309 h 329"/>
                  <a:gd name="T16" fmla="*/ 393 w 394"/>
                  <a:gd name="T17" fmla="*/ 322 h 329"/>
                  <a:gd name="T18" fmla="*/ 357 w 394"/>
                  <a:gd name="T19" fmla="*/ 298 h 329"/>
                  <a:gd name="T20" fmla="*/ 340 w 394"/>
                  <a:gd name="T21" fmla="*/ 285 h 329"/>
                  <a:gd name="T22" fmla="*/ 295 w 394"/>
                  <a:gd name="T23" fmla="*/ 270 h 329"/>
                  <a:gd name="T24" fmla="*/ 274 w 394"/>
                  <a:gd name="T25" fmla="*/ 257 h 329"/>
                  <a:gd name="T26" fmla="*/ 248 w 394"/>
                  <a:gd name="T27" fmla="*/ 256 h 329"/>
                  <a:gd name="T28" fmla="*/ 230 w 394"/>
                  <a:gd name="T29" fmla="*/ 280 h 329"/>
                  <a:gd name="T30" fmla="*/ 188 w 394"/>
                  <a:gd name="T31" fmla="*/ 297 h 329"/>
                  <a:gd name="T32" fmla="*/ 200 w 394"/>
                  <a:gd name="T33" fmla="*/ 271 h 329"/>
                  <a:gd name="T34" fmla="*/ 241 w 394"/>
                  <a:gd name="T35" fmla="*/ 253 h 329"/>
                  <a:gd name="T36" fmla="*/ 219 w 394"/>
                  <a:gd name="T37" fmla="*/ 246 h 329"/>
                  <a:gd name="T38" fmla="*/ 184 w 394"/>
                  <a:gd name="T39" fmla="*/ 281 h 329"/>
                  <a:gd name="T40" fmla="*/ 164 w 394"/>
                  <a:gd name="T41" fmla="*/ 307 h 329"/>
                  <a:gd name="T42" fmla="*/ 129 w 394"/>
                  <a:gd name="T43" fmla="*/ 334 h 329"/>
                  <a:gd name="T44" fmla="*/ 85 w 394"/>
                  <a:gd name="T45" fmla="*/ 357 h 329"/>
                  <a:gd name="T46" fmla="*/ 58 w 394"/>
                  <a:gd name="T47" fmla="*/ 373 h 329"/>
                  <a:gd name="T48" fmla="*/ 16 w 394"/>
                  <a:gd name="T49" fmla="*/ 389 h 329"/>
                  <a:gd name="T50" fmla="*/ 28 w 394"/>
                  <a:gd name="T51" fmla="*/ 371 h 329"/>
                  <a:gd name="T52" fmla="*/ 85 w 394"/>
                  <a:gd name="T53" fmla="*/ 342 h 329"/>
                  <a:gd name="T54" fmla="*/ 115 w 394"/>
                  <a:gd name="T55" fmla="*/ 304 h 329"/>
                  <a:gd name="T56" fmla="*/ 85 w 394"/>
                  <a:gd name="T57" fmla="*/ 319 h 329"/>
                  <a:gd name="T58" fmla="*/ 69 w 394"/>
                  <a:gd name="T59" fmla="*/ 303 h 329"/>
                  <a:gd name="T60" fmla="*/ 47 w 394"/>
                  <a:gd name="T61" fmla="*/ 305 h 329"/>
                  <a:gd name="T62" fmla="*/ 52 w 394"/>
                  <a:gd name="T63" fmla="*/ 275 h 329"/>
                  <a:gd name="T64" fmla="*/ 29 w 394"/>
                  <a:gd name="T65" fmla="*/ 285 h 329"/>
                  <a:gd name="T66" fmla="*/ 30 w 394"/>
                  <a:gd name="T67" fmla="*/ 259 h 329"/>
                  <a:gd name="T68" fmla="*/ 17 w 394"/>
                  <a:gd name="T69" fmla="*/ 250 h 329"/>
                  <a:gd name="T70" fmla="*/ 42 w 394"/>
                  <a:gd name="T71" fmla="*/ 211 h 329"/>
                  <a:gd name="T72" fmla="*/ 91 w 394"/>
                  <a:gd name="T73" fmla="*/ 198 h 329"/>
                  <a:gd name="T74" fmla="*/ 105 w 394"/>
                  <a:gd name="T75" fmla="*/ 173 h 329"/>
                  <a:gd name="T76" fmla="*/ 75 w 394"/>
                  <a:gd name="T77" fmla="*/ 175 h 329"/>
                  <a:gd name="T78" fmla="*/ 41 w 394"/>
                  <a:gd name="T79" fmla="*/ 152 h 329"/>
                  <a:gd name="T80" fmla="*/ 60 w 394"/>
                  <a:gd name="T81" fmla="*/ 133 h 329"/>
                  <a:gd name="T82" fmla="*/ 80 w 394"/>
                  <a:gd name="T83" fmla="*/ 133 h 329"/>
                  <a:gd name="T84" fmla="*/ 110 w 394"/>
                  <a:gd name="T85" fmla="*/ 116 h 329"/>
                  <a:gd name="T86" fmla="*/ 115 w 394"/>
                  <a:gd name="T87" fmla="*/ 116 h 329"/>
                  <a:gd name="T88" fmla="*/ 86 w 394"/>
                  <a:gd name="T89" fmla="*/ 95 h 329"/>
                  <a:gd name="T90" fmla="*/ 111 w 394"/>
                  <a:gd name="T91" fmla="*/ 60 h 329"/>
                  <a:gd name="T92" fmla="*/ 165 w 394"/>
                  <a:gd name="T93" fmla="*/ 24 h 329"/>
                  <a:gd name="T94" fmla="*/ 217 w 394"/>
                  <a:gd name="T95" fmla="*/ 12 h 329"/>
                  <a:gd name="T96" fmla="*/ 236 w 394"/>
                  <a:gd name="T97" fmla="*/ 17 h 329"/>
                  <a:gd name="T98" fmla="*/ 255 w 394"/>
                  <a:gd name="T99" fmla="*/ 19 h 329"/>
                  <a:gd name="T100" fmla="*/ 282 w 394"/>
                  <a:gd name="T101" fmla="*/ 20 h 329"/>
                  <a:gd name="T102" fmla="*/ 321 w 394"/>
                  <a:gd name="T103" fmla="*/ 23 h 329"/>
                  <a:gd name="T104" fmla="*/ 374 w 394"/>
                  <a:gd name="T105" fmla="*/ 38 h 329"/>
                  <a:gd name="T106" fmla="*/ 423 w 394"/>
                  <a:gd name="T107" fmla="*/ 46 h 329"/>
                  <a:gd name="T108" fmla="*/ 367 w 394"/>
                  <a:gd name="T109" fmla="*/ 269 h 329"/>
                  <a:gd name="T110" fmla="*/ 388 w 394"/>
                  <a:gd name="T111" fmla="*/ 304 h 329"/>
                  <a:gd name="T112" fmla="*/ 409 w 394"/>
                  <a:gd name="T113" fmla="*/ 289 h 329"/>
                  <a:gd name="T114" fmla="*/ 431 w 394"/>
                  <a:gd name="T115" fmla="*/ 304 h 329"/>
                  <a:gd name="T116" fmla="*/ 453 w 394"/>
                  <a:gd name="T117" fmla="*/ 355 h 3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94"/>
                  <a:gd name="T178" fmla="*/ 0 h 329"/>
                  <a:gd name="T179" fmla="*/ 394 w 394"/>
                  <a:gd name="T180" fmla="*/ 329 h 3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94" h="329">
                    <a:moveTo>
                      <a:pt x="394" y="307"/>
                    </a:moveTo>
                    <a:cubicBezTo>
                      <a:pt x="393" y="309"/>
                      <a:pt x="391" y="310"/>
                      <a:pt x="391" y="312"/>
                    </a:cubicBezTo>
                    <a:cubicBezTo>
                      <a:pt x="389" y="316"/>
                      <a:pt x="389" y="319"/>
                      <a:pt x="388" y="323"/>
                    </a:cubicBezTo>
                    <a:cubicBezTo>
                      <a:pt x="387" y="325"/>
                      <a:pt x="386" y="328"/>
                      <a:pt x="384" y="329"/>
                    </a:cubicBezTo>
                    <a:cubicBezTo>
                      <a:pt x="382" y="329"/>
                      <a:pt x="380" y="328"/>
                      <a:pt x="380" y="327"/>
                    </a:cubicBezTo>
                    <a:cubicBezTo>
                      <a:pt x="379" y="324"/>
                      <a:pt x="381" y="322"/>
                      <a:pt x="381" y="320"/>
                    </a:cubicBezTo>
                    <a:cubicBezTo>
                      <a:pt x="381" y="317"/>
                      <a:pt x="382" y="314"/>
                      <a:pt x="382" y="311"/>
                    </a:cubicBezTo>
                    <a:cubicBezTo>
                      <a:pt x="382" y="309"/>
                      <a:pt x="383" y="307"/>
                      <a:pt x="381" y="307"/>
                    </a:cubicBezTo>
                    <a:cubicBezTo>
                      <a:pt x="378" y="306"/>
                      <a:pt x="375" y="307"/>
                      <a:pt x="373" y="309"/>
                    </a:cubicBezTo>
                    <a:cubicBezTo>
                      <a:pt x="371" y="310"/>
                      <a:pt x="372" y="314"/>
                      <a:pt x="370" y="315"/>
                    </a:cubicBezTo>
                    <a:cubicBezTo>
                      <a:pt x="369" y="316"/>
                      <a:pt x="368" y="313"/>
                      <a:pt x="368" y="312"/>
                    </a:cubicBezTo>
                    <a:cubicBezTo>
                      <a:pt x="369" y="309"/>
                      <a:pt x="372" y="308"/>
                      <a:pt x="373" y="305"/>
                    </a:cubicBezTo>
                    <a:cubicBezTo>
                      <a:pt x="373" y="303"/>
                      <a:pt x="370" y="302"/>
                      <a:pt x="369" y="300"/>
                    </a:cubicBezTo>
                    <a:cubicBezTo>
                      <a:pt x="369" y="299"/>
                      <a:pt x="370" y="297"/>
                      <a:pt x="369" y="295"/>
                    </a:cubicBezTo>
                    <a:cubicBezTo>
                      <a:pt x="368" y="292"/>
                      <a:pt x="366" y="291"/>
                      <a:pt x="364" y="289"/>
                    </a:cubicBezTo>
                    <a:cubicBezTo>
                      <a:pt x="363" y="288"/>
                      <a:pt x="361" y="288"/>
                      <a:pt x="361" y="286"/>
                    </a:cubicBezTo>
                    <a:cubicBezTo>
                      <a:pt x="360" y="284"/>
                      <a:pt x="361" y="281"/>
                      <a:pt x="361" y="278"/>
                    </a:cubicBezTo>
                    <a:cubicBezTo>
                      <a:pt x="360" y="276"/>
                      <a:pt x="360" y="274"/>
                      <a:pt x="359" y="273"/>
                    </a:cubicBezTo>
                    <a:cubicBezTo>
                      <a:pt x="358" y="271"/>
                      <a:pt x="355" y="271"/>
                      <a:pt x="354" y="269"/>
                    </a:cubicBezTo>
                    <a:cubicBezTo>
                      <a:pt x="352" y="266"/>
                      <a:pt x="351" y="262"/>
                      <a:pt x="350" y="259"/>
                    </a:cubicBezTo>
                    <a:cubicBezTo>
                      <a:pt x="349" y="257"/>
                      <a:pt x="351" y="254"/>
                      <a:pt x="350" y="252"/>
                    </a:cubicBezTo>
                    <a:cubicBezTo>
                      <a:pt x="350" y="251"/>
                      <a:pt x="347" y="251"/>
                      <a:pt x="347" y="252"/>
                    </a:cubicBezTo>
                    <a:cubicBezTo>
                      <a:pt x="346" y="256"/>
                      <a:pt x="346" y="260"/>
                      <a:pt x="347" y="264"/>
                    </a:cubicBezTo>
                    <a:cubicBezTo>
                      <a:pt x="348" y="266"/>
                      <a:pt x="349" y="268"/>
                      <a:pt x="351" y="270"/>
                    </a:cubicBezTo>
                    <a:cubicBezTo>
                      <a:pt x="352" y="272"/>
                      <a:pt x="355" y="272"/>
                      <a:pt x="356" y="274"/>
                    </a:cubicBezTo>
                    <a:cubicBezTo>
                      <a:pt x="357" y="275"/>
                      <a:pt x="358" y="277"/>
                      <a:pt x="357" y="279"/>
                    </a:cubicBezTo>
                    <a:cubicBezTo>
                      <a:pt x="356" y="281"/>
                      <a:pt x="354" y="284"/>
                      <a:pt x="352" y="286"/>
                    </a:cubicBezTo>
                    <a:cubicBezTo>
                      <a:pt x="351" y="287"/>
                      <a:pt x="349" y="288"/>
                      <a:pt x="347" y="289"/>
                    </a:cubicBezTo>
                    <a:cubicBezTo>
                      <a:pt x="346" y="289"/>
                      <a:pt x="345" y="288"/>
                      <a:pt x="345" y="288"/>
                    </a:cubicBezTo>
                    <a:cubicBezTo>
                      <a:pt x="345" y="282"/>
                      <a:pt x="349" y="276"/>
                      <a:pt x="347" y="271"/>
                    </a:cubicBezTo>
                    <a:cubicBezTo>
                      <a:pt x="347" y="268"/>
                      <a:pt x="342" y="269"/>
                      <a:pt x="340" y="267"/>
                    </a:cubicBezTo>
                    <a:cubicBezTo>
                      <a:pt x="338" y="264"/>
                      <a:pt x="339" y="260"/>
                      <a:pt x="337" y="257"/>
                    </a:cubicBezTo>
                    <a:cubicBezTo>
                      <a:pt x="336" y="256"/>
                      <a:pt x="333" y="257"/>
                      <a:pt x="332" y="257"/>
                    </a:cubicBezTo>
                    <a:cubicBezTo>
                      <a:pt x="330" y="257"/>
                      <a:pt x="326" y="256"/>
                      <a:pt x="327" y="257"/>
                    </a:cubicBezTo>
                    <a:cubicBezTo>
                      <a:pt x="328" y="260"/>
                      <a:pt x="335" y="261"/>
                      <a:pt x="335" y="264"/>
                    </a:cubicBezTo>
                    <a:cubicBezTo>
                      <a:pt x="335" y="267"/>
                      <a:pt x="331" y="268"/>
                      <a:pt x="328" y="268"/>
                    </a:cubicBezTo>
                    <a:cubicBezTo>
                      <a:pt x="325" y="268"/>
                      <a:pt x="321" y="266"/>
                      <a:pt x="318" y="264"/>
                    </a:cubicBezTo>
                    <a:cubicBezTo>
                      <a:pt x="316" y="262"/>
                      <a:pt x="316" y="259"/>
                      <a:pt x="315" y="257"/>
                    </a:cubicBezTo>
                    <a:cubicBezTo>
                      <a:pt x="313" y="255"/>
                      <a:pt x="311" y="254"/>
                      <a:pt x="309" y="253"/>
                    </a:cubicBezTo>
                    <a:cubicBezTo>
                      <a:pt x="306" y="251"/>
                      <a:pt x="300" y="252"/>
                      <a:pt x="298" y="248"/>
                    </a:cubicBezTo>
                    <a:cubicBezTo>
                      <a:pt x="297" y="245"/>
                      <a:pt x="302" y="242"/>
                      <a:pt x="303" y="239"/>
                    </a:cubicBezTo>
                    <a:cubicBezTo>
                      <a:pt x="304" y="237"/>
                      <a:pt x="305" y="233"/>
                      <a:pt x="303" y="233"/>
                    </a:cubicBezTo>
                    <a:cubicBezTo>
                      <a:pt x="299" y="234"/>
                      <a:pt x="298" y="240"/>
                      <a:pt x="293" y="241"/>
                    </a:cubicBezTo>
                    <a:cubicBezTo>
                      <a:pt x="290" y="242"/>
                      <a:pt x="287" y="239"/>
                      <a:pt x="284" y="237"/>
                    </a:cubicBezTo>
                    <a:cubicBezTo>
                      <a:pt x="283" y="236"/>
                      <a:pt x="283" y="234"/>
                      <a:pt x="281" y="233"/>
                    </a:cubicBezTo>
                    <a:cubicBezTo>
                      <a:pt x="279" y="232"/>
                      <a:pt x="276" y="231"/>
                      <a:pt x="273" y="231"/>
                    </a:cubicBezTo>
                    <a:cubicBezTo>
                      <a:pt x="266" y="230"/>
                      <a:pt x="258" y="233"/>
                      <a:pt x="252" y="231"/>
                    </a:cubicBezTo>
                    <a:cubicBezTo>
                      <a:pt x="249" y="231"/>
                      <a:pt x="247" y="228"/>
                      <a:pt x="246" y="225"/>
                    </a:cubicBezTo>
                    <a:cubicBezTo>
                      <a:pt x="245" y="224"/>
                      <a:pt x="249" y="222"/>
                      <a:pt x="248" y="221"/>
                    </a:cubicBezTo>
                    <a:cubicBezTo>
                      <a:pt x="246" y="220"/>
                      <a:pt x="245" y="223"/>
                      <a:pt x="243" y="223"/>
                    </a:cubicBezTo>
                    <a:cubicBezTo>
                      <a:pt x="241" y="223"/>
                      <a:pt x="239" y="222"/>
                      <a:pt x="237" y="221"/>
                    </a:cubicBezTo>
                    <a:cubicBezTo>
                      <a:pt x="234" y="219"/>
                      <a:pt x="230" y="218"/>
                      <a:pt x="229" y="214"/>
                    </a:cubicBezTo>
                    <a:cubicBezTo>
                      <a:pt x="229" y="212"/>
                      <a:pt x="238" y="210"/>
                      <a:pt x="236" y="208"/>
                    </a:cubicBezTo>
                    <a:cubicBezTo>
                      <a:pt x="232" y="206"/>
                      <a:pt x="228" y="211"/>
                      <a:pt x="224" y="211"/>
                    </a:cubicBezTo>
                    <a:cubicBezTo>
                      <a:pt x="221" y="211"/>
                      <a:pt x="218" y="209"/>
                      <a:pt x="215" y="209"/>
                    </a:cubicBezTo>
                    <a:cubicBezTo>
                      <a:pt x="212" y="210"/>
                      <a:pt x="208" y="211"/>
                      <a:pt x="207" y="213"/>
                    </a:cubicBezTo>
                    <a:cubicBezTo>
                      <a:pt x="206" y="215"/>
                      <a:pt x="210" y="215"/>
                      <a:pt x="210" y="217"/>
                    </a:cubicBezTo>
                    <a:cubicBezTo>
                      <a:pt x="211" y="219"/>
                      <a:pt x="212" y="221"/>
                      <a:pt x="210" y="223"/>
                    </a:cubicBezTo>
                    <a:cubicBezTo>
                      <a:pt x="208" y="227"/>
                      <a:pt x="204" y="231"/>
                      <a:pt x="200" y="233"/>
                    </a:cubicBezTo>
                    <a:cubicBezTo>
                      <a:pt x="198" y="234"/>
                      <a:pt x="194" y="232"/>
                      <a:pt x="192" y="233"/>
                    </a:cubicBezTo>
                    <a:cubicBezTo>
                      <a:pt x="190" y="234"/>
                      <a:pt x="189" y="237"/>
                      <a:pt x="187" y="238"/>
                    </a:cubicBezTo>
                    <a:cubicBezTo>
                      <a:pt x="181" y="243"/>
                      <a:pt x="175" y="249"/>
                      <a:pt x="167" y="252"/>
                    </a:cubicBezTo>
                    <a:cubicBezTo>
                      <a:pt x="164" y="253"/>
                      <a:pt x="160" y="253"/>
                      <a:pt x="157" y="252"/>
                    </a:cubicBezTo>
                    <a:cubicBezTo>
                      <a:pt x="156" y="251"/>
                      <a:pt x="156" y="248"/>
                      <a:pt x="157" y="247"/>
                    </a:cubicBezTo>
                    <a:cubicBezTo>
                      <a:pt x="160" y="244"/>
                      <a:pt x="165" y="244"/>
                      <a:pt x="168" y="242"/>
                    </a:cubicBezTo>
                    <a:cubicBezTo>
                      <a:pt x="170" y="241"/>
                      <a:pt x="173" y="239"/>
                      <a:pt x="171" y="238"/>
                    </a:cubicBezTo>
                    <a:cubicBezTo>
                      <a:pt x="168" y="236"/>
                      <a:pt x="163" y="242"/>
                      <a:pt x="162" y="239"/>
                    </a:cubicBezTo>
                    <a:cubicBezTo>
                      <a:pt x="161" y="234"/>
                      <a:pt x="165" y="230"/>
                      <a:pt x="167" y="226"/>
                    </a:cubicBezTo>
                    <a:cubicBezTo>
                      <a:pt x="169" y="224"/>
                      <a:pt x="171" y="221"/>
                      <a:pt x="173" y="219"/>
                    </a:cubicBezTo>
                    <a:cubicBezTo>
                      <a:pt x="176" y="216"/>
                      <a:pt x="178" y="214"/>
                      <a:pt x="181" y="212"/>
                    </a:cubicBezTo>
                    <a:cubicBezTo>
                      <a:pt x="184" y="210"/>
                      <a:pt x="186" y="208"/>
                      <a:pt x="189" y="208"/>
                    </a:cubicBezTo>
                    <a:cubicBezTo>
                      <a:pt x="193" y="207"/>
                      <a:pt x="197" y="211"/>
                      <a:pt x="201" y="211"/>
                    </a:cubicBezTo>
                    <a:cubicBezTo>
                      <a:pt x="202" y="210"/>
                      <a:pt x="198" y="208"/>
                      <a:pt x="198" y="206"/>
                    </a:cubicBezTo>
                    <a:cubicBezTo>
                      <a:pt x="198" y="205"/>
                      <a:pt x="201" y="203"/>
                      <a:pt x="199" y="202"/>
                    </a:cubicBezTo>
                    <a:cubicBezTo>
                      <a:pt x="198" y="200"/>
                      <a:pt x="195" y="201"/>
                      <a:pt x="193" y="202"/>
                    </a:cubicBezTo>
                    <a:cubicBezTo>
                      <a:pt x="190" y="203"/>
                      <a:pt x="186" y="204"/>
                      <a:pt x="183" y="205"/>
                    </a:cubicBezTo>
                    <a:cubicBezTo>
                      <a:pt x="177" y="209"/>
                      <a:pt x="171" y="212"/>
                      <a:pt x="165" y="217"/>
                    </a:cubicBezTo>
                    <a:cubicBezTo>
                      <a:pt x="163" y="219"/>
                      <a:pt x="163" y="224"/>
                      <a:pt x="160" y="227"/>
                    </a:cubicBezTo>
                    <a:cubicBezTo>
                      <a:pt x="159" y="228"/>
                      <a:pt x="155" y="225"/>
                      <a:pt x="154" y="227"/>
                    </a:cubicBezTo>
                    <a:cubicBezTo>
                      <a:pt x="152" y="228"/>
                      <a:pt x="155" y="232"/>
                      <a:pt x="154" y="234"/>
                    </a:cubicBezTo>
                    <a:cubicBezTo>
                      <a:pt x="151" y="237"/>
                      <a:pt x="147" y="238"/>
                      <a:pt x="144" y="240"/>
                    </a:cubicBezTo>
                    <a:cubicBezTo>
                      <a:pt x="142" y="241"/>
                      <a:pt x="140" y="241"/>
                      <a:pt x="139" y="242"/>
                    </a:cubicBezTo>
                    <a:cubicBezTo>
                      <a:pt x="136" y="245"/>
                      <a:pt x="131" y="247"/>
                      <a:pt x="130" y="252"/>
                    </a:cubicBezTo>
                    <a:cubicBezTo>
                      <a:pt x="130" y="255"/>
                      <a:pt x="135" y="254"/>
                      <a:pt x="137" y="256"/>
                    </a:cubicBezTo>
                    <a:cubicBezTo>
                      <a:pt x="138" y="257"/>
                      <a:pt x="140" y="259"/>
                      <a:pt x="139" y="260"/>
                    </a:cubicBezTo>
                    <a:cubicBezTo>
                      <a:pt x="137" y="262"/>
                      <a:pt x="133" y="261"/>
                      <a:pt x="130" y="263"/>
                    </a:cubicBezTo>
                    <a:cubicBezTo>
                      <a:pt x="127" y="265"/>
                      <a:pt x="125" y="269"/>
                      <a:pt x="122" y="271"/>
                    </a:cubicBezTo>
                    <a:cubicBezTo>
                      <a:pt x="117" y="274"/>
                      <a:pt x="112" y="276"/>
                      <a:pt x="108" y="278"/>
                    </a:cubicBezTo>
                    <a:cubicBezTo>
                      <a:pt x="104" y="280"/>
                      <a:pt x="99" y="281"/>
                      <a:pt x="96" y="283"/>
                    </a:cubicBezTo>
                    <a:cubicBezTo>
                      <a:pt x="94" y="285"/>
                      <a:pt x="94" y="288"/>
                      <a:pt x="92" y="289"/>
                    </a:cubicBezTo>
                    <a:cubicBezTo>
                      <a:pt x="88" y="292"/>
                      <a:pt x="84" y="293"/>
                      <a:pt x="80" y="295"/>
                    </a:cubicBezTo>
                    <a:cubicBezTo>
                      <a:pt x="77" y="296"/>
                      <a:pt x="74" y="295"/>
                      <a:pt x="71" y="297"/>
                    </a:cubicBezTo>
                    <a:cubicBezTo>
                      <a:pt x="70" y="297"/>
                      <a:pt x="71" y="299"/>
                      <a:pt x="70" y="300"/>
                    </a:cubicBezTo>
                    <a:cubicBezTo>
                      <a:pt x="68" y="301"/>
                      <a:pt x="65" y="299"/>
                      <a:pt x="63" y="300"/>
                    </a:cubicBezTo>
                    <a:cubicBezTo>
                      <a:pt x="60" y="302"/>
                      <a:pt x="60" y="306"/>
                      <a:pt x="57" y="308"/>
                    </a:cubicBezTo>
                    <a:cubicBezTo>
                      <a:pt x="54" y="310"/>
                      <a:pt x="51" y="310"/>
                      <a:pt x="48" y="311"/>
                    </a:cubicBezTo>
                    <a:cubicBezTo>
                      <a:pt x="42" y="312"/>
                      <a:pt x="37" y="313"/>
                      <a:pt x="31" y="315"/>
                    </a:cubicBezTo>
                    <a:cubicBezTo>
                      <a:pt x="29" y="316"/>
                      <a:pt x="27" y="318"/>
                      <a:pt x="24" y="318"/>
                    </a:cubicBezTo>
                    <a:cubicBezTo>
                      <a:pt x="23" y="318"/>
                      <a:pt x="22" y="314"/>
                      <a:pt x="21" y="315"/>
                    </a:cubicBezTo>
                    <a:cubicBezTo>
                      <a:pt x="18" y="317"/>
                      <a:pt x="16" y="322"/>
                      <a:pt x="13" y="324"/>
                    </a:cubicBezTo>
                    <a:cubicBezTo>
                      <a:pt x="11" y="324"/>
                      <a:pt x="10" y="321"/>
                      <a:pt x="9" y="321"/>
                    </a:cubicBezTo>
                    <a:cubicBezTo>
                      <a:pt x="6" y="322"/>
                      <a:pt x="4" y="328"/>
                      <a:pt x="0" y="327"/>
                    </a:cubicBezTo>
                    <a:cubicBezTo>
                      <a:pt x="0" y="325"/>
                      <a:pt x="1" y="322"/>
                      <a:pt x="3" y="320"/>
                    </a:cubicBezTo>
                    <a:cubicBezTo>
                      <a:pt x="9" y="315"/>
                      <a:pt x="16" y="312"/>
                      <a:pt x="23" y="309"/>
                    </a:cubicBezTo>
                    <a:cubicBezTo>
                      <a:pt x="26" y="307"/>
                      <a:pt x="30" y="309"/>
                      <a:pt x="34" y="308"/>
                    </a:cubicBezTo>
                    <a:cubicBezTo>
                      <a:pt x="37" y="307"/>
                      <a:pt x="39" y="305"/>
                      <a:pt x="42" y="303"/>
                    </a:cubicBezTo>
                    <a:cubicBezTo>
                      <a:pt x="47" y="300"/>
                      <a:pt x="52" y="297"/>
                      <a:pt x="57" y="294"/>
                    </a:cubicBezTo>
                    <a:cubicBezTo>
                      <a:pt x="62" y="291"/>
                      <a:pt x="67" y="288"/>
                      <a:pt x="71" y="285"/>
                    </a:cubicBezTo>
                    <a:cubicBezTo>
                      <a:pt x="74" y="283"/>
                      <a:pt x="78" y="282"/>
                      <a:pt x="80" y="279"/>
                    </a:cubicBezTo>
                    <a:cubicBezTo>
                      <a:pt x="82" y="275"/>
                      <a:pt x="83" y="271"/>
                      <a:pt x="85" y="267"/>
                    </a:cubicBezTo>
                    <a:cubicBezTo>
                      <a:pt x="87" y="264"/>
                      <a:pt x="88" y="261"/>
                      <a:pt x="90" y="258"/>
                    </a:cubicBezTo>
                    <a:cubicBezTo>
                      <a:pt x="92" y="256"/>
                      <a:pt x="99" y="253"/>
                      <a:pt x="96" y="253"/>
                    </a:cubicBezTo>
                    <a:cubicBezTo>
                      <a:pt x="91" y="254"/>
                      <a:pt x="86" y="258"/>
                      <a:pt x="80" y="259"/>
                    </a:cubicBezTo>
                    <a:cubicBezTo>
                      <a:pt x="79" y="259"/>
                      <a:pt x="78" y="256"/>
                      <a:pt x="76" y="256"/>
                    </a:cubicBezTo>
                    <a:cubicBezTo>
                      <a:pt x="74" y="256"/>
                      <a:pt x="73" y="258"/>
                      <a:pt x="72" y="260"/>
                    </a:cubicBezTo>
                    <a:cubicBezTo>
                      <a:pt x="71" y="262"/>
                      <a:pt x="73" y="265"/>
                      <a:pt x="71" y="266"/>
                    </a:cubicBezTo>
                    <a:cubicBezTo>
                      <a:pt x="70" y="267"/>
                      <a:pt x="68" y="265"/>
                      <a:pt x="67" y="263"/>
                    </a:cubicBezTo>
                    <a:cubicBezTo>
                      <a:pt x="66" y="260"/>
                      <a:pt x="67" y="256"/>
                      <a:pt x="65" y="253"/>
                    </a:cubicBezTo>
                    <a:cubicBezTo>
                      <a:pt x="63" y="252"/>
                      <a:pt x="61" y="254"/>
                      <a:pt x="59" y="254"/>
                    </a:cubicBezTo>
                    <a:cubicBezTo>
                      <a:pt x="58" y="254"/>
                      <a:pt x="59" y="252"/>
                      <a:pt x="58" y="252"/>
                    </a:cubicBezTo>
                    <a:cubicBezTo>
                      <a:pt x="53" y="253"/>
                      <a:pt x="49" y="256"/>
                      <a:pt x="45" y="258"/>
                    </a:cubicBezTo>
                    <a:cubicBezTo>
                      <a:pt x="43" y="259"/>
                      <a:pt x="41" y="262"/>
                      <a:pt x="38" y="262"/>
                    </a:cubicBezTo>
                    <a:cubicBezTo>
                      <a:pt x="37" y="263"/>
                      <a:pt x="35" y="262"/>
                      <a:pt x="35" y="261"/>
                    </a:cubicBezTo>
                    <a:cubicBezTo>
                      <a:pt x="35" y="258"/>
                      <a:pt x="37" y="256"/>
                      <a:pt x="39" y="254"/>
                    </a:cubicBezTo>
                    <a:cubicBezTo>
                      <a:pt x="40" y="252"/>
                      <a:pt x="42" y="251"/>
                      <a:pt x="42" y="249"/>
                    </a:cubicBezTo>
                    <a:cubicBezTo>
                      <a:pt x="41" y="247"/>
                      <a:pt x="37" y="247"/>
                      <a:pt x="38" y="245"/>
                    </a:cubicBezTo>
                    <a:cubicBezTo>
                      <a:pt x="38" y="242"/>
                      <a:pt x="43" y="241"/>
                      <a:pt x="44" y="239"/>
                    </a:cubicBezTo>
                    <a:cubicBezTo>
                      <a:pt x="45" y="236"/>
                      <a:pt x="43" y="232"/>
                      <a:pt x="43" y="229"/>
                    </a:cubicBezTo>
                    <a:cubicBezTo>
                      <a:pt x="44" y="227"/>
                      <a:pt x="48" y="224"/>
                      <a:pt x="47" y="222"/>
                    </a:cubicBezTo>
                    <a:cubicBezTo>
                      <a:pt x="46" y="220"/>
                      <a:pt x="43" y="223"/>
                      <a:pt x="41" y="225"/>
                    </a:cubicBezTo>
                    <a:cubicBezTo>
                      <a:pt x="39" y="227"/>
                      <a:pt x="40" y="231"/>
                      <a:pt x="38" y="233"/>
                    </a:cubicBezTo>
                    <a:cubicBezTo>
                      <a:pt x="34" y="236"/>
                      <a:pt x="29" y="237"/>
                      <a:pt x="24" y="237"/>
                    </a:cubicBezTo>
                    <a:cubicBezTo>
                      <a:pt x="22" y="237"/>
                      <a:pt x="22" y="234"/>
                      <a:pt x="20" y="233"/>
                    </a:cubicBezTo>
                    <a:cubicBezTo>
                      <a:pt x="18" y="230"/>
                      <a:pt x="15" y="229"/>
                      <a:pt x="14" y="225"/>
                    </a:cubicBezTo>
                    <a:cubicBezTo>
                      <a:pt x="13" y="222"/>
                      <a:pt x="14" y="217"/>
                      <a:pt x="17" y="215"/>
                    </a:cubicBezTo>
                    <a:cubicBezTo>
                      <a:pt x="19" y="213"/>
                      <a:pt x="23" y="215"/>
                      <a:pt x="25" y="216"/>
                    </a:cubicBezTo>
                    <a:cubicBezTo>
                      <a:pt x="28" y="217"/>
                      <a:pt x="31" y="220"/>
                      <a:pt x="33" y="219"/>
                    </a:cubicBezTo>
                    <a:cubicBezTo>
                      <a:pt x="35" y="219"/>
                      <a:pt x="35" y="215"/>
                      <a:pt x="33" y="214"/>
                    </a:cubicBezTo>
                    <a:cubicBezTo>
                      <a:pt x="30" y="212"/>
                      <a:pt x="26" y="214"/>
                      <a:pt x="22" y="213"/>
                    </a:cubicBezTo>
                    <a:cubicBezTo>
                      <a:pt x="19" y="212"/>
                      <a:pt x="15" y="211"/>
                      <a:pt x="14" y="208"/>
                    </a:cubicBezTo>
                    <a:cubicBezTo>
                      <a:pt x="12" y="205"/>
                      <a:pt x="12" y="201"/>
                      <a:pt x="14" y="198"/>
                    </a:cubicBezTo>
                    <a:cubicBezTo>
                      <a:pt x="17" y="192"/>
                      <a:pt x="22" y="187"/>
                      <a:pt x="27" y="183"/>
                    </a:cubicBezTo>
                    <a:cubicBezTo>
                      <a:pt x="29" y="181"/>
                      <a:pt x="33" y="184"/>
                      <a:pt x="35" y="182"/>
                    </a:cubicBezTo>
                    <a:cubicBezTo>
                      <a:pt x="37" y="180"/>
                      <a:pt x="34" y="178"/>
                      <a:pt x="35" y="176"/>
                    </a:cubicBezTo>
                    <a:cubicBezTo>
                      <a:pt x="37" y="173"/>
                      <a:pt x="40" y="169"/>
                      <a:pt x="43" y="169"/>
                    </a:cubicBezTo>
                    <a:cubicBezTo>
                      <a:pt x="47" y="168"/>
                      <a:pt x="50" y="172"/>
                      <a:pt x="54" y="172"/>
                    </a:cubicBezTo>
                    <a:cubicBezTo>
                      <a:pt x="57" y="171"/>
                      <a:pt x="60" y="168"/>
                      <a:pt x="63" y="167"/>
                    </a:cubicBezTo>
                    <a:cubicBezTo>
                      <a:pt x="67" y="165"/>
                      <a:pt x="71" y="166"/>
                      <a:pt x="76" y="165"/>
                    </a:cubicBezTo>
                    <a:cubicBezTo>
                      <a:pt x="79" y="164"/>
                      <a:pt x="82" y="163"/>
                      <a:pt x="84" y="160"/>
                    </a:cubicBezTo>
                    <a:cubicBezTo>
                      <a:pt x="86" y="157"/>
                      <a:pt x="85" y="154"/>
                      <a:pt x="84" y="151"/>
                    </a:cubicBezTo>
                    <a:cubicBezTo>
                      <a:pt x="84" y="149"/>
                      <a:pt x="80" y="149"/>
                      <a:pt x="80" y="147"/>
                    </a:cubicBezTo>
                    <a:cubicBezTo>
                      <a:pt x="82" y="145"/>
                      <a:pt x="86" y="146"/>
                      <a:pt x="88" y="144"/>
                    </a:cubicBezTo>
                    <a:cubicBezTo>
                      <a:pt x="90" y="142"/>
                      <a:pt x="90" y="139"/>
                      <a:pt x="88" y="139"/>
                    </a:cubicBezTo>
                    <a:cubicBezTo>
                      <a:pt x="85" y="138"/>
                      <a:pt x="81" y="141"/>
                      <a:pt x="78" y="142"/>
                    </a:cubicBezTo>
                    <a:cubicBezTo>
                      <a:pt x="74" y="144"/>
                      <a:pt x="71" y="148"/>
                      <a:pt x="67" y="149"/>
                    </a:cubicBezTo>
                    <a:cubicBezTo>
                      <a:pt x="66" y="149"/>
                      <a:pt x="65" y="146"/>
                      <a:pt x="63" y="146"/>
                    </a:cubicBezTo>
                    <a:cubicBezTo>
                      <a:pt x="58" y="144"/>
                      <a:pt x="53" y="144"/>
                      <a:pt x="47" y="144"/>
                    </a:cubicBezTo>
                    <a:cubicBezTo>
                      <a:pt x="42" y="144"/>
                      <a:pt x="36" y="146"/>
                      <a:pt x="32" y="144"/>
                    </a:cubicBezTo>
                    <a:cubicBezTo>
                      <a:pt x="29" y="142"/>
                      <a:pt x="29" y="138"/>
                      <a:pt x="29" y="136"/>
                    </a:cubicBezTo>
                    <a:cubicBezTo>
                      <a:pt x="29" y="133"/>
                      <a:pt x="36" y="130"/>
                      <a:pt x="34" y="127"/>
                    </a:cubicBezTo>
                    <a:cubicBezTo>
                      <a:pt x="30" y="123"/>
                      <a:pt x="23" y="125"/>
                      <a:pt x="19" y="122"/>
                    </a:cubicBezTo>
                    <a:cubicBezTo>
                      <a:pt x="17" y="121"/>
                      <a:pt x="20" y="120"/>
                      <a:pt x="21" y="119"/>
                    </a:cubicBezTo>
                    <a:cubicBezTo>
                      <a:pt x="28" y="116"/>
                      <a:pt x="36" y="113"/>
                      <a:pt x="44" y="111"/>
                    </a:cubicBezTo>
                    <a:cubicBezTo>
                      <a:pt x="46" y="110"/>
                      <a:pt x="48" y="112"/>
                      <a:pt x="50" y="111"/>
                    </a:cubicBezTo>
                    <a:cubicBezTo>
                      <a:pt x="51" y="110"/>
                      <a:pt x="50" y="107"/>
                      <a:pt x="52" y="107"/>
                    </a:cubicBezTo>
                    <a:cubicBezTo>
                      <a:pt x="58" y="105"/>
                      <a:pt x="65" y="103"/>
                      <a:pt x="71" y="103"/>
                    </a:cubicBezTo>
                    <a:cubicBezTo>
                      <a:pt x="73" y="103"/>
                      <a:pt x="72" y="106"/>
                      <a:pt x="71" y="106"/>
                    </a:cubicBezTo>
                    <a:cubicBezTo>
                      <a:pt x="70" y="108"/>
                      <a:pt x="64" y="111"/>
                      <a:pt x="67" y="111"/>
                    </a:cubicBezTo>
                    <a:cubicBezTo>
                      <a:pt x="74" y="114"/>
                      <a:pt x="83" y="114"/>
                      <a:pt x="91" y="112"/>
                    </a:cubicBezTo>
                    <a:cubicBezTo>
                      <a:pt x="93" y="112"/>
                      <a:pt x="94" y="109"/>
                      <a:pt x="94" y="107"/>
                    </a:cubicBezTo>
                    <a:cubicBezTo>
                      <a:pt x="93" y="103"/>
                      <a:pt x="88" y="102"/>
                      <a:pt x="88" y="98"/>
                    </a:cubicBezTo>
                    <a:cubicBezTo>
                      <a:pt x="87" y="97"/>
                      <a:pt x="91" y="97"/>
                      <a:pt x="92" y="97"/>
                    </a:cubicBezTo>
                    <a:cubicBezTo>
                      <a:pt x="95" y="99"/>
                      <a:pt x="96" y="103"/>
                      <a:pt x="99" y="104"/>
                    </a:cubicBezTo>
                    <a:cubicBezTo>
                      <a:pt x="103" y="106"/>
                      <a:pt x="108" y="107"/>
                      <a:pt x="113" y="107"/>
                    </a:cubicBezTo>
                    <a:cubicBezTo>
                      <a:pt x="114" y="107"/>
                      <a:pt x="116" y="104"/>
                      <a:pt x="114" y="103"/>
                    </a:cubicBezTo>
                    <a:cubicBezTo>
                      <a:pt x="109" y="100"/>
                      <a:pt x="102" y="100"/>
                      <a:pt x="96" y="97"/>
                    </a:cubicBezTo>
                    <a:cubicBezTo>
                      <a:pt x="95" y="97"/>
                      <a:pt x="94" y="95"/>
                      <a:pt x="93" y="94"/>
                    </a:cubicBezTo>
                    <a:cubicBezTo>
                      <a:pt x="88" y="93"/>
                      <a:pt x="82" y="96"/>
                      <a:pt x="77" y="93"/>
                    </a:cubicBezTo>
                    <a:cubicBezTo>
                      <a:pt x="75" y="92"/>
                      <a:pt x="78" y="89"/>
                      <a:pt x="77" y="87"/>
                    </a:cubicBezTo>
                    <a:cubicBezTo>
                      <a:pt x="76" y="84"/>
                      <a:pt x="74" y="81"/>
                      <a:pt x="72" y="79"/>
                    </a:cubicBezTo>
                    <a:cubicBezTo>
                      <a:pt x="68" y="74"/>
                      <a:pt x="59" y="72"/>
                      <a:pt x="58" y="65"/>
                    </a:cubicBezTo>
                    <a:cubicBezTo>
                      <a:pt x="57" y="61"/>
                      <a:pt x="62" y="57"/>
                      <a:pt x="66" y="55"/>
                    </a:cubicBezTo>
                    <a:cubicBezTo>
                      <a:pt x="68" y="53"/>
                      <a:pt x="70" y="55"/>
                      <a:pt x="73" y="55"/>
                    </a:cubicBezTo>
                    <a:cubicBezTo>
                      <a:pt x="79" y="54"/>
                      <a:pt x="86" y="53"/>
                      <a:pt x="93" y="50"/>
                    </a:cubicBezTo>
                    <a:cubicBezTo>
                      <a:pt x="97" y="49"/>
                      <a:pt x="102" y="47"/>
                      <a:pt x="106" y="43"/>
                    </a:cubicBezTo>
                    <a:cubicBezTo>
                      <a:pt x="108" y="41"/>
                      <a:pt x="108" y="37"/>
                      <a:pt x="110" y="35"/>
                    </a:cubicBezTo>
                    <a:cubicBezTo>
                      <a:pt x="113" y="31"/>
                      <a:pt x="118" y="28"/>
                      <a:pt x="123" y="25"/>
                    </a:cubicBezTo>
                    <a:cubicBezTo>
                      <a:pt x="128" y="23"/>
                      <a:pt x="133" y="22"/>
                      <a:pt x="138" y="20"/>
                    </a:cubicBezTo>
                    <a:cubicBezTo>
                      <a:pt x="141" y="19"/>
                      <a:pt x="144" y="17"/>
                      <a:pt x="148" y="15"/>
                    </a:cubicBezTo>
                    <a:cubicBezTo>
                      <a:pt x="152" y="13"/>
                      <a:pt x="155" y="10"/>
                      <a:pt x="160" y="9"/>
                    </a:cubicBezTo>
                    <a:cubicBezTo>
                      <a:pt x="163" y="9"/>
                      <a:pt x="167" y="11"/>
                      <a:pt x="170" y="11"/>
                    </a:cubicBezTo>
                    <a:cubicBezTo>
                      <a:pt x="174" y="11"/>
                      <a:pt x="178" y="11"/>
                      <a:pt x="181" y="10"/>
                    </a:cubicBezTo>
                    <a:cubicBezTo>
                      <a:pt x="186" y="7"/>
                      <a:pt x="188" y="1"/>
                      <a:pt x="192" y="0"/>
                    </a:cubicBezTo>
                    <a:cubicBezTo>
                      <a:pt x="196" y="0"/>
                      <a:pt x="201" y="2"/>
                      <a:pt x="202" y="6"/>
                    </a:cubicBezTo>
                    <a:cubicBezTo>
                      <a:pt x="203" y="8"/>
                      <a:pt x="198" y="9"/>
                      <a:pt x="197" y="11"/>
                    </a:cubicBezTo>
                    <a:cubicBezTo>
                      <a:pt x="196" y="12"/>
                      <a:pt x="196" y="14"/>
                      <a:pt x="197" y="14"/>
                    </a:cubicBezTo>
                    <a:cubicBezTo>
                      <a:pt x="199" y="14"/>
                      <a:pt x="201" y="11"/>
                      <a:pt x="203" y="10"/>
                    </a:cubicBezTo>
                    <a:cubicBezTo>
                      <a:pt x="206" y="8"/>
                      <a:pt x="208" y="6"/>
                      <a:pt x="210" y="6"/>
                    </a:cubicBezTo>
                    <a:cubicBezTo>
                      <a:pt x="212" y="6"/>
                      <a:pt x="213" y="7"/>
                      <a:pt x="213" y="8"/>
                    </a:cubicBezTo>
                    <a:cubicBezTo>
                      <a:pt x="214" y="11"/>
                      <a:pt x="211" y="15"/>
                      <a:pt x="213" y="16"/>
                    </a:cubicBezTo>
                    <a:cubicBezTo>
                      <a:pt x="216" y="17"/>
                      <a:pt x="219" y="12"/>
                      <a:pt x="222" y="11"/>
                    </a:cubicBezTo>
                    <a:cubicBezTo>
                      <a:pt x="226" y="10"/>
                      <a:pt x="230" y="11"/>
                      <a:pt x="234" y="11"/>
                    </a:cubicBezTo>
                    <a:cubicBezTo>
                      <a:pt x="236" y="11"/>
                      <a:pt x="238" y="11"/>
                      <a:pt x="239" y="13"/>
                    </a:cubicBezTo>
                    <a:cubicBezTo>
                      <a:pt x="239" y="14"/>
                      <a:pt x="235" y="15"/>
                      <a:pt x="235" y="17"/>
                    </a:cubicBezTo>
                    <a:cubicBezTo>
                      <a:pt x="236" y="19"/>
                      <a:pt x="240" y="17"/>
                      <a:pt x="241" y="18"/>
                    </a:cubicBezTo>
                    <a:cubicBezTo>
                      <a:pt x="244" y="20"/>
                      <a:pt x="244" y="25"/>
                      <a:pt x="247" y="25"/>
                    </a:cubicBezTo>
                    <a:cubicBezTo>
                      <a:pt x="251" y="25"/>
                      <a:pt x="253" y="20"/>
                      <a:pt x="257" y="19"/>
                    </a:cubicBezTo>
                    <a:cubicBezTo>
                      <a:pt x="261" y="18"/>
                      <a:pt x="265" y="19"/>
                      <a:pt x="268" y="19"/>
                    </a:cubicBezTo>
                    <a:cubicBezTo>
                      <a:pt x="271" y="20"/>
                      <a:pt x="274" y="20"/>
                      <a:pt x="276" y="21"/>
                    </a:cubicBezTo>
                    <a:cubicBezTo>
                      <a:pt x="280" y="23"/>
                      <a:pt x="283" y="25"/>
                      <a:pt x="286" y="26"/>
                    </a:cubicBezTo>
                    <a:cubicBezTo>
                      <a:pt x="292" y="27"/>
                      <a:pt x="298" y="26"/>
                      <a:pt x="304" y="27"/>
                    </a:cubicBezTo>
                    <a:cubicBezTo>
                      <a:pt x="307" y="28"/>
                      <a:pt x="309" y="32"/>
                      <a:pt x="312" y="32"/>
                    </a:cubicBezTo>
                    <a:cubicBezTo>
                      <a:pt x="317" y="32"/>
                      <a:pt x="320" y="27"/>
                      <a:pt x="325" y="27"/>
                    </a:cubicBezTo>
                    <a:cubicBezTo>
                      <a:pt x="329" y="26"/>
                      <a:pt x="332" y="28"/>
                      <a:pt x="336" y="29"/>
                    </a:cubicBezTo>
                    <a:cubicBezTo>
                      <a:pt x="339" y="30"/>
                      <a:pt x="343" y="32"/>
                      <a:pt x="346" y="33"/>
                    </a:cubicBezTo>
                    <a:cubicBezTo>
                      <a:pt x="348" y="35"/>
                      <a:pt x="351" y="36"/>
                      <a:pt x="353" y="38"/>
                    </a:cubicBezTo>
                    <a:lnTo>
                      <a:pt x="291" y="226"/>
                    </a:lnTo>
                    <a:lnTo>
                      <a:pt x="296" y="229"/>
                    </a:lnTo>
                    <a:cubicBezTo>
                      <a:pt x="298" y="230"/>
                      <a:pt x="298" y="232"/>
                      <a:pt x="300" y="231"/>
                    </a:cubicBezTo>
                    <a:cubicBezTo>
                      <a:pt x="302" y="230"/>
                      <a:pt x="303" y="223"/>
                      <a:pt x="306" y="224"/>
                    </a:cubicBezTo>
                    <a:lnTo>
                      <a:pt x="312" y="227"/>
                    </a:lnTo>
                    <a:cubicBezTo>
                      <a:pt x="315" y="228"/>
                      <a:pt x="313" y="233"/>
                      <a:pt x="314" y="236"/>
                    </a:cubicBezTo>
                    <a:cubicBezTo>
                      <a:pt x="316" y="241"/>
                      <a:pt x="319" y="245"/>
                      <a:pt x="321" y="249"/>
                    </a:cubicBezTo>
                    <a:cubicBezTo>
                      <a:pt x="322" y="251"/>
                      <a:pt x="322" y="253"/>
                      <a:pt x="324" y="253"/>
                    </a:cubicBezTo>
                    <a:cubicBezTo>
                      <a:pt x="327" y="254"/>
                      <a:pt x="327" y="251"/>
                      <a:pt x="329" y="250"/>
                    </a:cubicBezTo>
                    <a:cubicBezTo>
                      <a:pt x="331" y="249"/>
                      <a:pt x="335" y="252"/>
                      <a:pt x="336" y="250"/>
                    </a:cubicBezTo>
                    <a:cubicBezTo>
                      <a:pt x="336" y="247"/>
                      <a:pt x="338" y="245"/>
                      <a:pt x="341" y="244"/>
                    </a:cubicBezTo>
                    <a:cubicBezTo>
                      <a:pt x="342" y="244"/>
                      <a:pt x="341" y="242"/>
                      <a:pt x="341" y="241"/>
                    </a:cubicBezTo>
                    <a:cubicBezTo>
                      <a:pt x="344" y="239"/>
                      <a:pt x="348" y="237"/>
                      <a:pt x="351" y="238"/>
                    </a:cubicBezTo>
                    <a:cubicBezTo>
                      <a:pt x="353" y="238"/>
                      <a:pt x="354" y="241"/>
                      <a:pt x="355" y="244"/>
                    </a:cubicBezTo>
                    <a:cubicBezTo>
                      <a:pt x="356" y="246"/>
                      <a:pt x="353" y="248"/>
                      <a:pt x="354" y="250"/>
                    </a:cubicBezTo>
                    <a:cubicBezTo>
                      <a:pt x="355" y="252"/>
                      <a:pt x="358" y="251"/>
                      <a:pt x="360" y="253"/>
                    </a:cubicBezTo>
                    <a:cubicBezTo>
                      <a:pt x="361" y="255"/>
                      <a:pt x="361" y="259"/>
                      <a:pt x="363" y="261"/>
                    </a:cubicBezTo>
                    <a:cubicBezTo>
                      <a:pt x="365" y="265"/>
                      <a:pt x="370" y="267"/>
                      <a:pt x="372" y="271"/>
                    </a:cubicBezTo>
                    <a:cubicBezTo>
                      <a:pt x="373" y="274"/>
                      <a:pt x="370" y="279"/>
                      <a:pt x="372" y="283"/>
                    </a:cubicBezTo>
                    <a:cubicBezTo>
                      <a:pt x="374" y="287"/>
                      <a:pt x="375" y="292"/>
                      <a:pt x="378" y="296"/>
                    </a:cubicBezTo>
                    <a:cubicBezTo>
                      <a:pt x="380" y="300"/>
                      <a:pt x="385" y="299"/>
                      <a:pt x="388" y="302"/>
                    </a:cubicBezTo>
                    <a:cubicBezTo>
                      <a:pt x="389" y="302"/>
                      <a:pt x="388" y="304"/>
                      <a:pt x="389" y="305"/>
                    </a:cubicBezTo>
                    <a:cubicBezTo>
                      <a:pt x="390" y="307"/>
                      <a:pt x="392" y="307"/>
                      <a:pt x="394" y="30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8" name="Freeform 2659"/>
              <p:cNvSpPr>
                <a:spLocks noChangeAspect="1"/>
              </p:cNvSpPr>
              <p:nvPr/>
            </p:nvSpPr>
            <p:spPr bwMode="auto">
              <a:xfrm>
                <a:off x="5474139" y="3702868"/>
                <a:ext cx="255152" cy="381671"/>
              </a:xfrm>
              <a:custGeom>
                <a:avLst/>
                <a:gdLst>
                  <a:gd name="T0" fmla="*/ 11 w 130"/>
                  <a:gd name="T1" fmla="*/ 139 h 196"/>
                  <a:gd name="T2" fmla="*/ 7 w 130"/>
                  <a:gd name="T3" fmla="*/ 150 h 196"/>
                  <a:gd name="T4" fmla="*/ 0 w 130"/>
                  <a:gd name="T5" fmla="*/ 158 h 196"/>
                  <a:gd name="T6" fmla="*/ 0 w 130"/>
                  <a:gd name="T7" fmla="*/ 223 h 196"/>
                  <a:gd name="T8" fmla="*/ 10 w 130"/>
                  <a:gd name="T9" fmla="*/ 235 h 196"/>
                  <a:gd name="T10" fmla="*/ 16 w 130"/>
                  <a:gd name="T11" fmla="*/ 221 h 196"/>
                  <a:gd name="T12" fmla="*/ 31 w 130"/>
                  <a:gd name="T13" fmla="*/ 205 h 196"/>
                  <a:gd name="T14" fmla="*/ 46 w 130"/>
                  <a:gd name="T15" fmla="*/ 189 h 196"/>
                  <a:gd name="T16" fmla="*/ 52 w 130"/>
                  <a:gd name="T17" fmla="*/ 186 h 196"/>
                  <a:gd name="T18" fmla="*/ 56 w 130"/>
                  <a:gd name="T19" fmla="*/ 179 h 196"/>
                  <a:gd name="T20" fmla="*/ 70 w 130"/>
                  <a:gd name="T21" fmla="*/ 171 h 196"/>
                  <a:gd name="T22" fmla="*/ 79 w 130"/>
                  <a:gd name="T23" fmla="*/ 167 h 196"/>
                  <a:gd name="T24" fmla="*/ 90 w 130"/>
                  <a:gd name="T25" fmla="*/ 153 h 196"/>
                  <a:gd name="T26" fmla="*/ 101 w 130"/>
                  <a:gd name="T27" fmla="*/ 139 h 196"/>
                  <a:gd name="T28" fmla="*/ 110 w 130"/>
                  <a:gd name="T29" fmla="*/ 122 h 196"/>
                  <a:gd name="T30" fmla="*/ 125 w 130"/>
                  <a:gd name="T31" fmla="*/ 101 h 196"/>
                  <a:gd name="T32" fmla="*/ 124 w 130"/>
                  <a:gd name="T33" fmla="*/ 96 h 196"/>
                  <a:gd name="T34" fmla="*/ 136 w 130"/>
                  <a:gd name="T35" fmla="*/ 76 h 196"/>
                  <a:gd name="T36" fmla="*/ 134 w 130"/>
                  <a:gd name="T37" fmla="*/ 71 h 196"/>
                  <a:gd name="T38" fmla="*/ 140 w 130"/>
                  <a:gd name="T39" fmla="*/ 66 h 196"/>
                  <a:gd name="T40" fmla="*/ 145 w 130"/>
                  <a:gd name="T41" fmla="*/ 54 h 196"/>
                  <a:gd name="T42" fmla="*/ 150 w 130"/>
                  <a:gd name="T43" fmla="*/ 43 h 196"/>
                  <a:gd name="T44" fmla="*/ 150 w 130"/>
                  <a:gd name="T45" fmla="*/ 30 h 196"/>
                  <a:gd name="T46" fmla="*/ 154 w 130"/>
                  <a:gd name="T47" fmla="*/ 23 h 196"/>
                  <a:gd name="T48" fmla="*/ 152 w 130"/>
                  <a:gd name="T49" fmla="*/ 12 h 196"/>
                  <a:gd name="T50" fmla="*/ 155 w 130"/>
                  <a:gd name="T51" fmla="*/ 2 h 196"/>
                  <a:gd name="T52" fmla="*/ 148 w 130"/>
                  <a:gd name="T53" fmla="*/ 0 h 196"/>
                  <a:gd name="T54" fmla="*/ 144 w 130"/>
                  <a:gd name="T55" fmla="*/ 1 h 196"/>
                  <a:gd name="T56" fmla="*/ 139 w 130"/>
                  <a:gd name="T57" fmla="*/ 6 h 196"/>
                  <a:gd name="T58" fmla="*/ 127 w 130"/>
                  <a:gd name="T59" fmla="*/ 10 h 196"/>
                  <a:gd name="T60" fmla="*/ 120 w 130"/>
                  <a:gd name="T61" fmla="*/ 13 h 196"/>
                  <a:gd name="T62" fmla="*/ 113 w 130"/>
                  <a:gd name="T63" fmla="*/ 11 h 196"/>
                  <a:gd name="T64" fmla="*/ 107 w 130"/>
                  <a:gd name="T65" fmla="*/ 14 h 196"/>
                  <a:gd name="T66" fmla="*/ 96 w 130"/>
                  <a:gd name="T67" fmla="*/ 14 h 196"/>
                  <a:gd name="T68" fmla="*/ 88 w 130"/>
                  <a:gd name="T69" fmla="*/ 19 h 196"/>
                  <a:gd name="T70" fmla="*/ 77 w 130"/>
                  <a:gd name="T71" fmla="*/ 23 h 196"/>
                  <a:gd name="T72" fmla="*/ 71 w 130"/>
                  <a:gd name="T73" fmla="*/ 22 h 196"/>
                  <a:gd name="T74" fmla="*/ 59 w 130"/>
                  <a:gd name="T75" fmla="*/ 26 h 196"/>
                  <a:gd name="T76" fmla="*/ 47 w 130"/>
                  <a:gd name="T77" fmla="*/ 25 h 196"/>
                  <a:gd name="T78" fmla="*/ 41 w 130"/>
                  <a:gd name="T79" fmla="*/ 19 h 196"/>
                  <a:gd name="T80" fmla="*/ 41 w 130"/>
                  <a:gd name="T81" fmla="*/ 14 h 196"/>
                  <a:gd name="T82" fmla="*/ 35 w 130"/>
                  <a:gd name="T83" fmla="*/ 12 h 196"/>
                  <a:gd name="T84" fmla="*/ 31 w 130"/>
                  <a:gd name="T85" fmla="*/ 14 h 196"/>
                  <a:gd name="T86" fmla="*/ 28 w 130"/>
                  <a:gd name="T87" fmla="*/ 17 h 196"/>
                  <a:gd name="T88" fmla="*/ 22 w 130"/>
                  <a:gd name="T89" fmla="*/ 28 h 196"/>
                  <a:gd name="T90" fmla="*/ 31 w 130"/>
                  <a:gd name="T91" fmla="*/ 37 h 196"/>
                  <a:gd name="T92" fmla="*/ 34 w 130"/>
                  <a:gd name="T93" fmla="*/ 43 h 196"/>
                  <a:gd name="T94" fmla="*/ 41 w 130"/>
                  <a:gd name="T95" fmla="*/ 50 h 196"/>
                  <a:gd name="T96" fmla="*/ 90 w 130"/>
                  <a:gd name="T97" fmla="*/ 70 h 196"/>
                  <a:gd name="T98" fmla="*/ 104 w 130"/>
                  <a:gd name="T99" fmla="*/ 67 h 196"/>
                  <a:gd name="T100" fmla="*/ 60 w 130"/>
                  <a:gd name="T101" fmla="*/ 121 h 196"/>
                  <a:gd name="T102" fmla="*/ 43 w 130"/>
                  <a:gd name="T103" fmla="*/ 122 h 196"/>
                  <a:gd name="T104" fmla="*/ 26 w 130"/>
                  <a:gd name="T105" fmla="*/ 129 h 196"/>
                  <a:gd name="T106" fmla="*/ 11 w 130"/>
                  <a:gd name="T107" fmla="*/ 139 h 19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30"/>
                  <a:gd name="T163" fmla="*/ 0 h 196"/>
                  <a:gd name="T164" fmla="*/ 130 w 130"/>
                  <a:gd name="T165" fmla="*/ 196 h 19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30" h="196">
                    <a:moveTo>
                      <a:pt x="9" y="116"/>
                    </a:moveTo>
                    <a:cubicBezTo>
                      <a:pt x="8" y="119"/>
                      <a:pt x="9" y="123"/>
                      <a:pt x="6" y="125"/>
                    </a:cubicBezTo>
                    <a:lnTo>
                      <a:pt x="0" y="132"/>
                    </a:lnTo>
                    <a:lnTo>
                      <a:pt x="0" y="186"/>
                    </a:lnTo>
                    <a:lnTo>
                      <a:pt x="8" y="196"/>
                    </a:lnTo>
                    <a:cubicBezTo>
                      <a:pt x="9" y="192"/>
                      <a:pt x="11" y="188"/>
                      <a:pt x="13" y="184"/>
                    </a:cubicBezTo>
                    <a:cubicBezTo>
                      <a:pt x="17" y="179"/>
                      <a:pt x="21" y="175"/>
                      <a:pt x="26" y="171"/>
                    </a:cubicBezTo>
                    <a:cubicBezTo>
                      <a:pt x="30" y="166"/>
                      <a:pt x="34" y="162"/>
                      <a:pt x="38" y="158"/>
                    </a:cubicBezTo>
                    <a:cubicBezTo>
                      <a:pt x="39" y="157"/>
                      <a:pt x="41" y="156"/>
                      <a:pt x="43" y="155"/>
                    </a:cubicBezTo>
                    <a:cubicBezTo>
                      <a:pt x="45" y="153"/>
                      <a:pt x="46" y="150"/>
                      <a:pt x="47" y="149"/>
                    </a:cubicBezTo>
                    <a:cubicBezTo>
                      <a:pt x="51" y="146"/>
                      <a:pt x="54" y="145"/>
                      <a:pt x="58" y="143"/>
                    </a:cubicBezTo>
                    <a:cubicBezTo>
                      <a:pt x="61" y="141"/>
                      <a:pt x="64" y="141"/>
                      <a:pt x="66" y="139"/>
                    </a:cubicBezTo>
                    <a:cubicBezTo>
                      <a:pt x="70" y="136"/>
                      <a:pt x="72" y="132"/>
                      <a:pt x="75" y="128"/>
                    </a:cubicBezTo>
                    <a:cubicBezTo>
                      <a:pt x="78" y="124"/>
                      <a:pt x="81" y="120"/>
                      <a:pt x="84" y="116"/>
                    </a:cubicBezTo>
                    <a:cubicBezTo>
                      <a:pt x="87" y="111"/>
                      <a:pt x="90" y="106"/>
                      <a:pt x="92" y="102"/>
                    </a:cubicBezTo>
                    <a:cubicBezTo>
                      <a:pt x="96" y="96"/>
                      <a:pt x="100" y="90"/>
                      <a:pt x="104" y="84"/>
                    </a:cubicBezTo>
                    <a:cubicBezTo>
                      <a:pt x="104" y="83"/>
                      <a:pt x="103" y="81"/>
                      <a:pt x="103" y="80"/>
                    </a:cubicBezTo>
                    <a:cubicBezTo>
                      <a:pt x="106" y="74"/>
                      <a:pt x="110" y="69"/>
                      <a:pt x="113" y="63"/>
                    </a:cubicBezTo>
                    <a:cubicBezTo>
                      <a:pt x="113" y="62"/>
                      <a:pt x="112" y="60"/>
                      <a:pt x="112" y="59"/>
                    </a:cubicBezTo>
                    <a:cubicBezTo>
                      <a:pt x="113" y="58"/>
                      <a:pt x="116" y="57"/>
                      <a:pt x="117" y="55"/>
                    </a:cubicBezTo>
                    <a:cubicBezTo>
                      <a:pt x="119" y="52"/>
                      <a:pt x="120" y="48"/>
                      <a:pt x="121" y="45"/>
                    </a:cubicBezTo>
                    <a:cubicBezTo>
                      <a:pt x="122" y="42"/>
                      <a:pt x="124" y="39"/>
                      <a:pt x="125" y="36"/>
                    </a:cubicBezTo>
                    <a:cubicBezTo>
                      <a:pt x="125" y="32"/>
                      <a:pt x="124" y="28"/>
                      <a:pt x="125" y="25"/>
                    </a:cubicBezTo>
                    <a:cubicBezTo>
                      <a:pt x="125" y="23"/>
                      <a:pt x="128" y="21"/>
                      <a:pt x="128" y="19"/>
                    </a:cubicBezTo>
                    <a:cubicBezTo>
                      <a:pt x="128" y="16"/>
                      <a:pt x="127" y="13"/>
                      <a:pt x="127" y="10"/>
                    </a:cubicBezTo>
                    <a:cubicBezTo>
                      <a:pt x="127" y="7"/>
                      <a:pt x="130" y="5"/>
                      <a:pt x="129" y="2"/>
                    </a:cubicBezTo>
                    <a:cubicBezTo>
                      <a:pt x="128" y="0"/>
                      <a:pt x="125" y="0"/>
                      <a:pt x="123" y="0"/>
                    </a:cubicBezTo>
                    <a:cubicBezTo>
                      <a:pt x="121" y="0"/>
                      <a:pt x="120" y="1"/>
                      <a:pt x="120" y="1"/>
                    </a:cubicBezTo>
                    <a:cubicBezTo>
                      <a:pt x="118" y="2"/>
                      <a:pt x="117" y="4"/>
                      <a:pt x="116" y="5"/>
                    </a:cubicBezTo>
                    <a:cubicBezTo>
                      <a:pt x="113" y="7"/>
                      <a:pt x="109" y="7"/>
                      <a:pt x="106" y="8"/>
                    </a:cubicBezTo>
                    <a:cubicBezTo>
                      <a:pt x="104" y="9"/>
                      <a:pt x="103" y="10"/>
                      <a:pt x="100" y="11"/>
                    </a:cubicBezTo>
                    <a:cubicBezTo>
                      <a:pt x="98" y="11"/>
                      <a:pt x="96" y="9"/>
                      <a:pt x="94" y="9"/>
                    </a:cubicBezTo>
                    <a:cubicBezTo>
                      <a:pt x="92" y="9"/>
                      <a:pt x="91" y="12"/>
                      <a:pt x="89" y="12"/>
                    </a:cubicBezTo>
                    <a:cubicBezTo>
                      <a:pt x="86" y="13"/>
                      <a:pt x="83" y="11"/>
                      <a:pt x="80" y="12"/>
                    </a:cubicBezTo>
                    <a:cubicBezTo>
                      <a:pt x="77" y="13"/>
                      <a:pt x="75" y="15"/>
                      <a:pt x="73" y="16"/>
                    </a:cubicBezTo>
                    <a:cubicBezTo>
                      <a:pt x="70" y="18"/>
                      <a:pt x="67" y="19"/>
                      <a:pt x="64" y="19"/>
                    </a:cubicBezTo>
                    <a:cubicBezTo>
                      <a:pt x="63" y="19"/>
                      <a:pt x="61" y="18"/>
                      <a:pt x="59" y="18"/>
                    </a:cubicBezTo>
                    <a:cubicBezTo>
                      <a:pt x="56" y="19"/>
                      <a:pt x="53" y="22"/>
                      <a:pt x="49" y="22"/>
                    </a:cubicBezTo>
                    <a:cubicBezTo>
                      <a:pt x="46" y="23"/>
                      <a:pt x="42" y="22"/>
                      <a:pt x="39" y="21"/>
                    </a:cubicBezTo>
                    <a:cubicBezTo>
                      <a:pt x="37" y="20"/>
                      <a:pt x="35" y="18"/>
                      <a:pt x="34" y="16"/>
                    </a:cubicBezTo>
                    <a:cubicBezTo>
                      <a:pt x="33" y="15"/>
                      <a:pt x="35" y="13"/>
                      <a:pt x="34" y="12"/>
                    </a:cubicBezTo>
                    <a:cubicBezTo>
                      <a:pt x="32" y="11"/>
                      <a:pt x="31" y="11"/>
                      <a:pt x="29" y="10"/>
                    </a:cubicBezTo>
                    <a:cubicBezTo>
                      <a:pt x="28" y="11"/>
                      <a:pt x="27" y="11"/>
                      <a:pt x="26" y="12"/>
                    </a:cubicBezTo>
                    <a:cubicBezTo>
                      <a:pt x="25" y="13"/>
                      <a:pt x="24" y="14"/>
                      <a:pt x="23" y="14"/>
                    </a:cubicBezTo>
                    <a:cubicBezTo>
                      <a:pt x="21" y="17"/>
                      <a:pt x="17" y="20"/>
                      <a:pt x="18" y="23"/>
                    </a:cubicBezTo>
                    <a:cubicBezTo>
                      <a:pt x="19" y="27"/>
                      <a:pt x="24" y="28"/>
                      <a:pt x="26" y="31"/>
                    </a:cubicBezTo>
                    <a:cubicBezTo>
                      <a:pt x="27" y="32"/>
                      <a:pt x="27" y="34"/>
                      <a:pt x="28" y="36"/>
                    </a:cubicBezTo>
                    <a:cubicBezTo>
                      <a:pt x="30" y="38"/>
                      <a:pt x="31" y="41"/>
                      <a:pt x="34" y="42"/>
                    </a:cubicBezTo>
                    <a:lnTo>
                      <a:pt x="75" y="58"/>
                    </a:lnTo>
                    <a:cubicBezTo>
                      <a:pt x="79" y="59"/>
                      <a:pt x="90" y="53"/>
                      <a:pt x="87" y="56"/>
                    </a:cubicBezTo>
                    <a:lnTo>
                      <a:pt x="50" y="101"/>
                    </a:lnTo>
                    <a:cubicBezTo>
                      <a:pt x="47" y="105"/>
                      <a:pt x="40" y="101"/>
                      <a:pt x="36" y="102"/>
                    </a:cubicBezTo>
                    <a:cubicBezTo>
                      <a:pt x="31" y="103"/>
                      <a:pt x="27" y="106"/>
                      <a:pt x="22" y="108"/>
                    </a:cubicBezTo>
                    <a:cubicBezTo>
                      <a:pt x="18" y="110"/>
                      <a:pt x="13" y="114"/>
                      <a:pt x="9" y="116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49" name="Freeform 2660"/>
              <p:cNvSpPr>
                <a:spLocks noChangeAspect="1"/>
              </p:cNvSpPr>
              <p:nvPr/>
            </p:nvSpPr>
            <p:spPr bwMode="auto">
              <a:xfrm>
                <a:off x="5120852" y="4862498"/>
                <a:ext cx="58881" cy="63342"/>
              </a:xfrm>
              <a:custGeom>
                <a:avLst/>
                <a:gdLst>
                  <a:gd name="T0" fmla="*/ 23 w 30"/>
                  <a:gd name="T1" fmla="*/ 0 h 32"/>
                  <a:gd name="T2" fmla="*/ 35 w 30"/>
                  <a:gd name="T3" fmla="*/ 11 h 32"/>
                  <a:gd name="T4" fmla="*/ 35 w 30"/>
                  <a:gd name="T5" fmla="*/ 18 h 32"/>
                  <a:gd name="T6" fmla="*/ 29 w 30"/>
                  <a:gd name="T7" fmla="*/ 28 h 32"/>
                  <a:gd name="T8" fmla="*/ 25 w 30"/>
                  <a:gd name="T9" fmla="*/ 29 h 32"/>
                  <a:gd name="T10" fmla="*/ 19 w 30"/>
                  <a:gd name="T11" fmla="*/ 29 h 32"/>
                  <a:gd name="T12" fmla="*/ 14 w 30"/>
                  <a:gd name="T13" fmla="*/ 38 h 32"/>
                  <a:gd name="T14" fmla="*/ 10 w 30"/>
                  <a:gd name="T15" fmla="*/ 38 h 32"/>
                  <a:gd name="T16" fmla="*/ 5 w 30"/>
                  <a:gd name="T17" fmla="*/ 32 h 32"/>
                  <a:gd name="T18" fmla="*/ 1 w 30"/>
                  <a:gd name="T19" fmla="*/ 26 h 32"/>
                  <a:gd name="T20" fmla="*/ 1 w 30"/>
                  <a:gd name="T21" fmla="*/ 18 h 32"/>
                  <a:gd name="T22" fmla="*/ 7 w 30"/>
                  <a:gd name="T23" fmla="*/ 15 h 32"/>
                  <a:gd name="T24" fmla="*/ 13 w 30"/>
                  <a:gd name="T25" fmla="*/ 6 h 32"/>
                  <a:gd name="T26" fmla="*/ 19 w 30"/>
                  <a:gd name="T27" fmla="*/ 4 h 32"/>
                  <a:gd name="T28" fmla="*/ 23 w 30"/>
                  <a:gd name="T29" fmla="*/ 0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"/>
                  <a:gd name="T46" fmla="*/ 0 h 32"/>
                  <a:gd name="T47" fmla="*/ 30 w 30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" h="32">
                    <a:moveTo>
                      <a:pt x="19" y="0"/>
                    </a:moveTo>
                    <a:cubicBezTo>
                      <a:pt x="23" y="2"/>
                      <a:pt x="26" y="6"/>
                      <a:pt x="29" y="9"/>
                    </a:cubicBezTo>
                    <a:cubicBezTo>
                      <a:pt x="30" y="11"/>
                      <a:pt x="30" y="13"/>
                      <a:pt x="29" y="15"/>
                    </a:cubicBezTo>
                    <a:cubicBezTo>
                      <a:pt x="28" y="18"/>
                      <a:pt x="26" y="20"/>
                      <a:pt x="24" y="23"/>
                    </a:cubicBezTo>
                    <a:cubicBezTo>
                      <a:pt x="23" y="24"/>
                      <a:pt x="22" y="24"/>
                      <a:pt x="21" y="24"/>
                    </a:cubicBezTo>
                    <a:cubicBezTo>
                      <a:pt x="19" y="24"/>
                      <a:pt x="17" y="23"/>
                      <a:pt x="16" y="24"/>
                    </a:cubicBezTo>
                    <a:cubicBezTo>
                      <a:pt x="14" y="26"/>
                      <a:pt x="14" y="30"/>
                      <a:pt x="12" y="31"/>
                    </a:cubicBezTo>
                    <a:cubicBezTo>
                      <a:pt x="11" y="32"/>
                      <a:pt x="9" y="32"/>
                      <a:pt x="8" y="31"/>
                    </a:cubicBezTo>
                    <a:cubicBezTo>
                      <a:pt x="6" y="30"/>
                      <a:pt x="5" y="28"/>
                      <a:pt x="4" y="26"/>
                    </a:cubicBezTo>
                    <a:cubicBezTo>
                      <a:pt x="3" y="24"/>
                      <a:pt x="2" y="23"/>
                      <a:pt x="1" y="21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2" y="14"/>
                      <a:pt x="5" y="14"/>
                      <a:pt x="6" y="12"/>
                    </a:cubicBezTo>
                    <a:cubicBezTo>
                      <a:pt x="8" y="10"/>
                      <a:pt x="8" y="7"/>
                      <a:pt x="11" y="5"/>
                    </a:cubicBezTo>
                    <a:cubicBezTo>
                      <a:pt x="12" y="4"/>
                      <a:pt x="14" y="4"/>
                      <a:pt x="16" y="3"/>
                    </a:cubicBezTo>
                    <a:cubicBezTo>
                      <a:pt x="17" y="3"/>
                      <a:pt x="18" y="0"/>
                      <a:pt x="19" y="0"/>
                    </a:cubicBezTo>
                    <a:close/>
                  </a:path>
                </a:pathLst>
              </a:custGeom>
              <a:solidFill>
                <a:srgbClr val="6CF834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0" name="Freeform 2661"/>
              <p:cNvSpPr>
                <a:spLocks noChangeAspect="1"/>
              </p:cNvSpPr>
              <p:nvPr/>
            </p:nvSpPr>
            <p:spPr bwMode="auto">
              <a:xfrm>
                <a:off x="4716861" y="3056464"/>
                <a:ext cx="9814" cy="8121"/>
              </a:xfrm>
              <a:custGeom>
                <a:avLst/>
                <a:gdLst>
                  <a:gd name="T0" fmla="*/ 2 w 5"/>
                  <a:gd name="T1" fmla="*/ 0 h 4"/>
                  <a:gd name="T2" fmla="*/ 6 w 5"/>
                  <a:gd name="T3" fmla="*/ 3 h 4"/>
                  <a:gd name="T4" fmla="*/ 2 w 5"/>
                  <a:gd name="T5" fmla="*/ 5 h 4"/>
                  <a:gd name="T6" fmla="*/ 0 w 5"/>
                  <a:gd name="T7" fmla="*/ 3 h 4"/>
                  <a:gd name="T8" fmla="*/ 2 w 5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1"/>
                      <a:pt x="5" y="2"/>
                    </a:cubicBezTo>
                    <a:cubicBezTo>
                      <a:pt x="5" y="3"/>
                      <a:pt x="3" y="4"/>
                      <a:pt x="2" y="4"/>
                    </a:cubicBezTo>
                    <a:cubicBezTo>
                      <a:pt x="2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1" name="Freeform 2662"/>
              <p:cNvSpPr>
                <a:spLocks noChangeAspect="1"/>
              </p:cNvSpPr>
              <p:nvPr/>
            </p:nvSpPr>
            <p:spPr bwMode="auto">
              <a:xfrm>
                <a:off x="5771816" y="3680130"/>
                <a:ext cx="35983" cy="12993"/>
              </a:xfrm>
              <a:custGeom>
                <a:avLst/>
                <a:gdLst>
                  <a:gd name="T0" fmla="*/ 6 w 18"/>
                  <a:gd name="T1" fmla="*/ 1 h 7"/>
                  <a:gd name="T2" fmla="*/ 11 w 18"/>
                  <a:gd name="T3" fmla="*/ 3 h 7"/>
                  <a:gd name="T4" fmla="*/ 17 w 18"/>
                  <a:gd name="T5" fmla="*/ 0 h 7"/>
                  <a:gd name="T6" fmla="*/ 21 w 18"/>
                  <a:gd name="T7" fmla="*/ 3 h 7"/>
                  <a:gd name="T8" fmla="*/ 13 w 18"/>
                  <a:gd name="T9" fmla="*/ 8 h 7"/>
                  <a:gd name="T10" fmla="*/ 1 w 18"/>
                  <a:gd name="T11" fmla="*/ 5 h 7"/>
                  <a:gd name="T12" fmla="*/ 6 w 18"/>
                  <a:gd name="T13" fmla="*/ 1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7"/>
                  <a:gd name="T23" fmla="*/ 18 w 1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7">
                    <a:moveTo>
                      <a:pt x="5" y="1"/>
                    </a:moveTo>
                    <a:cubicBezTo>
                      <a:pt x="6" y="1"/>
                      <a:pt x="8" y="3"/>
                      <a:pt x="9" y="3"/>
                    </a:cubicBezTo>
                    <a:cubicBezTo>
                      <a:pt x="11" y="3"/>
                      <a:pt x="12" y="0"/>
                      <a:pt x="14" y="0"/>
                    </a:cubicBezTo>
                    <a:cubicBezTo>
                      <a:pt x="15" y="0"/>
                      <a:pt x="18" y="2"/>
                      <a:pt x="17" y="3"/>
                    </a:cubicBezTo>
                    <a:cubicBezTo>
                      <a:pt x="16" y="5"/>
                      <a:pt x="14" y="7"/>
                      <a:pt x="11" y="7"/>
                    </a:cubicBezTo>
                    <a:cubicBezTo>
                      <a:pt x="8" y="7"/>
                      <a:pt x="4" y="6"/>
                      <a:pt x="1" y="4"/>
                    </a:cubicBezTo>
                    <a:cubicBezTo>
                      <a:pt x="0" y="3"/>
                      <a:pt x="3" y="1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2" name="Freeform 2663"/>
              <p:cNvSpPr>
                <a:spLocks noChangeAspect="1"/>
              </p:cNvSpPr>
              <p:nvPr/>
            </p:nvSpPr>
            <p:spPr bwMode="auto">
              <a:xfrm>
                <a:off x="5431614" y="4194980"/>
                <a:ext cx="11450" cy="24362"/>
              </a:xfrm>
              <a:custGeom>
                <a:avLst/>
                <a:gdLst>
                  <a:gd name="T0" fmla="*/ 2 w 6"/>
                  <a:gd name="T1" fmla="*/ 1 h 13"/>
                  <a:gd name="T2" fmla="*/ 7 w 6"/>
                  <a:gd name="T3" fmla="*/ 13 h 13"/>
                  <a:gd name="T4" fmla="*/ 1 w 6"/>
                  <a:gd name="T5" fmla="*/ 9 h 13"/>
                  <a:gd name="T6" fmla="*/ 2 w 6"/>
                  <a:gd name="T7" fmla="*/ 1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13"/>
                  <a:gd name="T14" fmla="*/ 6 w 6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13">
                    <a:moveTo>
                      <a:pt x="2" y="1"/>
                    </a:moveTo>
                    <a:cubicBezTo>
                      <a:pt x="5" y="3"/>
                      <a:pt x="6" y="8"/>
                      <a:pt x="6" y="11"/>
                    </a:cubicBezTo>
                    <a:cubicBezTo>
                      <a:pt x="5" y="13"/>
                      <a:pt x="2" y="10"/>
                      <a:pt x="1" y="8"/>
                    </a:cubicBezTo>
                    <a:cubicBezTo>
                      <a:pt x="0" y="6"/>
                      <a:pt x="0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3" name="Freeform 2664"/>
              <p:cNvSpPr>
                <a:spLocks noChangeAspect="1"/>
              </p:cNvSpPr>
              <p:nvPr/>
            </p:nvSpPr>
            <p:spPr bwMode="auto">
              <a:xfrm>
                <a:off x="4661251" y="3931871"/>
                <a:ext cx="17992" cy="21114"/>
              </a:xfrm>
              <a:custGeom>
                <a:avLst/>
                <a:gdLst>
                  <a:gd name="T0" fmla="*/ 10 w 9"/>
                  <a:gd name="T1" fmla="*/ 2 h 11"/>
                  <a:gd name="T2" fmla="*/ 7 w 9"/>
                  <a:gd name="T3" fmla="*/ 12 h 11"/>
                  <a:gd name="T4" fmla="*/ 1 w 9"/>
                  <a:gd name="T5" fmla="*/ 9 h 11"/>
                  <a:gd name="T6" fmla="*/ 6 w 9"/>
                  <a:gd name="T7" fmla="*/ 4 h 11"/>
                  <a:gd name="T8" fmla="*/ 10 w 9"/>
                  <a:gd name="T9" fmla="*/ 2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1"/>
                  <a:gd name="T17" fmla="*/ 9 w 9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1">
                    <a:moveTo>
                      <a:pt x="8" y="2"/>
                    </a:moveTo>
                    <a:cubicBezTo>
                      <a:pt x="9" y="4"/>
                      <a:pt x="9" y="8"/>
                      <a:pt x="6" y="10"/>
                    </a:cubicBezTo>
                    <a:cubicBezTo>
                      <a:pt x="5" y="11"/>
                      <a:pt x="1" y="10"/>
                      <a:pt x="1" y="8"/>
                    </a:cubicBezTo>
                    <a:cubicBezTo>
                      <a:pt x="0" y="6"/>
                      <a:pt x="3" y="4"/>
                      <a:pt x="5" y="3"/>
                    </a:cubicBezTo>
                    <a:cubicBezTo>
                      <a:pt x="6" y="2"/>
                      <a:pt x="8" y="0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4" name="Freeform 2665"/>
              <p:cNvSpPr>
                <a:spLocks noChangeAspect="1"/>
              </p:cNvSpPr>
              <p:nvPr/>
            </p:nvSpPr>
            <p:spPr bwMode="auto">
              <a:xfrm>
                <a:off x="4621997" y="4022822"/>
                <a:ext cx="8178" cy="11369"/>
              </a:xfrm>
              <a:custGeom>
                <a:avLst/>
                <a:gdLst>
                  <a:gd name="T0" fmla="*/ 3 w 4"/>
                  <a:gd name="T1" fmla="*/ 0 h 6"/>
                  <a:gd name="T2" fmla="*/ 5 w 4"/>
                  <a:gd name="T3" fmla="*/ 2 h 6"/>
                  <a:gd name="T4" fmla="*/ 3 w 4"/>
                  <a:gd name="T5" fmla="*/ 7 h 6"/>
                  <a:gd name="T6" fmla="*/ 0 w 4"/>
                  <a:gd name="T7" fmla="*/ 6 h 6"/>
                  <a:gd name="T8" fmla="*/ 3 w 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4"/>
                      <a:pt x="3" y="5"/>
                      <a:pt x="2" y="6"/>
                    </a:cubicBezTo>
                    <a:cubicBezTo>
                      <a:pt x="1" y="6"/>
                      <a:pt x="0" y="6"/>
                      <a:pt x="0" y="5"/>
                    </a:cubicBezTo>
                    <a:cubicBezTo>
                      <a:pt x="0" y="3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5" name="Oval 2666"/>
              <p:cNvSpPr>
                <a:spLocks noChangeAspect="1" noChangeArrowheads="1"/>
              </p:cNvSpPr>
              <p:nvPr/>
            </p:nvSpPr>
            <p:spPr bwMode="auto">
              <a:xfrm>
                <a:off x="3850000" y="3613541"/>
                <a:ext cx="9814" cy="8121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6" name="Freeform 2667"/>
              <p:cNvSpPr>
                <a:spLocks noChangeAspect="1"/>
              </p:cNvSpPr>
              <p:nvPr/>
            </p:nvSpPr>
            <p:spPr bwMode="auto">
              <a:xfrm>
                <a:off x="3872898" y="3607045"/>
                <a:ext cx="9814" cy="8121"/>
              </a:xfrm>
              <a:custGeom>
                <a:avLst/>
                <a:gdLst>
                  <a:gd name="T0" fmla="*/ 2 w 5"/>
                  <a:gd name="T1" fmla="*/ 0 h 4"/>
                  <a:gd name="T2" fmla="*/ 6 w 5"/>
                  <a:gd name="T3" fmla="*/ 3 h 4"/>
                  <a:gd name="T4" fmla="*/ 2 w 5"/>
                  <a:gd name="T5" fmla="*/ 5 h 4"/>
                  <a:gd name="T6" fmla="*/ 0 w 5"/>
                  <a:gd name="T7" fmla="*/ 3 h 4"/>
                  <a:gd name="T8" fmla="*/ 2 w 5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1"/>
                      <a:pt x="5" y="2"/>
                    </a:cubicBezTo>
                    <a:cubicBezTo>
                      <a:pt x="5" y="4"/>
                      <a:pt x="3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7" name="Oval 2668"/>
              <p:cNvSpPr>
                <a:spLocks noChangeAspect="1" noChangeArrowheads="1"/>
              </p:cNvSpPr>
              <p:nvPr/>
            </p:nvSpPr>
            <p:spPr bwMode="auto">
              <a:xfrm>
                <a:off x="3889254" y="3577810"/>
                <a:ext cx="9814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8" name="Freeform 2669"/>
              <p:cNvSpPr>
                <a:spLocks noChangeAspect="1"/>
              </p:cNvSpPr>
              <p:nvPr/>
            </p:nvSpPr>
            <p:spPr bwMode="auto">
              <a:xfrm>
                <a:off x="3856542" y="3566441"/>
                <a:ext cx="11450" cy="8121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3 h 4"/>
                  <a:gd name="T4" fmla="*/ 2 w 6"/>
                  <a:gd name="T5" fmla="*/ 4 h 4"/>
                  <a:gd name="T6" fmla="*/ 0 w 6"/>
                  <a:gd name="T7" fmla="*/ 1 h 4"/>
                  <a:gd name="T8" fmla="*/ 4 w 6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3" y="0"/>
                    </a:moveTo>
                    <a:cubicBezTo>
                      <a:pt x="4" y="0"/>
                      <a:pt x="6" y="1"/>
                      <a:pt x="5" y="2"/>
                    </a:cubicBezTo>
                    <a:cubicBezTo>
                      <a:pt x="5" y="3"/>
                      <a:pt x="3" y="4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59" name="Freeform 2670"/>
              <p:cNvSpPr>
                <a:spLocks noChangeAspect="1"/>
              </p:cNvSpPr>
              <p:nvPr/>
            </p:nvSpPr>
            <p:spPr bwMode="auto">
              <a:xfrm>
                <a:off x="3889254" y="3563193"/>
                <a:ext cx="6542" cy="4873"/>
              </a:xfrm>
              <a:custGeom>
                <a:avLst/>
                <a:gdLst>
                  <a:gd name="T0" fmla="*/ 1 w 3"/>
                  <a:gd name="T1" fmla="*/ 0 h 3"/>
                  <a:gd name="T2" fmla="*/ 4 w 3"/>
                  <a:gd name="T3" fmla="*/ 1 h 3"/>
                  <a:gd name="T4" fmla="*/ 3 w 3"/>
                  <a:gd name="T5" fmla="*/ 3 h 3"/>
                  <a:gd name="T6" fmla="*/ 0 w 3"/>
                  <a:gd name="T7" fmla="*/ 1 h 3"/>
                  <a:gd name="T8" fmla="*/ 1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0" name="Freeform 2671"/>
              <p:cNvSpPr>
                <a:spLocks noChangeAspect="1"/>
              </p:cNvSpPr>
              <p:nvPr/>
            </p:nvSpPr>
            <p:spPr bwMode="auto">
              <a:xfrm>
                <a:off x="3840186" y="3558321"/>
                <a:ext cx="6542" cy="6497"/>
              </a:xfrm>
              <a:custGeom>
                <a:avLst/>
                <a:gdLst>
                  <a:gd name="T0" fmla="*/ 1 w 3"/>
                  <a:gd name="T1" fmla="*/ 0 h 3"/>
                  <a:gd name="T2" fmla="*/ 4 w 3"/>
                  <a:gd name="T3" fmla="*/ 1 h 3"/>
                  <a:gd name="T4" fmla="*/ 3 w 3"/>
                  <a:gd name="T5" fmla="*/ 4 h 3"/>
                  <a:gd name="T6" fmla="*/ 0 w 3"/>
                  <a:gd name="T7" fmla="*/ 3 h 3"/>
                  <a:gd name="T8" fmla="*/ 1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1" name="Freeform 2672"/>
              <p:cNvSpPr>
                <a:spLocks noChangeAspect="1"/>
              </p:cNvSpPr>
              <p:nvPr/>
            </p:nvSpPr>
            <p:spPr bwMode="auto">
              <a:xfrm>
                <a:off x="3879440" y="3605420"/>
                <a:ext cx="8178" cy="6497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1 h 3"/>
                  <a:gd name="T4" fmla="*/ 3 w 4"/>
                  <a:gd name="T5" fmla="*/ 3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0"/>
                    </a:moveTo>
                    <a:cubicBezTo>
                      <a:pt x="2" y="0"/>
                      <a:pt x="4" y="0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2" name="Freeform 2673"/>
              <p:cNvSpPr>
                <a:spLocks noChangeAspect="1"/>
              </p:cNvSpPr>
              <p:nvPr/>
            </p:nvSpPr>
            <p:spPr bwMode="auto">
              <a:xfrm>
                <a:off x="3840186" y="3615165"/>
                <a:ext cx="6542" cy="4873"/>
              </a:xfrm>
              <a:custGeom>
                <a:avLst/>
                <a:gdLst>
                  <a:gd name="T0" fmla="*/ 1 w 3"/>
                  <a:gd name="T1" fmla="*/ 0 h 2"/>
                  <a:gd name="T2" fmla="*/ 4 w 3"/>
                  <a:gd name="T3" fmla="*/ 2 h 2"/>
                  <a:gd name="T4" fmla="*/ 3 w 3"/>
                  <a:gd name="T5" fmla="*/ 3 h 2"/>
                  <a:gd name="T6" fmla="*/ 0 w 3"/>
                  <a:gd name="T7" fmla="*/ 3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3" name="Freeform 2674"/>
              <p:cNvSpPr>
                <a:spLocks noChangeAspect="1"/>
              </p:cNvSpPr>
              <p:nvPr/>
            </p:nvSpPr>
            <p:spPr bwMode="auto">
              <a:xfrm>
                <a:off x="3833644" y="3548576"/>
                <a:ext cx="9814" cy="8121"/>
              </a:xfrm>
              <a:custGeom>
                <a:avLst/>
                <a:gdLst>
                  <a:gd name="T0" fmla="*/ 1 w 5"/>
                  <a:gd name="T1" fmla="*/ 1 h 4"/>
                  <a:gd name="T2" fmla="*/ 5 w 5"/>
                  <a:gd name="T3" fmla="*/ 1 h 4"/>
                  <a:gd name="T4" fmla="*/ 4 w 5"/>
                  <a:gd name="T5" fmla="*/ 5 h 4"/>
                  <a:gd name="T6" fmla="*/ 0 w 5"/>
                  <a:gd name="T7" fmla="*/ 4 h 4"/>
                  <a:gd name="T8" fmla="*/ 1 w 5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1" y="1"/>
                    </a:moveTo>
                    <a:cubicBezTo>
                      <a:pt x="2" y="0"/>
                      <a:pt x="4" y="1"/>
                      <a:pt x="4" y="1"/>
                    </a:cubicBezTo>
                    <a:cubicBezTo>
                      <a:pt x="5" y="2"/>
                      <a:pt x="4" y="4"/>
                      <a:pt x="3" y="4"/>
                    </a:cubicBezTo>
                    <a:cubicBezTo>
                      <a:pt x="2" y="4"/>
                      <a:pt x="0" y="4"/>
                      <a:pt x="0" y="3"/>
                    </a:cubicBezTo>
                    <a:cubicBezTo>
                      <a:pt x="0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4" name="Freeform 2675"/>
              <p:cNvSpPr>
                <a:spLocks noChangeAspect="1"/>
              </p:cNvSpPr>
              <p:nvPr/>
            </p:nvSpPr>
            <p:spPr bwMode="auto">
              <a:xfrm>
                <a:off x="4098609" y="3212380"/>
                <a:ext cx="21263" cy="27611"/>
              </a:xfrm>
              <a:custGeom>
                <a:avLst/>
                <a:gdLst>
                  <a:gd name="T0" fmla="*/ 13 w 11"/>
                  <a:gd name="T1" fmla="*/ 1 h 14"/>
                  <a:gd name="T2" fmla="*/ 11 w 11"/>
                  <a:gd name="T3" fmla="*/ 11 h 14"/>
                  <a:gd name="T4" fmla="*/ 2 w 11"/>
                  <a:gd name="T5" fmla="*/ 15 h 14"/>
                  <a:gd name="T6" fmla="*/ 8 w 11"/>
                  <a:gd name="T7" fmla="*/ 6 h 14"/>
                  <a:gd name="T8" fmla="*/ 11 w 11"/>
                  <a:gd name="T9" fmla="*/ 0 h 14"/>
                  <a:gd name="T10" fmla="*/ 13 w 11"/>
                  <a:gd name="T11" fmla="*/ 1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4"/>
                  <a:gd name="T20" fmla="*/ 11 w 11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4">
                    <a:moveTo>
                      <a:pt x="11" y="1"/>
                    </a:moveTo>
                    <a:cubicBezTo>
                      <a:pt x="11" y="4"/>
                      <a:pt x="11" y="7"/>
                      <a:pt x="9" y="9"/>
                    </a:cubicBezTo>
                    <a:cubicBezTo>
                      <a:pt x="8" y="11"/>
                      <a:pt x="3" y="14"/>
                      <a:pt x="2" y="12"/>
                    </a:cubicBezTo>
                    <a:cubicBezTo>
                      <a:pt x="0" y="9"/>
                      <a:pt x="5" y="8"/>
                      <a:pt x="7" y="5"/>
                    </a:cubicBezTo>
                    <a:cubicBezTo>
                      <a:pt x="8" y="4"/>
                      <a:pt x="8" y="2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5" name="Freeform 2676"/>
              <p:cNvSpPr>
                <a:spLocks noChangeAspect="1"/>
              </p:cNvSpPr>
              <p:nvPr/>
            </p:nvSpPr>
            <p:spPr bwMode="auto">
              <a:xfrm>
                <a:off x="4119872" y="3194515"/>
                <a:ext cx="14721" cy="17866"/>
              </a:xfrm>
              <a:custGeom>
                <a:avLst/>
                <a:gdLst>
                  <a:gd name="T0" fmla="*/ 8 w 8"/>
                  <a:gd name="T1" fmla="*/ 2 h 9"/>
                  <a:gd name="T2" fmla="*/ 6 w 8"/>
                  <a:gd name="T3" fmla="*/ 7 h 9"/>
                  <a:gd name="T4" fmla="*/ 1 w 8"/>
                  <a:gd name="T5" fmla="*/ 10 h 9"/>
                  <a:gd name="T6" fmla="*/ 1 w 8"/>
                  <a:gd name="T7" fmla="*/ 5 h 9"/>
                  <a:gd name="T8" fmla="*/ 8 w 8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7" y="2"/>
                    </a:moveTo>
                    <a:cubicBezTo>
                      <a:pt x="8" y="2"/>
                      <a:pt x="6" y="5"/>
                      <a:pt x="5" y="6"/>
                    </a:cubicBezTo>
                    <a:cubicBezTo>
                      <a:pt x="4" y="7"/>
                      <a:pt x="2" y="9"/>
                      <a:pt x="1" y="8"/>
                    </a:cubicBezTo>
                    <a:cubicBezTo>
                      <a:pt x="0" y="7"/>
                      <a:pt x="0" y="5"/>
                      <a:pt x="1" y="4"/>
                    </a:cubicBezTo>
                    <a:cubicBezTo>
                      <a:pt x="3" y="2"/>
                      <a:pt x="5" y="0"/>
                      <a:pt x="7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6" name="Freeform 2677"/>
              <p:cNvSpPr>
                <a:spLocks noChangeAspect="1"/>
              </p:cNvSpPr>
              <p:nvPr/>
            </p:nvSpPr>
            <p:spPr bwMode="auto">
              <a:xfrm>
                <a:off x="4070805" y="3225373"/>
                <a:ext cx="14721" cy="16241"/>
              </a:xfrm>
              <a:custGeom>
                <a:avLst/>
                <a:gdLst>
                  <a:gd name="T0" fmla="*/ 8 w 8"/>
                  <a:gd name="T1" fmla="*/ 1 h 8"/>
                  <a:gd name="T2" fmla="*/ 8 w 8"/>
                  <a:gd name="T3" fmla="*/ 6 h 8"/>
                  <a:gd name="T4" fmla="*/ 5 w 8"/>
                  <a:gd name="T5" fmla="*/ 10 h 8"/>
                  <a:gd name="T6" fmla="*/ 0 w 8"/>
                  <a:gd name="T7" fmla="*/ 7 h 8"/>
                  <a:gd name="T8" fmla="*/ 2 w 8"/>
                  <a:gd name="T9" fmla="*/ 1 h 8"/>
                  <a:gd name="T10" fmla="*/ 8 w 8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7" y="1"/>
                    </a:moveTo>
                    <a:cubicBezTo>
                      <a:pt x="8" y="2"/>
                      <a:pt x="8" y="4"/>
                      <a:pt x="7" y="5"/>
                    </a:cubicBezTo>
                    <a:cubicBezTo>
                      <a:pt x="7" y="6"/>
                      <a:pt x="5" y="7"/>
                      <a:pt x="4" y="8"/>
                    </a:cubicBezTo>
                    <a:cubicBezTo>
                      <a:pt x="3" y="8"/>
                      <a:pt x="1" y="7"/>
                      <a:pt x="0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7" name="Freeform 2678"/>
              <p:cNvSpPr>
                <a:spLocks noChangeAspect="1"/>
              </p:cNvSpPr>
              <p:nvPr/>
            </p:nvSpPr>
            <p:spPr bwMode="auto">
              <a:xfrm>
                <a:off x="4044635" y="3215628"/>
                <a:ext cx="21263" cy="19490"/>
              </a:xfrm>
              <a:custGeom>
                <a:avLst/>
                <a:gdLst>
                  <a:gd name="T0" fmla="*/ 13 w 11"/>
                  <a:gd name="T1" fmla="*/ 2 h 10"/>
                  <a:gd name="T2" fmla="*/ 5 w 11"/>
                  <a:gd name="T3" fmla="*/ 12 h 10"/>
                  <a:gd name="T4" fmla="*/ 1 w 11"/>
                  <a:gd name="T5" fmla="*/ 8 h 10"/>
                  <a:gd name="T6" fmla="*/ 1 w 11"/>
                  <a:gd name="T7" fmla="*/ 5 h 10"/>
                  <a:gd name="T8" fmla="*/ 8 w 11"/>
                  <a:gd name="T9" fmla="*/ 1 h 10"/>
                  <a:gd name="T10" fmla="*/ 13 w 11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0"/>
                  <a:gd name="T20" fmla="*/ 11 w 11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0">
                    <a:moveTo>
                      <a:pt x="11" y="2"/>
                    </a:moveTo>
                    <a:cubicBezTo>
                      <a:pt x="9" y="5"/>
                      <a:pt x="7" y="8"/>
                      <a:pt x="4" y="10"/>
                    </a:cubicBezTo>
                    <a:cubicBezTo>
                      <a:pt x="3" y="10"/>
                      <a:pt x="2" y="8"/>
                      <a:pt x="1" y="7"/>
                    </a:cubicBezTo>
                    <a:cubicBezTo>
                      <a:pt x="1" y="6"/>
                      <a:pt x="0" y="5"/>
                      <a:pt x="1" y="4"/>
                    </a:cubicBezTo>
                    <a:cubicBezTo>
                      <a:pt x="3" y="2"/>
                      <a:pt x="5" y="1"/>
                      <a:pt x="7" y="1"/>
                    </a:cubicBezTo>
                    <a:cubicBezTo>
                      <a:pt x="8" y="0"/>
                      <a:pt x="11" y="1"/>
                      <a:pt x="1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8" name="Freeform 2679"/>
              <p:cNvSpPr>
                <a:spLocks noChangeAspect="1"/>
              </p:cNvSpPr>
              <p:nvPr/>
            </p:nvSpPr>
            <p:spPr bwMode="auto">
              <a:xfrm>
                <a:off x="4033186" y="3226998"/>
                <a:ext cx="11450" cy="9745"/>
              </a:xfrm>
              <a:custGeom>
                <a:avLst/>
                <a:gdLst>
                  <a:gd name="T0" fmla="*/ 1 w 6"/>
                  <a:gd name="T1" fmla="*/ 1 h 5"/>
                  <a:gd name="T2" fmla="*/ 7 w 6"/>
                  <a:gd name="T3" fmla="*/ 4 h 5"/>
                  <a:gd name="T4" fmla="*/ 4 w 6"/>
                  <a:gd name="T5" fmla="*/ 5 h 5"/>
                  <a:gd name="T6" fmla="*/ 1 w 6"/>
                  <a:gd name="T7" fmla="*/ 1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5"/>
                  <a:gd name="T14" fmla="*/ 6 w 6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5">
                    <a:moveTo>
                      <a:pt x="1" y="1"/>
                    </a:moveTo>
                    <a:cubicBezTo>
                      <a:pt x="3" y="0"/>
                      <a:pt x="5" y="1"/>
                      <a:pt x="6" y="3"/>
                    </a:cubicBezTo>
                    <a:cubicBezTo>
                      <a:pt x="6" y="4"/>
                      <a:pt x="4" y="5"/>
                      <a:pt x="3" y="4"/>
                    </a:cubicBezTo>
                    <a:cubicBezTo>
                      <a:pt x="2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69" name="Freeform 2680"/>
              <p:cNvSpPr>
                <a:spLocks noChangeAspect="1"/>
              </p:cNvSpPr>
              <p:nvPr/>
            </p:nvSpPr>
            <p:spPr bwMode="auto">
              <a:xfrm>
                <a:off x="4016830" y="3239991"/>
                <a:ext cx="9814" cy="11369"/>
              </a:xfrm>
              <a:custGeom>
                <a:avLst/>
                <a:gdLst>
                  <a:gd name="T0" fmla="*/ 5 w 5"/>
                  <a:gd name="T1" fmla="*/ 0 h 6"/>
                  <a:gd name="T2" fmla="*/ 4 w 5"/>
                  <a:gd name="T3" fmla="*/ 6 h 6"/>
                  <a:gd name="T4" fmla="*/ 1 w 5"/>
                  <a:gd name="T5" fmla="*/ 2 h 6"/>
                  <a:gd name="T6" fmla="*/ 5 w 5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6"/>
                  <a:gd name="T14" fmla="*/ 5 w 5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6">
                    <a:moveTo>
                      <a:pt x="4" y="0"/>
                    </a:moveTo>
                    <a:cubicBezTo>
                      <a:pt x="5" y="2"/>
                      <a:pt x="4" y="4"/>
                      <a:pt x="3" y="5"/>
                    </a:cubicBezTo>
                    <a:cubicBezTo>
                      <a:pt x="2" y="6"/>
                      <a:pt x="0" y="3"/>
                      <a:pt x="1" y="2"/>
                    </a:cubicBezTo>
                    <a:cubicBezTo>
                      <a:pt x="1" y="1"/>
                      <a:pt x="3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0" name="Freeform 2681"/>
              <p:cNvSpPr>
                <a:spLocks noChangeAspect="1"/>
              </p:cNvSpPr>
              <p:nvPr/>
            </p:nvSpPr>
            <p:spPr bwMode="auto">
              <a:xfrm>
                <a:off x="4020101" y="3205884"/>
                <a:ext cx="6542" cy="14618"/>
              </a:xfrm>
              <a:custGeom>
                <a:avLst/>
                <a:gdLst>
                  <a:gd name="T0" fmla="*/ 4 w 4"/>
                  <a:gd name="T1" fmla="*/ 3 h 7"/>
                  <a:gd name="T2" fmla="*/ 3 w 4"/>
                  <a:gd name="T3" fmla="*/ 9 h 7"/>
                  <a:gd name="T4" fmla="*/ 1 w 4"/>
                  <a:gd name="T5" fmla="*/ 5 h 7"/>
                  <a:gd name="T6" fmla="*/ 1 w 4"/>
                  <a:gd name="T7" fmla="*/ 1 h 7"/>
                  <a:gd name="T8" fmla="*/ 4 w 4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4" y="2"/>
                    </a:moveTo>
                    <a:cubicBezTo>
                      <a:pt x="4" y="4"/>
                      <a:pt x="4" y="6"/>
                      <a:pt x="3" y="7"/>
                    </a:cubicBezTo>
                    <a:cubicBezTo>
                      <a:pt x="2" y="7"/>
                      <a:pt x="1" y="5"/>
                      <a:pt x="1" y="4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1" name="Freeform 2682"/>
              <p:cNvSpPr>
                <a:spLocks noChangeAspect="1"/>
              </p:cNvSpPr>
              <p:nvPr/>
            </p:nvSpPr>
            <p:spPr bwMode="auto">
              <a:xfrm>
                <a:off x="4041364" y="3087323"/>
                <a:ext cx="14721" cy="8121"/>
              </a:xfrm>
              <a:custGeom>
                <a:avLst/>
                <a:gdLst>
                  <a:gd name="T0" fmla="*/ 3 w 8"/>
                  <a:gd name="T1" fmla="*/ 0 h 4"/>
                  <a:gd name="T2" fmla="*/ 9 w 8"/>
                  <a:gd name="T3" fmla="*/ 3 h 4"/>
                  <a:gd name="T4" fmla="*/ 5 w 8"/>
                  <a:gd name="T5" fmla="*/ 5 h 4"/>
                  <a:gd name="T6" fmla="*/ 0 w 8"/>
                  <a:gd name="T7" fmla="*/ 3 h 4"/>
                  <a:gd name="T8" fmla="*/ 3 w 8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3" y="0"/>
                    </a:moveTo>
                    <a:cubicBezTo>
                      <a:pt x="5" y="0"/>
                      <a:pt x="7" y="0"/>
                      <a:pt x="8" y="2"/>
                    </a:cubicBezTo>
                    <a:cubicBezTo>
                      <a:pt x="8" y="4"/>
                      <a:pt x="5" y="4"/>
                      <a:pt x="4" y="4"/>
                    </a:cubicBezTo>
                    <a:cubicBezTo>
                      <a:pt x="2" y="4"/>
                      <a:pt x="0" y="4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2" name="Freeform 2683"/>
              <p:cNvSpPr>
                <a:spLocks noChangeAspect="1"/>
              </p:cNvSpPr>
              <p:nvPr/>
            </p:nvSpPr>
            <p:spPr bwMode="auto">
              <a:xfrm>
                <a:off x="5747282" y="3694748"/>
                <a:ext cx="9814" cy="4873"/>
              </a:xfrm>
              <a:custGeom>
                <a:avLst/>
                <a:gdLst>
                  <a:gd name="T0" fmla="*/ 4 w 5"/>
                  <a:gd name="T1" fmla="*/ 2 h 2"/>
                  <a:gd name="T2" fmla="*/ 5 w 5"/>
                  <a:gd name="T3" fmla="*/ 3 h 2"/>
                  <a:gd name="T4" fmla="*/ 2 w 5"/>
                  <a:gd name="T5" fmla="*/ 3 h 2"/>
                  <a:gd name="T6" fmla="*/ 0 w 5"/>
                  <a:gd name="T7" fmla="*/ 2 h 2"/>
                  <a:gd name="T8" fmla="*/ 4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1"/>
                    </a:moveTo>
                    <a:cubicBezTo>
                      <a:pt x="3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3" name="Freeform 2684"/>
              <p:cNvSpPr>
                <a:spLocks noChangeAspect="1"/>
              </p:cNvSpPr>
              <p:nvPr/>
            </p:nvSpPr>
            <p:spPr bwMode="auto">
              <a:xfrm>
                <a:off x="6933084" y="3850664"/>
                <a:ext cx="1636" cy="8121"/>
              </a:xfrm>
              <a:custGeom>
                <a:avLst/>
                <a:gdLst>
                  <a:gd name="T0" fmla="*/ 1 w 1"/>
                  <a:gd name="T1" fmla="*/ 4 h 4"/>
                  <a:gd name="T2" fmla="*/ 0 w 1"/>
                  <a:gd name="T3" fmla="*/ 5 h 4"/>
                  <a:gd name="T4" fmla="*/ 0 w 1"/>
                  <a:gd name="T5" fmla="*/ 3 h 4"/>
                  <a:gd name="T6" fmla="*/ 0 w 1"/>
                  <a:gd name="T7" fmla="*/ 0 h 4"/>
                  <a:gd name="T8" fmla="*/ 1 w 1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3"/>
                    </a:moveTo>
                    <a:cubicBezTo>
                      <a:pt x="1" y="3"/>
                      <a:pt x="1" y="4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4" name="Freeform 2685"/>
              <p:cNvSpPr>
                <a:spLocks noChangeAspect="1"/>
              </p:cNvSpPr>
              <p:nvPr/>
            </p:nvSpPr>
            <p:spPr bwMode="auto">
              <a:xfrm>
                <a:off x="6887287" y="3668762"/>
                <a:ext cx="1636" cy="6497"/>
              </a:xfrm>
              <a:custGeom>
                <a:avLst/>
                <a:gdLst>
                  <a:gd name="T0" fmla="*/ 1 w 1"/>
                  <a:gd name="T1" fmla="*/ 3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1 w 1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3"/>
                    </a:moveTo>
                    <a:cubicBezTo>
                      <a:pt x="1" y="3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5" name="Freeform 2686"/>
              <p:cNvSpPr>
                <a:spLocks noChangeAspect="1"/>
              </p:cNvSpPr>
              <p:nvPr/>
            </p:nvSpPr>
            <p:spPr bwMode="auto">
              <a:xfrm>
                <a:off x="6884016" y="3707741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3"/>
                      <a:pt x="0" y="3"/>
                    </a:cubicBezTo>
                    <a:cubicBezTo>
                      <a:pt x="0" y="2"/>
                      <a:pt x="1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6" name="Freeform 2687"/>
              <p:cNvSpPr>
                <a:spLocks noChangeAspect="1"/>
              </p:cNvSpPr>
              <p:nvPr/>
            </p:nvSpPr>
            <p:spPr bwMode="auto">
              <a:xfrm>
                <a:off x="6887287" y="3732102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3 w 2"/>
                  <a:gd name="T3" fmla="*/ 6 h 5"/>
                  <a:gd name="T4" fmla="*/ 2 w 2"/>
                  <a:gd name="T5" fmla="*/ 4 h 5"/>
                  <a:gd name="T6" fmla="*/ 2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3"/>
                      <a:pt x="2" y="5"/>
                      <a:pt x="2" y="5"/>
                    </a:cubicBezTo>
                    <a:cubicBezTo>
                      <a:pt x="1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7" name="Freeform 2688"/>
              <p:cNvSpPr>
                <a:spLocks noChangeAspect="1"/>
              </p:cNvSpPr>
              <p:nvPr/>
            </p:nvSpPr>
            <p:spPr bwMode="auto">
              <a:xfrm>
                <a:off x="6888922" y="3756465"/>
                <a:ext cx="6542" cy="9745"/>
              </a:xfrm>
              <a:custGeom>
                <a:avLst/>
                <a:gdLst>
                  <a:gd name="T0" fmla="*/ 3 w 3"/>
                  <a:gd name="T1" fmla="*/ 4 h 5"/>
                  <a:gd name="T2" fmla="*/ 0 w 3"/>
                  <a:gd name="T3" fmla="*/ 6 h 5"/>
                  <a:gd name="T4" fmla="*/ 0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2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8" name="Freeform 2689"/>
              <p:cNvSpPr>
                <a:spLocks noChangeAspect="1"/>
              </p:cNvSpPr>
              <p:nvPr/>
            </p:nvSpPr>
            <p:spPr bwMode="auto">
              <a:xfrm>
                <a:off x="6888922" y="3681755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0 w 2"/>
                  <a:gd name="T5" fmla="*/ 4 h 5"/>
                  <a:gd name="T6" fmla="*/ 2 w 2"/>
                  <a:gd name="T7" fmla="*/ 1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79" name="Freeform 2690"/>
              <p:cNvSpPr>
                <a:spLocks noChangeAspect="1"/>
              </p:cNvSpPr>
              <p:nvPr/>
            </p:nvSpPr>
            <p:spPr bwMode="auto">
              <a:xfrm>
                <a:off x="6749898" y="3655769"/>
                <a:ext cx="8178" cy="19490"/>
              </a:xfrm>
              <a:custGeom>
                <a:avLst/>
                <a:gdLst>
                  <a:gd name="T0" fmla="*/ 4 w 4"/>
                  <a:gd name="T1" fmla="*/ 7 h 10"/>
                  <a:gd name="T2" fmla="*/ 1 w 4"/>
                  <a:gd name="T3" fmla="*/ 11 h 10"/>
                  <a:gd name="T4" fmla="*/ 1 w 4"/>
                  <a:gd name="T5" fmla="*/ 6 h 10"/>
                  <a:gd name="T6" fmla="*/ 4 w 4"/>
                  <a:gd name="T7" fmla="*/ 1 h 10"/>
                  <a:gd name="T8" fmla="*/ 4 w 4"/>
                  <a:gd name="T9" fmla="*/ 7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0"/>
                  <a:gd name="T17" fmla="*/ 4 w 4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0">
                    <a:moveTo>
                      <a:pt x="3" y="6"/>
                    </a:moveTo>
                    <a:cubicBezTo>
                      <a:pt x="3" y="8"/>
                      <a:pt x="2" y="10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ubicBezTo>
                      <a:pt x="1" y="3"/>
                      <a:pt x="2" y="0"/>
                      <a:pt x="3" y="1"/>
                    </a:cubicBezTo>
                    <a:cubicBezTo>
                      <a:pt x="4" y="2"/>
                      <a:pt x="3" y="5"/>
                      <a:pt x="3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0" name="Freeform 2691"/>
              <p:cNvSpPr>
                <a:spLocks noChangeAspect="1"/>
              </p:cNvSpPr>
              <p:nvPr/>
            </p:nvSpPr>
            <p:spPr bwMode="auto">
              <a:xfrm>
                <a:off x="6748262" y="3675258"/>
                <a:ext cx="8178" cy="22738"/>
              </a:xfrm>
              <a:custGeom>
                <a:avLst/>
                <a:gdLst>
                  <a:gd name="T0" fmla="*/ 4 w 4"/>
                  <a:gd name="T1" fmla="*/ 9 h 11"/>
                  <a:gd name="T2" fmla="*/ 1 w 4"/>
                  <a:gd name="T3" fmla="*/ 13 h 11"/>
                  <a:gd name="T4" fmla="*/ 1 w 4"/>
                  <a:gd name="T5" fmla="*/ 8 h 11"/>
                  <a:gd name="T6" fmla="*/ 4 w 4"/>
                  <a:gd name="T7" fmla="*/ 1 h 11"/>
                  <a:gd name="T8" fmla="*/ 4 w 4"/>
                  <a:gd name="T9" fmla="*/ 9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11"/>
                  <a:gd name="T17" fmla="*/ 4 w 4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11">
                    <a:moveTo>
                      <a:pt x="3" y="7"/>
                    </a:moveTo>
                    <a:cubicBezTo>
                      <a:pt x="3" y="9"/>
                      <a:pt x="2" y="11"/>
                      <a:pt x="1" y="10"/>
                    </a:cubicBezTo>
                    <a:cubicBezTo>
                      <a:pt x="0" y="10"/>
                      <a:pt x="1" y="7"/>
                      <a:pt x="1" y="6"/>
                    </a:cubicBezTo>
                    <a:cubicBezTo>
                      <a:pt x="1" y="4"/>
                      <a:pt x="2" y="0"/>
                      <a:pt x="3" y="1"/>
                    </a:cubicBezTo>
                    <a:cubicBezTo>
                      <a:pt x="4" y="2"/>
                      <a:pt x="4" y="5"/>
                      <a:pt x="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1" name="Freeform 2692"/>
              <p:cNvSpPr>
                <a:spLocks noChangeAspect="1"/>
              </p:cNvSpPr>
              <p:nvPr/>
            </p:nvSpPr>
            <p:spPr bwMode="auto">
              <a:xfrm>
                <a:off x="6748262" y="3701244"/>
                <a:ext cx="3271" cy="19490"/>
              </a:xfrm>
              <a:custGeom>
                <a:avLst/>
                <a:gdLst>
                  <a:gd name="T0" fmla="*/ 2 w 2"/>
                  <a:gd name="T1" fmla="*/ 8 h 10"/>
                  <a:gd name="T2" fmla="*/ 1 w 2"/>
                  <a:gd name="T3" fmla="*/ 12 h 10"/>
                  <a:gd name="T4" fmla="*/ 0 w 2"/>
                  <a:gd name="T5" fmla="*/ 6 h 10"/>
                  <a:gd name="T6" fmla="*/ 1 w 2"/>
                  <a:gd name="T7" fmla="*/ 1 h 10"/>
                  <a:gd name="T8" fmla="*/ 2 w 2"/>
                  <a:gd name="T9" fmla="*/ 8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0"/>
                  <a:gd name="T17" fmla="*/ 2 w 2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0">
                    <a:moveTo>
                      <a:pt x="2" y="7"/>
                    </a:moveTo>
                    <a:cubicBezTo>
                      <a:pt x="2" y="8"/>
                      <a:pt x="2" y="10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3"/>
                      <a:pt x="0" y="0"/>
                      <a:pt x="1" y="1"/>
                    </a:cubicBezTo>
                    <a:cubicBezTo>
                      <a:pt x="2" y="1"/>
                      <a:pt x="2" y="5"/>
                      <a:pt x="2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2" name="Freeform 2693"/>
              <p:cNvSpPr>
                <a:spLocks noChangeAspect="1"/>
              </p:cNvSpPr>
              <p:nvPr/>
            </p:nvSpPr>
            <p:spPr bwMode="auto">
              <a:xfrm>
                <a:off x="5500309" y="3600548"/>
                <a:ext cx="6542" cy="3248"/>
              </a:xfrm>
              <a:custGeom>
                <a:avLst/>
                <a:gdLst>
                  <a:gd name="T0" fmla="*/ 2 w 4"/>
                  <a:gd name="T1" fmla="*/ 0 h 2"/>
                  <a:gd name="T2" fmla="*/ 3 w 4"/>
                  <a:gd name="T3" fmla="*/ 1 h 2"/>
                  <a:gd name="T4" fmla="*/ 2 w 4"/>
                  <a:gd name="T5" fmla="*/ 2 h 2"/>
                  <a:gd name="T6" fmla="*/ 0 w 4"/>
                  <a:gd name="T7" fmla="*/ 1 h 2"/>
                  <a:gd name="T8" fmla="*/ 2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0"/>
                    </a:moveTo>
                    <a:cubicBezTo>
                      <a:pt x="3" y="0"/>
                      <a:pt x="4" y="0"/>
                      <a:pt x="3" y="1"/>
                    </a:cubicBezTo>
                    <a:cubicBezTo>
                      <a:pt x="3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3" name="Freeform 2694"/>
              <p:cNvSpPr>
                <a:spLocks noChangeAspect="1"/>
              </p:cNvSpPr>
              <p:nvPr/>
            </p:nvSpPr>
            <p:spPr bwMode="auto">
              <a:xfrm>
                <a:off x="6707373" y="3399156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4" name="Freeform 2695"/>
              <p:cNvSpPr>
                <a:spLocks noChangeAspect="1"/>
              </p:cNvSpPr>
              <p:nvPr/>
            </p:nvSpPr>
            <p:spPr bwMode="auto">
              <a:xfrm>
                <a:off x="6695923" y="3392659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0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5" name="Freeform 2696"/>
              <p:cNvSpPr>
                <a:spLocks noChangeAspect="1"/>
              </p:cNvSpPr>
              <p:nvPr/>
            </p:nvSpPr>
            <p:spPr bwMode="auto">
              <a:xfrm>
                <a:off x="6697559" y="3402404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6" name="Freeform 2697"/>
              <p:cNvSpPr>
                <a:spLocks noChangeAspect="1"/>
              </p:cNvSpPr>
              <p:nvPr/>
            </p:nvSpPr>
            <p:spPr bwMode="auto">
              <a:xfrm>
                <a:off x="6686109" y="3392659"/>
                <a:ext cx="6542" cy="16241"/>
              </a:xfrm>
              <a:custGeom>
                <a:avLst/>
                <a:gdLst>
                  <a:gd name="T0" fmla="*/ 3 w 4"/>
                  <a:gd name="T1" fmla="*/ 5 h 8"/>
                  <a:gd name="T2" fmla="*/ 3 w 4"/>
                  <a:gd name="T3" fmla="*/ 10 h 8"/>
                  <a:gd name="T4" fmla="*/ 1 w 4"/>
                  <a:gd name="T5" fmla="*/ 6 h 8"/>
                  <a:gd name="T6" fmla="*/ 1 w 4"/>
                  <a:gd name="T7" fmla="*/ 0 h 8"/>
                  <a:gd name="T8" fmla="*/ 3 w 4"/>
                  <a:gd name="T9" fmla="*/ 5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3" y="4"/>
                    </a:moveTo>
                    <a:cubicBezTo>
                      <a:pt x="4" y="5"/>
                      <a:pt x="4" y="8"/>
                      <a:pt x="3" y="8"/>
                    </a:cubicBezTo>
                    <a:cubicBezTo>
                      <a:pt x="2" y="8"/>
                      <a:pt x="1" y="7"/>
                      <a:pt x="1" y="5"/>
                    </a:cubicBezTo>
                    <a:cubicBezTo>
                      <a:pt x="0" y="4"/>
                      <a:pt x="0" y="1"/>
                      <a:pt x="1" y="0"/>
                    </a:cubicBezTo>
                    <a:cubicBezTo>
                      <a:pt x="2" y="0"/>
                      <a:pt x="3" y="2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7" name="Oval 2698"/>
              <p:cNvSpPr>
                <a:spLocks noChangeAspect="1" noChangeArrowheads="1"/>
              </p:cNvSpPr>
              <p:nvPr/>
            </p:nvSpPr>
            <p:spPr bwMode="auto">
              <a:xfrm>
                <a:off x="5768545" y="3697996"/>
                <a:ext cx="6542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8" name="Oval 2699"/>
              <p:cNvSpPr>
                <a:spLocks noChangeAspect="1" noChangeArrowheads="1"/>
              </p:cNvSpPr>
              <p:nvPr/>
            </p:nvSpPr>
            <p:spPr bwMode="auto">
              <a:xfrm>
                <a:off x="6893830" y="3814933"/>
                <a:ext cx="3271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89" name="Freeform 2700"/>
              <p:cNvSpPr>
                <a:spLocks noChangeAspect="1"/>
              </p:cNvSpPr>
              <p:nvPr/>
            </p:nvSpPr>
            <p:spPr bwMode="auto">
              <a:xfrm>
                <a:off x="6879109" y="3691499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0" name="Freeform 2701"/>
              <p:cNvSpPr>
                <a:spLocks noChangeAspect="1"/>
              </p:cNvSpPr>
              <p:nvPr/>
            </p:nvSpPr>
            <p:spPr bwMode="auto">
              <a:xfrm>
                <a:off x="6888922" y="3709364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2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1" name="Freeform 2702"/>
              <p:cNvSpPr>
                <a:spLocks noChangeAspect="1"/>
              </p:cNvSpPr>
              <p:nvPr/>
            </p:nvSpPr>
            <p:spPr bwMode="auto">
              <a:xfrm>
                <a:off x="6893830" y="3723982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2" name="Freeform 2703"/>
              <p:cNvSpPr>
                <a:spLocks noChangeAspect="1"/>
              </p:cNvSpPr>
              <p:nvPr/>
            </p:nvSpPr>
            <p:spPr bwMode="auto">
              <a:xfrm>
                <a:off x="6884016" y="3697996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3" name="Freeform 2704"/>
              <p:cNvSpPr>
                <a:spLocks noChangeAspect="1"/>
              </p:cNvSpPr>
              <p:nvPr/>
            </p:nvSpPr>
            <p:spPr bwMode="auto">
              <a:xfrm>
                <a:off x="6887287" y="3751592"/>
                <a:ext cx="4907" cy="4873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4" name="Freeform 2705"/>
              <p:cNvSpPr>
                <a:spLocks noChangeAspect="1"/>
              </p:cNvSpPr>
              <p:nvPr/>
            </p:nvSpPr>
            <p:spPr bwMode="auto">
              <a:xfrm>
                <a:off x="6774431" y="3814933"/>
                <a:ext cx="4907" cy="4873"/>
              </a:xfrm>
              <a:custGeom>
                <a:avLst/>
                <a:gdLst>
                  <a:gd name="T0" fmla="*/ 2 w 3"/>
                  <a:gd name="T1" fmla="*/ 2 h 3"/>
                  <a:gd name="T2" fmla="*/ 2 w 3"/>
                  <a:gd name="T3" fmla="*/ 3 h 3"/>
                  <a:gd name="T4" fmla="*/ 1 w 3"/>
                  <a:gd name="T5" fmla="*/ 2 h 3"/>
                  <a:gd name="T6" fmla="*/ 1 w 3"/>
                  <a:gd name="T7" fmla="*/ 0 h 3"/>
                  <a:gd name="T8" fmla="*/ 2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5" name="Freeform 2706"/>
              <p:cNvSpPr>
                <a:spLocks noChangeAspect="1"/>
              </p:cNvSpPr>
              <p:nvPr/>
            </p:nvSpPr>
            <p:spPr bwMode="auto">
              <a:xfrm>
                <a:off x="6766254" y="3806812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6" name="Freeform 2707"/>
              <p:cNvSpPr>
                <a:spLocks noChangeAspect="1"/>
              </p:cNvSpPr>
              <p:nvPr/>
            </p:nvSpPr>
            <p:spPr bwMode="auto">
              <a:xfrm>
                <a:off x="6777702" y="3831175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7" name="Freeform 2708"/>
              <p:cNvSpPr>
                <a:spLocks noChangeAspect="1"/>
              </p:cNvSpPr>
              <p:nvPr/>
            </p:nvSpPr>
            <p:spPr bwMode="auto">
              <a:xfrm>
                <a:off x="6754804" y="3779203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8" name="Freeform 2709"/>
              <p:cNvSpPr>
                <a:spLocks noChangeAspect="1"/>
              </p:cNvSpPr>
              <p:nvPr/>
            </p:nvSpPr>
            <p:spPr bwMode="auto">
              <a:xfrm>
                <a:off x="6779338" y="3806812"/>
                <a:ext cx="6542" cy="11369"/>
              </a:xfrm>
              <a:custGeom>
                <a:avLst/>
                <a:gdLst>
                  <a:gd name="T0" fmla="*/ 3 w 3"/>
                  <a:gd name="T1" fmla="*/ 4 h 6"/>
                  <a:gd name="T2" fmla="*/ 3 w 3"/>
                  <a:gd name="T3" fmla="*/ 6 h 6"/>
                  <a:gd name="T4" fmla="*/ 1 w 3"/>
                  <a:gd name="T5" fmla="*/ 5 h 6"/>
                  <a:gd name="T6" fmla="*/ 1 w 3"/>
                  <a:gd name="T7" fmla="*/ 1 h 6"/>
                  <a:gd name="T8" fmla="*/ 3 w 3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2" y="3"/>
                    </a:moveTo>
                    <a:cubicBezTo>
                      <a:pt x="3" y="4"/>
                      <a:pt x="3" y="5"/>
                      <a:pt x="2" y="5"/>
                    </a:cubicBezTo>
                    <a:cubicBezTo>
                      <a:pt x="2" y="6"/>
                      <a:pt x="1" y="4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ubicBezTo>
                      <a:pt x="1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399" name="Freeform 2710"/>
              <p:cNvSpPr>
                <a:spLocks noChangeAspect="1"/>
              </p:cNvSpPr>
              <p:nvPr/>
            </p:nvSpPr>
            <p:spPr bwMode="auto">
              <a:xfrm>
                <a:off x="6748262" y="3733727"/>
                <a:ext cx="3271" cy="8121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0" name="Freeform 2711"/>
              <p:cNvSpPr>
                <a:spLocks noChangeAspect="1"/>
              </p:cNvSpPr>
              <p:nvPr/>
            </p:nvSpPr>
            <p:spPr bwMode="auto">
              <a:xfrm>
                <a:off x="6758075" y="3699620"/>
                <a:ext cx="8178" cy="8121"/>
              </a:xfrm>
              <a:custGeom>
                <a:avLst/>
                <a:gdLst>
                  <a:gd name="T0" fmla="*/ 4 w 4"/>
                  <a:gd name="T1" fmla="*/ 3 h 4"/>
                  <a:gd name="T2" fmla="*/ 4 w 4"/>
                  <a:gd name="T3" fmla="*/ 4 h 4"/>
                  <a:gd name="T4" fmla="*/ 1 w 4"/>
                  <a:gd name="T5" fmla="*/ 4 h 4"/>
                  <a:gd name="T6" fmla="*/ 1 w 4"/>
                  <a:gd name="T7" fmla="*/ 1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2"/>
                      <a:pt x="4" y="3"/>
                      <a:pt x="3" y="3"/>
                    </a:cubicBezTo>
                    <a:cubicBezTo>
                      <a:pt x="3" y="4"/>
                      <a:pt x="2" y="3"/>
                      <a:pt x="1" y="3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1" name="Freeform 2712"/>
              <p:cNvSpPr>
                <a:spLocks noChangeAspect="1"/>
              </p:cNvSpPr>
              <p:nvPr/>
            </p:nvSpPr>
            <p:spPr bwMode="auto">
              <a:xfrm>
                <a:off x="5726020" y="3741847"/>
                <a:ext cx="6542" cy="6497"/>
              </a:xfrm>
              <a:custGeom>
                <a:avLst/>
                <a:gdLst>
                  <a:gd name="T0" fmla="*/ 3 w 4"/>
                  <a:gd name="T1" fmla="*/ 0 h 3"/>
                  <a:gd name="T2" fmla="*/ 4 w 4"/>
                  <a:gd name="T3" fmla="*/ 1 h 3"/>
                  <a:gd name="T4" fmla="*/ 2 w 4"/>
                  <a:gd name="T5" fmla="*/ 4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0"/>
                    </a:moveTo>
                    <a:cubicBezTo>
                      <a:pt x="3" y="0"/>
                      <a:pt x="4" y="1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2" name="Freeform 2713"/>
              <p:cNvSpPr>
                <a:spLocks noChangeAspect="1"/>
              </p:cNvSpPr>
              <p:nvPr/>
            </p:nvSpPr>
            <p:spPr bwMode="auto">
              <a:xfrm>
                <a:off x="5523207" y="4378506"/>
                <a:ext cx="186457" cy="396288"/>
              </a:xfrm>
              <a:custGeom>
                <a:avLst/>
                <a:gdLst>
                  <a:gd name="T0" fmla="*/ 102 w 95"/>
                  <a:gd name="T1" fmla="*/ 16 h 204"/>
                  <a:gd name="T2" fmla="*/ 112 w 95"/>
                  <a:gd name="T3" fmla="*/ 50 h 204"/>
                  <a:gd name="T4" fmla="*/ 110 w 95"/>
                  <a:gd name="T5" fmla="*/ 72 h 204"/>
                  <a:gd name="T6" fmla="*/ 100 w 95"/>
                  <a:gd name="T7" fmla="*/ 67 h 204"/>
                  <a:gd name="T8" fmla="*/ 97 w 95"/>
                  <a:gd name="T9" fmla="*/ 99 h 204"/>
                  <a:gd name="T10" fmla="*/ 91 w 95"/>
                  <a:gd name="T11" fmla="*/ 128 h 204"/>
                  <a:gd name="T12" fmla="*/ 78 w 95"/>
                  <a:gd name="T13" fmla="*/ 163 h 204"/>
                  <a:gd name="T14" fmla="*/ 65 w 95"/>
                  <a:gd name="T15" fmla="*/ 209 h 204"/>
                  <a:gd name="T16" fmla="*/ 50 w 95"/>
                  <a:gd name="T17" fmla="*/ 236 h 204"/>
                  <a:gd name="T18" fmla="*/ 36 w 95"/>
                  <a:gd name="T19" fmla="*/ 243 h 204"/>
                  <a:gd name="T20" fmla="*/ 5 w 95"/>
                  <a:gd name="T21" fmla="*/ 222 h 204"/>
                  <a:gd name="T22" fmla="*/ 7 w 95"/>
                  <a:gd name="T23" fmla="*/ 205 h 204"/>
                  <a:gd name="T24" fmla="*/ 0 w 95"/>
                  <a:gd name="T25" fmla="*/ 179 h 204"/>
                  <a:gd name="T26" fmla="*/ 10 w 95"/>
                  <a:gd name="T27" fmla="*/ 164 h 204"/>
                  <a:gd name="T28" fmla="*/ 18 w 95"/>
                  <a:gd name="T29" fmla="*/ 146 h 204"/>
                  <a:gd name="T30" fmla="*/ 16 w 95"/>
                  <a:gd name="T31" fmla="*/ 126 h 204"/>
                  <a:gd name="T32" fmla="*/ 13 w 95"/>
                  <a:gd name="T33" fmla="*/ 108 h 204"/>
                  <a:gd name="T34" fmla="*/ 13 w 95"/>
                  <a:gd name="T35" fmla="*/ 98 h 204"/>
                  <a:gd name="T36" fmla="*/ 23 w 95"/>
                  <a:gd name="T37" fmla="*/ 74 h 204"/>
                  <a:gd name="T38" fmla="*/ 36 w 95"/>
                  <a:gd name="T39" fmla="*/ 72 h 204"/>
                  <a:gd name="T40" fmla="*/ 48 w 95"/>
                  <a:gd name="T41" fmla="*/ 69 h 204"/>
                  <a:gd name="T42" fmla="*/ 52 w 95"/>
                  <a:gd name="T43" fmla="*/ 63 h 204"/>
                  <a:gd name="T44" fmla="*/ 62 w 95"/>
                  <a:gd name="T45" fmla="*/ 60 h 204"/>
                  <a:gd name="T46" fmla="*/ 67 w 95"/>
                  <a:gd name="T47" fmla="*/ 57 h 204"/>
                  <a:gd name="T48" fmla="*/ 76 w 95"/>
                  <a:gd name="T49" fmla="*/ 53 h 204"/>
                  <a:gd name="T50" fmla="*/ 72 w 95"/>
                  <a:gd name="T51" fmla="*/ 44 h 204"/>
                  <a:gd name="T52" fmla="*/ 77 w 95"/>
                  <a:gd name="T53" fmla="*/ 41 h 204"/>
                  <a:gd name="T54" fmla="*/ 74 w 95"/>
                  <a:gd name="T55" fmla="*/ 28 h 204"/>
                  <a:gd name="T56" fmla="*/ 82 w 95"/>
                  <a:gd name="T57" fmla="*/ 29 h 204"/>
                  <a:gd name="T58" fmla="*/ 89 w 95"/>
                  <a:gd name="T59" fmla="*/ 20 h 204"/>
                  <a:gd name="T60" fmla="*/ 86 w 95"/>
                  <a:gd name="T61" fmla="*/ 10 h 204"/>
                  <a:gd name="T62" fmla="*/ 97 w 95"/>
                  <a:gd name="T63" fmla="*/ 1 h 20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95"/>
                  <a:gd name="T97" fmla="*/ 0 h 204"/>
                  <a:gd name="T98" fmla="*/ 95 w 95"/>
                  <a:gd name="T99" fmla="*/ 204 h 20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95" h="204">
                    <a:moveTo>
                      <a:pt x="81" y="1"/>
                    </a:moveTo>
                    <a:cubicBezTo>
                      <a:pt x="85" y="3"/>
                      <a:pt x="84" y="9"/>
                      <a:pt x="85" y="13"/>
                    </a:cubicBezTo>
                    <a:cubicBezTo>
                      <a:pt x="86" y="17"/>
                      <a:pt x="88" y="22"/>
                      <a:pt x="90" y="26"/>
                    </a:cubicBezTo>
                    <a:cubicBezTo>
                      <a:pt x="91" y="31"/>
                      <a:pt x="92" y="37"/>
                      <a:pt x="93" y="42"/>
                    </a:cubicBezTo>
                    <a:cubicBezTo>
                      <a:pt x="94" y="45"/>
                      <a:pt x="94" y="48"/>
                      <a:pt x="94" y="51"/>
                    </a:cubicBezTo>
                    <a:cubicBezTo>
                      <a:pt x="94" y="54"/>
                      <a:pt x="95" y="61"/>
                      <a:pt x="92" y="60"/>
                    </a:cubicBezTo>
                    <a:cubicBezTo>
                      <a:pt x="87" y="59"/>
                      <a:pt x="87" y="51"/>
                      <a:pt x="83" y="49"/>
                    </a:cubicBezTo>
                    <a:cubicBezTo>
                      <a:pt x="81" y="48"/>
                      <a:pt x="83" y="54"/>
                      <a:pt x="83" y="56"/>
                    </a:cubicBezTo>
                    <a:cubicBezTo>
                      <a:pt x="83" y="61"/>
                      <a:pt x="86" y="65"/>
                      <a:pt x="85" y="70"/>
                    </a:cubicBezTo>
                    <a:cubicBezTo>
                      <a:pt x="85" y="75"/>
                      <a:pt x="82" y="79"/>
                      <a:pt x="81" y="83"/>
                    </a:cubicBezTo>
                    <a:cubicBezTo>
                      <a:pt x="80" y="85"/>
                      <a:pt x="81" y="87"/>
                      <a:pt x="81" y="89"/>
                    </a:cubicBezTo>
                    <a:cubicBezTo>
                      <a:pt x="80" y="95"/>
                      <a:pt x="79" y="101"/>
                      <a:pt x="76" y="107"/>
                    </a:cubicBezTo>
                    <a:cubicBezTo>
                      <a:pt x="74" y="111"/>
                      <a:pt x="69" y="112"/>
                      <a:pt x="67" y="117"/>
                    </a:cubicBezTo>
                    <a:cubicBezTo>
                      <a:pt x="65" y="123"/>
                      <a:pt x="67" y="130"/>
                      <a:pt x="65" y="136"/>
                    </a:cubicBezTo>
                    <a:cubicBezTo>
                      <a:pt x="63" y="145"/>
                      <a:pt x="60" y="153"/>
                      <a:pt x="58" y="161"/>
                    </a:cubicBezTo>
                    <a:cubicBezTo>
                      <a:pt x="56" y="166"/>
                      <a:pt x="55" y="170"/>
                      <a:pt x="54" y="175"/>
                    </a:cubicBezTo>
                    <a:cubicBezTo>
                      <a:pt x="52" y="181"/>
                      <a:pt x="52" y="187"/>
                      <a:pt x="49" y="192"/>
                    </a:cubicBezTo>
                    <a:cubicBezTo>
                      <a:pt x="48" y="195"/>
                      <a:pt x="45" y="196"/>
                      <a:pt x="42" y="197"/>
                    </a:cubicBezTo>
                    <a:cubicBezTo>
                      <a:pt x="39" y="199"/>
                      <a:pt x="35" y="197"/>
                      <a:pt x="32" y="198"/>
                    </a:cubicBezTo>
                    <a:cubicBezTo>
                      <a:pt x="31" y="199"/>
                      <a:pt x="32" y="204"/>
                      <a:pt x="30" y="203"/>
                    </a:cubicBezTo>
                    <a:cubicBezTo>
                      <a:pt x="23" y="203"/>
                      <a:pt x="16" y="200"/>
                      <a:pt x="10" y="197"/>
                    </a:cubicBezTo>
                    <a:cubicBezTo>
                      <a:pt x="7" y="194"/>
                      <a:pt x="5" y="190"/>
                      <a:pt x="4" y="186"/>
                    </a:cubicBezTo>
                    <a:cubicBezTo>
                      <a:pt x="3" y="183"/>
                      <a:pt x="4" y="180"/>
                      <a:pt x="4" y="176"/>
                    </a:cubicBezTo>
                    <a:cubicBezTo>
                      <a:pt x="4" y="174"/>
                      <a:pt x="6" y="173"/>
                      <a:pt x="6" y="171"/>
                    </a:cubicBezTo>
                    <a:cubicBezTo>
                      <a:pt x="5" y="168"/>
                      <a:pt x="2" y="165"/>
                      <a:pt x="1" y="162"/>
                    </a:cubicBezTo>
                    <a:cubicBezTo>
                      <a:pt x="0" y="158"/>
                      <a:pt x="0" y="154"/>
                      <a:pt x="0" y="150"/>
                    </a:cubicBezTo>
                    <a:cubicBezTo>
                      <a:pt x="0" y="147"/>
                      <a:pt x="1" y="144"/>
                      <a:pt x="3" y="141"/>
                    </a:cubicBezTo>
                    <a:cubicBezTo>
                      <a:pt x="4" y="139"/>
                      <a:pt x="7" y="139"/>
                      <a:pt x="8" y="137"/>
                    </a:cubicBezTo>
                    <a:cubicBezTo>
                      <a:pt x="9" y="135"/>
                      <a:pt x="9" y="132"/>
                      <a:pt x="10" y="130"/>
                    </a:cubicBezTo>
                    <a:cubicBezTo>
                      <a:pt x="11" y="127"/>
                      <a:pt x="13" y="124"/>
                      <a:pt x="15" y="122"/>
                    </a:cubicBezTo>
                    <a:cubicBezTo>
                      <a:pt x="16" y="119"/>
                      <a:pt x="17" y="117"/>
                      <a:pt x="17" y="115"/>
                    </a:cubicBezTo>
                    <a:cubicBezTo>
                      <a:pt x="17" y="111"/>
                      <a:pt x="14" y="108"/>
                      <a:pt x="13" y="105"/>
                    </a:cubicBezTo>
                    <a:cubicBezTo>
                      <a:pt x="13" y="103"/>
                      <a:pt x="13" y="101"/>
                      <a:pt x="13" y="99"/>
                    </a:cubicBezTo>
                    <a:cubicBezTo>
                      <a:pt x="13" y="96"/>
                      <a:pt x="11" y="93"/>
                      <a:pt x="11" y="90"/>
                    </a:cubicBezTo>
                    <a:cubicBezTo>
                      <a:pt x="11" y="89"/>
                      <a:pt x="12" y="88"/>
                      <a:pt x="12" y="87"/>
                    </a:cubicBezTo>
                    <a:cubicBezTo>
                      <a:pt x="12" y="85"/>
                      <a:pt x="10" y="84"/>
                      <a:pt x="11" y="82"/>
                    </a:cubicBezTo>
                    <a:cubicBezTo>
                      <a:pt x="12" y="77"/>
                      <a:pt x="16" y="74"/>
                      <a:pt x="18" y="70"/>
                    </a:cubicBezTo>
                    <a:cubicBezTo>
                      <a:pt x="19" y="67"/>
                      <a:pt x="17" y="64"/>
                      <a:pt x="19" y="62"/>
                    </a:cubicBezTo>
                    <a:cubicBezTo>
                      <a:pt x="20" y="61"/>
                      <a:pt x="23" y="62"/>
                      <a:pt x="25" y="62"/>
                    </a:cubicBezTo>
                    <a:cubicBezTo>
                      <a:pt x="27" y="62"/>
                      <a:pt x="28" y="61"/>
                      <a:pt x="30" y="60"/>
                    </a:cubicBezTo>
                    <a:cubicBezTo>
                      <a:pt x="32" y="59"/>
                      <a:pt x="34" y="57"/>
                      <a:pt x="37" y="56"/>
                    </a:cubicBezTo>
                    <a:cubicBezTo>
                      <a:pt x="38" y="56"/>
                      <a:pt x="39" y="57"/>
                      <a:pt x="40" y="58"/>
                    </a:cubicBezTo>
                    <a:cubicBezTo>
                      <a:pt x="42" y="59"/>
                      <a:pt x="45" y="64"/>
                      <a:pt x="47" y="62"/>
                    </a:cubicBezTo>
                    <a:cubicBezTo>
                      <a:pt x="48" y="59"/>
                      <a:pt x="42" y="56"/>
                      <a:pt x="43" y="53"/>
                    </a:cubicBezTo>
                    <a:cubicBezTo>
                      <a:pt x="43" y="51"/>
                      <a:pt x="46" y="51"/>
                      <a:pt x="49" y="50"/>
                    </a:cubicBezTo>
                    <a:cubicBezTo>
                      <a:pt x="50" y="50"/>
                      <a:pt x="51" y="50"/>
                      <a:pt x="52" y="50"/>
                    </a:cubicBezTo>
                    <a:cubicBezTo>
                      <a:pt x="54" y="48"/>
                      <a:pt x="52" y="43"/>
                      <a:pt x="55" y="42"/>
                    </a:cubicBezTo>
                    <a:cubicBezTo>
                      <a:pt x="56" y="42"/>
                      <a:pt x="54" y="49"/>
                      <a:pt x="56" y="48"/>
                    </a:cubicBezTo>
                    <a:cubicBezTo>
                      <a:pt x="58" y="47"/>
                      <a:pt x="58" y="42"/>
                      <a:pt x="60" y="41"/>
                    </a:cubicBezTo>
                    <a:cubicBezTo>
                      <a:pt x="61" y="40"/>
                      <a:pt x="62" y="45"/>
                      <a:pt x="63" y="44"/>
                    </a:cubicBezTo>
                    <a:cubicBezTo>
                      <a:pt x="65" y="43"/>
                      <a:pt x="64" y="40"/>
                      <a:pt x="63" y="39"/>
                    </a:cubicBezTo>
                    <a:cubicBezTo>
                      <a:pt x="63" y="38"/>
                      <a:pt x="61" y="38"/>
                      <a:pt x="60" y="37"/>
                    </a:cubicBezTo>
                    <a:cubicBezTo>
                      <a:pt x="59" y="36"/>
                      <a:pt x="59" y="34"/>
                      <a:pt x="60" y="34"/>
                    </a:cubicBezTo>
                    <a:cubicBezTo>
                      <a:pt x="61" y="33"/>
                      <a:pt x="64" y="35"/>
                      <a:pt x="64" y="34"/>
                    </a:cubicBezTo>
                    <a:cubicBezTo>
                      <a:pt x="65" y="32"/>
                      <a:pt x="62" y="31"/>
                      <a:pt x="62" y="29"/>
                    </a:cubicBezTo>
                    <a:cubicBezTo>
                      <a:pt x="62" y="27"/>
                      <a:pt x="61" y="24"/>
                      <a:pt x="62" y="23"/>
                    </a:cubicBezTo>
                    <a:cubicBezTo>
                      <a:pt x="64" y="23"/>
                      <a:pt x="64" y="27"/>
                      <a:pt x="66" y="27"/>
                    </a:cubicBezTo>
                    <a:cubicBezTo>
                      <a:pt x="67" y="27"/>
                      <a:pt x="67" y="25"/>
                      <a:pt x="68" y="24"/>
                    </a:cubicBezTo>
                    <a:cubicBezTo>
                      <a:pt x="69" y="23"/>
                      <a:pt x="71" y="22"/>
                      <a:pt x="72" y="21"/>
                    </a:cubicBezTo>
                    <a:cubicBezTo>
                      <a:pt x="73" y="20"/>
                      <a:pt x="73" y="18"/>
                      <a:pt x="74" y="17"/>
                    </a:cubicBezTo>
                    <a:cubicBezTo>
                      <a:pt x="74" y="15"/>
                      <a:pt x="74" y="13"/>
                      <a:pt x="74" y="12"/>
                    </a:cubicBezTo>
                    <a:cubicBezTo>
                      <a:pt x="73" y="10"/>
                      <a:pt x="71" y="9"/>
                      <a:pt x="72" y="8"/>
                    </a:cubicBezTo>
                    <a:cubicBezTo>
                      <a:pt x="72" y="6"/>
                      <a:pt x="74" y="8"/>
                      <a:pt x="75" y="8"/>
                    </a:cubicBezTo>
                    <a:cubicBezTo>
                      <a:pt x="77" y="6"/>
                      <a:pt x="79" y="0"/>
                      <a:pt x="8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3" name="Freeform 2714"/>
              <p:cNvSpPr>
                <a:spLocks noChangeAspect="1"/>
              </p:cNvSpPr>
              <p:nvPr/>
            </p:nvSpPr>
            <p:spPr bwMode="auto">
              <a:xfrm>
                <a:off x="5529749" y="4363890"/>
                <a:ext cx="4907" cy="11369"/>
              </a:xfrm>
              <a:custGeom>
                <a:avLst/>
                <a:gdLst>
                  <a:gd name="T0" fmla="*/ 1 w 3"/>
                  <a:gd name="T1" fmla="*/ 0 h 6"/>
                  <a:gd name="T2" fmla="*/ 0 w 3"/>
                  <a:gd name="T3" fmla="*/ 4 h 6"/>
                  <a:gd name="T4" fmla="*/ 1 w 3"/>
                  <a:gd name="T5" fmla="*/ 7 h 6"/>
                  <a:gd name="T6" fmla="*/ 2 w 3"/>
                  <a:gd name="T7" fmla="*/ 4 h 6"/>
                  <a:gd name="T8" fmla="*/ 1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1" y="0"/>
                    </a:moveTo>
                    <a:cubicBezTo>
                      <a:pt x="0" y="0"/>
                      <a:pt x="0" y="2"/>
                      <a:pt x="0" y="3"/>
                    </a:cubicBezTo>
                    <a:cubicBezTo>
                      <a:pt x="0" y="4"/>
                      <a:pt x="0" y="6"/>
                      <a:pt x="1" y="6"/>
                    </a:cubicBezTo>
                    <a:cubicBezTo>
                      <a:pt x="3" y="6"/>
                      <a:pt x="2" y="4"/>
                      <a:pt x="2" y="3"/>
                    </a:cubicBezTo>
                    <a:cubicBezTo>
                      <a:pt x="2" y="2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4" name="Freeform 2715"/>
              <p:cNvSpPr>
                <a:spLocks noChangeAspect="1"/>
              </p:cNvSpPr>
              <p:nvPr/>
            </p:nvSpPr>
            <p:spPr bwMode="auto">
              <a:xfrm>
                <a:off x="5554282" y="4380131"/>
                <a:ext cx="9814" cy="11369"/>
              </a:xfrm>
              <a:custGeom>
                <a:avLst/>
                <a:gdLst>
                  <a:gd name="T0" fmla="*/ 1 w 5"/>
                  <a:gd name="T1" fmla="*/ 1 h 6"/>
                  <a:gd name="T2" fmla="*/ 1 w 5"/>
                  <a:gd name="T3" fmla="*/ 4 h 6"/>
                  <a:gd name="T4" fmla="*/ 4 w 5"/>
                  <a:gd name="T5" fmla="*/ 7 h 6"/>
                  <a:gd name="T6" fmla="*/ 4 w 5"/>
                  <a:gd name="T7" fmla="*/ 2 h 6"/>
                  <a:gd name="T8" fmla="*/ 1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5" y="5"/>
                      <a:pt x="4" y="3"/>
                      <a:pt x="3" y="2"/>
                    </a:cubicBezTo>
                    <a:cubicBezTo>
                      <a:pt x="3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5" name="Freeform 2716"/>
              <p:cNvSpPr>
                <a:spLocks noChangeAspect="1"/>
              </p:cNvSpPr>
              <p:nvPr/>
            </p:nvSpPr>
            <p:spPr bwMode="auto">
              <a:xfrm>
                <a:off x="5573910" y="4397996"/>
                <a:ext cx="9814" cy="11369"/>
              </a:xfrm>
              <a:custGeom>
                <a:avLst/>
                <a:gdLst>
                  <a:gd name="T0" fmla="*/ 1 w 5"/>
                  <a:gd name="T1" fmla="*/ 0 h 6"/>
                  <a:gd name="T2" fmla="*/ 1 w 5"/>
                  <a:gd name="T3" fmla="*/ 4 h 6"/>
                  <a:gd name="T4" fmla="*/ 4 w 5"/>
                  <a:gd name="T5" fmla="*/ 7 h 6"/>
                  <a:gd name="T6" fmla="*/ 4 w 5"/>
                  <a:gd name="T7" fmla="*/ 2 h 6"/>
                  <a:gd name="T8" fmla="*/ 1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5" y="5"/>
                      <a:pt x="4" y="3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6" name="Freeform 2717"/>
              <p:cNvSpPr>
                <a:spLocks noChangeAspect="1"/>
              </p:cNvSpPr>
              <p:nvPr/>
            </p:nvSpPr>
            <p:spPr bwMode="auto">
              <a:xfrm>
                <a:off x="5650783" y="4409365"/>
                <a:ext cx="8178" cy="12993"/>
              </a:xfrm>
              <a:custGeom>
                <a:avLst/>
                <a:gdLst>
                  <a:gd name="T0" fmla="*/ 0 w 4"/>
                  <a:gd name="T1" fmla="*/ 1 h 7"/>
                  <a:gd name="T2" fmla="*/ 0 w 4"/>
                  <a:gd name="T3" fmla="*/ 3 h 7"/>
                  <a:gd name="T4" fmla="*/ 4 w 4"/>
                  <a:gd name="T5" fmla="*/ 7 h 7"/>
                  <a:gd name="T6" fmla="*/ 4 w 4"/>
                  <a:gd name="T7" fmla="*/ 2 h 7"/>
                  <a:gd name="T8" fmla="*/ 0 w 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0" y="1"/>
                    </a:moveTo>
                    <a:cubicBezTo>
                      <a:pt x="0" y="1"/>
                      <a:pt x="0" y="3"/>
                      <a:pt x="0" y="3"/>
                    </a:cubicBezTo>
                    <a:cubicBezTo>
                      <a:pt x="1" y="5"/>
                      <a:pt x="2" y="7"/>
                      <a:pt x="3" y="6"/>
                    </a:cubicBezTo>
                    <a:cubicBezTo>
                      <a:pt x="4" y="5"/>
                      <a:pt x="3" y="3"/>
                      <a:pt x="3" y="2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7" name="Freeform 2718"/>
              <p:cNvSpPr>
                <a:spLocks noChangeAspect="1"/>
              </p:cNvSpPr>
              <p:nvPr/>
            </p:nvSpPr>
            <p:spPr bwMode="auto">
              <a:xfrm>
                <a:off x="5871587" y="4605885"/>
                <a:ext cx="11450" cy="22738"/>
              </a:xfrm>
              <a:custGeom>
                <a:avLst/>
                <a:gdLst>
                  <a:gd name="T0" fmla="*/ 4 w 6"/>
                  <a:gd name="T1" fmla="*/ 1 h 12"/>
                  <a:gd name="T2" fmla="*/ 7 w 6"/>
                  <a:gd name="T3" fmla="*/ 8 h 12"/>
                  <a:gd name="T4" fmla="*/ 4 w 6"/>
                  <a:gd name="T5" fmla="*/ 13 h 12"/>
                  <a:gd name="T6" fmla="*/ 0 w 6"/>
                  <a:gd name="T7" fmla="*/ 7 h 12"/>
                  <a:gd name="T8" fmla="*/ 4 w 6"/>
                  <a:gd name="T9" fmla="*/ 1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2"/>
                  <a:gd name="T17" fmla="*/ 6 w 6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2">
                    <a:moveTo>
                      <a:pt x="3" y="1"/>
                    </a:moveTo>
                    <a:cubicBezTo>
                      <a:pt x="6" y="1"/>
                      <a:pt x="6" y="5"/>
                      <a:pt x="6" y="7"/>
                    </a:cubicBezTo>
                    <a:cubicBezTo>
                      <a:pt x="6" y="9"/>
                      <a:pt x="5" y="12"/>
                      <a:pt x="3" y="11"/>
                    </a:cubicBezTo>
                    <a:cubicBezTo>
                      <a:pt x="1" y="11"/>
                      <a:pt x="0" y="8"/>
                      <a:pt x="0" y="6"/>
                    </a:cubicBezTo>
                    <a:cubicBezTo>
                      <a:pt x="0" y="4"/>
                      <a:pt x="1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8" name="Freeform 2719"/>
              <p:cNvSpPr>
                <a:spLocks noChangeAspect="1"/>
              </p:cNvSpPr>
              <p:nvPr/>
            </p:nvSpPr>
            <p:spPr bwMode="auto">
              <a:xfrm>
                <a:off x="5819248" y="4635119"/>
                <a:ext cx="14721" cy="16241"/>
              </a:xfrm>
              <a:custGeom>
                <a:avLst/>
                <a:gdLst>
                  <a:gd name="T0" fmla="*/ 3 w 7"/>
                  <a:gd name="T1" fmla="*/ 0 h 8"/>
                  <a:gd name="T2" fmla="*/ 9 w 7"/>
                  <a:gd name="T3" fmla="*/ 6 h 8"/>
                  <a:gd name="T4" fmla="*/ 8 w 7"/>
                  <a:gd name="T5" fmla="*/ 10 h 8"/>
                  <a:gd name="T6" fmla="*/ 1 w 7"/>
                  <a:gd name="T7" fmla="*/ 7 h 8"/>
                  <a:gd name="T8" fmla="*/ 3 w 7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8"/>
                  <a:gd name="T17" fmla="*/ 7 w 7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8">
                    <a:moveTo>
                      <a:pt x="2" y="0"/>
                    </a:moveTo>
                    <a:cubicBezTo>
                      <a:pt x="4" y="0"/>
                      <a:pt x="6" y="3"/>
                      <a:pt x="7" y="5"/>
                    </a:cubicBezTo>
                    <a:cubicBezTo>
                      <a:pt x="7" y="6"/>
                      <a:pt x="7" y="7"/>
                      <a:pt x="6" y="8"/>
                    </a:cubicBezTo>
                    <a:cubicBezTo>
                      <a:pt x="4" y="8"/>
                      <a:pt x="2" y="8"/>
                      <a:pt x="1" y="6"/>
                    </a:cubicBezTo>
                    <a:cubicBezTo>
                      <a:pt x="0" y="4"/>
                      <a:pt x="0" y="1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9" name="Freeform 2720"/>
              <p:cNvSpPr>
                <a:spLocks noChangeAspect="1"/>
              </p:cNvSpPr>
              <p:nvPr/>
            </p:nvSpPr>
            <p:spPr bwMode="auto">
              <a:xfrm>
                <a:off x="5825790" y="4160873"/>
                <a:ext cx="11450" cy="11369"/>
              </a:xfrm>
              <a:custGeom>
                <a:avLst/>
                <a:gdLst>
                  <a:gd name="T0" fmla="*/ 1 w 6"/>
                  <a:gd name="T1" fmla="*/ 1 h 6"/>
                  <a:gd name="T2" fmla="*/ 6 w 6"/>
                  <a:gd name="T3" fmla="*/ 4 h 6"/>
                  <a:gd name="T4" fmla="*/ 6 w 6"/>
                  <a:gd name="T5" fmla="*/ 7 h 6"/>
                  <a:gd name="T6" fmla="*/ 1 w 6"/>
                  <a:gd name="T7" fmla="*/ 5 h 6"/>
                  <a:gd name="T8" fmla="*/ 1 w 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1" y="1"/>
                    </a:moveTo>
                    <a:cubicBezTo>
                      <a:pt x="3" y="0"/>
                      <a:pt x="4" y="2"/>
                      <a:pt x="5" y="3"/>
                    </a:cubicBezTo>
                    <a:cubicBezTo>
                      <a:pt x="6" y="4"/>
                      <a:pt x="6" y="5"/>
                      <a:pt x="5" y="6"/>
                    </a:cubicBezTo>
                    <a:cubicBezTo>
                      <a:pt x="4" y="6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0" name="Freeform 2721"/>
              <p:cNvSpPr>
                <a:spLocks noChangeAspect="1"/>
              </p:cNvSpPr>
              <p:nvPr/>
            </p:nvSpPr>
            <p:spPr bwMode="auto">
              <a:xfrm>
                <a:off x="4231092" y="2741382"/>
                <a:ext cx="302584" cy="246868"/>
              </a:xfrm>
              <a:custGeom>
                <a:avLst/>
                <a:gdLst>
                  <a:gd name="T0" fmla="*/ 26 w 154"/>
                  <a:gd name="T1" fmla="*/ 123 h 126"/>
                  <a:gd name="T2" fmla="*/ 35 w 154"/>
                  <a:gd name="T3" fmla="*/ 113 h 126"/>
                  <a:gd name="T4" fmla="*/ 30 w 154"/>
                  <a:gd name="T5" fmla="*/ 103 h 126"/>
                  <a:gd name="T6" fmla="*/ 35 w 154"/>
                  <a:gd name="T7" fmla="*/ 94 h 126"/>
                  <a:gd name="T8" fmla="*/ 29 w 154"/>
                  <a:gd name="T9" fmla="*/ 84 h 126"/>
                  <a:gd name="T10" fmla="*/ 36 w 154"/>
                  <a:gd name="T11" fmla="*/ 76 h 126"/>
                  <a:gd name="T12" fmla="*/ 37 w 154"/>
                  <a:gd name="T13" fmla="*/ 69 h 126"/>
                  <a:gd name="T14" fmla="*/ 42 w 154"/>
                  <a:gd name="T15" fmla="*/ 51 h 126"/>
                  <a:gd name="T16" fmla="*/ 41 w 154"/>
                  <a:gd name="T17" fmla="*/ 42 h 126"/>
                  <a:gd name="T18" fmla="*/ 34 w 154"/>
                  <a:gd name="T19" fmla="*/ 36 h 126"/>
                  <a:gd name="T20" fmla="*/ 25 w 154"/>
                  <a:gd name="T21" fmla="*/ 39 h 126"/>
                  <a:gd name="T22" fmla="*/ 20 w 154"/>
                  <a:gd name="T23" fmla="*/ 35 h 126"/>
                  <a:gd name="T24" fmla="*/ 7 w 154"/>
                  <a:gd name="T25" fmla="*/ 37 h 126"/>
                  <a:gd name="T26" fmla="*/ 8 w 154"/>
                  <a:gd name="T27" fmla="*/ 28 h 126"/>
                  <a:gd name="T28" fmla="*/ 6 w 154"/>
                  <a:gd name="T29" fmla="*/ 23 h 126"/>
                  <a:gd name="T30" fmla="*/ 1 w 154"/>
                  <a:gd name="T31" fmla="*/ 14 h 126"/>
                  <a:gd name="T32" fmla="*/ 17 w 154"/>
                  <a:gd name="T33" fmla="*/ 8 h 126"/>
                  <a:gd name="T34" fmla="*/ 20 w 154"/>
                  <a:gd name="T35" fmla="*/ 1 h 126"/>
                  <a:gd name="T36" fmla="*/ 35 w 154"/>
                  <a:gd name="T37" fmla="*/ 4 h 126"/>
                  <a:gd name="T38" fmla="*/ 59 w 154"/>
                  <a:gd name="T39" fmla="*/ 2 h 126"/>
                  <a:gd name="T40" fmla="*/ 79 w 154"/>
                  <a:gd name="T41" fmla="*/ 6 h 126"/>
                  <a:gd name="T42" fmla="*/ 93 w 154"/>
                  <a:gd name="T43" fmla="*/ 8 h 126"/>
                  <a:gd name="T44" fmla="*/ 103 w 154"/>
                  <a:gd name="T45" fmla="*/ 10 h 126"/>
                  <a:gd name="T46" fmla="*/ 117 w 154"/>
                  <a:gd name="T47" fmla="*/ 10 h 126"/>
                  <a:gd name="T48" fmla="*/ 126 w 154"/>
                  <a:gd name="T49" fmla="*/ 16 h 126"/>
                  <a:gd name="T50" fmla="*/ 141 w 154"/>
                  <a:gd name="T51" fmla="*/ 21 h 126"/>
                  <a:gd name="T52" fmla="*/ 148 w 154"/>
                  <a:gd name="T53" fmla="*/ 17 h 126"/>
                  <a:gd name="T54" fmla="*/ 163 w 154"/>
                  <a:gd name="T55" fmla="*/ 25 h 126"/>
                  <a:gd name="T56" fmla="*/ 178 w 154"/>
                  <a:gd name="T57" fmla="*/ 27 h 126"/>
                  <a:gd name="T58" fmla="*/ 184 w 154"/>
                  <a:gd name="T59" fmla="*/ 31 h 126"/>
                  <a:gd name="T60" fmla="*/ 172 w 154"/>
                  <a:gd name="T61" fmla="*/ 45 h 126"/>
                  <a:gd name="T62" fmla="*/ 151 w 154"/>
                  <a:gd name="T63" fmla="*/ 53 h 126"/>
                  <a:gd name="T64" fmla="*/ 149 w 154"/>
                  <a:gd name="T65" fmla="*/ 63 h 126"/>
                  <a:gd name="T66" fmla="*/ 133 w 154"/>
                  <a:gd name="T67" fmla="*/ 83 h 126"/>
                  <a:gd name="T68" fmla="*/ 137 w 154"/>
                  <a:gd name="T69" fmla="*/ 97 h 126"/>
                  <a:gd name="T70" fmla="*/ 133 w 154"/>
                  <a:gd name="T71" fmla="*/ 105 h 126"/>
                  <a:gd name="T72" fmla="*/ 125 w 154"/>
                  <a:gd name="T73" fmla="*/ 121 h 126"/>
                  <a:gd name="T74" fmla="*/ 117 w 154"/>
                  <a:gd name="T75" fmla="*/ 124 h 126"/>
                  <a:gd name="T76" fmla="*/ 108 w 154"/>
                  <a:gd name="T77" fmla="*/ 138 h 126"/>
                  <a:gd name="T78" fmla="*/ 101 w 154"/>
                  <a:gd name="T79" fmla="*/ 138 h 126"/>
                  <a:gd name="T80" fmla="*/ 86 w 154"/>
                  <a:gd name="T81" fmla="*/ 140 h 126"/>
                  <a:gd name="T82" fmla="*/ 70 w 154"/>
                  <a:gd name="T83" fmla="*/ 142 h 126"/>
                  <a:gd name="T84" fmla="*/ 58 w 154"/>
                  <a:gd name="T85" fmla="*/ 151 h 126"/>
                  <a:gd name="T86" fmla="*/ 44 w 154"/>
                  <a:gd name="T87" fmla="*/ 142 h 126"/>
                  <a:gd name="T88" fmla="*/ 36 w 154"/>
                  <a:gd name="T89" fmla="*/ 130 h 12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54"/>
                  <a:gd name="T136" fmla="*/ 0 h 126"/>
                  <a:gd name="T137" fmla="*/ 154 w 154"/>
                  <a:gd name="T138" fmla="*/ 126 h 12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54" h="126">
                    <a:moveTo>
                      <a:pt x="24" y="108"/>
                    </a:moveTo>
                    <a:cubicBezTo>
                      <a:pt x="23" y="106"/>
                      <a:pt x="22" y="105"/>
                      <a:pt x="22" y="102"/>
                    </a:cubicBezTo>
                    <a:cubicBezTo>
                      <a:pt x="22" y="101"/>
                      <a:pt x="24" y="99"/>
                      <a:pt x="25" y="98"/>
                    </a:cubicBezTo>
                    <a:cubicBezTo>
                      <a:pt x="26" y="96"/>
                      <a:pt x="29" y="96"/>
                      <a:pt x="29" y="94"/>
                    </a:cubicBezTo>
                    <a:cubicBezTo>
                      <a:pt x="29" y="92"/>
                      <a:pt x="26" y="91"/>
                      <a:pt x="25" y="89"/>
                    </a:cubicBezTo>
                    <a:cubicBezTo>
                      <a:pt x="25" y="88"/>
                      <a:pt x="25" y="86"/>
                      <a:pt x="25" y="85"/>
                    </a:cubicBezTo>
                    <a:cubicBezTo>
                      <a:pt x="26" y="84"/>
                      <a:pt x="28" y="83"/>
                      <a:pt x="29" y="81"/>
                    </a:cubicBezTo>
                    <a:cubicBezTo>
                      <a:pt x="30" y="80"/>
                      <a:pt x="30" y="79"/>
                      <a:pt x="29" y="78"/>
                    </a:cubicBezTo>
                    <a:cubicBezTo>
                      <a:pt x="29" y="77"/>
                      <a:pt x="27" y="77"/>
                      <a:pt x="26" y="76"/>
                    </a:cubicBezTo>
                    <a:cubicBezTo>
                      <a:pt x="25" y="74"/>
                      <a:pt x="23" y="72"/>
                      <a:pt x="24" y="70"/>
                    </a:cubicBezTo>
                    <a:cubicBezTo>
                      <a:pt x="24" y="68"/>
                      <a:pt x="27" y="69"/>
                      <a:pt x="29" y="68"/>
                    </a:cubicBezTo>
                    <a:cubicBezTo>
                      <a:pt x="30" y="67"/>
                      <a:pt x="30" y="65"/>
                      <a:pt x="30" y="63"/>
                    </a:cubicBezTo>
                    <a:cubicBezTo>
                      <a:pt x="30" y="62"/>
                      <a:pt x="28" y="61"/>
                      <a:pt x="29" y="60"/>
                    </a:cubicBezTo>
                    <a:cubicBezTo>
                      <a:pt x="29" y="59"/>
                      <a:pt x="31" y="58"/>
                      <a:pt x="31" y="57"/>
                    </a:cubicBezTo>
                    <a:cubicBezTo>
                      <a:pt x="32" y="53"/>
                      <a:pt x="29" y="50"/>
                      <a:pt x="30" y="46"/>
                    </a:cubicBezTo>
                    <a:cubicBezTo>
                      <a:pt x="31" y="44"/>
                      <a:pt x="33" y="44"/>
                      <a:pt x="35" y="42"/>
                    </a:cubicBezTo>
                    <a:cubicBezTo>
                      <a:pt x="36" y="40"/>
                      <a:pt x="39" y="39"/>
                      <a:pt x="39" y="36"/>
                    </a:cubicBezTo>
                    <a:cubicBezTo>
                      <a:pt x="39" y="35"/>
                      <a:pt x="35" y="36"/>
                      <a:pt x="34" y="35"/>
                    </a:cubicBezTo>
                    <a:cubicBezTo>
                      <a:pt x="34" y="33"/>
                      <a:pt x="36" y="31"/>
                      <a:pt x="35" y="30"/>
                    </a:cubicBezTo>
                    <a:cubicBezTo>
                      <a:pt x="33" y="29"/>
                      <a:pt x="30" y="30"/>
                      <a:pt x="28" y="30"/>
                    </a:cubicBezTo>
                    <a:cubicBezTo>
                      <a:pt x="27" y="30"/>
                      <a:pt x="26" y="32"/>
                      <a:pt x="25" y="33"/>
                    </a:cubicBezTo>
                    <a:cubicBezTo>
                      <a:pt x="24" y="33"/>
                      <a:pt x="22" y="32"/>
                      <a:pt x="21" y="32"/>
                    </a:cubicBezTo>
                    <a:cubicBezTo>
                      <a:pt x="19" y="32"/>
                      <a:pt x="16" y="34"/>
                      <a:pt x="15" y="33"/>
                    </a:cubicBezTo>
                    <a:cubicBezTo>
                      <a:pt x="13" y="32"/>
                      <a:pt x="17" y="31"/>
                      <a:pt x="17" y="29"/>
                    </a:cubicBezTo>
                    <a:cubicBezTo>
                      <a:pt x="17" y="28"/>
                      <a:pt x="15" y="27"/>
                      <a:pt x="14" y="27"/>
                    </a:cubicBezTo>
                    <a:cubicBezTo>
                      <a:pt x="11" y="28"/>
                      <a:pt x="9" y="30"/>
                      <a:pt x="6" y="31"/>
                    </a:cubicBezTo>
                    <a:cubicBezTo>
                      <a:pt x="7" y="29"/>
                      <a:pt x="8" y="28"/>
                      <a:pt x="8" y="26"/>
                    </a:cubicBezTo>
                    <a:cubicBezTo>
                      <a:pt x="8" y="25"/>
                      <a:pt x="7" y="24"/>
                      <a:pt x="7" y="23"/>
                    </a:cubicBezTo>
                    <a:cubicBezTo>
                      <a:pt x="7" y="21"/>
                      <a:pt x="9" y="20"/>
                      <a:pt x="8" y="18"/>
                    </a:cubicBezTo>
                    <a:cubicBezTo>
                      <a:pt x="7" y="17"/>
                      <a:pt x="6" y="20"/>
                      <a:pt x="5" y="19"/>
                    </a:cubicBezTo>
                    <a:cubicBezTo>
                      <a:pt x="4" y="19"/>
                      <a:pt x="4" y="17"/>
                      <a:pt x="4" y="15"/>
                    </a:cubicBezTo>
                    <a:cubicBezTo>
                      <a:pt x="3" y="14"/>
                      <a:pt x="0" y="13"/>
                      <a:pt x="1" y="12"/>
                    </a:cubicBezTo>
                    <a:cubicBezTo>
                      <a:pt x="3" y="9"/>
                      <a:pt x="6" y="8"/>
                      <a:pt x="9" y="7"/>
                    </a:cubicBezTo>
                    <a:cubicBezTo>
                      <a:pt x="10" y="6"/>
                      <a:pt x="12" y="7"/>
                      <a:pt x="14" y="7"/>
                    </a:cubicBezTo>
                    <a:cubicBezTo>
                      <a:pt x="15" y="6"/>
                      <a:pt x="13" y="5"/>
                      <a:pt x="14" y="4"/>
                    </a:cubicBezTo>
                    <a:cubicBezTo>
                      <a:pt x="15" y="3"/>
                      <a:pt x="16" y="2"/>
                      <a:pt x="17" y="1"/>
                    </a:cubicBezTo>
                    <a:cubicBezTo>
                      <a:pt x="19" y="1"/>
                      <a:pt x="21" y="0"/>
                      <a:pt x="23" y="0"/>
                    </a:cubicBezTo>
                    <a:cubicBezTo>
                      <a:pt x="25" y="0"/>
                      <a:pt x="26" y="3"/>
                      <a:pt x="29" y="3"/>
                    </a:cubicBezTo>
                    <a:cubicBezTo>
                      <a:pt x="33" y="4"/>
                      <a:pt x="37" y="3"/>
                      <a:pt x="42" y="3"/>
                    </a:cubicBezTo>
                    <a:cubicBezTo>
                      <a:pt x="44" y="3"/>
                      <a:pt x="46" y="2"/>
                      <a:pt x="49" y="2"/>
                    </a:cubicBezTo>
                    <a:cubicBezTo>
                      <a:pt x="51" y="2"/>
                      <a:pt x="53" y="5"/>
                      <a:pt x="55" y="5"/>
                    </a:cubicBezTo>
                    <a:cubicBezTo>
                      <a:pt x="59" y="5"/>
                      <a:pt x="63" y="5"/>
                      <a:pt x="66" y="5"/>
                    </a:cubicBezTo>
                    <a:cubicBezTo>
                      <a:pt x="68" y="5"/>
                      <a:pt x="70" y="4"/>
                      <a:pt x="71" y="4"/>
                    </a:cubicBezTo>
                    <a:cubicBezTo>
                      <a:pt x="73" y="4"/>
                      <a:pt x="75" y="7"/>
                      <a:pt x="77" y="7"/>
                    </a:cubicBezTo>
                    <a:cubicBezTo>
                      <a:pt x="78" y="7"/>
                      <a:pt x="78" y="4"/>
                      <a:pt x="80" y="4"/>
                    </a:cubicBezTo>
                    <a:cubicBezTo>
                      <a:pt x="82" y="4"/>
                      <a:pt x="83" y="7"/>
                      <a:pt x="86" y="8"/>
                    </a:cubicBezTo>
                    <a:cubicBezTo>
                      <a:pt x="88" y="8"/>
                      <a:pt x="90" y="7"/>
                      <a:pt x="92" y="7"/>
                    </a:cubicBezTo>
                    <a:cubicBezTo>
                      <a:pt x="94" y="7"/>
                      <a:pt x="96" y="7"/>
                      <a:pt x="97" y="8"/>
                    </a:cubicBezTo>
                    <a:cubicBezTo>
                      <a:pt x="99" y="9"/>
                      <a:pt x="98" y="11"/>
                      <a:pt x="100" y="12"/>
                    </a:cubicBezTo>
                    <a:cubicBezTo>
                      <a:pt x="101" y="13"/>
                      <a:pt x="103" y="13"/>
                      <a:pt x="105" y="13"/>
                    </a:cubicBezTo>
                    <a:cubicBezTo>
                      <a:pt x="107" y="14"/>
                      <a:pt x="109" y="15"/>
                      <a:pt x="111" y="16"/>
                    </a:cubicBezTo>
                    <a:cubicBezTo>
                      <a:pt x="113" y="16"/>
                      <a:pt x="115" y="16"/>
                      <a:pt x="117" y="17"/>
                    </a:cubicBezTo>
                    <a:cubicBezTo>
                      <a:pt x="119" y="17"/>
                      <a:pt x="121" y="17"/>
                      <a:pt x="122" y="16"/>
                    </a:cubicBezTo>
                    <a:cubicBezTo>
                      <a:pt x="123" y="16"/>
                      <a:pt x="123" y="14"/>
                      <a:pt x="123" y="14"/>
                    </a:cubicBezTo>
                    <a:cubicBezTo>
                      <a:pt x="126" y="15"/>
                      <a:pt x="129" y="17"/>
                      <a:pt x="131" y="18"/>
                    </a:cubicBezTo>
                    <a:cubicBezTo>
                      <a:pt x="133" y="19"/>
                      <a:pt x="134" y="20"/>
                      <a:pt x="136" y="21"/>
                    </a:cubicBezTo>
                    <a:cubicBezTo>
                      <a:pt x="138" y="21"/>
                      <a:pt x="139" y="21"/>
                      <a:pt x="141" y="21"/>
                    </a:cubicBezTo>
                    <a:cubicBezTo>
                      <a:pt x="143" y="22"/>
                      <a:pt x="146" y="22"/>
                      <a:pt x="148" y="22"/>
                    </a:cubicBezTo>
                    <a:cubicBezTo>
                      <a:pt x="149" y="22"/>
                      <a:pt x="150" y="21"/>
                      <a:pt x="151" y="21"/>
                    </a:cubicBezTo>
                    <a:cubicBezTo>
                      <a:pt x="152" y="22"/>
                      <a:pt x="153" y="24"/>
                      <a:pt x="153" y="26"/>
                    </a:cubicBezTo>
                    <a:cubicBezTo>
                      <a:pt x="154" y="28"/>
                      <a:pt x="154" y="30"/>
                      <a:pt x="153" y="32"/>
                    </a:cubicBezTo>
                    <a:cubicBezTo>
                      <a:pt x="150" y="34"/>
                      <a:pt x="146" y="35"/>
                      <a:pt x="143" y="37"/>
                    </a:cubicBezTo>
                    <a:cubicBezTo>
                      <a:pt x="142" y="38"/>
                      <a:pt x="142" y="41"/>
                      <a:pt x="141" y="41"/>
                    </a:cubicBezTo>
                    <a:cubicBezTo>
                      <a:pt x="136" y="43"/>
                      <a:pt x="130" y="42"/>
                      <a:pt x="126" y="44"/>
                    </a:cubicBezTo>
                    <a:cubicBezTo>
                      <a:pt x="124" y="45"/>
                      <a:pt x="124" y="48"/>
                      <a:pt x="123" y="49"/>
                    </a:cubicBezTo>
                    <a:cubicBezTo>
                      <a:pt x="123" y="50"/>
                      <a:pt x="124" y="51"/>
                      <a:pt x="124" y="52"/>
                    </a:cubicBezTo>
                    <a:cubicBezTo>
                      <a:pt x="123" y="54"/>
                      <a:pt x="121" y="54"/>
                      <a:pt x="119" y="56"/>
                    </a:cubicBezTo>
                    <a:cubicBezTo>
                      <a:pt x="116" y="60"/>
                      <a:pt x="113" y="65"/>
                      <a:pt x="111" y="69"/>
                    </a:cubicBezTo>
                    <a:cubicBezTo>
                      <a:pt x="110" y="71"/>
                      <a:pt x="110" y="73"/>
                      <a:pt x="111" y="74"/>
                    </a:cubicBezTo>
                    <a:cubicBezTo>
                      <a:pt x="111" y="76"/>
                      <a:pt x="113" y="78"/>
                      <a:pt x="114" y="80"/>
                    </a:cubicBezTo>
                    <a:cubicBezTo>
                      <a:pt x="115" y="81"/>
                      <a:pt x="117" y="82"/>
                      <a:pt x="117" y="83"/>
                    </a:cubicBezTo>
                    <a:cubicBezTo>
                      <a:pt x="116" y="85"/>
                      <a:pt x="112" y="86"/>
                      <a:pt x="111" y="87"/>
                    </a:cubicBezTo>
                    <a:cubicBezTo>
                      <a:pt x="109" y="89"/>
                      <a:pt x="107" y="91"/>
                      <a:pt x="106" y="93"/>
                    </a:cubicBezTo>
                    <a:cubicBezTo>
                      <a:pt x="105" y="95"/>
                      <a:pt x="104" y="97"/>
                      <a:pt x="104" y="100"/>
                    </a:cubicBezTo>
                    <a:cubicBezTo>
                      <a:pt x="104" y="101"/>
                      <a:pt x="107" y="101"/>
                      <a:pt x="106" y="102"/>
                    </a:cubicBezTo>
                    <a:cubicBezTo>
                      <a:pt x="103" y="103"/>
                      <a:pt x="100" y="102"/>
                      <a:pt x="97" y="103"/>
                    </a:cubicBezTo>
                    <a:cubicBezTo>
                      <a:pt x="96" y="104"/>
                      <a:pt x="94" y="105"/>
                      <a:pt x="93" y="107"/>
                    </a:cubicBezTo>
                    <a:cubicBezTo>
                      <a:pt x="91" y="109"/>
                      <a:pt x="92" y="112"/>
                      <a:pt x="90" y="114"/>
                    </a:cubicBezTo>
                    <a:cubicBezTo>
                      <a:pt x="90" y="115"/>
                      <a:pt x="88" y="116"/>
                      <a:pt x="87" y="116"/>
                    </a:cubicBezTo>
                    <a:cubicBezTo>
                      <a:pt x="86" y="116"/>
                      <a:pt x="85" y="114"/>
                      <a:pt x="84" y="114"/>
                    </a:cubicBezTo>
                    <a:cubicBezTo>
                      <a:pt x="83" y="114"/>
                      <a:pt x="82" y="116"/>
                      <a:pt x="81" y="116"/>
                    </a:cubicBezTo>
                    <a:cubicBezTo>
                      <a:pt x="78" y="117"/>
                      <a:pt x="75" y="116"/>
                      <a:pt x="72" y="116"/>
                    </a:cubicBezTo>
                    <a:cubicBezTo>
                      <a:pt x="69" y="116"/>
                      <a:pt x="67" y="115"/>
                      <a:pt x="64" y="116"/>
                    </a:cubicBezTo>
                    <a:cubicBezTo>
                      <a:pt x="62" y="116"/>
                      <a:pt x="60" y="117"/>
                      <a:pt x="58" y="118"/>
                    </a:cubicBezTo>
                    <a:cubicBezTo>
                      <a:pt x="56" y="119"/>
                      <a:pt x="53" y="120"/>
                      <a:pt x="51" y="122"/>
                    </a:cubicBezTo>
                    <a:cubicBezTo>
                      <a:pt x="50" y="122"/>
                      <a:pt x="49" y="125"/>
                      <a:pt x="48" y="125"/>
                    </a:cubicBezTo>
                    <a:cubicBezTo>
                      <a:pt x="46" y="126"/>
                      <a:pt x="43" y="126"/>
                      <a:pt x="41" y="125"/>
                    </a:cubicBezTo>
                    <a:cubicBezTo>
                      <a:pt x="39" y="124"/>
                      <a:pt x="38" y="121"/>
                      <a:pt x="37" y="118"/>
                    </a:cubicBezTo>
                    <a:cubicBezTo>
                      <a:pt x="36" y="117"/>
                      <a:pt x="37" y="115"/>
                      <a:pt x="36" y="113"/>
                    </a:cubicBezTo>
                    <a:cubicBezTo>
                      <a:pt x="34" y="111"/>
                      <a:pt x="32" y="109"/>
                      <a:pt x="30" y="108"/>
                    </a:cubicBezTo>
                    <a:cubicBezTo>
                      <a:pt x="28" y="108"/>
                      <a:pt x="26" y="108"/>
                      <a:pt x="24" y="10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1" name="Freeform 2722"/>
              <p:cNvSpPr>
                <a:spLocks noChangeAspect="1"/>
              </p:cNvSpPr>
              <p:nvPr/>
            </p:nvSpPr>
            <p:spPr bwMode="auto">
              <a:xfrm>
                <a:off x="4324320" y="2986626"/>
                <a:ext cx="6542" cy="4873"/>
              </a:xfrm>
              <a:custGeom>
                <a:avLst/>
                <a:gdLst>
                  <a:gd name="T0" fmla="*/ 0 w 4"/>
                  <a:gd name="T1" fmla="*/ 2 h 3"/>
                  <a:gd name="T2" fmla="*/ 2 w 4"/>
                  <a:gd name="T3" fmla="*/ 1 h 3"/>
                  <a:gd name="T4" fmla="*/ 3 w 4"/>
                  <a:gd name="T5" fmla="*/ 0 h 3"/>
                  <a:gd name="T6" fmla="*/ 4 w 4"/>
                  <a:gd name="T7" fmla="*/ 2 h 3"/>
                  <a:gd name="T8" fmla="*/ 2 w 4"/>
                  <a:gd name="T9" fmla="*/ 3 h 3"/>
                  <a:gd name="T10" fmla="*/ 0 w 4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2" name="Freeform 2723"/>
              <p:cNvSpPr>
                <a:spLocks noChangeAspect="1"/>
              </p:cNvSpPr>
              <p:nvPr/>
            </p:nvSpPr>
            <p:spPr bwMode="auto">
              <a:xfrm>
                <a:off x="4510777" y="2864816"/>
                <a:ext cx="29441" cy="22738"/>
              </a:xfrm>
              <a:custGeom>
                <a:avLst/>
                <a:gdLst>
                  <a:gd name="T0" fmla="*/ 12 w 15"/>
                  <a:gd name="T1" fmla="*/ 0 h 12"/>
                  <a:gd name="T2" fmla="*/ 12 w 15"/>
                  <a:gd name="T3" fmla="*/ 5 h 12"/>
                  <a:gd name="T4" fmla="*/ 18 w 15"/>
                  <a:gd name="T5" fmla="*/ 5 h 12"/>
                  <a:gd name="T6" fmla="*/ 12 w 15"/>
                  <a:gd name="T7" fmla="*/ 14 h 12"/>
                  <a:gd name="T8" fmla="*/ 10 w 15"/>
                  <a:gd name="T9" fmla="*/ 13 h 12"/>
                  <a:gd name="T10" fmla="*/ 6 w 15"/>
                  <a:gd name="T11" fmla="*/ 9 h 12"/>
                  <a:gd name="T12" fmla="*/ 0 w 15"/>
                  <a:gd name="T13" fmla="*/ 7 h 12"/>
                  <a:gd name="T14" fmla="*/ 7 w 15"/>
                  <a:gd name="T15" fmla="*/ 4 h 12"/>
                  <a:gd name="T16" fmla="*/ 12 w 15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2"/>
                  <a:gd name="T29" fmla="*/ 15 w 15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2">
                    <a:moveTo>
                      <a:pt x="10" y="0"/>
                    </a:moveTo>
                    <a:cubicBezTo>
                      <a:pt x="11" y="1"/>
                      <a:pt x="9" y="3"/>
                      <a:pt x="10" y="4"/>
                    </a:cubicBezTo>
                    <a:cubicBezTo>
                      <a:pt x="11" y="5"/>
                      <a:pt x="15" y="2"/>
                      <a:pt x="15" y="4"/>
                    </a:cubicBezTo>
                    <a:cubicBezTo>
                      <a:pt x="15" y="7"/>
                      <a:pt x="12" y="10"/>
                      <a:pt x="10" y="12"/>
                    </a:cubicBezTo>
                    <a:cubicBezTo>
                      <a:pt x="10" y="12"/>
                      <a:pt x="9" y="11"/>
                      <a:pt x="8" y="11"/>
                    </a:cubicBezTo>
                    <a:cubicBezTo>
                      <a:pt x="7" y="10"/>
                      <a:pt x="6" y="8"/>
                      <a:pt x="5" y="8"/>
                    </a:cubicBezTo>
                    <a:cubicBezTo>
                      <a:pt x="4" y="7"/>
                      <a:pt x="0" y="8"/>
                      <a:pt x="0" y="6"/>
                    </a:cubicBezTo>
                    <a:cubicBezTo>
                      <a:pt x="1" y="4"/>
                      <a:pt x="4" y="4"/>
                      <a:pt x="6" y="3"/>
                    </a:cubicBezTo>
                    <a:cubicBezTo>
                      <a:pt x="7" y="2"/>
                      <a:pt x="8" y="0"/>
                      <a:pt x="1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3" name="Freeform 2724"/>
              <p:cNvSpPr>
                <a:spLocks noChangeAspect="1"/>
              </p:cNvSpPr>
              <p:nvPr/>
            </p:nvSpPr>
            <p:spPr bwMode="auto">
              <a:xfrm>
                <a:off x="4548396" y="2861568"/>
                <a:ext cx="14721" cy="11369"/>
              </a:xfrm>
              <a:custGeom>
                <a:avLst/>
                <a:gdLst>
                  <a:gd name="T0" fmla="*/ 3 w 8"/>
                  <a:gd name="T1" fmla="*/ 0 h 6"/>
                  <a:gd name="T2" fmla="*/ 8 w 8"/>
                  <a:gd name="T3" fmla="*/ 6 h 6"/>
                  <a:gd name="T4" fmla="*/ 0 w 8"/>
                  <a:gd name="T5" fmla="*/ 4 h 6"/>
                  <a:gd name="T6" fmla="*/ 0 w 8"/>
                  <a:gd name="T7" fmla="*/ 1 h 6"/>
                  <a:gd name="T8" fmla="*/ 3 w 8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6"/>
                  <a:gd name="T17" fmla="*/ 8 w 8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6">
                    <a:moveTo>
                      <a:pt x="3" y="0"/>
                    </a:moveTo>
                    <a:cubicBezTo>
                      <a:pt x="5" y="1"/>
                      <a:pt x="8" y="3"/>
                      <a:pt x="7" y="5"/>
                    </a:cubicBezTo>
                    <a:cubicBezTo>
                      <a:pt x="6" y="6"/>
                      <a:pt x="2" y="4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4" name="Freeform 2725"/>
              <p:cNvSpPr>
                <a:spLocks noChangeAspect="1"/>
              </p:cNvSpPr>
              <p:nvPr/>
            </p:nvSpPr>
            <p:spPr bwMode="auto">
              <a:xfrm>
                <a:off x="4482973" y="2890802"/>
                <a:ext cx="13085" cy="11369"/>
              </a:xfrm>
              <a:custGeom>
                <a:avLst/>
                <a:gdLst>
                  <a:gd name="T0" fmla="*/ 7 w 7"/>
                  <a:gd name="T1" fmla="*/ 1 h 6"/>
                  <a:gd name="T2" fmla="*/ 5 w 7"/>
                  <a:gd name="T3" fmla="*/ 5 h 6"/>
                  <a:gd name="T4" fmla="*/ 0 w 7"/>
                  <a:gd name="T5" fmla="*/ 6 h 6"/>
                  <a:gd name="T6" fmla="*/ 2 w 7"/>
                  <a:gd name="T7" fmla="*/ 2 h 6"/>
                  <a:gd name="T8" fmla="*/ 7 w 7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1"/>
                    </a:moveTo>
                    <a:cubicBezTo>
                      <a:pt x="7" y="2"/>
                      <a:pt x="5" y="4"/>
                      <a:pt x="4" y="4"/>
                    </a:cubicBezTo>
                    <a:cubicBezTo>
                      <a:pt x="3" y="5"/>
                      <a:pt x="1" y="6"/>
                      <a:pt x="0" y="5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3" y="1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5" name="Freeform 2726"/>
              <p:cNvSpPr>
                <a:spLocks noChangeAspect="1"/>
              </p:cNvSpPr>
              <p:nvPr/>
            </p:nvSpPr>
            <p:spPr bwMode="auto">
              <a:xfrm>
                <a:off x="4487879" y="2903795"/>
                <a:ext cx="11450" cy="6497"/>
              </a:xfrm>
              <a:custGeom>
                <a:avLst/>
                <a:gdLst>
                  <a:gd name="T0" fmla="*/ 3 w 5"/>
                  <a:gd name="T1" fmla="*/ 0 h 3"/>
                  <a:gd name="T2" fmla="*/ 6 w 5"/>
                  <a:gd name="T3" fmla="*/ 3 h 3"/>
                  <a:gd name="T4" fmla="*/ 1 w 5"/>
                  <a:gd name="T5" fmla="*/ 3 h 3"/>
                  <a:gd name="T6" fmla="*/ 3 w 5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2" y="0"/>
                    </a:moveTo>
                    <a:cubicBezTo>
                      <a:pt x="3" y="0"/>
                      <a:pt x="5" y="1"/>
                      <a:pt x="4" y="2"/>
                    </a:cubicBezTo>
                    <a:cubicBezTo>
                      <a:pt x="4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6" name="Freeform 2727"/>
              <p:cNvSpPr>
                <a:spLocks noChangeAspect="1"/>
              </p:cNvSpPr>
              <p:nvPr/>
            </p:nvSpPr>
            <p:spPr bwMode="auto">
              <a:xfrm>
                <a:off x="4945844" y="2902172"/>
                <a:ext cx="8178" cy="4873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2 h 3"/>
                  <a:gd name="T4" fmla="*/ 1 w 4"/>
                  <a:gd name="T5" fmla="*/ 2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2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7" name="Freeform 2728"/>
              <p:cNvSpPr>
                <a:spLocks noChangeAspect="1"/>
              </p:cNvSpPr>
              <p:nvPr/>
            </p:nvSpPr>
            <p:spPr bwMode="auto">
              <a:xfrm>
                <a:off x="4950751" y="2929781"/>
                <a:ext cx="6542" cy="8121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0 w 4"/>
                  <a:gd name="T5" fmla="*/ 4 h 4"/>
                  <a:gd name="T6" fmla="*/ 2 w 4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2" y="0"/>
                    </a:moveTo>
                    <a:cubicBezTo>
                      <a:pt x="3" y="0"/>
                      <a:pt x="4" y="2"/>
                      <a:pt x="4" y="3"/>
                    </a:cubicBezTo>
                    <a:cubicBezTo>
                      <a:pt x="3" y="4"/>
                      <a:pt x="1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8" name="Freeform 2729"/>
              <p:cNvSpPr>
                <a:spLocks noChangeAspect="1"/>
              </p:cNvSpPr>
              <p:nvPr/>
            </p:nvSpPr>
            <p:spPr bwMode="auto">
              <a:xfrm>
                <a:off x="5040708" y="2838830"/>
                <a:ext cx="9814" cy="8121"/>
              </a:xfrm>
              <a:custGeom>
                <a:avLst/>
                <a:gdLst>
                  <a:gd name="T0" fmla="*/ 2 w 5"/>
                  <a:gd name="T1" fmla="*/ 0 h 4"/>
                  <a:gd name="T2" fmla="*/ 5 w 5"/>
                  <a:gd name="T3" fmla="*/ 4 h 4"/>
                  <a:gd name="T4" fmla="*/ 1 w 5"/>
                  <a:gd name="T5" fmla="*/ 4 h 4"/>
                  <a:gd name="T6" fmla="*/ 2 w 5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2" y="0"/>
                    </a:moveTo>
                    <a:cubicBezTo>
                      <a:pt x="3" y="0"/>
                      <a:pt x="5" y="2"/>
                      <a:pt x="4" y="3"/>
                    </a:cubicBezTo>
                    <a:cubicBezTo>
                      <a:pt x="4" y="4"/>
                      <a:pt x="1" y="4"/>
                      <a:pt x="1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9" name="Freeform 2730"/>
              <p:cNvSpPr>
                <a:spLocks noChangeAspect="1"/>
              </p:cNvSpPr>
              <p:nvPr/>
            </p:nvSpPr>
            <p:spPr bwMode="auto">
              <a:xfrm>
                <a:off x="5063606" y="2845327"/>
                <a:ext cx="8178" cy="6497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3 h 3"/>
                  <a:gd name="T4" fmla="*/ 1 w 4"/>
                  <a:gd name="T5" fmla="*/ 3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0" name="Freeform 2731"/>
              <p:cNvSpPr>
                <a:spLocks noChangeAspect="1"/>
              </p:cNvSpPr>
              <p:nvPr/>
            </p:nvSpPr>
            <p:spPr bwMode="auto">
              <a:xfrm>
                <a:off x="5055429" y="2863193"/>
                <a:ext cx="8178" cy="4873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2 h 3"/>
                  <a:gd name="T4" fmla="*/ 1 w 4"/>
                  <a:gd name="T5" fmla="*/ 2 h 3"/>
                  <a:gd name="T6" fmla="*/ 3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3" y="3"/>
                      <a:pt x="1" y="3"/>
                      <a:pt x="1" y="2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1" name="Freeform 2732"/>
              <p:cNvSpPr>
                <a:spLocks noChangeAspect="1"/>
              </p:cNvSpPr>
              <p:nvPr/>
            </p:nvSpPr>
            <p:spPr bwMode="auto">
              <a:xfrm>
                <a:off x="5042344" y="2895675"/>
                <a:ext cx="8178" cy="6497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4 h 3"/>
                  <a:gd name="T4" fmla="*/ 0 w 4"/>
                  <a:gd name="T5" fmla="*/ 4 h 3"/>
                  <a:gd name="T6" fmla="*/ 1 w 4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1" y="0"/>
                    </a:moveTo>
                    <a:cubicBezTo>
                      <a:pt x="2" y="0"/>
                      <a:pt x="4" y="2"/>
                      <a:pt x="3" y="3"/>
                    </a:cubicBezTo>
                    <a:cubicBezTo>
                      <a:pt x="3" y="3"/>
                      <a:pt x="1" y="3"/>
                      <a:pt x="0" y="3"/>
                    </a:cubicBezTo>
                    <a:cubicBezTo>
                      <a:pt x="0" y="2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2" name="Freeform 2733"/>
              <p:cNvSpPr>
                <a:spLocks noChangeAspect="1"/>
              </p:cNvSpPr>
              <p:nvPr/>
            </p:nvSpPr>
            <p:spPr bwMode="auto">
              <a:xfrm>
                <a:off x="5048886" y="2928158"/>
                <a:ext cx="9814" cy="6497"/>
              </a:xfrm>
              <a:custGeom>
                <a:avLst/>
                <a:gdLst>
                  <a:gd name="T0" fmla="*/ 4 w 5"/>
                  <a:gd name="T1" fmla="*/ 1 h 4"/>
                  <a:gd name="T2" fmla="*/ 5 w 5"/>
                  <a:gd name="T3" fmla="*/ 4 h 4"/>
                  <a:gd name="T4" fmla="*/ 0 w 5"/>
                  <a:gd name="T5" fmla="*/ 1 h 4"/>
                  <a:gd name="T6" fmla="*/ 4 w 5"/>
                  <a:gd name="T7" fmla="*/ 1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3" y="1"/>
                    </a:moveTo>
                    <a:cubicBezTo>
                      <a:pt x="4" y="2"/>
                      <a:pt x="5" y="3"/>
                      <a:pt x="4" y="4"/>
                    </a:cubicBezTo>
                    <a:cubicBezTo>
                      <a:pt x="4" y="4"/>
                      <a:pt x="1" y="2"/>
                      <a:pt x="0" y="1"/>
                    </a:cubicBezTo>
                    <a:cubicBezTo>
                      <a:pt x="0" y="0"/>
                      <a:pt x="1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3" name="Freeform 2734"/>
              <p:cNvSpPr>
                <a:spLocks noChangeAspect="1"/>
              </p:cNvSpPr>
              <p:nvPr/>
            </p:nvSpPr>
            <p:spPr bwMode="auto">
              <a:xfrm>
                <a:off x="5094683" y="2933030"/>
                <a:ext cx="9814" cy="6497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4 h 3"/>
                  <a:gd name="T4" fmla="*/ 0 w 5"/>
                  <a:gd name="T5" fmla="*/ 1 h 3"/>
                  <a:gd name="T6" fmla="*/ 4 w 5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3" y="1"/>
                    </a:moveTo>
                    <a:cubicBezTo>
                      <a:pt x="4" y="1"/>
                      <a:pt x="5" y="3"/>
                      <a:pt x="4" y="3"/>
                    </a:cubicBezTo>
                    <a:cubicBezTo>
                      <a:pt x="4" y="3"/>
                      <a:pt x="1" y="2"/>
                      <a:pt x="0" y="1"/>
                    </a:cubicBezTo>
                    <a:cubicBezTo>
                      <a:pt x="0" y="0"/>
                      <a:pt x="1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4" name="Freeform 2735"/>
              <p:cNvSpPr>
                <a:spLocks noChangeAspect="1"/>
              </p:cNvSpPr>
              <p:nvPr/>
            </p:nvSpPr>
            <p:spPr bwMode="auto">
              <a:xfrm>
                <a:off x="5042344" y="2963889"/>
                <a:ext cx="6542" cy="8121"/>
              </a:xfrm>
              <a:custGeom>
                <a:avLst/>
                <a:gdLst>
                  <a:gd name="T0" fmla="*/ 1 w 3"/>
                  <a:gd name="T1" fmla="*/ 3 h 4"/>
                  <a:gd name="T2" fmla="*/ 4 w 3"/>
                  <a:gd name="T3" fmla="*/ 1 h 4"/>
                  <a:gd name="T4" fmla="*/ 1 w 3"/>
                  <a:gd name="T5" fmla="*/ 5 h 4"/>
                  <a:gd name="T6" fmla="*/ 1 w 3"/>
                  <a:gd name="T7" fmla="*/ 3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1" y="2"/>
                    </a:moveTo>
                    <a:cubicBezTo>
                      <a:pt x="2" y="1"/>
                      <a:pt x="3" y="0"/>
                      <a:pt x="3" y="1"/>
                    </a:cubicBezTo>
                    <a:cubicBezTo>
                      <a:pt x="3" y="2"/>
                      <a:pt x="2" y="3"/>
                      <a:pt x="1" y="4"/>
                    </a:cubicBezTo>
                    <a:cubicBezTo>
                      <a:pt x="0" y="4"/>
                      <a:pt x="0" y="3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5" name="Freeform 2736"/>
              <p:cNvSpPr>
                <a:spLocks noChangeAspect="1"/>
              </p:cNvSpPr>
              <p:nvPr/>
            </p:nvSpPr>
            <p:spPr bwMode="auto">
              <a:xfrm>
                <a:off x="5079962" y="2937903"/>
                <a:ext cx="8178" cy="4873"/>
              </a:xfrm>
              <a:custGeom>
                <a:avLst/>
                <a:gdLst>
                  <a:gd name="T0" fmla="*/ 1 w 4"/>
                  <a:gd name="T1" fmla="*/ 1 h 3"/>
                  <a:gd name="T2" fmla="*/ 5 w 4"/>
                  <a:gd name="T3" fmla="*/ 1 h 3"/>
                  <a:gd name="T4" fmla="*/ 1 w 4"/>
                  <a:gd name="T5" fmla="*/ 3 h 3"/>
                  <a:gd name="T6" fmla="*/ 1 w 4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1" y="1"/>
                    </a:moveTo>
                    <a:cubicBezTo>
                      <a:pt x="2" y="1"/>
                      <a:pt x="4" y="0"/>
                      <a:pt x="4" y="1"/>
                    </a:cubicBezTo>
                    <a:cubicBezTo>
                      <a:pt x="4" y="1"/>
                      <a:pt x="2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6" name="Freeform 2737"/>
              <p:cNvSpPr>
                <a:spLocks noChangeAspect="1"/>
              </p:cNvSpPr>
              <p:nvPr/>
            </p:nvSpPr>
            <p:spPr bwMode="auto">
              <a:xfrm>
                <a:off x="5078327" y="2960640"/>
                <a:ext cx="4907" cy="6497"/>
              </a:xfrm>
              <a:custGeom>
                <a:avLst/>
                <a:gdLst>
                  <a:gd name="T0" fmla="*/ 1 w 3"/>
                  <a:gd name="T1" fmla="*/ 1 h 3"/>
                  <a:gd name="T2" fmla="*/ 3 w 3"/>
                  <a:gd name="T3" fmla="*/ 0 h 3"/>
                  <a:gd name="T4" fmla="*/ 1 w 3"/>
                  <a:gd name="T5" fmla="*/ 4 h 3"/>
                  <a:gd name="T6" fmla="*/ 1 w 3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1" y="1"/>
                    </a:moveTo>
                    <a:cubicBezTo>
                      <a:pt x="2" y="1"/>
                      <a:pt x="3" y="0"/>
                      <a:pt x="3" y="0"/>
                    </a:cubicBezTo>
                    <a:cubicBezTo>
                      <a:pt x="3" y="1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7" name="Freeform 2738"/>
              <p:cNvSpPr>
                <a:spLocks noChangeAspect="1"/>
              </p:cNvSpPr>
              <p:nvPr/>
            </p:nvSpPr>
            <p:spPr bwMode="auto">
              <a:xfrm>
                <a:off x="5025988" y="2882682"/>
                <a:ext cx="8178" cy="8121"/>
              </a:xfrm>
              <a:custGeom>
                <a:avLst/>
                <a:gdLst>
                  <a:gd name="T0" fmla="*/ 1 w 4"/>
                  <a:gd name="T1" fmla="*/ 3 h 4"/>
                  <a:gd name="T2" fmla="*/ 4 w 4"/>
                  <a:gd name="T3" fmla="*/ 1 h 4"/>
                  <a:gd name="T4" fmla="*/ 1 w 4"/>
                  <a:gd name="T5" fmla="*/ 5 h 4"/>
                  <a:gd name="T6" fmla="*/ 1 w 4"/>
                  <a:gd name="T7" fmla="*/ 3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1" y="2"/>
                    </a:moveTo>
                    <a:cubicBezTo>
                      <a:pt x="2" y="1"/>
                      <a:pt x="4" y="0"/>
                      <a:pt x="3" y="1"/>
                    </a:cubicBezTo>
                    <a:cubicBezTo>
                      <a:pt x="3" y="2"/>
                      <a:pt x="2" y="3"/>
                      <a:pt x="1" y="4"/>
                    </a:cubicBezTo>
                    <a:cubicBezTo>
                      <a:pt x="0" y="4"/>
                      <a:pt x="0" y="3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8" name="Freeform 2739"/>
              <p:cNvSpPr>
                <a:spLocks noChangeAspect="1"/>
              </p:cNvSpPr>
              <p:nvPr/>
            </p:nvSpPr>
            <p:spPr bwMode="auto">
              <a:xfrm>
                <a:off x="5019446" y="2887554"/>
                <a:ext cx="4907" cy="6497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4 h 3"/>
                  <a:gd name="T4" fmla="*/ 0 w 3"/>
                  <a:gd name="T5" fmla="*/ 1 h 3"/>
                  <a:gd name="T6" fmla="*/ 2 w 3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2" y="1"/>
                    </a:moveTo>
                    <a:cubicBezTo>
                      <a:pt x="3" y="1"/>
                      <a:pt x="3" y="3"/>
                      <a:pt x="3" y="3"/>
                    </a:cubicBezTo>
                    <a:cubicBezTo>
                      <a:pt x="2" y="3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9" name="Freeform 2740"/>
              <p:cNvSpPr>
                <a:spLocks noChangeAspect="1"/>
              </p:cNvSpPr>
              <p:nvPr/>
            </p:nvSpPr>
            <p:spPr bwMode="auto">
              <a:xfrm>
                <a:off x="4376659" y="2619573"/>
                <a:ext cx="6542" cy="4873"/>
              </a:xfrm>
              <a:custGeom>
                <a:avLst/>
                <a:gdLst>
                  <a:gd name="T0" fmla="*/ 3 w 3"/>
                  <a:gd name="T1" fmla="*/ 2 h 3"/>
                  <a:gd name="T2" fmla="*/ 3 w 3"/>
                  <a:gd name="T3" fmla="*/ 3 h 3"/>
                  <a:gd name="T4" fmla="*/ 0 w 3"/>
                  <a:gd name="T5" fmla="*/ 2 h 3"/>
                  <a:gd name="T6" fmla="*/ 1 w 3"/>
                  <a:gd name="T7" fmla="*/ 0 h 3"/>
                  <a:gd name="T8" fmla="*/ 3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3" y="3"/>
                      <a:pt x="2" y="3"/>
                    </a:cubicBezTo>
                    <a:cubicBezTo>
                      <a:pt x="1" y="3"/>
                      <a:pt x="1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0" name="Freeform 2741"/>
              <p:cNvSpPr>
                <a:spLocks noChangeAspect="1"/>
              </p:cNvSpPr>
              <p:nvPr/>
            </p:nvSpPr>
            <p:spPr bwMode="auto">
              <a:xfrm>
                <a:off x="4397922" y="2630941"/>
                <a:ext cx="6542" cy="6497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3 h 3"/>
                  <a:gd name="T4" fmla="*/ 1 w 3"/>
                  <a:gd name="T5" fmla="*/ 3 h 3"/>
                  <a:gd name="T6" fmla="*/ 1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2"/>
                      <a:pt x="3" y="2"/>
                      <a:pt x="3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1" name="Freeform 2742"/>
              <p:cNvSpPr>
                <a:spLocks noChangeAspect="1"/>
              </p:cNvSpPr>
              <p:nvPr/>
            </p:nvSpPr>
            <p:spPr bwMode="auto">
              <a:xfrm>
                <a:off x="4419184" y="2663424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4 w 3"/>
                  <a:gd name="T3" fmla="*/ 4 h 3"/>
                  <a:gd name="T4" fmla="*/ 0 w 3"/>
                  <a:gd name="T5" fmla="*/ 4 h 3"/>
                  <a:gd name="T6" fmla="*/ 0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3" y="3"/>
                      <a:pt x="3" y="3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2" name="Freeform 2743"/>
              <p:cNvSpPr>
                <a:spLocks noChangeAspect="1"/>
              </p:cNvSpPr>
              <p:nvPr/>
            </p:nvSpPr>
            <p:spPr bwMode="auto">
              <a:xfrm>
                <a:off x="4798641" y="2697531"/>
                <a:ext cx="6542" cy="4873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1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3" name="Freeform 2744"/>
              <p:cNvSpPr>
                <a:spLocks noChangeAspect="1"/>
              </p:cNvSpPr>
              <p:nvPr/>
            </p:nvSpPr>
            <p:spPr bwMode="auto">
              <a:xfrm>
                <a:off x="4538583" y="2475025"/>
                <a:ext cx="11450" cy="6497"/>
              </a:xfrm>
              <a:custGeom>
                <a:avLst/>
                <a:gdLst>
                  <a:gd name="T0" fmla="*/ 0 w 6"/>
                  <a:gd name="T1" fmla="*/ 1 h 3"/>
                  <a:gd name="T2" fmla="*/ 4 w 6"/>
                  <a:gd name="T3" fmla="*/ 1 h 3"/>
                  <a:gd name="T4" fmla="*/ 7 w 6"/>
                  <a:gd name="T5" fmla="*/ 3 h 3"/>
                  <a:gd name="T6" fmla="*/ 4 w 6"/>
                  <a:gd name="T7" fmla="*/ 3 h 3"/>
                  <a:gd name="T8" fmla="*/ 0 w 6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1"/>
                    </a:moveTo>
                    <a:cubicBezTo>
                      <a:pt x="1" y="0"/>
                      <a:pt x="2" y="1"/>
                      <a:pt x="3" y="1"/>
                    </a:cubicBezTo>
                    <a:cubicBezTo>
                      <a:pt x="4" y="1"/>
                      <a:pt x="6" y="2"/>
                      <a:pt x="6" y="2"/>
                    </a:cubicBezTo>
                    <a:cubicBezTo>
                      <a:pt x="5" y="3"/>
                      <a:pt x="4" y="2"/>
                      <a:pt x="3" y="2"/>
                    </a:cubicBezTo>
                    <a:cubicBezTo>
                      <a:pt x="2" y="2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4" name="Freeform 2745"/>
              <p:cNvSpPr>
                <a:spLocks noChangeAspect="1"/>
              </p:cNvSpPr>
              <p:nvPr/>
            </p:nvSpPr>
            <p:spPr bwMode="auto">
              <a:xfrm>
                <a:off x="4561481" y="2418181"/>
                <a:ext cx="8178" cy="11369"/>
              </a:xfrm>
              <a:custGeom>
                <a:avLst/>
                <a:gdLst>
                  <a:gd name="T0" fmla="*/ 1 w 4"/>
                  <a:gd name="T1" fmla="*/ 6 h 6"/>
                  <a:gd name="T2" fmla="*/ 3 w 4"/>
                  <a:gd name="T3" fmla="*/ 2 h 6"/>
                  <a:gd name="T4" fmla="*/ 5 w 4"/>
                  <a:gd name="T5" fmla="*/ 1 h 6"/>
                  <a:gd name="T6" fmla="*/ 4 w 4"/>
                  <a:gd name="T7" fmla="*/ 5 h 6"/>
                  <a:gd name="T8" fmla="*/ 1 w 4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4"/>
                      <a:pt x="2" y="3"/>
                      <a:pt x="2" y="2"/>
                    </a:cubicBezTo>
                    <a:cubicBezTo>
                      <a:pt x="3" y="2"/>
                      <a:pt x="4" y="0"/>
                      <a:pt x="4" y="1"/>
                    </a:cubicBezTo>
                    <a:cubicBezTo>
                      <a:pt x="4" y="2"/>
                      <a:pt x="3" y="3"/>
                      <a:pt x="3" y="4"/>
                    </a:cubicBezTo>
                    <a:cubicBezTo>
                      <a:pt x="2" y="4"/>
                      <a:pt x="1" y="6"/>
                      <a:pt x="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5" name="Freeform 2746"/>
              <p:cNvSpPr>
                <a:spLocks noChangeAspect="1"/>
              </p:cNvSpPr>
              <p:nvPr/>
            </p:nvSpPr>
            <p:spPr bwMode="auto">
              <a:xfrm>
                <a:off x="4571295" y="2410059"/>
                <a:ext cx="6542" cy="8121"/>
              </a:xfrm>
              <a:custGeom>
                <a:avLst/>
                <a:gdLst>
                  <a:gd name="T0" fmla="*/ 0 w 3"/>
                  <a:gd name="T1" fmla="*/ 5 h 4"/>
                  <a:gd name="T2" fmla="*/ 3 w 3"/>
                  <a:gd name="T3" fmla="*/ 3 h 4"/>
                  <a:gd name="T4" fmla="*/ 4 w 3"/>
                  <a:gd name="T5" fmla="*/ 1 h 4"/>
                  <a:gd name="T6" fmla="*/ 3 w 3"/>
                  <a:gd name="T7" fmla="*/ 4 h 4"/>
                  <a:gd name="T8" fmla="*/ 0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0" y="4"/>
                    </a:moveTo>
                    <a:cubicBezTo>
                      <a:pt x="0" y="3"/>
                      <a:pt x="1" y="2"/>
                      <a:pt x="2" y="2"/>
                    </a:cubicBezTo>
                    <a:cubicBezTo>
                      <a:pt x="2" y="2"/>
                      <a:pt x="3" y="0"/>
                      <a:pt x="3" y="1"/>
                    </a:cubicBezTo>
                    <a:cubicBezTo>
                      <a:pt x="3" y="2"/>
                      <a:pt x="3" y="2"/>
                      <a:pt x="2" y="3"/>
                    </a:cubicBezTo>
                    <a:cubicBezTo>
                      <a:pt x="1" y="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6" name="Freeform 2747"/>
              <p:cNvSpPr>
                <a:spLocks noChangeAspect="1"/>
              </p:cNvSpPr>
              <p:nvPr/>
            </p:nvSpPr>
            <p:spPr bwMode="auto">
              <a:xfrm>
                <a:off x="4540218" y="2471776"/>
                <a:ext cx="9814" cy="4873"/>
              </a:xfrm>
              <a:custGeom>
                <a:avLst/>
                <a:gdLst>
                  <a:gd name="T0" fmla="*/ 2 w 5"/>
                  <a:gd name="T1" fmla="*/ 1 h 3"/>
                  <a:gd name="T2" fmla="*/ 6 w 5"/>
                  <a:gd name="T3" fmla="*/ 2 h 3"/>
                  <a:gd name="T4" fmla="*/ 2 w 5"/>
                  <a:gd name="T5" fmla="*/ 2 h 3"/>
                  <a:gd name="T6" fmla="*/ 0 w 5"/>
                  <a:gd name="T7" fmla="*/ 1 h 3"/>
                  <a:gd name="T8" fmla="*/ 2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1"/>
                    </a:moveTo>
                    <a:cubicBezTo>
                      <a:pt x="3" y="1"/>
                      <a:pt x="5" y="1"/>
                      <a:pt x="5" y="2"/>
                    </a:cubicBezTo>
                    <a:cubicBezTo>
                      <a:pt x="5" y="3"/>
                      <a:pt x="3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7" name="Freeform 2748"/>
              <p:cNvSpPr>
                <a:spLocks noChangeAspect="1"/>
              </p:cNvSpPr>
              <p:nvPr/>
            </p:nvSpPr>
            <p:spPr bwMode="auto">
              <a:xfrm>
                <a:off x="4543489" y="2466904"/>
                <a:ext cx="8178" cy="4873"/>
              </a:xfrm>
              <a:custGeom>
                <a:avLst/>
                <a:gdLst>
                  <a:gd name="T0" fmla="*/ 1 w 4"/>
                  <a:gd name="T1" fmla="*/ 2 h 2"/>
                  <a:gd name="T2" fmla="*/ 5 w 4"/>
                  <a:gd name="T3" fmla="*/ 3 h 2"/>
                  <a:gd name="T4" fmla="*/ 1 w 4"/>
                  <a:gd name="T5" fmla="*/ 3 h 2"/>
                  <a:gd name="T6" fmla="*/ 0 w 4"/>
                  <a:gd name="T7" fmla="*/ 2 h 2"/>
                  <a:gd name="T8" fmla="*/ 1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1" y="1"/>
                    </a:moveTo>
                    <a:cubicBezTo>
                      <a:pt x="2" y="1"/>
                      <a:pt x="4" y="1"/>
                      <a:pt x="4" y="2"/>
                    </a:cubicBezTo>
                    <a:cubicBezTo>
                      <a:pt x="4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8" name="Freeform 2749"/>
              <p:cNvSpPr>
                <a:spLocks noChangeAspect="1"/>
              </p:cNvSpPr>
              <p:nvPr/>
            </p:nvSpPr>
            <p:spPr bwMode="auto">
              <a:xfrm>
                <a:off x="4389744" y="2544863"/>
                <a:ext cx="4907" cy="6497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3 h 3"/>
                  <a:gd name="T4" fmla="*/ 2 w 2"/>
                  <a:gd name="T5" fmla="*/ 4 h 3"/>
                  <a:gd name="T6" fmla="*/ 3 w 2"/>
                  <a:gd name="T7" fmla="*/ 4 h 3"/>
                  <a:gd name="T8" fmla="*/ 2 w 2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2" y="1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39" name="Freeform 2750"/>
              <p:cNvSpPr>
                <a:spLocks noChangeAspect="1"/>
              </p:cNvSpPr>
              <p:nvPr/>
            </p:nvSpPr>
            <p:spPr bwMode="auto">
              <a:xfrm>
                <a:off x="4657980" y="2764120"/>
                <a:ext cx="24534" cy="55220"/>
              </a:xfrm>
              <a:custGeom>
                <a:avLst/>
                <a:gdLst>
                  <a:gd name="T0" fmla="*/ 10 w 13"/>
                  <a:gd name="T1" fmla="*/ 34 h 29"/>
                  <a:gd name="T2" fmla="*/ 3 w 13"/>
                  <a:gd name="T3" fmla="*/ 30 h 29"/>
                  <a:gd name="T4" fmla="*/ 6 w 13"/>
                  <a:gd name="T5" fmla="*/ 28 h 29"/>
                  <a:gd name="T6" fmla="*/ 5 w 13"/>
                  <a:gd name="T7" fmla="*/ 25 h 29"/>
                  <a:gd name="T8" fmla="*/ 2 w 13"/>
                  <a:gd name="T9" fmla="*/ 22 h 29"/>
                  <a:gd name="T10" fmla="*/ 3 w 13"/>
                  <a:gd name="T11" fmla="*/ 20 h 29"/>
                  <a:gd name="T12" fmla="*/ 0 w 13"/>
                  <a:gd name="T13" fmla="*/ 18 h 29"/>
                  <a:gd name="T14" fmla="*/ 2 w 13"/>
                  <a:gd name="T15" fmla="*/ 15 h 29"/>
                  <a:gd name="T16" fmla="*/ 2 w 13"/>
                  <a:gd name="T17" fmla="*/ 11 h 29"/>
                  <a:gd name="T18" fmla="*/ 8 w 13"/>
                  <a:gd name="T19" fmla="*/ 7 h 29"/>
                  <a:gd name="T20" fmla="*/ 10 w 13"/>
                  <a:gd name="T21" fmla="*/ 8 h 29"/>
                  <a:gd name="T22" fmla="*/ 12 w 13"/>
                  <a:gd name="T23" fmla="*/ 1 h 29"/>
                  <a:gd name="T24" fmla="*/ 14 w 13"/>
                  <a:gd name="T25" fmla="*/ 4 h 29"/>
                  <a:gd name="T26" fmla="*/ 15 w 13"/>
                  <a:gd name="T27" fmla="*/ 11 h 29"/>
                  <a:gd name="T28" fmla="*/ 15 w 13"/>
                  <a:gd name="T29" fmla="*/ 20 h 29"/>
                  <a:gd name="T30" fmla="*/ 13 w 13"/>
                  <a:gd name="T31" fmla="*/ 25 h 29"/>
                  <a:gd name="T32" fmla="*/ 10 w 13"/>
                  <a:gd name="T33" fmla="*/ 30 h 29"/>
                  <a:gd name="T34" fmla="*/ 10 w 13"/>
                  <a:gd name="T35" fmla="*/ 34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"/>
                  <a:gd name="T55" fmla="*/ 0 h 29"/>
                  <a:gd name="T56" fmla="*/ 13 w 13"/>
                  <a:gd name="T57" fmla="*/ 29 h 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" h="29">
                    <a:moveTo>
                      <a:pt x="9" y="29"/>
                    </a:moveTo>
                    <a:cubicBezTo>
                      <a:pt x="7" y="28"/>
                      <a:pt x="5" y="27"/>
                      <a:pt x="3" y="26"/>
                    </a:cubicBezTo>
                    <a:cubicBezTo>
                      <a:pt x="3" y="25"/>
                      <a:pt x="5" y="24"/>
                      <a:pt x="5" y="24"/>
                    </a:cubicBezTo>
                    <a:cubicBezTo>
                      <a:pt x="5" y="23"/>
                      <a:pt x="5" y="22"/>
                      <a:pt x="4" y="21"/>
                    </a:cubicBezTo>
                    <a:cubicBezTo>
                      <a:pt x="4" y="20"/>
                      <a:pt x="2" y="20"/>
                      <a:pt x="2" y="19"/>
                    </a:cubicBezTo>
                    <a:cubicBezTo>
                      <a:pt x="2" y="18"/>
                      <a:pt x="3" y="17"/>
                      <a:pt x="3" y="17"/>
                    </a:cubicBezTo>
                    <a:cubicBezTo>
                      <a:pt x="3" y="16"/>
                      <a:pt x="1" y="16"/>
                      <a:pt x="0" y="15"/>
                    </a:cubicBezTo>
                    <a:cubicBezTo>
                      <a:pt x="0" y="15"/>
                      <a:pt x="2" y="14"/>
                      <a:pt x="2" y="13"/>
                    </a:cubicBezTo>
                    <a:cubicBezTo>
                      <a:pt x="3" y="12"/>
                      <a:pt x="1" y="10"/>
                      <a:pt x="2" y="9"/>
                    </a:cubicBezTo>
                    <a:cubicBezTo>
                      <a:pt x="3" y="7"/>
                      <a:pt x="6" y="7"/>
                      <a:pt x="7" y="6"/>
                    </a:cubicBezTo>
                    <a:cubicBezTo>
                      <a:pt x="8" y="6"/>
                      <a:pt x="9" y="7"/>
                      <a:pt x="9" y="7"/>
                    </a:cubicBezTo>
                    <a:cubicBezTo>
                      <a:pt x="10" y="5"/>
                      <a:pt x="9" y="3"/>
                      <a:pt x="10" y="1"/>
                    </a:cubicBezTo>
                    <a:cubicBezTo>
                      <a:pt x="10" y="0"/>
                      <a:pt x="11" y="2"/>
                      <a:pt x="12" y="3"/>
                    </a:cubicBezTo>
                    <a:cubicBezTo>
                      <a:pt x="12" y="5"/>
                      <a:pt x="12" y="7"/>
                      <a:pt x="13" y="9"/>
                    </a:cubicBezTo>
                    <a:cubicBezTo>
                      <a:pt x="13" y="12"/>
                      <a:pt x="13" y="14"/>
                      <a:pt x="13" y="17"/>
                    </a:cubicBezTo>
                    <a:cubicBezTo>
                      <a:pt x="12" y="18"/>
                      <a:pt x="11" y="20"/>
                      <a:pt x="11" y="21"/>
                    </a:cubicBezTo>
                    <a:cubicBezTo>
                      <a:pt x="10" y="23"/>
                      <a:pt x="10" y="25"/>
                      <a:pt x="9" y="26"/>
                    </a:cubicBezTo>
                    <a:cubicBezTo>
                      <a:pt x="9" y="27"/>
                      <a:pt x="10" y="29"/>
                      <a:pt x="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0" name="Freeform 2751"/>
              <p:cNvSpPr>
                <a:spLocks noChangeAspect="1"/>
              </p:cNvSpPr>
              <p:nvPr/>
            </p:nvSpPr>
            <p:spPr bwMode="auto">
              <a:xfrm>
                <a:off x="4648167" y="2824213"/>
                <a:ext cx="42525" cy="76335"/>
              </a:xfrm>
              <a:custGeom>
                <a:avLst/>
                <a:gdLst>
                  <a:gd name="T0" fmla="*/ 22 w 22"/>
                  <a:gd name="T1" fmla="*/ 4 h 39"/>
                  <a:gd name="T2" fmla="*/ 26 w 22"/>
                  <a:gd name="T3" fmla="*/ 14 h 39"/>
                  <a:gd name="T4" fmla="*/ 22 w 22"/>
                  <a:gd name="T5" fmla="*/ 20 h 39"/>
                  <a:gd name="T6" fmla="*/ 24 w 22"/>
                  <a:gd name="T7" fmla="*/ 25 h 39"/>
                  <a:gd name="T8" fmla="*/ 22 w 22"/>
                  <a:gd name="T9" fmla="*/ 42 h 39"/>
                  <a:gd name="T10" fmla="*/ 15 w 22"/>
                  <a:gd name="T11" fmla="*/ 40 h 39"/>
                  <a:gd name="T12" fmla="*/ 13 w 22"/>
                  <a:gd name="T13" fmla="*/ 46 h 39"/>
                  <a:gd name="T14" fmla="*/ 7 w 22"/>
                  <a:gd name="T15" fmla="*/ 45 h 39"/>
                  <a:gd name="T16" fmla="*/ 4 w 22"/>
                  <a:gd name="T17" fmla="*/ 41 h 39"/>
                  <a:gd name="T18" fmla="*/ 5 w 22"/>
                  <a:gd name="T19" fmla="*/ 35 h 39"/>
                  <a:gd name="T20" fmla="*/ 8 w 22"/>
                  <a:gd name="T21" fmla="*/ 28 h 39"/>
                  <a:gd name="T22" fmla="*/ 5 w 22"/>
                  <a:gd name="T23" fmla="*/ 24 h 39"/>
                  <a:gd name="T24" fmla="*/ 6 w 22"/>
                  <a:gd name="T25" fmla="*/ 20 h 39"/>
                  <a:gd name="T26" fmla="*/ 4 w 22"/>
                  <a:gd name="T27" fmla="*/ 14 h 39"/>
                  <a:gd name="T28" fmla="*/ 0 w 22"/>
                  <a:gd name="T29" fmla="*/ 11 h 39"/>
                  <a:gd name="T30" fmla="*/ 2 w 22"/>
                  <a:gd name="T31" fmla="*/ 2 h 39"/>
                  <a:gd name="T32" fmla="*/ 7 w 22"/>
                  <a:gd name="T33" fmla="*/ 8 h 39"/>
                  <a:gd name="T34" fmla="*/ 11 w 22"/>
                  <a:gd name="T35" fmla="*/ 5 h 39"/>
                  <a:gd name="T36" fmla="*/ 17 w 22"/>
                  <a:gd name="T37" fmla="*/ 1 h 39"/>
                  <a:gd name="T38" fmla="*/ 22 w 22"/>
                  <a:gd name="T39" fmla="*/ 4 h 3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2"/>
                  <a:gd name="T61" fmla="*/ 0 h 39"/>
                  <a:gd name="T62" fmla="*/ 22 w 22"/>
                  <a:gd name="T63" fmla="*/ 39 h 3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2" h="39">
                    <a:moveTo>
                      <a:pt x="19" y="3"/>
                    </a:moveTo>
                    <a:cubicBezTo>
                      <a:pt x="21" y="5"/>
                      <a:pt x="22" y="9"/>
                      <a:pt x="22" y="12"/>
                    </a:cubicBezTo>
                    <a:cubicBezTo>
                      <a:pt x="22" y="14"/>
                      <a:pt x="19" y="15"/>
                      <a:pt x="19" y="17"/>
                    </a:cubicBezTo>
                    <a:cubicBezTo>
                      <a:pt x="19" y="18"/>
                      <a:pt x="20" y="19"/>
                      <a:pt x="20" y="21"/>
                    </a:cubicBezTo>
                    <a:cubicBezTo>
                      <a:pt x="20" y="26"/>
                      <a:pt x="21" y="31"/>
                      <a:pt x="19" y="35"/>
                    </a:cubicBezTo>
                    <a:cubicBezTo>
                      <a:pt x="18" y="37"/>
                      <a:pt x="15" y="33"/>
                      <a:pt x="13" y="33"/>
                    </a:cubicBezTo>
                    <a:cubicBezTo>
                      <a:pt x="12" y="34"/>
                      <a:pt x="12" y="37"/>
                      <a:pt x="11" y="38"/>
                    </a:cubicBezTo>
                    <a:cubicBezTo>
                      <a:pt x="9" y="39"/>
                      <a:pt x="7" y="38"/>
                      <a:pt x="6" y="37"/>
                    </a:cubicBezTo>
                    <a:cubicBezTo>
                      <a:pt x="5" y="37"/>
                      <a:pt x="4" y="35"/>
                      <a:pt x="3" y="34"/>
                    </a:cubicBezTo>
                    <a:cubicBezTo>
                      <a:pt x="3" y="33"/>
                      <a:pt x="4" y="31"/>
                      <a:pt x="4" y="29"/>
                    </a:cubicBezTo>
                    <a:cubicBezTo>
                      <a:pt x="5" y="27"/>
                      <a:pt x="7" y="25"/>
                      <a:pt x="7" y="23"/>
                    </a:cubicBezTo>
                    <a:cubicBezTo>
                      <a:pt x="7" y="21"/>
                      <a:pt x="5" y="21"/>
                      <a:pt x="4" y="20"/>
                    </a:cubicBezTo>
                    <a:cubicBezTo>
                      <a:pt x="4" y="19"/>
                      <a:pt x="5" y="18"/>
                      <a:pt x="5" y="17"/>
                    </a:cubicBezTo>
                    <a:cubicBezTo>
                      <a:pt x="5" y="15"/>
                      <a:pt x="4" y="13"/>
                      <a:pt x="3" y="12"/>
                    </a:cubicBezTo>
                    <a:cubicBezTo>
                      <a:pt x="2" y="11"/>
                      <a:pt x="1" y="10"/>
                      <a:pt x="0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4" y="2"/>
                      <a:pt x="4" y="6"/>
                      <a:pt x="6" y="7"/>
                    </a:cubicBezTo>
                    <a:cubicBezTo>
                      <a:pt x="7" y="7"/>
                      <a:pt x="8" y="5"/>
                      <a:pt x="9" y="4"/>
                    </a:cubicBezTo>
                    <a:cubicBezTo>
                      <a:pt x="11" y="3"/>
                      <a:pt x="12" y="1"/>
                      <a:pt x="14" y="1"/>
                    </a:cubicBezTo>
                    <a:cubicBezTo>
                      <a:pt x="16" y="0"/>
                      <a:pt x="18" y="1"/>
                      <a:pt x="19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1" name="Freeform 2752"/>
              <p:cNvSpPr>
                <a:spLocks noChangeAspect="1"/>
              </p:cNvSpPr>
              <p:nvPr/>
            </p:nvSpPr>
            <p:spPr bwMode="auto">
              <a:xfrm>
                <a:off x="4754480" y="2918413"/>
                <a:ext cx="75237" cy="53597"/>
              </a:xfrm>
              <a:custGeom>
                <a:avLst/>
                <a:gdLst>
                  <a:gd name="T0" fmla="*/ 46 w 39"/>
                  <a:gd name="T1" fmla="*/ 0 h 28"/>
                  <a:gd name="T2" fmla="*/ 40 w 39"/>
                  <a:gd name="T3" fmla="*/ 13 h 28"/>
                  <a:gd name="T4" fmla="*/ 40 w 39"/>
                  <a:gd name="T5" fmla="*/ 20 h 28"/>
                  <a:gd name="T6" fmla="*/ 42 w 39"/>
                  <a:gd name="T7" fmla="*/ 25 h 28"/>
                  <a:gd name="T8" fmla="*/ 40 w 39"/>
                  <a:gd name="T9" fmla="*/ 28 h 28"/>
                  <a:gd name="T10" fmla="*/ 40 w 39"/>
                  <a:gd name="T11" fmla="*/ 33 h 28"/>
                  <a:gd name="T12" fmla="*/ 31 w 39"/>
                  <a:gd name="T13" fmla="*/ 28 h 28"/>
                  <a:gd name="T14" fmla="*/ 25 w 39"/>
                  <a:gd name="T15" fmla="*/ 24 h 28"/>
                  <a:gd name="T16" fmla="*/ 14 w 39"/>
                  <a:gd name="T17" fmla="*/ 19 h 28"/>
                  <a:gd name="T18" fmla="*/ 9 w 39"/>
                  <a:gd name="T19" fmla="*/ 14 h 28"/>
                  <a:gd name="T20" fmla="*/ 1 w 39"/>
                  <a:gd name="T21" fmla="*/ 12 h 28"/>
                  <a:gd name="T22" fmla="*/ 2 w 39"/>
                  <a:gd name="T23" fmla="*/ 5 h 28"/>
                  <a:gd name="T24" fmla="*/ 9 w 39"/>
                  <a:gd name="T25" fmla="*/ 5 h 28"/>
                  <a:gd name="T26" fmla="*/ 15 w 39"/>
                  <a:gd name="T27" fmla="*/ 6 h 28"/>
                  <a:gd name="T28" fmla="*/ 25 w 39"/>
                  <a:gd name="T29" fmla="*/ 6 h 28"/>
                  <a:gd name="T30" fmla="*/ 38 w 39"/>
                  <a:gd name="T31" fmla="*/ 2 h 28"/>
                  <a:gd name="T32" fmla="*/ 46 w 39"/>
                  <a:gd name="T33" fmla="*/ 0 h 2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9"/>
                  <a:gd name="T52" fmla="*/ 0 h 28"/>
                  <a:gd name="T53" fmla="*/ 39 w 39"/>
                  <a:gd name="T54" fmla="*/ 28 h 2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9" h="28">
                    <a:moveTo>
                      <a:pt x="39" y="0"/>
                    </a:moveTo>
                    <a:cubicBezTo>
                      <a:pt x="38" y="3"/>
                      <a:pt x="35" y="7"/>
                      <a:pt x="34" y="11"/>
                    </a:cubicBezTo>
                    <a:cubicBezTo>
                      <a:pt x="33" y="13"/>
                      <a:pt x="34" y="15"/>
                      <a:pt x="34" y="17"/>
                    </a:cubicBezTo>
                    <a:cubicBezTo>
                      <a:pt x="35" y="19"/>
                      <a:pt x="37" y="20"/>
                      <a:pt x="36" y="21"/>
                    </a:cubicBezTo>
                    <a:cubicBezTo>
                      <a:pt x="36" y="23"/>
                      <a:pt x="34" y="23"/>
                      <a:pt x="34" y="24"/>
                    </a:cubicBezTo>
                    <a:cubicBezTo>
                      <a:pt x="33" y="25"/>
                      <a:pt x="35" y="28"/>
                      <a:pt x="34" y="28"/>
                    </a:cubicBezTo>
                    <a:cubicBezTo>
                      <a:pt x="31" y="28"/>
                      <a:pt x="28" y="26"/>
                      <a:pt x="26" y="24"/>
                    </a:cubicBezTo>
                    <a:cubicBezTo>
                      <a:pt x="24" y="23"/>
                      <a:pt x="23" y="21"/>
                      <a:pt x="21" y="20"/>
                    </a:cubicBezTo>
                    <a:cubicBezTo>
                      <a:pt x="18" y="19"/>
                      <a:pt x="15" y="18"/>
                      <a:pt x="12" y="16"/>
                    </a:cubicBezTo>
                    <a:cubicBezTo>
                      <a:pt x="11" y="15"/>
                      <a:pt x="10" y="13"/>
                      <a:pt x="8" y="12"/>
                    </a:cubicBezTo>
                    <a:cubicBezTo>
                      <a:pt x="6" y="11"/>
                      <a:pt x="3" y="12"/>
                      <a:pt x="1" y="10"/>
                    </a:cubicBezTo>
                    <a:cubicBezTo>
                      <a:pt x="0" y="8"/>
                      <a:pt x="1" y="5"/>
                      <a:pt x="2" y="4"/>
                    </a:cubicBezTo>
                    <a:cubicBezTo>
                      <a:pt x="4" y="3"/>
                      <a:pt x="6" y="4"/>
                      <a:pt x="8" y="4"/>
                    </a:cubicBezTo>
                    <a:cubicBezTo>
                      <a:pt x="10" y="3"/>
                      <a:pt x="12" y="5"/>
                      <a:pt x="13" y="5"/>
                    </a:cubicBezTo>
                    <a:cubicBezTo>
                      <a:pt x="16" y="5"/>
                      <a:pt x="19" y="5"/>
                      <a:pt x="21" y="5"/>
                    </a:cubicBezTo>
                    <a:cubicBezTo>
                      <a:pt x="25" y="5"/>
                      <a:pt x="29" y="3"/>
                      <a:pt x="32" y="2"/>
                    </a:cubicBezTo>
                    <a:cubicBezTo>
                      <a:pt x="35" y="2"/>
                      <a:pt x="37" y="0"/>
                      <a:pt x="3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2" name="Freeform 2753"/>
              <p:cNvSpPr>
                <a:spLocks noChangeAspect="1"/>
              </p:cNvSpPr>
              <p:nvPr/>
            </p:nvSpPr>
            <p:spPr bwMode="auto">
              <a:xfrm>
                <a:off x="4643260" y="2260639"/>
                <a:ext cx="53975" cy="37356"/>
              </a:xfrm>
              <a:custGeom>
                <a:avLst/>
                <a:gdLst>
                  <a:gd name="T0" fmla="*/ 32 w 27"/>
                  <a:gd name="T1" fmla="*/ 1 h 19"/>
                  <a:gd name="T2" fmla="*/ 29 w 27"/>
                  <a:gd name="T3" fmla="*/ 1 h 19"/>
                  <a:gd name="T4" fmla="*/ 23 w 27"/>
                  <a:gd name="T5" fmla="*/ 5 h 19"/>
                  <a:gd name="T6" fmla="*/ 17 w 27"/>
                  <a:gd name="T7" fmla="*/ 12 h 19"/>
                  <a:gd name="T8" fmla="*/ 6 w 27"/>
                  <a:gd name="T9" fmla="*/ 15 h 19"/>
                  <a:gd name="T10" fmla="*/ 0 w 27"/>
                  <a:gd name="T11" fmla="*/ 22 h 19"/>
                  <a:gd name="T12" fmla="*/ 4 w 27"/>
                  <a:gd name="T13" fmla="*/ 21 h 19"/>
                  <a:gd name="T14" fmla="*/ 7 w 27"/>
                  <a:gd name="T15" fmla="*/ 17 h 19"/>
                  <a:gd name="T16" fmla="*/ 11 w 27"/>
                  <a:gd name="T17" fmla="*/ 16 h 19"/>
                  <a:gd name="T18" fmla="*/ 23 w 27"/>
                  <a:gd name="T19" fmla="*/ 15 h 19"/>
                  <a:gd name="T20" fmla="*/ 26 w 27"/>
                  <a:gd name="T21" fmla="*/ 15 h 19"/>
                  <a:gd name="T22" fmla="*/ 29 w 27"/>
                  <a:gd name="T23" fmla="*/ 17 h 19"/>
                  <a:gd name="T24" fmla="*/ 33 w 27"/>
                  <a:gd name="T25" fmla="*/ 10 h 19"/>
                  <a:gd name="T26" fmla="*/ 31 w 27"/>
                  <a:gd name="T27" fmla="*/ 5 h 19"/>
                  <a:gd name="T28" fmla="*/ 32 w 27"/>
                  <a:gd name="T29" fmla="*/ 1 h 1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7"/>
                  <a:gd name="T46" fmla="*/ 0 h 19"/>
                  <a:gd name="T47" fmla="*/ 27 w 27"/>
                  <a:gd name="T48" fmla="*/ 19 h 1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7" h="19">
                    <a:moveTo>
                      <a:pt x="26" y="1"/>
                    </a:moveTo>
                    <a:cubicBezTo>
                      <a:pt x="26" y="0"/>
                      <a:pt x="24" y="1"/>
                      <a:pt x="24" y="1"/>
                    </a:cubicBezTo>
                    <a:cubicBezTo>
                      <a:pt x="22" y="2"/>
                      <a:pt x="21" y="2"/>
                      <a:pt x="19" y="4"/>
                    </a:cubicBezTo>
                    <a:cubicBezTo>
                      <a:pt x="17" y="5"/>
                      <a:pt x="16" y="9"/>
                      <a:pt x="14" y="10"/>
                    </a:cubicBezTo>
                    <a:cubicBezTo>
                      <a:pt x="11" y="12"/>
                      <a:pt x="7" y="10"/>
                      <a:pt x="5" y="12"/>
                    </a:cubicBezTo>
                    <a:cubicBezTo>
                      <a:pt x="3" y="13"/>
                      <a:pt x="1" y="15"/>
                      <a:pt x="0" y="18"/>
                    </a:cubicBezTo>
                    <a:cubicBezTo>
                      <a:pt x="0" y="19"/>
                      <a:pt x="2" y="18"/>
                      <a:pt x="3" y="17"/>
                    </a:cubicBezTo>
                    <a:cubicBezTo>
                      <a:pt x="4" y="17"/>
                      <a:pt x="5" y="15"/>
                      <a:pt x="6" y="14"/>
                    </a:cubicBezTo>
                    <a:cubicBezTo>
                      <a:pt x="7" y="13"/>
                      <a:pt x="8" y="13"/>
                      <a:pt x="9" y="13"/>
                    </a:cubicBezTo>
                    <a:cubicBezTo>
                      <a:pt x="12" y="12"/>
                      <a:pt x="15" y="12"/>
                      <a:pt x="19" y="12"/>
                    </a:cubicBezTo>
                    <a:cubicBezTo>
                      <a:pt x="20" y="12"/>
                      <a:pt x="20" y="12"/>
                      <a:pt x="21" y="12"/>
                    </a:cubicBezTo>
                    <a:cubicBezTo>
                      <a:pt x="22" y="13"/>
                      <a:pt x="23" y="14"/>
                      <a:pt x="24" y="14"/>
                    </a:cubicBezTo>
                    <a:cubicBezTo>
                      <a:pt x="26" y="12"/>
                      <a:pt x="26" y="10"/>
                      <a:pt x="27" y="8"/>
                    </a:cubicBezTo>
                    <a:cubicBezTo>
                      <a:pt x="27" y="7"/>
                      <a:pt x="25" y="5"/>
                      <a:pt x="25" y="4"/>
                    </a:cubicBezTo>
                    <a:cubicBezTo>
                      <a:pt x="25" y="3"/>
                      <a:pt x="26" y="2"/>
                      <a:pt x="2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3" name="Freeform 2754"/>
              <p:cNvSpPr>
                <a:spLocks noChangeAspect="1"/>
              </p:cNvSpPr>
              <p:nvPr/>
            </p:nvSpPr>
            <p:spPr bwMode="auto">
              <a:xfrm>
                <a:off x="4639989" y="2286625"/>
                <a:ext cx="67060" cy="79583"/>
              </a:xfrm>
              <a:custGeom>
                <a:avLst/>
                <a:gdLst>
                  <a:gd name="T0" fmla="*/ 18 w 34"/>
                  <a:gd name="T1" fmla="*/ 49 h 41"/>
                  <a:gd name="T2" fmla="*/ 24 w 34"/>
                  <a:gd name="T3" fmla="*/ 48 h 41"/>
                  <a:gd name="T4" fmla="*/ 22 w 34"/>
                  <a:gd name="T5" fmla="*/ 44 h 41"/>
                  <a:gd name="T6" fmla="*/ 23 w 34"/>
                  <a:gd name="T7" fmla="*/ 42 h 41"/>
                  <a:gd name="T8" fmla="*/ 22 w 34"/>
                  <a:gd name="T9" fmla="*/ 35 h 41"/>
                  <a:gd name="T10" fmla="*/ 25 w 34"/>
                  <a:gd name="T11" fmla="*/ 35 h 41"/>
                  <a:gd name="T12" fmla="*/ 24 w 34"/>
                  <a:gd name="T13" fmla="*/ 31 h 41"/>
                  <a:gd name="T14" fmla="*/ 28 w 34"/>
                  <a:gd name="T15" fmla="*/ 27 h 41"/>
                  <a:gd name="T16" fmla="*/ 31 w 34"/>
                  <a:gd name="T17" fmla="*/ 20 h 41"/>
                  <a:gd name="T18" fmla="*/ 37 w 34"/>
                  <a:gd name="T19" fmla="*/ 19 h 41"/>
                  <a:gd name="T20" fmla="*/ 41 w 34"/>
                  <a:gd name="T21" fmla="*/ 13 h 41"/>
                  <a:gd name="T22" fmla="*/ 34 w 34"/>
                  <a:gd name="T23" fmla="*/ 12 h 41"/>
                  <a:gd name="T24" fmla="*/ 30 w 34"/>
                  <a:gd name="T25" fmla="*/ 8 h 41"/>
                  <a:gd name="T26" fmla="*/ 30 w 34"/>
                  <a:gd name="T27" fmla="*/ 2 h 41"/>
                  <a:gd name="T28" fmla="*/ 25 w 34"/>
                  <a:gd name="T29" fmla="*/ 0 h 41"/>
                  <a:gd name="T30" fmla="*/ 18 w 34"/>
                  <a:gd name="T31" fmla="*/ 2 h 41"/>
                  <a:gd name="T32" fmla="*/ 17 w 34"/>
                  <a:gd name="T33" fmla="*/ 4 h 41"/>
                  <a:gd name="T34" fmla="*/ 17 w 34"/>
                  <a:gd name="T35" fmla="*/ 11 h 41"/>
                  <a:gd name="T36" fmla="*/ 13 w 34"/>
                  <a:gd name="T37" fmla="*/ 11 h 41"/>
                  <a:gd name="T38" fmla="*/ 13 w 34"/>
                  <a:gd name="T39" fmla="*/ 6 h 41"/>
                  <a:gd name="T40" fmla="*/ 11 w 34"/>
                  <a:gd name="T41" fmla="*/ 7 h 41"/>
                  <a:gd name="T42" fmla="*/ 10 w 34"/>
                  <a:gd name="T43" fmla="*/ 10 h 41"/>
                  <a:gd name="T44" fmla="*/ 10 w 34"/>
                  <a:gd name="T45" fmla="*/ 10 h 41"/>
                  <a:gd name="T46" fmla="*/ 10 w 34"/>
                  <a:gd name="T47" fmla="*/ 13 h 41"/>
                  <a:gd name="T48" fmla="*/ 7 w 34"/>
                  <a:gd name="T49" fmla="*/ 11 h 41"/>
                  <a:gd name="T50" fmla="*/ 1 w 34"/>
                  <a:gd name="T51" fmla="*/ 8 h 41"/>
                  <a:gd name="T52" fmla="*/ 2 w 34"/>
                  <a:gd name="T53" fmla="*/ 14 h 41"/>
                  <a:gd name="T54" fmla="*/ 1 w 34"/>
                  <a:gd name="T55" fmla="*/ 18 h 41"/>
                  <a:gd name="T56" fmla="*/ 2 w 34"/>
                  <a:gd name="T57" fmla="*/ 22 h 41"/>
                  <a:gd name="T58" fmla="*/ 1 w 34"/>
                  <a:gd name="T59" fmla="*/ 27 h 41"/>
                  <a:gd name="T60" fmla="*/ 0 w 34"/>
                  <a:gd name="T61" fmla="*/ 32 h 41"/>
                  <a:gd name="T62" fmla="*/ 4 w 34"/>
                  <a:gd name="T63" fmla="*/ 32 h 41"/>
                  <a:gd name="T64" fmla="*/ 7 w 34"/>
                  <a:gd name="T65" fmla="*/ 36 h 41"/>
                  <a:gd name="T66" fmla="*/ 10 w 34"/>
                  <a:gd name="T67" fmla="*/ 41 h 41"/>
                  <a:gd name="T68" fmla="*/ 10 w 34"/>
                  <a:gd name="T69" fmla="*/ 47 h 41"/>
                  <a:gd name="T70" fmla="*/ 14 w 34"/>
                  <a:gd name="T71" fmla="*/ 48 h 41"/>
                  <a:gd name="T72" fmla="*/ 18 w 34"/>
                  <a:gd name="T73" fmla="*/ 49 h 4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4"/>
                  <a:gd name="T112" fmla="*/ 0 h 41"/>
                  <a:gd name="T113" fmla="*/ 34 w 34"/>
                  <a:gd name="T114" fmla="*/ 41 h 4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4" h="41">
                    <a:moveTo>
                      <a:pt x="15" y="41"/>
                    </a:moveTo>
                    <a:cubicBezTo>
                      <a:pt x="17" y="41"/>
                      <a:pt x="19" y="41"/>
                      <a:pt x="20" y="40"/>
                    </a:cubicBezTo>
                    <a:cubicBezTo>
                      <a:pt x="20" y="39"/>
                      <a:pt x="18" y="38"/>
                      <a:pt x="18" y="37"/>
                    </a:cubicBezTo>
                    <a:cubicBezTo>
                      <a:pt x="18" y="36"/>
                      <a:pt x="19" y="36"/>
                      <a:pt x="19" y="35"/>
                    </a:cubicBezTo>
                    <a:cubicBezTo>
                      <a:pt x="19" y="33"/>
                      <a:pt x="17" y="31"/>
                      <a:pt x="18" y="29"/>
                    </a:cubicBezTo>
                    <a:cubicBezTo>
                      <a:pt x="18" y="28"/>
                      <a:pt x="20" y="30"/>
                      <a:pt x="21" y="29"/>
                    </a:cubicBezTo>
                    <a:cubicBezTo>
                      <a:pt x="21" y="28"/>
                      <a:pt x="19" y="27"/>
                      <a:pt x="20" y="26"/>
                    </a:cubicBezTo>
                    <a:cubicBezTo>
                      <a:pt x="20" y="24"/>
                      <a:pt x="22" y="24"/>
                      <a:pt x="23" y="23"/>
                    </a:cubicBezTo>
                    <a:cubicBezTo>
                      <a:pt x="25" y="21"/>
                      <a:pt x="25" y="19"/>
                      <a:pt x="26" y="17"/>
                    </a:cubicBezTo>
                    <a:cubicBezTo>
                      <a:pt x="27" y="14"/>
                      <a:pt x="29" y="17"/>
                      <a:pt x="31" y="16"/>
                    </a:cubicBezTo>
                    <a:cubicBezTo>
                      <a:pt x="32" y="15"/>
                      <a:pt x="34" y="13"/>
                      <a:pt x="34" y="11"/>
                    </a:cubicBezTo>
                    <a:cubicBezTo>
                      <a:pt x="33" y="9"/>
                      <a:pt x="29" y="11"/>
                      <a:pt x="28" y="10"/>
                    </a:cubicBezTo>
                    <a:cubicBezTo>
                      <a:pt x="27" y="9"/>
                      <a:pt x="26" y="8"/>
                      <a:pt x="25" y="7"/>
                    </a:cubicBezTo>
                    <a:cubicBezTo>
                      <a:pt x="25" y="5"/>
                      <a:pt x="27" y="3"/>
                      <a:pt x="25" y="2"/>
                    </a:cubicBezTo>
                    <a:cubicBezTo>
                      <a:pt x="24" y="1"/>
                      <a:pt x="22" y="0"/>
                      <a:pt x="21" y="0"/>
                    </a:cubicBezTo>
                    <a:cubicBezTo>
                      <a:pt x="19" y="0"/>
                      <a:pt x="17" y="1"/>
                      <a:pt x="15" y="2"/>
                    </a:cubicBezTo>
                    <a:cubicBezTo>
                      <a:pt x="14" y="2"/>
                      <a:pt x="14" y="3"/>
                      <a:pt x="14" y="3"/>
                    </a:cubicBezTo>
                    <a:cubicBezTo>
                      <a:pt x="13" y="5"/>
                      <a:pt x="15" y="7"/>
                      <a:pt x="14" y="9"/>
                    </a:cubicBezTo>
                    <a:cubicBezTo>
                      <a:pt x="14" y="10"/>
                      <a:pt x="12" y="10"/>
                      <a:pt x="11" y="9"/>
                    </a:cubicBezTo>
                    <a:cubicBezTo>
                      <a:pt x="11" y="8"/>
                      <a:pt x="12" y="6"/>
                      <a:pt x="11" y="5"/>
                    </a:cubicBezTo>
                    <a:cubicBezTo>
                      <a:pt x="11" y="5"/>
                      <a:pt x="10" y="6"/>
                      <a:pt x="9" y="6"/>
                    </a:cubicBezTo>
                    <a:cubicBezTo>
                      <a:pt x="8" y="7"/>
                      <a:pt x="8" y="7"/>
                      <a:pt x="8" y="8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9"/>
                      <a:pt x="9" y="10"/>
                      <a:pt x="8" y="11"/>
                    </a:cubicBezTo>
                    <a:cubicBezTo>
                      <a:pt x="7" y="11"/>
                      <a:pt x="6" y="10"/>
                      <a:pt x="6" y="9"/>
                    </a:cubicBezTo>
                    <a:cubicBezTo>
                      <a:pt x="4" y="8"/>
                      <a:pt x="3" y="8"/>
                      <a:pt x="1" y="7"/>
                    </a:cubicBezTo>
                    <a:cubicBezTo>
                      <a:pt x="0" y="8"/>
                      <a:pt x="2" y="11"/>
                      <a:pt x="2" y="12"/>
                    </a:cubicBezTo>
                    <a:cubicBezTo>
                      <a:pt x="2" y="13"/>
                      <a:pt x="1" y="14"/>
                      <a:pt x="1" y="15"/>
                    </a:cubicBezTo>
                    <a:cubicBezTo>
                      <a:pt x="1" y="16"/>
                      <a:pt x="2" y="16"/>
                      <a:pt x="2" y="18"/>
                    </a:cubicBezTo>
                    <a:cubicBezTo>
                      <a:pt x="2" y="19"/>
                      <a:pt x="2" y="21"/>
                      <a:pt x="1" y="23"/>
                    </a:cubicBezTo>
                    <a:cubicBezTo>
                      <a:pt x="1" y="24"/>
                      <a:pt x="0" y="26"/>
                      <a:pt x="0" y="27"/>
                    </a:cubicBezTo>
                    <a:cubicBezTo>
                      <a:pt x="1" y="28"/>
                      <a:pt x="2" y="27"/>
                      <a:pt x="3" y="27"/>
                    </a:cubicBezTo>
                    <a:cubicBezTo>
                      <a:pt x="4" y="28"/>
                      <a:pt x="5" y="29"/>
                      <a:pt x="6" y="30"/>
                    </a:cubicBezTo>
                    <a:cubicBezTo>
                      <a:pt x="7" y="31"/>
                      <a:pt x="7" y="33"/>
                      <a:pt x="8" y="34"/>
                    </a:cubicBezTo>
                    <a:cubicBezTo>
                      <a:pt x="8" y="36"/>
                      <a:pt x="8" y="38"/>
                      <a:pt x="8" y="39"/>
                    </a:cubicBezTo>
                    <a:cubicBezTo>
                      <a:pt x="9" y="40"/>
                      <a:pt x="10" y="40"/>
                      <a:pt x="12" y="40"/>
                    </a:cubicBezTo>
                    <a:cubicBezTo>
                      <a:pt x="13" y="40"/>
                      <a:pt x="14" y="41"/>
                      <a:pt x="15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4" name="Freeform 2755"/>
              <p:cNvSpPr>
                <a:spLocks noChangeAspect="1"/>
              </p:cNvSpPr>
              <p:nvPr/>
            </p:nvSpPr>
            <p:spPr bwMode="auto">
              <a:xfrm>
                <a:off x="4419184" y="2502635"/>
                <a:ext cx="9814" cy="4873"/>
              </a:xfrm>
              <a:custGeom>
                <a:avLst/>
                <a:gdLst>
                  <a:gd name="T0" fmla="*/ 5 w 5"/>
                  <a:gd name="T1" fmla="*/ 2 h 3"/>
                  <a:gd name="T2" fmla="*/ 2 w 5"/>
                  <a:gd name="T3" fmla="*/ 0 h 3"/>
                  <a:gd name="T4" fmla="*/ 0 w 5"/>
                  <a:gd name="T5" fmla="*/ 2 h 3"/>
                  <a:gd name="T6" fmla="*/ 2 w 5"/>
                  <a:gd name="T7" fmla="*/ 3 h 3"/>
                  <a:gd name="T8" fmla="*/ 5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4" y="2"/>
                    </a:moveTo>
                    <a:cubicBezTo>
                      <a:pt x="5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1" y="3"/>
                      <a:pt x="2" y="3"/>
                    </a:cubicBezTo>
                    <a:cubicBezTo>
                      <a:pt x="3" y="3"/>
                      <a:pt x="4" y="3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5" name="Freeform 2756"/>
              <p:cNvSpPr>
                <a:spLocks noChangeAspect="1"/>
              </p:cNvSpPr>
              <p:nvPr/>
            </p:nvSpPr>
            <p:spPr bwMode="auto">
              <a:xfrm>
                <a:off x="4343947" y="2377577"/>
                <a:ext cx="11450" cy="9745"/>
              </a:xfrm>
              <a:custGeom>
                <a:avLst/>
                <a:gdLst>
                  <a:gd name="T0" fmla="*/ 6 w 6"/>
                  <a:gd name="T1" fmla="*/ 1 h 5"/>
                  <a:gd name="T2" fmla="*/ 4 w 6"/>
                  <a:gd name="T3" fmla="*/ 1 h 5"/>
                  <a:gd name="T4" fmla="*/ 1 w 6"/>
                  <a:gd name="T5" fmla="*/ 5 h 5"/>
                  <a:gd name="T6" fmla="*/ 5 w 6"/>
                  <a:gd name="T7" fmla="*/ 5 h 5"/>
                  <a:gd name="T8" fmla="*/ 6 w 6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5" y="1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2" y="2"/>
                      <a:pt x="0" y="3"/>
                      <a:pt x="1" y="4"/>
                    </a:cubicBezTo>
                    <a:cubicBezTo>
                      <a:pt x="1" y="5"/>
                      <a:pt x="3" y="4"/>
                      <a:pt x="4" y="4"/>
                    </a:cubicBezTo>
                    <a:cubicBezTo>
                      <a:pt x="5" y="3"/>
                      <a:pt x="6" y="2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6" name="Freeform 2757"/>
              <p:cNvSpPr>
                <a:spLocks noChangeAspect="1"/>
              </p:cNvSpPr>
              <p:nvPr/>
            </p:nvSpPr>
            <p:spPr bwMode="auto">
              <a:xfrm>
                <a:off x="4330863" y="2330477"/>
                <a:ext cx="6542" cy="8121"/>
              </a:xfrm>
              <a:custGeom>
                <a:avLst/>
                <a:gdLst>
                  <a:gd name="T0" fmla="*/ 3 w 3"/>
                  <a:gd name="T1" fmla="*/ 5 h 4"/>
                  <a:gd name="T2" fmla="*/ 4 w 3"/>
                  <a:gd name="T3" fmla="*/ 3 h 4"/>
                  <a:gd name="T4" fmla="*/ 1 w 3"/>
                  <a:gd name="T5" fmla="*/ 0 h 4"/>
                  <a:gd name="T6" fmla="*/ 0 w 3"/>
                  <a:gd name="T7" fmla="*/ 3 h 4"/>
                  <a:gd name="T8" fmla="*/ 3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4"/>
                    </a:moveTo>
                    <a:cubicBezTo>
                      <a:pt x="3" y="4"/>
                      <a:pt x="3" y="3"/>
                      <a:pt x="3" y="2"/>
                    </a:cubicBezTo>
                    <a:cubicBezTo>
                      <a:pt x="3" y="1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1" y="3"/>
                      <a:pt x="1" y="4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7" name="Freeform 2758"/>
              <p:cNvSpPr>
                <a:spLocks noChangeAspect="1"/>
              </p:cNvSpPr>
              <p:nvPr/>
            </p:nvSpPr>
            <p:spPr bwMode="auto">
              <a:xfrm>
                <a:off x="4324320" y="2367832"/>
                <a:ext cx="4907" cy="8121"/>
              </a:xfrm>
              <a:custGeom>
                <a:avLst/>
                <a:gdLst>
                  <a:gd name="T0" fmla="*/ 2 w 3"/>
                  <a:gd name="T1" fmla="*/ 5 h 4"/>
                  <a:gd name="T2" fmla="*/ 3 w 3"/>
                  <a:gd name="T3" fmla="*/ 3 h 4"/>
                  <a:gd name="T4" fmla="*/ 1 w 3"/>
                  <a:gd name="T5" fmla="*/ 0 h 4"/>
                  <a:gd name="T6" fmla="*/ 0 w 3"/>
                  <a:gd name="T7" fmla="*/ 3 h 4"/>
                  <a:gd name="T8" fmla="*/ 2 w 3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4"/>
                    </a:moveTo>
                    <a:cubicBezTo>
                      <a:pt x="3" y="4"/>
                      <a:pt x="3" y="3"/>
                      <a:pt x="3" y="2"/>
                    </a:cubicBezTo>
                    <a:cubicBezTo>
                      <a:pt x="2" y="1"/>
                      <a:pt x="1" y="0"/>
                      <a:pt x="1" y="0"/>
                    </a:cubicBezTo>
                    <a:cubicBezTo>
                      <a:pt x="0" y="0"/>
                      <a:pt x="0" y="2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8" name="Freeform 2759"/>
              <p:cNvSpPr>
                <a:spLocks noChangeAspect="1"/>
              </p:cNvSpPr>
              <p:nvPr/>
            </p:nvSpPr>
            <p:spPr bwMode="auto">
              <a:xfrm>
                <a:off x="4347218" y="2413308"/>
                <a:ext cx="9814" cy="4873"/>
              </a:xfrm>
              <a:custGeom>
                <a:avLst/>
                <a:gdLst>
                  <a:gd name="T0" fmla="*/ 6 w 5"/>
                  <a:gd name="T1" fmla="*/ 1 h 3"/>
                  <a:gd name="T2" fmla="*/ 4 w 5"/>
                  <a:gd name="T3" fmla="*/ 0 h 3"/>
                  <a:gd name="T4" fmla="*/ 0 w 5"/>
                  <a:gd name="T5" fmla="*/ 1 h 3"/>
                  <a:gd name="T6" fmla="*/ 2 w 5"/>
                  <a:gd name="T7" fmla="*/ 3 h 3"/>
                  <a:gd name="T8" fmla="*/ 6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1"/>
                    </a:move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3"/>
                      <a:pt x="2" y="3"/>
                      <a:pt x="2" y="3"/>
                    </a:cubicBezTo>
                    <a:cubicBezTo>
                      <a:pt x="3" y="3"/>
                      <a:pt x="4" y="3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49" name="Freeform 2760"/>
              <p:cNvSpPr>
                <a:spLocks noChangeAspect="1"/>
              </p:cNvSpPr>
              <p:nvPr/>
            </p:nvSpPr>
            <p:spPr bwMode="auto">
              <a:xfrm>
                <a:off x="4702142" y="2276881"/>
                <a:ext cx="6542" cy="4873"/>
              </a:xfrm>
              <a:custGeom>
                <a:avLst/>
                <a:gdLst>
                  <a:gd name="T0" fmla="*/ 4 w 3"/>
                  <a:gd name="T1" fmla="*/ 0 h 3"/>
                  <a:gd name="T2" fmla="*/ 1 w 3"/>
                  <a:gd name="T3" fmla="*/ 0 h 3"/>
                  <a:gd name="T4" fmla="*/ 0 w 3"/>
                  <a:gd name="T5" fmla="*/ 2 h 3"/>
                  <a:gd name="T6" fmla="*/ 3 w 3"/>
                  <a:gd name="T7" fmla="*/ 2 h 3"/>
                  <a:gd name="T8" fmla="*/ 4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0"/>
                      <a:pt x="2" y="0"/>
                      <a:pt x="1" y="0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1" y="3"/>
                      <a:pt x="2" y="2"/>
                      <a:pt x="2" y="2"/>
                    </a:cubicBezTo>
                    <a:cubicBezTo>
                      <a:pt x="3" y="2"/>
                      <a:pt x="3" y="1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0" name="Freeform 2761"/>
              <p:cNvSpPr>
                <a:spLocks noChangeAspect="1"/>
              </p:cNvSpPr>
              <p:nvPr/>
            </p:nvSpPr>
            <p:spPr bwMode="auto">
              <a:xfrm>
                <a:off x="4679243" y="2358087"/>
                <a:ext cx="6542" cy="6497"/>
              </a:xfrm>
              <a:custGeom>
                <a:avLst/>
                <a:gdLst>
                  <a:gd name="T0" fmla="*/ 4 w 3"/>
                  <a:gd name="T1" fmla="*/ 4 h 3"/>
                  <a:gd name="T2" fmla="*/ 3 w 3"/>
                  <a:gd name="T3" fmla="*/ 1 h 3"/>
                  <a:gd name="T4" fmla="*/ 0 w 3"/>
                  <a:gd name="T5" fmla="*/ 1 h 3"/>
                  <a:gd name="T6" fmla="*/ 1 w 3"/>
                  <a:gd name="T7" fmla="*/ 3 h 3"/>
                  <a:gd name="T8" fmla="*/ 4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3"/>
                    </a:move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1" y="0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3"/>
                      <a:pt x="3" y="3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1" name="Freeform 2762"/>
              <p:cNvSpPr>
                <a:spLocks noChangeAspect="1"/>
              </p:cNvSpPr>
              <p:nvPr/>
            </p:nvSpPr>
            <p:spPr bwMode="auto">
              <a:xfrm>
                <a:off x="4690692" y="2361335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3 w 3"/>
                  <a:gd name="T3" fmla="*/ 1 h 3"/>
                  <a:gd name="T4" fmla="*/ 0 w 3"/>
                  <a:gd name="T5" fmla="*/ 0 h 3"/>
                  <a:gd name="T6" fmla="*/ 1 w 3"/>
                  <a:gd name="T7" fmla="*/ 3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1"/>
                      <a:pt x="2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2" y="3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2" name="Freeform 2763"/>
              <p:cNvSpPr>
                <a:spLocks noChangeAspect="1"/>
              </p:cNvSpPr>
              <p:nvPr/>
            </p:nvSpPr>
            <p:spPr bwMode="auto">
              <a:xfrm>
                <a:off x="4646532" y="2358087"/>
                <a:ext cx="1636" cy="8121"/>
              </a:xfrm>
              <a:custGeom>
                <a:avLst/>
                <a:gdLst>
                  <a:gd name="T0" fmla="*/ 1 w 1"/>
                  <a:gd name="T1" fmla="*/ 5 h 4"/>
                  <a:gd name="T2" fmla="*/ 1 w 1"/>
                  <a:gd name="T3" fmla="*/ 3 h 4"/>
                  <a:gd name="T4" fmla="*/ 1 w 1"/>
                  <a:gd name="T5" fmla="*/ 0 h 4"/>
                  <a:gd name="T6" fmla="*/ 0 w 1"/>
                  <a:gd name="T7" fmla="*/ 3 h 4"/>
                  <a:gd name="T8" fmla="*/ 1 w 1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4"/>
                  <a:gd name="T17" fmla="*/ 1 w 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4">
                    <a:moveTo>
                      <a:pt x="1" y="4"/>
                    </a:moveTo>
                    <a:cubicBezTo>
                      <a:pt x="1" y="4"/>
                      <a:pt x="1" y="3"/>
                      <a:pt x="1" y="2"/>
                    </a:cubicBezTo>
                    <a:cubicBezTo>
                      <a:pt x="1" y="2"/>
                      <a:pt x="1" y="1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3" name="Freeform 2764"/>
              <p:cNvSpPr>
                <a:spLocks noChangeAspect="1"/>
              </p:cNvSpPr>
              <p:nvPr/>
            </p:nvSpPr>
            <p:spPr bwMode="auto">
              <a:xfrm>
                <a:off x="4646532" y="2345094"/>
                <a:ext cx="3271" cy="3248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1 w 2"/>
                  <a:gd name="T7" fmla="*/ 1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1"/>
                      <a:pt x="2" y="1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4" name="Freeform 2765"/>
              <p:cNvSpPr>
                <a:spLocks noChangeAspect="1"/>
              </p:cNvSpPr>
              <p:nvPr/>
            </p:nvSpPr>
            <p:spPr bwMode="auto">
              <a:xfrm>
                <a:off x="4648167" y="2367832"/>
                <a:ext cx="3271" cy="3248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1 h 2"/>
                  <a:gd name="T4" fmla="*/ 1 w 2"/>
                  <a:gd name="T5" fmla="*/ 0 h 2"/>
                  <a:gd name="T6" fmla="*/ 1 w 2"/>
                  <a:gd name="T7" fmla="*/ 1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2"/>
                      <a:pt x="2" y="1"/>
                      <a:pt x="2" y="1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5" name="Freeform 2766"/>
              <p:cNvSpPr>
                <a:spLocks noChangeAspect="1"/>
              </p:cNvSpPr>
              <p:nvPr/>
            </p:nvSpPr>
            <p:spPr bwMode="auto">
              <a:xfrm>
                <a:off x="4649803" y="2375953"/>
                <a:ext cx="6542" cy="1625"/>
              </a:xfrm>
              <a:custGeom>
                <a:avLst/>
                <a:gdLst>
                  <a:gd name="T0" fmla="*/ 4 w 3"/>
                  <a:gd name="T1" fmla="*/ 1 h 1"/>
                  <a:gd name="T2" fmla="*/ 3 w 3"/>
                  <a:gd name="T3" fmla="*/ 0 h 1"/>
                  <a:gd name="T4" fmla="*/ 0 w 3"/>
                  <a:gd name="T5" fmla="*/ 1 h 1"/>
                  <a:gd name="T6" fmla="*/ 3 w 3"/>
                  <a:gd name="T7" fmla="*/ 1 h 1"/>
                  <a:gd name="T8" fmla="*/ 4 w 3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3" y="1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6" name="Freeform 2767"/>
              <p:cNvSpPr>
                <a:spLocks noChangeAspect="1"/>
              </p:cNvSpPr>
              <p:nvPr/>
            </p:nvSpPr>
            <p:spPr bwMode="auto">
              <a:xfrm>
                <a:off x="4736488" y="2359712"/>
                <a:ext cx="4907" cy="4873"/>
              </a:xfrm>
              <a:custGeom>
                <a:avLst/>
                <a:gdLst>
                  <a:gd name="T0" fmla="*/ 3 w 3"/>
                  <a:gd name="T1" fmla="*/ 2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3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3" y="1"/>
                    </a:moveTo>
                    <a:cubicBezTo>
                      <a:pt x="3" y="0"/>
                      <a:pt x="2" y="0"/>
                      <a:pt x="2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0" y="2"/>
                      <a:pt x="1" y="2"/>
                      <a:pt x="2" y="2"/>
                    </a:cubicBezTo>
                    <a:cubicBezTo>
                      <a:pt x="2" y="2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7" name="Oval 2768"/>
              <p:cNvSpPr>
                <a:spLocks noChangeAspect="1" noChangeArrowheads="1"/>
              </p:cNvSpPr>
              <p:nvPr/>
            </p:nvSpPr>
            <p:spPr bwMode="auto">
              <a:xfrm>
                <a:off x="4697234" y="2325605"/>
                <a:ext cx="3271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8" name="Freeform 2769"/>
              <p:cNvSpPr>
                <a:spLocks noChangeAspect="1"/>
              </p:cNvSpPr>
              <p:nvPr/>
            </p:nvSpPr>
            <p:spPr bwMode="auto">
              <a:xfrm>
                <a:off x="4797006" y="2351591"/>
                <a:ext cx="8178" cy="8121"/>
              </a:xfrm>
              <a:custGeom>
                <a:avLst/>
                <a:gdLst>
                  <a:gd name="T0" fmla="*/ 0 w 4"/>
                  <a:gd name="T1" fmla="*/ 1 h 4"/>
                  <a:gd name="T2" fmla="*/ 1 w 4"/>
                  <a:gd name="T3" fmla="*/ 4 h 4"/>
                  <a:gd name="T4" fmla="*/ 4 w 4"/>
                  <a:gd name="T5" fmla="*/ 5 h 4"/>
                  <a:gd name="T6" fmla="*/ 4 w 4"/>
                  <a:gd name="T7" fmla="*/ 3 h 4"/>
                  <a:gd name="T8" fmla="*/ 0 w 4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0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4"/>
                      <a:pt x="2" y="4"/>
                      <a:pt x="3" y="4"/>
                    </a:cubicBezTo>
                    <a:cubicBezTo>
                      <a:pt x="4" y="4"/>
                      <a:pt x="3" y="3"/>
                      <a:pt x="3" y="2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59" name="Freeform 2770"/>
              <p:cNvSpPr>
                <a:spLocks noChangeAspect="1"/>
              </p:cNvSpPr>
              <p:nvPr/>
            </p:nvSpPr>
            <p:spPr bwMode="auto">
              <a:xfrm>
                <a:off x="4651438" y="2291498"/>
                <a:ext cx="6542" cy="8121"/>
              </a:xfrm>
              <a:custGeom>
                <a:avLst/>
                <a:gdLst>
                  <a:gd name="T0" fmla="*/ 3 w 3"/>
                  <a:gd name="T1" fmla="*/ 0 h 4"/>
                  <a:gd name="T2" fmla="*/ 1 w 3"/>
                  <a:gd name="T3" fmla="*/ 1 h 4"/>
                  <a:gd name="T4" fmla="*/ 0 w 3"/>
                  <a:gd name="T5" fmla="*/ 4 h 4"/>
                  <a:gd name="T6" fmla="*/ 3 w 3"/>
                  <a:gd name="T7" fmla="*/ 3 h 4"/>
                  <a:gd name="T8" fmla="*/ 3 w 3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1" y="1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1" y="4"/>
                      <a:pt x="2" y="3"/>
                      <a:pt x="2" y="2"/>
                    </a:cubicBezTo>
                    <a:cubicBezTo>
                      <a:pt x="2" y="2"/>
                      <a:pt x="3" y="1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0" name="Freeform 2771"/>
              <p:cNvSpPr>
                <a:spLocks noChangeAspect="1"/>
              </p:cNvSpPr>
              <p:nvPr/>
            </p:nvSpPr>
            <p:spPr bwMode="auto">
              <a:xfrm>
                <a:off x="4680878" y="2338598"/>
                <a:ext cx="21263" cy="21114"/>
              </a:xfrm>
              <a:custGeom>
                <a:avLst/>
                <a:gdLst>
                  <a:gd name="T0" fmla="*/ 6 w 11"/>
                  <a:gd name="T1" fmla="*/ 0 h 11"/>
                  <a:gd name="T2" fmla="*/ 11 w 11"/>
                  <a:gd name="T3" fmla="*/ 2 h 11"/>
                  <a:gd name="T4" fmla="*/ 13 w 11"/>
                  <a:gd name="T5" fmla="*/ 8 h 11"/>
                  <a:gd name="T6" fmla="*/ 11 w 11"/>
                  <a:gd name="T7" fmla="*/ 13 h 11"/>
                  <a:gd name="T8" fmla="*/ 4 w 11"/>
                  <a:gd name="T9" fmla="*/ 9 h 11"/>
                  <a:gd name="T10" fmla="*/ 0 w 11"/>
                  <a:gd name="T11" fmla="*/ 6 h 11"/>
                  <a:gd name="T12" fmla="*/ 2 w 11"/>
                  <a:gd name="T13" fmla="*/ 1 h 11"/>
                  <a:gd name="T14" fmla="*/ 6 w 11"/>
                  <a:gd name="T15" fmla="*/ 0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1"/>
                  <a:gd name="T26" fmla="*/ 11 w 11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1">
                    <a:moveTo>
                      <a:pt x="5" y="0"/>
                    </a:moveTo>
                    <a:cubicBezTo>
                      <a:pt x="7" y="0"/>
                      <a:pt x="8" y="1"/>
                      <a:pt x="9" y="2"/>
                    </a:cubicBezTo>
                    <a:cubicBezTo>
                      <a:pt x="10" y="3"/>
                      <a:pt x="11" y="5"/>
                      <a:pt x="11" y="7"/>
                    </a:cubicBezTo>
                    <a:cubicBezTo>
                      <a:pt x="11" y="9"/>
                      <a:pt x="10" y="10"/>
                      <a:pt x="9" y="11"/>
                    </a:cubicBezTo>
                    <a:cubicBezTo>
                      <a:pt x="7" y="11"/>
                      <a:pt x="5" y="9"/>
                      <a:pt x="3" y="8"/>
                    </a:cubicBezTo>
                    <a:cubicBezTo>
                      <a:pt x="2" y="7"/>
                      <a:pt x="1" y="6"/>
                      <a:pt x="0" y="5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0"/>
                      <a:pt x="4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1" name="Freeform 2772"/>
              <p:cNvSpPr>
                <a:spLocks noChangeAspect="1"/>
              </p:cNvSpPr>
              <p:nvPr/>
            </p:nvSpPr>
            <p:spPr bwMode="auto">
              <a:xfrm>
                <a:off x="4705413" y="2319108"/>
                <a:ext cx="39254" cy="45476"/>
              </a:xfrm>
              <a:custGeom>
                <a:avLst/>
                <a:gdLst>
                  <a:gd name="T0" fmla="*/ 14 w 20"/>
                  <a:gd name="T1" fmla="*/ 4 h 23"/>
                  <a:gd name="T2" fmla="*/ 20 w 20"/>
                  <a:gd name="T3" fmla="*/ 0 h 23"/>
                  <a:gd name="T4" fmla="*/ 24 w 20"/>
                  <a:gd name="T5" fmla="*/ 4 h 23"/>
                  <a:gd name="T6" fmla="*/ 22 w 20"/>
                  <a:gd name="T7" fmla="*/ 13 h 23"/>
                  <a:gd name="T8" fmla="*/ 19 w 20"/>
                  <a:gd name="T9" fmla="*/ 16 h 23"/>
                  <a:gd name="T10" fmla="*/ 22 w 20"/>
                  <a:gd name="T11" fmla="*/ 19 h 23"/>
                  <a:gd name="T12" fmla="*/ 18 w 20"/>
                  <a:gd name="T13" fmla="*/ 21 h 23"/>
                  <a:gd name="T14" fmla="*/ 18 w 20"/>
                  <a:gd name="T15" fmla="*/ 27 h 23"/>
                  <a:gd name="T16" fmla="*/ 12 w 20"/>
                  <a:gd name="T17" fmla="*/ 23 h 23"/>
                  <a:gd name="T18" fmla="*/ 8 w 20"/>
                  <a:gd name="T19" fmla="*/ 22 h 23"/>
                  <a:gd name="T20" fmla="*/ 4 w 20"/>
                  <a:gd name="T21" fmla="*/ 18 h 23"/>
                  <a:gd name="T22" fmla="*/ 4 w 20"/>
                  <a:gd name="T23" fmla="*/ 13 h 23"/>
                  <a:gd name="T24" fmla="*/ 1 w 20"/>
                  <a:gd name="T25" fmla="*/ 10 h 23"/>
                  <a:gd name="T26" fmla="*/ 7 w 20"/>
                  <a:gd name="T27" fmla="*/ 9 h 23"/>
                  <a:gd name="T28" fmla="*/ 8 w 20"/>
                  <a:gd name="T29" fmla="*/ 5 h 23"/>
                  <a:gd name="T30" fmla="*/ 12 w 20"/>
                  <a:gd name="T31" fmla="*/ 7 h 23"/>
                  <a:gd name="T32" fmla="*/ 12 w 20"/>
                  <a:gd name="T33" fmla="*/ 10 h 23"/>
                  <a:gd name="T34" fmla="*/ 17 w 20"/>
                  <a:gd name="T35" fmla="*/ 11 h 23"/>
                  <a:gd name="T36" fmla="*/ 17 w 20"/>
                  <a:gd name="T37" fmla="*/ 6 h 23"/>
                  <a:gd name="T38" fmla="*/ 14 w 20"/>
                  <a:gd name="T39" fmla="*/ 4 h 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"/>
                  <a:gd name="T61" fmla="*/ 0 h 23"/>
                  <a:gd name="T62" fmla="*/ 20 w 20"/>
                  <a:gd name="T63" fmla="*/ 23 h 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" h="23">
                    <a:moveTo>
                      <a:pt x="12" y="3"/>
                    </a:moveTo>
                    <a:cubicBezTo>
                      <a:pt x="13" y="1"/>
                      <a:pt x="15" y="0"/>
                      <a:pt x="17" y="0"/>
                    </a:cubicBezTo>
                    <a:cubicBezTo>
                      <a:pt x="18" y="0"/>
                      <a:pt x="20" y="2"/>
                      <a:pt x="20" y="3"/>
                    </a:cubicBezTo>
                    <a:cubicBezTo>
                      <a:pt x="20" y="6"/>
                      <a:pt x="19" y="8"/>
                      <a:pt x="18" y="11"/>
                    </a:cubicBezTo>
                    <a:cubicBezTo>
                      <a:pt x="18" y="12"/>
                      <a:pt x="16" y="12"/>
                      <a:pt x="16" y="13"/>
                    </a:cubicBezTo>
                    <a:cubicBezTo>
                      <a:pt x="16" y="14"/>
                      <a:pt x="19" y="15"/>
                      <a:pt x="18" y="16"/>
                    </a:cubicBezTo>
                    <a:cubicBezTo>
                      <a:pt x="18" y="18"/>
                      <a:pt x="15" y="16"/>
                      <a:pt x="15" y="17"/>
                    </a:cubicBezTo>
                    <a:cubicBezTo>
                      <a:pt x="14" y="19"/>
                      <a:pt x="16" y="22"/>
                      <a:pt x="15" y="22"/>
                    </a:cubicBezTo>
                    <a:cubicBezTo>
                      <a:pt x="13" y="23"/>
                      <a:pt x="12" y="20"/>
                      <a:pt x="10" y="19"/>
                    </a:cubicBezTo>
                    <a:cubicBezTo>
                      <a:pt x="9" y="19"/>
                      <a:pt x="8" y="18"/>
                      <a:pt x="7" y="18"/>
                    </a:cubicBezTo>
                    <a:cubicBezTo>
                      <a:pt x="6" y="17"/>
                      <a:pt x="4" y="16"/>
                      <a:pt x="3" y="15"/>
                    </a:cubicBezTo>
                    <a:cubicBezTo>
                      <a:pt x="2" y="13"/>
                      <a:pt x="3" y="12"/>
                      <a:pt x="3" y="11"/>
                    </a:cubicBezTo>
                    <a:cubicBezTo>
                      <a:pt x="3" y="10"/>
                      <a:pt x="0" y="9"/>
                      <a:pt x="1" y="8"/>
                    </a:cubicBezTo>
                    <a:cubicBezTo>
                      <a:pt x="2" y="6"/>
                      <a:pt x="4" y="8"/>
                      <a:pt x="6" y="7"/>
                    </a:cubicBezTo>
                    <a:cubicBezTo>
                      <a:pt x="7" y="7"/>
                      <a:pt x="6" y="4"/>
                      <a:pt x="7" y="4"/>
                    </a:cubicBezTo>
                    <a:cubicBezTo>
                      <a:pt x="8" y="4"/>
                      <a:pt x="9" y="5"/>
                      <a:pt x="10" y="6"/>
                    </a:cubicBezTo>
                    <a:cubicBezTo>
                      <a:pt x="10" y="6"/>
                      <a:pt x="10" y="8"/>
                      <a:pt x="10" y="8"/>
                    </a:cubicBezTo>
                    <a:cubicBezTo>
                      <a:pt x="11" y="9"/>
                      <a:pt x="13" y="10"/>
                      <a:pt x="14" y="9"/>
                    </a:cubicBezTo>
                    <a:cubicBezTo>
                      <a:pt x="15" y="8"/>
                      <a:pt x="14" y="6"/>
                      <a:pt x="14" y="5"/>
                    </a:cubicBezTo>
                    <a:cubicBezTo>
                      <a:pt x="14" y="4"/>
                      <a:pt x="12" y="3"/>
                      <a:pt x="1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2" name="Freeform 2773"/>
              <p:cNvSpPr>
                <a:spLocks noChangeAspect="1"/>
              </p:cNvSpPr>
              <p:nvPr/>
            </p:nvSpPr>
            <p:spPr bwMode="auto">
              <a:xfrm>
                <a:off x="4725040" y="2364584"/>
                <a:ext cx="9814" cy="11369"/>
              </a:xfrm>
              <a:custGeom>
                <a:avLst/>
                <a:gdLst>
                  <a:gd name="T0" fmla="*/ 6 w 5"/>
                  <a:gd name="T1" fmla="*/ 1 h 6"/>
                  <a:gd name="T2" fmla="*/ 1 w 5"/>
                  <a:gd name="T3" fmla="*/ 0 h 6"/>
                  <a:gd name="T4" fmla="*/ 2 w 5"/>
                  <a:gd name="T5" fmla="*/ 4 h 6"/>
                  <a:gd name="T6" fmla="*/ 4 w 5"/>
                  <a:gd name="T7" fmla="*/ 7 h 6"/>
                  <a:gd name="T8" fmla="*/ 6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5" y="1"/>
                    </a:moveTo>
                    <a:cubicBezTo>
                      <a:pt x="4" y="1"/>
                      <a:pt x="1" y="0"/>
                      <a:pt x="1" y="0"/>
                    </a:cubicBezTo>
                    <a:cubicBezTo>
                      <a:pt x="0" y="0"/>
                      <a:pt x="2" y="2"/>
                      <a:pt x="2" y="3"/>
                    </a:cubicBezTo>
                    <a:cubicBezTo>
                      <a:pt x="2" y="4"/>
                      <a:pt x="2" y="6"/>
                      <a:pt x="3" y="6"/>
                    </a:cubicBezTo>
                    <a:cubicBezTo>
                      <a:pt x="4" y="5"/>
                      <a:pt x="4" y="2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3" name="Freeform 2774"/>
              <p:cNvSpPr>
                <a:spLocks noChangeAspect="1"/>
              </p:cNvSpPr>
              <p:nvPr/>
            </p:nvSpPr>
            <p:spPr bwMode="auto">
              <a:xfrm>
                <a:off x="4708684" y="2361335"/>
                <a:ext cx="17992" cy="12993"/>
              </a:xfrm>
              <a:custGeom>
                <a:avLst/>
                <a:gdLst>
                  <a:gd name="T0" fmla="*/ 2 w 9"/>
                  <a:gd name="T1" fmla="*/ 0 h 6"/>
                  <a:gd name="T2" fmla="*/ 9 w 9"/>
                  <a:gd name="T3" fmla="*/ 4 h 6"/>
                  <a:gd name="T4" fmla="*/ 11 w 9"/>
                  <a:gd name="T5" fmla="*/ 8 h 6"/>
                  <a:gd name="T6" fmla="*/ 4 w 9"/>
                  <a:gd name="T7" fmla="*/ 7 h 6"/>
                  <a:gd name="T8" fmla="*/ 0 w 9"/>
                  <a:gd name="T9" fmla="*/ 4 h 6"/>
                  <a:gd name="T10" fmla="*/ 0 w 9"/>
                  <a:gd name="T11" fmla="*/ 1 h 6"/>
                  <a:gd name="T12" fmla="*/ 2 w 9"/>
                  <a:gd name="T13" fmla="*/ 0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6"/>
                  <a:gd name="T23" fmla="*/ 9 w 9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6">
                    <a:moveTo>
                      <a:pt x="2" y="0"/>
                    </a:moveTo>
                    <a:cubicBezTo>
                      <a:pt x="4" y="0"/>
                      <a:pt x="5" y="2"/>
                      <a:pt x="7" y="3"/>
                    </a:cubicBezTo>
                    <a:cubicBezTo>
                      <a:pt x="8" y="4"/>
                      <a:pt x="9" y="5"/>
                      <a:pt x="9" y="6"/>
                    </a:cubicBezTo>
                    <a:cubicBezTo>
                      <a:pt x="7" y="6"/>
                      <a:pt x="5" y="5"/>
                      <a:pt x="3" y="5"/>
                    </a:cubicBezTo>
                    <a:cubicBezTo>
                      <a:pt x="2" y="4"/>
                      <a:pt x="1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4" name="Freeform 2775"/>
              <p:cNvSpPr>
                <a:spLocks noChangeAspect="1"/>
              </p:cNvSpPr>
              <p:nvPr/>
            </p:nvSpPr>
            <p:spPr bwMode="auto">
              <a:xfrm>
                <a:off x="4700506" y="2358087"/>
                <a:ext cx="4907" cy="12993"/>
              </a:xfrm>
              <a:custGeom>
                <a:avLst/>
                <a:gdLst>
                  <a:gd name="T0" fmla="*/ 3 w 2"/>
                  <a:gd name="T1" fmla="*/ 0 h 7"/>
                  <a:gd name="T2" fmla="*/ 0 w 2"/>
                  <a:gd name="T3" fmla="*/ 8 h 7"/>
                  <a:gd name="T4" fmla="*/ 0 w 2"/>
                  <a:gd name="T5" fmla="*/ 3 h 7"/>
                  <a:gd name="T6" fmla="*/ 3 w 2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7"/>
                  <a:gd name="T14" fmla="*/ 2 w 2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7">
                    <a:moveTo>
                      <a:pt x="2" y="0"/>
                    </a:moveTo>
                    <a:cubicBezTo>
                      <a:pt x="2" y="3"/>
                      <a:pt x="2" y="5"/>
                      <a:pt x="0" y="7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1" y="2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5" name="Freeform 2776"/>
              <p:cNvSpPr>
                <a:spLocks noChangeAspect="1"/>
              </p:cNvSpPr>
              <p:nvPr/>
            </p:nvSpPr>
            <p:spPr bwMode="auto">
              <a:xfrm>
                <a:off x="4757752" y="2371080"/>
                <a:ext cx="13085" cy="16241"/>
              </a:xfrm>
              <a:custGeom>
                <a:avLst/>
                <a:gdLst>
                  <a:gd name="T0" fmla="*/ 3 w 7"/>
                  <a:gd name="T1" fmla="*/ 1 h 8"/>
                  <a:gd name="T2" fmla="*/ 7 w 7"/>
                  <a:gd name="T3" fmla="*/ 4 h 8"/>
                  <a:gd name="T4" fmla="*/ 6 w 7"/>
                  <a:gd name="T5" fmla="*/ 9 h 8"/>
                  <a:gd name="T6" fmla="*/ 1 w 7"/>
                  <a:gd name="T7" fmla="*/ 6 h 8"/>
                  <a:gd name="T8" fmla="*/ 1 w 7"/>
                  <a:gd name="T9" fmla="*/ 3 h 8"/>
                  <a:gd name="T10" fmla="*/ 3 w 7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8"/>
                  <a:gd name="T20" fmla="*/ 7 w 7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8">
                    <a:moveTo>
                      <a:pt x="3" y="1"/>
                    </a:moveTo>
                    <a:cubicBezTo>
                      <a:pt x="4" y="1"/>
                      <a:pt x="6" y="1"/>
                      <a:pt x="6" y="3"/>
                    </a:cubicBezTo>
                    <a:cubicBezTo>
                      <a:pt x="7" y="4"/>
                      <a:pt x="7" y="7"/>
                      <a:pt x="5" y="7"/>
                    </a:cubicBezTo>
                    <a:cubicBezTo>
                      <a:pt x="4" y="8"/>
                      <a:pt x="2" y="6"/>
                      <a:pt x="1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6" name="Freeform 2777"/>
              <p:cNvSpPr>
                <a:spLocks noChangeAspect="1"/>
              </p:cNvSpPr>
              <p:nvPr/>
            </p:nvSpPr>
            <p:spPr bwMode="auto">
              <a:xfrm>
                <a:off x="4317778" y="2224908"/>
                <a:ext cx="176644" cy="308585"/>
              </a:xfrm>
              <a:custGeom>
                <a:avLst/>
                <a:gdLst>
                  <a:gd name="T0" fmla="*/ 106 w 90"/>
                  <a:gd name="T1" fmla="*/ 160 h 158"/>
                  <a:gd name="T2" fmla="*/ 79 w 90"/>
                  <a:gd name="T3" fmla="*/ 170 h 158"/>
                  <a:gd name="T4" fmla="*/ 55 w 90"/>
                  <a:gd name="T5" fmla="*/ 172 h 158"/>
                  <a:gd name="T6" fmla="*/ 35 w 90"/>
                  <a:gd name="T7" fmla="*/ 174 h 158"/>
                  <a:gd name="T8" fmla="*/ 13 w 90"/>
                  <a:gd name="T9" fmla="*/ 184 h 158"/>
                  <a:gd name="T10" fmla="*/ 0 w 90"/>
                  <a:gd name="T11" fmla="*/ 188 h 158"/>
                  <a:gd name="T12" fmla="*/ 19 w 90"/>
                  <a:gd name="T13" fmla="*/ 166 h 158"/>
                  <a:gd name="T14" fmla="*/ 40 w 90"/>
                  <a:gd name="T15" fmla="*/ 161 h 158"/>
                  <a:gd name="T16" fmla="*/ 36 w 90"/>
                  <a:gd name="T17" fmla="*/ 159 h 158"/>
                  <a:gd name="T18" fmla="*/ 22 w 90"/>
                  <a:gd name="T19" fmla="*/ 152 h 158"/>
                  <a:gd name="T20" fmla="*/ 19 w 90"/>
                  <a:gd name="T21" fmla="*/ 142 h 158"/>
                  <a:gd name="T22" fmla="*/ 18 w 90"/>
                  <a:gd name="T23" fmla="*/ 127 h 158"/>
                  <a:gd name="T24" fmla="*/ 36 w 90"/>
                  <a:gd name="T25" fmla="*/ 117 h 158"/>
                  <a:gd name="T26" fmla="*/ 43 w 90"/>
                  <a:gd name="T27" fmla="*/ 107 h 158"/>
                  <a:gd name="T28" fmla="*/ 40 w 90"/>
                  <a:gd name="T29" fmla="*/ 100 h 158"/>
                  <a:gd name="T30" fmla="*/ 38 w 90"/>
                  <a:gd name="T31" fmla="*/ 82 h 158"/>
                  <a:gd name="T32" fmla="*/ 19 w 90"/>
                  <a:gd name="T33" fmla="*/ 84 h 158"/>
                  <a:gd name="T34" fmla="*/ 17 w 90"/>
                  <a:gd name="T35" fmla="*/ 72 h 158"/>
                  <a:gd name="T36" fmla="*/ 14 w 90"/>
                  <a:gd name="T37" fmla="*/ 61 h 158"/>
                  <a:gd name="T38" fmla="*/ 7 w 90"/>
                  <a:gd name="T39" fmla="*/ 63 h 158"/>
                  <a:gd name="T40" fmla="*/ 8 w 90"/>
                  <a:gd name="T41" fmla="*/ 49 h 158"/>
                  <a:gd name="T42" fmla="*/ 0 w 90"/>
                  <a:gd name="T43" fmla="*/ 44 h 158"/>
                  <a:gd name="T44" fmla="*/ 6 w 90"/>
                  <a:gd name="T45" fmla="*/ 37 h 158"/>
                  <a:gd name="T46" fmla="*/ 5 w 90"/>
                  <a:gd name="T47" fmla="*/ 31 h 158"/>
                  <a:gd name="T48" fmla="*/ 4 w 90"/>
                  <a:gd name="T49" fmla="*/ 22 h 158"/>
                  <a:gd name="T50" fmla="*/ 8 w 90"/>
                  <a:gd name="T51" fmla="*/ 13 h 158"/>
                  <a:gd name="T52" fmla="*/ 14 w 90"/>
                  <a:gd name="T53" fmla="*/ 8 h 158"/>
                  <a:gd name="T54" fmla="*/ 23 w 90"/>
                  <a:gd name="T55" fmla="*/ 4 h 158"/>
                  <a:gd name="T56" fmla="*/ 41 w 90"/>
                  <a:gd name="T57" fmla="*/ 5 h 158"/>
                  <a:gd name="T58" fmla="*/ 25 w 90"/>
                  <a:gd name="T59" fmla="*/ 19 h 158"/>
                  <a:gd name="T60" fmla="*/ 24 w 90"/>
                  <a:gd name="T61" fmla="*/ 28 h 158"/>
                  <a:gd name="T62" fmla="*/ 48 w 90"/>
                  <a:gd name="T63" fmla="*/ 22 h 158"/>
                  <a:gd name="T64" fmla="*/ 58 w 90"/>
                  <a:gd name="T65" fmla="*/ 31 h 158"/>
                  <a:gd name="T66" fmla="*/ 43 w 90"/>
                  <a:gd name="T67" fmla="*/ 49 h 158"/>
                  <a:gd name="T68" fmla="*/ 37 w 90"/>
                  <a:gd name="T69" fmla="*/ 60 h 158"/>
                  <a:gd name="T70" fmla="*/ 55 w 90"/>
                  <a:gd name="T71" fmla="*/ 63 h 158"/>
                  <a:gd name="T72" fmla="*/ 67 w 90"/>
                  <a:gd name="T73" fmla="*/ 88 h 158"/>
                  <a:gd name="T74" fmla="*/ 85 w 90"/>
                  <a:gd name="T75" fmla="*/ 112 h 158"/>
                  <a:gd name="T76" fmla="*/ 90 w 90"/>
                  <a:gd name="T77" fmla="*/ 120 h 158"/>
                  <a:gd name="T78" fmla="*/ 90 w 90"/>
                  <a:gd name="T79" fmla="*/ 129 h 158"/>
                  <a:gd name="T80" fmla="*/ 108 w 90"/>
                  <a:gd name="T81" fmla="*/ 136 h 158"/>
                  <a:gd name="T82" fmla="*/ 101 w 90"/>
                  <a:gd name="T83" fmla="*/ 150 h 158"/>
                  <a:gd name="T84" fmla="*/ 92 w 90"/>
                  <a:gd name="T85" fmla="*/ 156 h 1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90"/>
                  <a:gd name="T130" fmla="*/ 0 h 158"/>
                  <a:gd name="T131" fmla="*/ 90 w 90"/>
                  <a:gd name="T132" fmla="*/ 158 h 1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90" h="158">
                    <a:moveTo>
                      <a:pt x="76" y="131"/>
                    </a:moveTo>
                    <a:cubicBezTo>
                      <a:pt x="77" y="132"/>
                      <a:pt x="79" y="133"/>
                      <a:pt x="80" y="133"/>
                    </a:cubicBezTo>
                    <a:cubicBezTo>
                      <a:pt x="83" y="133"/>
                      <a:pt x="87" y="131"/>
                      <a:pt x="88" y="133"/>
                    </a:cubicBezTo>
                    <a:cubicBezTo>
                      <a:pt x="88" y="135"/>
                      <a:pt x="84" y="137"/>
                      <a:pt x="82" y="138"/>
                    </a:cubicBezTo>
                    <a:cubicBezTo>
                      <a:pt x="79" y="140"/>
                      <a:pt x="76" y="142"/>
                      <a:pt x="73" y="142"/>
                    </a:cubicBezTo>
                    <a:cubicBezTo>
                      <a:pt x="70" y="143"/>
                      <a:pt x="68" y="141"/>
                      <a:pt x="66" y="141"/>
                    </a:cubicBezTo>
                    <a:cubicBezTo>
                      <a:pt x="64" y="141"/>
                      <a:pt x="62" y="142"/>
                      <a:pt x="60" y="142"/>
                    </a:cubicBezTo>
                    <a:cubicBezTo>
                      <a:pt x="58" y="142"/>
                      <a:pt x="56" y="141"/>
                      <a:pt x="54" y="141"/>
                    </a:cubicBezTo>
                    <a:cubicBezTo>
                      <a:pt x="51" y="141"/>
                      <a:pt x="49" y="142"/>
                      <a:pt x="46" y="143"/>
                    </a:cubicBezTo>
                    <a:cubicBezTo>
                      <a:pt x="44" y="143"/>
                      <a:pt x="43" y="146"/>
                      <a:pt x="41" y="146"/>
                    </a:cubicBezTo>
                    <a:cubicBezTo>
                      <a:pt x="38" y="146"/>
                      <a:pt x="37" y="143"/>
                      <a:pt x="35" y="143"/>
                    </a:cubicBezTo>
                    <a:cubicBezTo>
                      <a:pt x="33" y="143"/>
                      <a:pt x="30" y="144"/>
                      <a:pt x="29" y="145"/>
                    </a:cubicBezTo>
                    <a:cubicBezTo>
                      <a:pt x="27" y="147"/>
                      <a:pt x="28" y="151"/>
                      <a:pt x="26" y="152"/>
                    </a:cubicBezTo>
                    <a:cubicBezTo>
                      <a:pt x="23" y="153"/>
                      <a:pt x="21" y="151"/>
                      <a:pt x="18" y="151"/>
                    </a:cubicBezTo>
                    <a:cubicBezTo>
                      <a:pt x="16" y="151"/>
                      <a:pt x="13" y="152"/>
                      <a:pt x="11" y="153"/>
                    </a:cubicBezTo>
                    <a:cubicBezTo>
                      <a:pt x="10" y="154"/>
                      <a:pt x="9" y="157"/>
                      <a:pt x="8" y="157"/>
                    </a:cubicBezTo>
                    <a:cubicBezTo>
                      <a:pt x="6" y="158"/>
                      <a:pt x="5" y="156"/>
                      <a:pt x="3" y="156"/>
                    </a:cubicBezTo>
                    <a:cubicBezTo>
                      <a:pt x="2" y="156"/>
                      <a:pt x="0" y="157"/>
                      <a:pt x="0" y="156"/>
                    </a:cubicBezTo>
                    <a:cubicBezTo>
                      <a:pt x="2" y="154"/>
                      <a:pt x="5" y="153"/>
                      <a:pt x="8" y="151"/>
                    </a:cubicBezTo>
                    <a:cubicBezTo>
                      <a:pt x="10" y="149"/>
                      <a:pt x="12" y="146"/>
                      <a:pt x="14" y="144"/>
                    </a:cubicBezTo>
                    <a:cubicBezTo>
                      <a:pt x="15" y="142"/>
                      <a:pt x="15" y="140"/>
                      <a:pt x="16" y="138"/>
                    </a:cubicBezTo>
                    <a:cubicBezTo>
                      <a:pt x="17" y="137"/>
                      <a:pt x="18" y="138"/>
                      <a:pt x="19" y="135"/>
                    </a:cubicBezTo>
                    <a:cubicBezTo>
                      <a:pt x="23" y="134"/>
                      <a:pt x="26" y="135"/>
                      <a:pt x="30" y="135"/>
                    </a:cubicBezTo>
                    <a:cubicBezTo>
                      <a:pt x="31" y="135"/>
                      <a:pt x="32" y="135"/>
                      <a:pt x="33" y="134"/>
                    </a:cubicBezTo>
                    <a:cubicBezTo>
                      <a:pt x="36" y="132"/>
                      <a:pt x="39" y="130"/>
                      <a:pt x="41" y="127"/>
                    </a:cubicBezTo>
                    <a:cubicBezTo>
                      <a:pt x="41" y="126"/>
                      <a:pt x="40" y="127"/>
                      <a:pt x="39" y="127"/>
                    </a:cubicBezTo>
                    <a:cubicBezTo>
                      <a:pt x="36" y="128"/>
                      <a:pt x="33" y="132"/>
                      <a:pt x="30" y="132"/>
                    </a:cubicBezTo>
                    <a:cubicBezTo>
                      <a:pt x="27" y="132"/>
                      <a:pt x="26" y="128"/>
                      <a:pt x="23" y="127"/>
                    </a:cubicBezTo>
                    <a:cubicBezTo>
                      <a:pt x="22" y="127"/>
                      <a:pt x="21" y="130"/>
                      <a:pt x="20" y="129"/>
                    </a:cubicBezTo>
                    <a:cubicBezTo>
                      <a:pt x="18" y="129"/>
                      <a:pt x="19" y="126"/>
                      <a:pt x="18" y="126"/>
                    </a:cubicBezTo>
                    <a:cubicBezTo>
                      <a:pt x="15" y="125"/>
                      <a:pt x="13" y="129"/>
                      <a:pt x="10" y="128"/>
                    </a:cubicBezTo>
                    <a:cubicBezTo>
                      <a:pt x="9" y="123"/>
                      <a:pt x="5" y="124"/>
                      <a:pt x="7" y="122"/>
                    </a:cubicBezTo>
                    <a:cubicBezTo>
                      <a:pt x="8" y="119"/>
                      <a:pt x="13" y="120"/>
                      <a:pt x="16" y="118"/>
                    </a:cubicBezTo>
                    <a:cubicBezTo>
                      <a:pt x="18" y="117"/>
                      <a:pt x="21" y="114"/>
                      <a:pt x="22" y="112"/>
                    </a:cubicBezTo>
                    <a:cubicBezTo>
                      <a:pt x="23" y="110"/>
                      <a:pt x="23" y="106"/>
                      <a:pt x="21" y="105"/>
                    </a:cubicBezTo>
                    <a:cubicBezTo>
                      <a:pt x="20" y="104"/>
                      <a:pt x="15" y="108"/>
                      <a:pt x="15" y="106"/>
                    </a:cubicBezTo>
                    <a:cubicBezTo>
                      <a:pt x="15" y="103"/>
                      <a:pt x="19" y="102"/>
                      <a:pt x="21" y="100"/>
                    </a:cubicBezTo>
                    <a:cubicBezTo>
                      <a:pt x="22" y="99"/>
                      <a:pt x="24" y="98"/>
                      <a:pt x="26" y="97"/>
                    </a:cubicBezTo>
                    <a:cubicBezTo>
                      <a:pt x="27" y="97"/>
                      <a:pt x="29" y="97"/>
                      <a:pt x="30" y="97"/>
                    </a:cubicBezTo>
                    <a:cubicBezTo>
                      <a:pt x="32" y="98"/>
                      <a:pt x="34" y="99"/>
                      <a:pt x="34" y="98"/>
                    </a:cubicBezTo>
                    <a:cubicBezTo>
                      <a:pt x="35" y="96"/>
                      <a:pt x="33" y="94"/>
                      <a:pt x="33" y="93"/>
                    </a:cubicBezTo>
                    <a:cubicBezTo>
                      <a:pt x="34" y="91"/>
                      <a:pt x="36" y="91"/>
                      <a:pt x="36" y="89"/>
                    </a:cubicBezTo>
                    <a:cubicBezTo>
                      <a:pt x="36" y="88"/>
                      <a:pt x="33" y="88"/>
                      <a:pt x="34" y="87"/>
                    </a:cubicBezTo>
                    <a:cubicBezTo>
                      <a:pt x="34" y="85"/>
                      <a:pt x="38" y="84"/>
                      <a:pt x="37" y="83"/>
                    </a:cubicBezTo>
                    <a:cubicBezTo>
                      <a:pt x="37" y="81"/>
                      <a:pt x="34" y="83"/>
                      <a:pt x="33" y="83"/>
                    </a:cubicBezTo>
                    <a:cubicBezTo>
                      <a:pt x="31" y="81"/>
                      <a:pt x="29" y="78"/>
                      <a:pt x="28" y="75"/>
                    </a:cubicBezTo>
                    <a:cubicBezTo>
                      <a:pt x="27" y="74"/>
                      <a:pt x="28" y="72"/>
                      <a:pt x="29" y="71"/>
                    </a:cubicBezTo>
                    <a:cubicBezTo>
                      <a:pt x="30" y="70"/>
                      <a:pt x="32" y="69"/>
                      <a:pt x="32" y="68"/>
                    </a:cubicBezTo>
                    <a:cubicBezTo>
                      <a:pt x="31" y="67"/>
                      <a:pt x="29" y="68"/>
                      <a:pt x="28" y="68"/>
                    </a:cubicBezTo>
                    <a:cubicBezTo>
                      <a:pt x="26" y="69"/>
                      <a:pt x="25" y="71"/>
                      <a:pt x="22" y="71"/>
                    </a:cubicBezTo>
                    <a:cubicBezTo>
                      <a:pt x="20" y="72"/>
                      <a:pt x="18" y="71"/>
                      <a:pt x="16" y="70"/>
                    </a:cubicBezTo>
                    <a:cubicBezTo>
                      <a:pt x="15" y="70"/>
                      <a:pt x="13" y="70"/>
                      <a:pt x="12" y="69"/>
                    </a:cubicBezTo>
                    <a:cubicBezTo>
                      <a:pt x="11" y="67"/>
                      <a:pt x="12" y="66"/>
                      <a:pt x="12" y="64"/>
                    </a:cubicBezTo>
                    <a:cubicBezTo>
                      <a:pt x="12" y="63"/>
                      <a:pt x="13" y="62"/>
                      <a:pt x="14" y="60"/>
                    </a:cubicBezTo>
                    <a:cubicBezTo>
                      <a:pt x="14" y="59"/>
                      <a:pt x="15" y="57"/>
                      <a:pt x="15" y="56"/>
                    </a:cubicBezTo>
                    <a:cubicBezTo>
                      <a:pt x="14" y="55"/>
                      <a:pt x="12" y="56"/>
                      <a:pt x="12" y="55"/>
                    </a:cubicBezTo>
                    <a:cubicBezTo>
                      <a:pt x="11" y="54"/>
                      <a:pt x="13" y="52"/>
                      <a:pt x="12" y="51"/>
                    </a:cubicBezTo>
                    <a:cubicBezTo>
                      <a:pt x="12" y="50"/>
                      <a:pt x="10" y="51"/>
                      <a:pt x="9" y="51"/>
                    </a:cubicBezTo>
                    <a:cubicBezTo>
                      <a:pt x="8" y="50"/>
                      <a:pt x="8" y="48"/>
                      <a:pt x="7" y="48"/>
                    </a:cubicBezTo>
                    <a:cubicBezTo>
                      <a:pt x="6" y="49"/>
                      <a:pt x="7" y="51"/>
                      <a:pt x="6" y="52"/>
                    </a:cubicBezTo>
                    <a:cubicBezTo>
                      <a:pt x="5" y="53"/>
                      <a:pt x="4" y="51"/>
                      <a:pt x="4" y="50"/>
                    </a:cubicBezTo>
                    <a:cubicBezTo>
                      <a:pt x="4" y="48"/>
                      <a:pt x="4" y="45"/>
                      <a:pt x="5" y="43"/>
                    </a:cubicBezTo>
                    <a:cubicBezTo>
                      <a:pt x="5" y="42"/>
                      <a:pt x="6" y="42"/>
                      <a:pt x="7" y="41"/>
                    </a:cubicBezTo>
                    <a:cubicBezTo>
                      <a:pt x="7" y="40"/>
                      <a:pt x="9" y="37"/>
                      <a:pt x="7" y="37"/>
                    </a:cubicBezTo>
                    <a:cubicBezTo>
                      <a:pt x="6" y="36"/>
                      <a:pt x="5" y="39"/>
                      <a:pt x="4" y="39"/>
                    </a:cubicBezTo>
                    <a:cubicBezTo>
                      <a:pt x="3" y="39"/>
                      <a:pt x="1" y="39"/>
                      <a:pt x="0" y="37"/>
                    </a:cubicBezTo>
                    <a:cubicBezTo>
                      <a:pt x="0" y="37"/>
                      <a:pt x="2" y="36"/>
                      <a:pt x="2" y="36"/>
                    </a:cubicBezTo>
                    <a:cubicBezTo>
                      <a:pt x="2" y="34"/>
                      <a:pt x="1" y="33"/>
                      <a:pt x="1" y="32"/>
                    </a:cubicBezTo>
                    <a:cubicBezTo>
                      <a:pt x="2" y="31"/>
                      <a:pt x="4" y="32"/>
                      <a:pt x="5" y="31"/>
                    </a:cubicBezTo>
                    <a:cubicBezTo>
                      <a:pt x="5" y="30"/>
                      <a:pt x="3" y="30"/>
                      <a:pt x="3" y="29"/>
                    </a:cubicBezTo>
                    <a:cubicBezTo>
                      <a:pt x="3" y="28"/>
                      <a:pt x="5" y="29"/>
                      <a:pt x="6" y="28"/>
                    </a:cubicBezTo>
                    <a:cubicBezTo>
                      <a:pt x="6" y="27"/>
                      <a:pt x="4" y="27"/>
                      <a:pt x="4" y="26"/>
                    </a:cubicBezTo>
                    <a:cubicBezTo>
                      <a:pt x="4" y="25"/>
                      <a:pt x="7" y="25"/>
                      <a:pt x="6" y="24"/>
                    </a:cubicBezTo>
                    <a:cubicBezTo>
                      <a:pt x="5" y="22"/>
                      <a:pt x="2" y="23"/>
                      <a:pt x="2" y="22"/>
                    </a:cubicBezTo>
                    <a:cubicBezTo>
                      <a:pt x="1" y="21"/>
                      <a:pt x="3" y="19"/>
                      <a:pt x="3" y="18"/>
                    </a:cubicBezTo>
                    <a:cubicBezTo>
                      <a:pt x="3" y="17"/>
                      <a:pt x="2" y="16"/>
                      <a:pt x="3" y="15"/>
                    </a:cubicBezTo>
                    <a:cubicBezTo>
                      <a:pt x="5" y="14"/>
                      <a:pt x="8" y="15"/>
                      <a:pt x="10" y="14"/>
                    </a:cubicBezTo>
                    <a:cubicBezTo>
                      <a:pt x="11" y="13"/>
                      <a:pt x="7" y="12"/>
                      <a:pt x="7" y="11"/>
                    </a:cubicBezTo>
                    <a:cubicBezTo>
                      <a:pt x="7" y="10"/>
                      <a:pt x="8" y="10"/>
                      <a:pt x="8" y="9"/>
                    </a:cubicBezTo>
                    <a:cubicBezTo>
                      <a:pt x="8" y="8"/>
                      <a:pt x="7" y="8"/>
                      <a:pt x="7" y="7"/>
                    </a:cubicBezTo>
                    <a:cubicBezTo>
                      <a:pt x="9" y="7"/>
                      <a:pt x="11" y="8"/>
                      <a:pt x="12" y="7"/>
                    </a:cubicBezTo>
                    <a:cubicBezTo>
                      <a:pt x="13" y="5"/>
                      <a:pt x="10" y="3"/>
                      <a:pt x="11" y="1"/>
                    </a:cubicBezTo>
                    <a:cubicBezTo>
                      <a:pt x="12" y="0"/>
                      <a:pt x="14" y="1"/>
                      <a:pt x="16" y="2"/>
                    </a:cubicBezTo>
                    <a:cubicBezTo>
                      <a:pt x="17" y="2"/>
                      <a:pt x="18" y="3"/>
                      <a:pt x="19" y="3"/>
                    </a:cubicBezTo>
                    <a:cubicBezTo>
                      <a:pt x="22" y="2"/>
                      <a:pt x="25" y="1"/>
                      <a:pt x="29" y="0"/>
                    </a:cubicBezTo>
                    <a:cubicBezTo>
                      <a:pt x="30" y="0"/>
                      <a:pt x="32" y="0"/>
                      <a:pt x="34" y="1"/>
                    </a:cubicBezTo>
                    <a:cubicBezTo>
                      <a:pt x="35" y="1"/>
                      <a:pt x="34" y="3"/>
                      <a:pt x="34" y="4"/>
                    </a:cubicBezTo>
                    <a:cubicBezTo>
                      <a:pt x="33" y="5"/>
                      <a:pt x="31" y="7"/>
                      <a:pt x="29" y="8"/>
                    </a:cubicBezTo>
                    <a:cubicBezTo>
                      <a:pt x="26" y="11"/>
                      <a:pt x="23" y="12"/>
                      <a:pt x="20" y="14"/>
                    </a:cubicBezTo>
                    <a:cubicBezTo>
                      <a:pt x="19" y="15"/>
                      <a:pt x="20" y="16"/>
                      <a:pt x="21" y="16"/>
                    </a:cubicBezTo>
                    <a:cubicBezTo>
                      <a:pt x="22" y="16"/>
                      <a:pt x="25" y="15"/>
                      <a:pt x="25" y="16"/>
                    </a:cubicBezTo>
                    <a:cubicBezTo>
                      <a:pt x="24" y="18"/>
                      <a:pt x="21" y="19"/>
                      <a:pt x="19" y="21"/>
                    </a:cubicBezTo>
                    <a:cubicBezTo>
                      <a:pt x="19" y="22"/>
                      <a:pt x="19" y="24"/>
                      <a:pt x="20" y="23"/>
                    </a:cubicBezTo>
                    <a:cubicBezTo>
                      <a:pt x="23" y="22"/>
                      <a:pt x="24" y="20"/>
                      <a:pt x="27" y="19"/>
                    </a:cubicBezTo>
                    <a:cubicBezTo>
                      <a:pt x="29" y="18"/>
                      <a:pt x="32" y="19"/>
                      <a:pt x="34" y="18"/>
                    </a:cubicBezTo>
                    <a:cubicBezTo>
                      <a:pt x="36" y="18"/>
                      <a:pt x="38" y="19"/>
                      <a:pt x="40" y="18"/>
                    </a:cubicBezTo>
                    <a:cubicBezTo>
                      <a:pt x="43" y="18"/>
                      <a:pt x="45" y="18"/>
                      <a:pt x="47" y="18"/>
                    </a:cubicBezTo>
                    <a:cubicBezTo>
                      <a:pt x="48" y="18"/>
                      <a:pt x="49" y="19"/>
                      <a:pt x="49" y="20"/>
                    </a:cubicBezTo>
                    <a:cubicBezTo>
                      <a:pt x="49" y="22"/>
                      <a:pt x="49" y="24"/>
                      <a:pt x="48" y="26"/>
                    </a:cubicBezTo>
                    <a:cubicBezTo>
                      <a:pt x="47" y="27"/>
                      <a:pt x="46" y="29"/>
                      <a:pt x="45" y="31"/>
                    </a:cubicBezTo>
                    <a:cubicBezTo>
                      <a:pt x="43" y="33"/>
                      <a:pt x="42" y="36"/>
                      <a:pt x="40" y="39"/>
                    </a:cubicBezTo>
                    <a:cubicBezTo>
                      <a:pt x="39" y="40"/>
                      <a:pt x="37" y="39"/>
                      <a:pt x="36" y="41"/>
                    </a:cubicBezTo>
                    <a:cubicBezTo>
                      <a:pt x="36" y="42"/>
                      <a:pt x="39" y="44"/>
                      <a:pt x="38" y="46"/>
                    </a:cubicBezTo>
                    <a:cubicBezTo>
                      <a:pt x="37" y="47"/>
                      <a:pt x="35" y="45"/>
                      <a:pt x="34" y="46"/>
                    </a:cubicBezTo>
                    <a:cubicBezTo>
                      <a:pt x="33" y="47"/>
                      <a:pt x="30" y="48"/>
                      <a:pt x="31" y="50"/>
                    </a:cubicBezTo>
                    <a:cubicBezTo>
                      <a:pt x="31" y="51"/>
                      <a:pt x="34" y="50"/>
                      <a:pt x="35" y="49"/>
                    </a:cubicBezTo>
                    <a:cubicBezTo>
                      <a:pt x="36" y="49"/>
                      <a:pt x="38" y="48"/>
                      <a:pt x="39" y="48"/>
                    </a:cubicBezTo>
                    <a:cubicBezTo>
                      <a:pt x="41" y="49"/>
                      <a:pt x="44" y="50"/>
                      <a:pt x="46" y="52"/>
                    </a:cubicBezTo>
                    <a:cubicBezTo>
                      <a:pt x="48" y="54"/>
                      <a:pt x="50" y="56"/>
                      <a:pt x="51" y="59"/>
                    </a:cubicBezTo>
                    <a:cubicBezTo>
                      <a:pt x="52" y="61"/>
                      <a:pt x="51" y="63"/>
                      <a:pt x="52" y="65"/>
                    </a:cubicBezTo>
                    <a:cubicBezTo>
                      <a:pt x="53" y="68"/>
                      <a:pt x="54" y="71"/>
                      <a:pt x="56" y="73"/>
                    </a:cubicBezTo>
                    <a:cubicBezTo>
                      <a:pt x="58" y="76"/>
                      <a:pt x="61" y="76"/>
                      <a:pt x="63" y="79"/>
                    </a:cubicBezTo>
                    <a:cubicBezTo>
                      <a:pt x="66" y="82"/>
                      <a:pt x="67" y="86"/>
                      <a:pt x="69" y="90"/>
                    </a:cubicBezTo>
                    <a:cubicBezTo>
                      <a:pt x="69" y="91"/>
                      <a:pt x="71" y="92"/>
                      <a:pt x="71" y="93"/>
                    </a:cubicBezTo>
                    <a:cubicBezTo>
                      <a:pt x="70" y="94"/>
                      <a:pt x="68" y="91"/>
                      <a:pt x="67" y="92"/>
                    </a:cubicBezTo>
                    <a:cubicBezTo>
                      <a:pt x="66" y="93"/>
                      <a:pt x="68" y="93"/>
                      <a:pt x="69" y="94"/>
                    </a:cubicBezTo>
                    <a:cubicBezTo>
                      <a:pt x="71" y="96"/>
                      <a:pt x="74" y="98"/>
                      <a:pt x="75" y="100"/>
                    </a:cubicBezTo>
                    <a:cubicBezTo>
                      <a:pt x="75" y="102"/>
                      <a:pt x="72" y="103"/>
                      <a:pt x="71" y="105"/>
                    </a:cubicBezTo>
                    <a:cubicBezTo>
                      <a:pt x="71" y="105"/>
                      <a:pt x="71" y="107"/>
                      <a:pt x="72" y="107"/>
                    </a:cubicBezTo>
                    <a:cubicBezTo>
                      <a:pt x="73" y="107"/>
                      <a:pt x="74" y="107"/>
                      <a:pt x="75" y="107"/>
                    </a:cubicBezTo>
                    <a:cubicBezTo>
                      <a:pt x="77" y="106"/>
                      <a:pt x="77" y="104"/>
                      <a:pt x="78" y="104"/>
                    </a:cubicBezTo>
                    <a:cubicBezTo>
                      <a:pt x="82" y="104"/>
                      <a:pt x="86" y="105"/>
                      <a:pt x="89" y="107"/>
                    </a:cubicBezTo>
                    <a:cubicBezTo>
                      <a:pt x="90" y="108"/>
                      <a:pt x="90" y="111"/>
                      <a:pt x="90" y="113"/>
                    </a:cubicBezTo>
                    <a:cubicBezTo>
                      <a:pt x="89" y="115"/>
                      <a:pt x="89" y="118"/>
                      <a:pt x="87" y="120"/>
                    </a:cubicBezTo>
                    <a:cubicBezTo>
                      <a:pt x="86" y="121"/>
                      <a:pt x="84" y="121"/>
                      <a:pt x="83" y="122"/>
                    </a:cubicBezTo>
                    <a:cubicBezTo>
                      <a:pt x="82" y="123"/>
                      <a:pt x="85" y="125"/>
                      <a:pt x="84" y="125"/>
                    </a:cubicBezTo>
                    <a:cubicBezTo>
                      <a:pt x="82" y="126"/>
                      <a:pt x="80" y="124"/>
                      <a:pt x="78" y="125"/>
                    </a:cubicBezTo>
                    <a:cubicBezTo>
                      <a:pt x="77" y="126"/>
                      <a:pt x="81" y="127"/>
                      <a:pt x="80" y="128"/>
                    </a:cubicBezTo>
                    <a:cubicBezTo>
                      <a:pt x="80" y="129"/>
                      <a:pt x="78" y="129"/>
                      <a:pt x="77" y="130"/>
                    </a:cubicBezTo>
                    <a:cubicBezTo>
                      <a:pt x="77" y="130"/>
                      <a:pt x="75" y="130"/>
                      <a:pt x="76" y="13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7" name="Freeform 2778"/>
              <p:cNvSpPr>
                <a:spLocks noChangeAspect="1"/>
              </p:cNvSpPr>
              <p:nvPr/>
            </p:nvSpPr>
            <p:spPr bwMode="auto">
              <a:xfrm>
                <a:off x="4321049" y="2332101"/>
                <a:ext cx="8178" cy="12993"/>
              </a:xfrm>
              <a:custGeom>
                <a:avLst/>
                <a:gdLst>
                  <a:gd name="T0" fmla="*/ 1 w 4"/>
                  <a:gd name="T1" fmla="*/ 7 h 6"/>
                  <a:gd name="T2" fmla="*/ 3 w 4"/>
                  <a:gd name="T3" fmla="*/ 0 h 6"/>
                  <a:gd name="T4" fmla="*/ 4 w 4"/>
                  <a:gd name="T5" fmla="*/ 0 h 6"/>
                  <a:gd name="T6" fmla="*/ 4 w 4"/>
                  <a:gd name="T7" fmla="*/ 7 h 6"/>
                  <a:gd name="T8" fmla="*/ 1 w 4"/>
                  <a:gd name="T9" fmla="*/ 7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3"/>
                      <a:pt x="1" y="2"/>
                      <a:pt x="2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2"/>
                      <a:pt x="4" y="4"/>
                      <a:pt x="3" y="5"/>
                    </a:cubicBezTo>
                    <a:cubicBezTo>
                      <a:pt x="2" y="6"/>
                      <a:pt x="1" y="6"/>
                      <a:pt x="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8" name="Freeform 2779"/>
              <p:cNvSpPr>
                <a:spLocks noChangeAspect="1"/>
              </p:cNvSpPr>
              <p:nvPr/>
            </p:nvSpPr>
            <p:spPr bwMode="auto">
              <a:xfrm>
                <a:off x="4291608" y="2229781"/>
                <a:ext cx="22898" cy="30859"/>
              </a:xfrm>
              <a:custGeom>
                <a:avLst/>
                <a:gdLst>
                  <a:gd name="T0" fmla="*/ 14 w 11"/>
                  <a:gd name="T1" fmla="*/ 1 h 16"/>
                  <a:gd name="T2" fmla="*/ 10 w 11"/>
                  <a:gd name="T3" fmla="*/ 13 h 16"/>
                  <a:gd name="T4" fmla="*/ 1 w 11"/>
                  <a:gd name="T5" fmla="*/ 18 h 16"/>
                  <a:gd name="T6" fmla="*/ 3 w 11"/>
                  <a:gd name="T7" fmla="*/ 13 h 16"/>
                  <a:gd name="T8" fmla="*/ 1 w 11"/>
                  <a:gd name="T9" fmla="*/ 7 h 16"/>
                  <a:gd name="T10" fmla="*/ 5 w 11"/>
                  <a:gd name="T11" fmla="*/ 7 h 16"/>
                  <a:gd name="T12" fmla="*/ 9 w 11"/>
                  <a:gd name="T13" fmla="*/ 2 h 16"/>
                  <a:gd name="T14" fmla="*/ 14 w 11"/>
                  <a:gd name="T15" fmla="*/ 1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6"/>
                  <a:gd name="T26" fmla="*/ 11 w 11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6">
                    <a:moveTo>
                      <a:pt x="11" y="1"/>
                    </a:moveTo>
                    <a:cubicBezTo>
                      <a:pt x="11" y="5"/>
                      <a:pt x="10" y="8"/>
                      <a:pt x="8" y="11"/>
                    </a:cubicBezTo>
                    <a:cubicBezTo>
                      <a:pt x="6" y="10"/>
                      <a:pt x="3" y="13"/>
                      <a:pt x="1" y="15"/>
                    </a:cubicBezTo>
                    <a:cubicBezTo>
                      <a:pt x="0" y="16"/>
                      <a:pt x="2" y="12"/>
                      <a:pt x="2" y="11"/>
                    </a:cubicBezTo>
                    <a:cubicBezTo>
                      <a:pt x="2" y="9"/>
                      <a:pt x="0" y="7"/>
                      <a:pt x="1" y="6"/>
                    </a:cubicBezTo>
                    <a:cubicBezTo>
                      <a:pt x="1" y="5"/>
                      <a:pt x="3" y="7"/>
                      <a:pt x="4" y="6"/>
                    </a:cubicBezTo>
                    <a:cubicBezTo>
                      <a:pt x="6" y="5"/>
                      <a:pt x="6" y="3"/>
                      <a:pt x="7" y="2"/>
                    </a:cubicBezTo>
                    <a:cubicBezTo>
                      <a:pt x="8" y="2"/>
                      <a:pt x="11" y="0"/>
                      <a:pt x="1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69" name="Freeform 2780"/>
              <p:cNvSpPr>
                <a:spLocks noChangeAspect="1"/>
              </p:cNvSpPr>
              <p:nvPr/>
            </p:nvSpPr>
            <p:spPr bwMode="auto">
              <a:xfrm>
                <a:off x="4298151" y="2260639"/>
                <a:ext cx="26169" cy="19490"/>
              </a:xfrm>
              <a:custGeom>
                <a:avLst/>
                <a:gdLst>
                  <a:gd name="T0" fmla="*/ 10 w 13"/>
                  <a:gd name="T1" fmla="*/ 0 h 10"/>
                  <a:gd name="T2" fmla="*/ 11 w 13"/>
                  <a:gd name="T3" fmla="*/ 7 h 10"/>
                  <a:gd name="T4" fmla="*/ 15 w 13"/>
                  <a:gd name="T5" fmla="*/ 10 h 10"/>
                  <a:gd name="T6" fmla="*/ 10 w 13"/>
                  <a:gd name="T7" fmla="*/ 11 h 10"/>
                  <a:gd name="T8" fmla="*/ 5 w 13"/>
                  <a:gd name="T9" fmla="*/ 7 h 10"/>
                  <a:gd name="T10" fmla="*/ 1 w 13"/>
                  <a:gd name="T11" fmla="*/ 4 h 10"/>
                  <a:gd name="T12" fmla="*/ 7 w 13"/>
                  <a:gd name="T13" fmla="*/ 4 h 10"/>
                  <a:gd name="T14" fmla="*/ 10 w 13"/>
                  <a:gd name="T15" fmla="*/ 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10"/>
                  <a:gd name="T26" fmla="*/ 13 w 13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10">
                    <a:moveTo>
                      <a:pt x="8" y="0"/>
                    </a:moveTo>
                    <a:cubicBezTo>
                      <a:pt x="9" y="2"/>
                      <a:pt x="8" y="5"/>
                      <a:pt x="9" y="6"/>
                    </a:cubicBezTo>
                    <a:cubicBezTo>
                      <a:pt x="10" y="7"/>
                      <a:pt x="13" y="7"/>
                      <a:pt x="12" y="8"/>
                    </a:cubicBezTo>
                    <a:cubicBezTo>
                      <a:pt x="12" y="10"/>
                      <a:pt x="9" y="10"/>
                      <a:pt x="8" y="9"/>
                    </a:cubicBezTo>
                    <a:cubicBezTo>
                      <a:pt x="6" y="9"/>
                      <a:pt x="5" y="8"/>
                      <a:pt x="4" y="6"/>
                    </a:cubicBezTo>
                    <a:cubicBezTo>
                      <a:pt x="3" y="5"/>
                      <a:pt x="0" y="4"/>
                      <a:pt x="1" y="3"/>
                    </a:cubicBezTo>
                    <a:cubicBezTo>
                      <a:pt x="2" y="1"/>
                      <a:pt x="5" y="4"/>
                      <a:pt x="6" y="3"/>
                    </a:cubicBezTo>
                    <a:cubicBezTo>
                      <a:pt x="7" y="3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0" name="Freeform 2781"/>
              <p:cNvSpPr>
                <a:spLocks noChangeAspect="1"/>
              </p:cNvSpPr>
              <p:nvPr/>
            </p:nvSpPr>
            <p:spPr bwMode="auto">
              <a:xfrm>
                <a:off x="4304693" y="2322356"/>
                <a:ext cx="13085" cy="12993"/>
              </a:xfrm>
              <a:custGeom>
                <a:avLst/>
                <a:gdLst>
                  <a:gd name="T0" fmla="*/ 0 w 7"/>
                  <a:gd name="T1" fmla="*/ 5 h 6"/>
                  <a:gd name="T2" fmla="*/ 5 w 7"/>
                  <a:gd name="T3" fmla="*/ 0 h 6"/>
                  <a:gd name="T4" fmla="*/ 8 w 7"/>
                  <a:gd name="T5" fmla="*/ 7 h 6"/>
                  <a:gd name="T6" fmla="*/ 6 w 7"/>
                  <a:gd name="T7" fmla="*/ 8 h 6"/>
                  <a:gd name="T8" fmla="*/ 3 w 7"/>
                  <a:gd name="T9" fmla="*/ 7 h 6"/>
                  <a:gd name="T10" fmla="*/ 0 w 7"/>
                  <a:gd name="T11" fmla="*/ 5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6"/>
                  <a:gd name="T20" fmla="*/ 7 w 7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6">
                    <a:moveTo>
                      <a:pt x="0" y="4"/>
                    </a:move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7" y="3"/>
                      <a:pt x="7" y="5"/>
                    </a:cubicBezTo>
                    <a:cubicBezTo>
                      <a:pt x="7" y="5"/>
                      <a:pt x="6" y="6"/>
                      <a:pt x="5" y="6"/>
                    </a:cubicBezTo>
                    <a:cubicBezTo>
                      <a:pt x="4" y="6"/>
                      <a:pt x="4" y="5"/>
                      <a:pt x="3" y="5"/>
                    </a:cubicBezTo>
                    <a:cubicBezTo>
                      <a:pt x="2" y="4"/>
                      <a:pt x="0" y="5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1" name="Freeform 2782"/>
              <p:cNvSpPr>
                <a:spLocks noChangeAspect="1"/>
              </p:cNvSpPr>
              <p:nvPr/>
            </p:nvSpPr>
            <p:spPr bwMode="auto">
              <a:xfrm>
                <a:off x="4378295" y="2202171"/>
                <a:ext cx="21263" cy="17866"/>
              </a:xfrm>
              <a:custGeom>
                <a:avLst/>
                <a:gdLst>
                  <a:gd name="T0" fmla="*/ 1 w 11"/>
                  <a:gd name="T1" fmla="*/ 2 h 9"/>
                  <a:gd name="T2" fmla="*/ 2 w 11"/>
                  <a:gd name="T3" fmla="*/ 9 h 9"/>
                  <a:gd name="T4" fmla="*/ 9 w 11"/>
                  <a:gd name="T5" fmla="*/ 10 h 9"/>
                  <a:gd name="T6" fmla="*/ 6 w 11"/>
                  <a:gd name="T7" fmla="*/ 4 h 9"/>
                  <a:gd name="T8" fmla="*/ 12 w 11"/>
                  <a:gd name="T9" fmla="*/ 4 h 9"/>
                  <a:gd name="T10" fmla="*/ 9 w 11"/>
                  <a:gd name="T11" fmla="*/ 1 h 9"/>
                  <a:gd name="T12" fmla="*/ 5 w 11"/>
                  <a:gd name="T13" fmla="*/ 1 h 9"/>
                  <a:gd name="T14" fmla="*/ 6 w 11"/>
                  <a:gd name="T15" fmla="*/ 4 h 9"/>
                  <a:gd name="T16" fmla="*/ 1 w 11"/>
                  <a:gd name="T17" fmla="*/ 2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9"/>
                  <a:gd name="T29" fmla="*/ 11 w 11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9">
                    <a:moveTo>
                      <a:pt x="1" y="2"/>
                    </a:moveTo>
                    <a:cubicBezTo>
                      <a:pt x="0" y="4"/>
                      <a:pt x="1" y="6"/>
                      <a:pt x="2" y="7"/>
                    </a:cubicBezTo>
                    <a:cubicBezTo>
                      <a:pt x="3" y="8"/>
                      <a:pt x="6" y="9"/>
                      <a:pt x="8" y="8"/>
                    </a:cubicBezTo>
                    <a:cubicBezTo>
                      <a:pt x="9" y="7"/>
                      <a:pt x="5" y="5"/>
                      <a:pt x="5" y="3"/>
                    </a:cubicBezTo>
                    <a:cubicBezTo>
                      <a:pt x="6" y="2"/>
                      <a:pt x="9" y="4"/>
                      <a:pt x="10" y="3"/>
                    </a:cubicBezTo>
                    <a:cubicBezTo>
                      <a:pt x="11" y="2"/>
                      <a:pt x="9" y="1"/>
                      <a:pt x="8" y="1"/>
                    </a:cubicBezTo>
                    <a:cubicBezTo>
                      <a:pt x="6" y="0"/>
                      <a:pt x="5" y="0"/>
                      <a:pt x="4" y="1"/>
                    </a:cubicBezTo>
                    <a:cubicBezTo>
                      <a:pt x="3" y="1"/>
                      <a:pt x="5" y="2"/>
                      <a:pt x="5" y="3"/>
                    </a:cubicBezTo>
                    <a:cubicBezTo>
                      <a:pt x="3" y="3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2" name="Freeform 2783"/>
              <p:cNvSpPr>
                <a:spLocks noChangeAspect="1"/>
              </p:cNvSpPr>
              <p:nvPr/>
            </p:nvSpPr>
            <p:spPr bwMode="auto">
              <a:xfrm>
                <a:off x="4306329" y="2283377"/>
                <a:ext cx="8178" cy="6497"/>
              </a:xfrm>
              <a:custGeom>
                <a:avLst/>
                <a:gdLst>
                  <a:gd name="T0" fmla="*/ 3 w 4"/>
                  <a:gd name="T1" fmla="*/ 0 h 3"/>
                  <a:gd name="T2" fmla="*/ 5 w 4"/>
                  <a:gd name="T3" fmla="*/ 3 h 3"/>
                  <a:gd name="T4" fmla="*/ 3 w 4"/>
                  <a:gd name="T5" fmla="*/ 4 h 3"/>
                  <a:gd name="T6" fmla="*/ 0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3" name="Freeform 2784"/>
              <p:cNvSpPr>
                <a:spLocks noChangeAspect="1"/>
              </p:cNvSpPr>
              <p:nvPr/>
            </p:nvSpPr>
            <p:spPr bwMode="auto">
              <a:xfrm>
                <a:off x="4285066" y="2260639"/>
                <a:ext cx="4907" cy="3248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4" name="Freeform 2785"/>
              <p:cNvSpPr>
                <a:spLocks noChangeAspect="1"/>
              </p:cNvSpPr>
              <p:nvPr/>
            </p:nvSpPr>
            <p:spPr bwMode="auto">
              <a:xfrm>
                <a:off x="4285066" y="2267136"/>
                <a:ext cx="4907" cy="3248"/>
              </a:xfrm>
              <a:custGeom>
                <a:avLst/>
                <a:gdLst>
                  <a:gd name="T0" fmla="*/ 1 w 3"/>
                  <a:gd name="T1" fmla="*/ 0 h 2"/>
                  <a:gd name="T2" fmla="*/ 3 w 3"/>
                  <a:gd name="T3" fmla="*/ 1 h 2"/>
                  <a:gd name="T4" fmla="*/ 2 w 3"/>
                  <a:gd name="T5" fmla="*/ 2 h 2"/>
                  <a:gd name="T6" fmla="*/ 0 w 3"/>
                  <a:gd name="T7" fmla="*/ 1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5" name="Freeform 2786"/>
              <p:cNvSpPr>
                <a:spLocks noChangeAspect="1"/>
              </p:cNvSpPr>
              <p:nvPr/>
            </p:nvSpPr>
            <p:spPr bwMode="auto">
              <a:xfrm>
                <a:off x="4285066" y="2272009"/>
                <a:ext cx="4907" cy="4873"/>
              </a:xfrm>
              <a:custGeom>
                <a:avLst/>
                <a:gdLst>
                  <a:gd name="T0" fmla="*/ 1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2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6" name="Freeform 2787"/>
              <p:cNvSpPr>
                <a:spLocks noChangeAspect="1"/>
              </p:cNvSpPr>
              <p:nvPr/>
            </p:nvSpPr>
            <p:spPr bwMode="auto">
              <a:xfrm>
                <a:off x="4281795" y="2278505"/>
                <a:ext cx="6542" cy="3248"/>
              </a:xfrm>
              <a:custGeom>
                <a:avLst/>
                <a:gdLst>
                  <a:gd name="T0" fmla="*/ 3 w 3"/>
                  <a:gd name="T1" fmla="*/ 1 h 2"/>
                  <a:gd name="T2" fmla="*/ 4 w 3"/>
                  <a:gd name="T3" fmla="*/ 2 h 2"/>
                  <a:gd name="T4" fmla="*/ 3 w 3"/>
                  <a:gd name="T5" fmla="*/ 2 h 2"/>
                  <a:gd name="T6" fmla="*/ 0 w 3"/>
                  <a:gd name="T7" fmla="*/ 1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7" name="Oval 2788"/>
              <p:cNvSpPr>
                <a:spLocks noChangeAspect="1" noChangeArrowheads="1"/>
              </p:cNvSpPr>
              <p:nvPr/>
            </p:nvSpPr>
            <p:spPr bwMode="auto">
              <a:xfrm>
                <a:off x="4281795" y="2286625"/>
                <a:ext cx="4907" cy="1625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8" name="Freeform 2789"/>
              <p:cNvSpPr>
                <a:spLocks noChangeAspect="1"/>
              </p:cNvSpPr>
              <p:nvPr/>
            </p:nvSpPr>
            <p:spPr bwMode="auto">
              <a:xfrm>
                <a:off x="4306329" y="2299618"/>
                <a:ext cx="17992" cy="12993"/>
              </a:xfrm>
              <a:custGeom>
                <a:avLst/>
                <a:gdLst>
                  <a:gd name="T0" fmla="*/ 5 w 9"/>
                  <a:gd name="T1" fmla="*/ 0 h 7"/>
                  <a:gd name="T2" fmla="*/ 11 w 9"/>
                  <a:gd name="T3" fmla="*/ 3 h 7"/>
                  <a:gd name="T4" fmla="*/ 9 w 9"/>
                  <a:gd name="T5" fmla="*/ 7 h 7"/>
                  <a:gd name="T6" fmla="*/ 1 w 9"/>
                  <a:gd name="T7" fmla="*/ 7 h 7"/>
                  <a:gd name="T8" fmla="*/ 5 w 9"/>
                  <a:gd name="T9" fmla="*/ 3 h 7"/>
                  <a:gd name="T10" fmla="*/ 4 w 9"/>
                  <a:gd name="T11" fmla="*/ 0 h 7"/>
                  <a:gd name="T12" fmla="*/ 5 w 9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7"/>
                  <a:gd name="T23" fmla="*/ 9 w 9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7">
                    <a:moveTo>
                      <a:pt x="4" y="0"/>
                    </a:moveTo>
                    <a:cubicBezTo>
                      <a:pt x="6" y="1"/>
                      <a:pt x="8" y="2"/>
                      <a:pt x="9" y="3"/>
                    </a:cubicBezTo>
                    <a:cubicBezTo>
                      <a:pt x="9" y="4"/>
                      <a:pt x="8" y="6"/>
                      <a:pt x="7" y="6"/>
                    </a:cubicBezTo>
                    <a:cubicBezTo>
                      <a:pt x="5" y="7"/>
                      <a:pt x="3" y="7"/>
                      <a:pt x="1" y="6"/>
                    </a:cubicBezTo>
                    <a:cubicBezTo>
                      <a:pt x="0" y="5"/>
                      <a:pt x="4" y="4"/>
                      <a:pt x="4" y="3"/>
                    </a:cubicBezTo>
                    <a:cubicBezTo>
                      <a:pt x="4" y="2"/>
                      <a:pt x="2" y="1"/>
                      <a:pt x="3" y="0"/>
                    </a:cubicBezTo>
                    <a:cubicBezTo>
                      <a:pt x="3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79" name="Freeform 2790"/>
              <p:cNvSpPr>
                <a:spLocks noChangeAspect="1"/>
              </p:cNvSpPr>
              <p:nvPr/>
            </p:nvSpPr>
            <p:spPr bwMode="auto">
              <a:xfrm>
                <a:off x="4294880" y="2296370"/>
                <a:ext cx="11450" cy="12993"/>
              </a:xfrm>
              <a:custGeom>
                <a:avLst/>
                <a:gdLst>
                  <a:gd name="T0" fmla="*/ 7 w 6"/>
                  <a:gd name="T1" fmla="*/ 1 h 7"/>
                  <a:gd name="T2" fmla="*/ 1 w 6"/>
                  <a:gd name="T3" fmla="*/ 8 h 7"/>
                  <a:gd name="T4" fmla="*/ 1 w 6"/>
                  <a:gd name="T5" fmla="*/ 3 h 7"/>
                  <a:gd name="T6" fmla="*/ 7 w 6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7"/>
                  <a:gd name="T14" fmla="*/ 6 w 6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7">
                    <a:moveTo>
                      <a:pt x="6" y="1"/>
                    </a:moveTo>
                    <a:cubicBezTo>
                      <a:pt x="6" y="4"/>
                      <a:pt x="3" y="6"/>
                      <a:pt x="1" y="7"/>
                    </a:cubicBezTo>
                    <a:cubicBezTo>
                      <a:pt x="0" y="7"/>
                      <a:pt x="0" y="4"/>
                      <a:pt x="1" y="3"/>
                    </a:cubicBezTo>
                    <a:cubicBezTo>
                      <a:pt x="2" y="2"/>
                      <a:pt x="6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0" name="Freeform 2791"/>
              <p:cNvSpPr>
                <a:spLocks noChangeAspect="1"/>
              </p:cNvSpPr>
              <p:nvPr/>
            </p:nvSpPr>
            <p:spPr bwMode="auto">
              <a:xfrm>
                <a:off x="4414278" y="2161568"/>
                <a:ext cx="17992" cy="21114"/>
              </a:xfrm>
              <a:custGeom>
                <a:avLst/>
                <a:gdLst>
                  <a:gd name="T0" fmla="*/ 1 w 9"/>
                  <a:gd name="T1" fmla="*/ 1 h 11"/>
                  <a:gd name="T2" fmla="*/ 7 w 9"/>
                  <a:gd name="T3" fmla="*/ 0 h 11"/>
                  <a:gd name="T4" fmla="*/ 11 w 9"/>
                  <a:gd name="T5" fmla="*/ 2 h 11"/>
                  <a:gd name="T6" fmla="*/ 7 w 9"/>
                  <a:gd name="T7" fmla="*/ 13 h 11"/>
                  <a:gd name="T8" fmla="*/ 7 w 9"/>
                  <a:gd name="T9" fmla="*/ 7 h 11"/>
                  <a:gd name="T10" fmla="*/ 2 w 9"/>
                  <a:gd name="T11" fmla="*/ 5 h 11"/>
                  <a:gd name="T12" fmla="*/ 1 w 9"/>
                  <a:gd name="T13" fmla="*/ 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1"/>
                  <a:gd name="T23" fmla="*/ 9 w 9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1">
                    <a:moveTo>
                      <a:pt x="1" y="1"/>
                    </a:moveTo>
                    <a:cubicBezTo>
                      <a:pt x="2" y="0"/>
                      <a:pt x="4" y="0"/>
                      <a:pt x="6" y="0"/>
                    </a:cubicBezTo>
                    <a:cubicBezTo>
                      <a:pt x="7" y="1"/>
                      <a:pt x="9" y="1"/>
                      <a:pt x="9" y="2"/>
                    </a:cubicBezTo>
                    <a:cubicBezTo>
                      <a:pt x="9" y="5"/>
                      <a:pt x="8" y="11"/>
                      <a:pt x="6" y="11"/>
                    </a:cubicBezTo>
                    <a:cubicBezTo>
                      <a:pt x="4" y="10"/>
                      <a:pt x="6" y="6"/>
                      <a:pt x="6" y="6"/>
                    </a:cubicBezTo>
                    <a:cubicBezTo>
                      <a:pt x="5" y="4"/>
                      <a:pt x="3" y="5"/>
                      <a:pt x="2" y="4"/>
                    </a:cubicBezTo>
                    <a:cubicBezTo>
                      <a:pt x="1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1" name="Freeform 2792"/>
              <p:cNvSpPr>
                <a:spLocks noChangeAspect="1"/>
              </p:cNvSpPr>
              <p:nvPr/>
            </p:nvSpPr>
            <p:spPr bwMode="auto">
              <a:xfrm>
                <a:off x="4435540" y="2143702"/>
                <a:ext cx="6542" cy="8121"/>
              </a:xfrm>
              <a:custGeom>
                <a:avLst/>
                <a:gdLst>
                  <a:gd name="T0" fmla="*/ 3 w 3"/>
                  <a:gd name="T1" fmla="*/ 0 h 4"/>
                  <a:gd name="T2" fmla="*/ 4 w 3"/>
                  <a:gd name="T3" fmla="*/ 3 h 4"/>
                  <a:gd name="T4" fmla="*/ 1 w 3"/>
                  <a:gd name="T5" fmla="*/ 5 h 4"/>
                  <a:gd name="T6" fmla="*/ 0 w 3"/>
                  <a:gd name="T7" fmla="*/ 1 h 4"/>
                  <a:gd name="T8" fmla="*/ 3 w 3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1"/>
                      <a:pt x="3" y="2"/>
                    </a:cubicBez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2" name="Freeform 2793"/>
              <p:cNvSpPr>
                <a:spLocks noChangeAspect="1"/>
              </p:cNvSpPr>
              <p:nvPr/>
            </p:nvSpPr>
            <p:spPr bwMode="auto">
              <a:xfrm>
                <a:off x="4427363" y="2146950"/>
                <a:ext cx="6542" cy="9745"/>
              </a:xfrm>
              <a:custGeom>
                <a:avLst/>
                <a:gdLst>
                  <a:gd name="T0" fmla="*/ 3 w 3"/>
                  <a:gd name="T1" fmla="*/ 0 h 5"/>
                  <a:gd name="T2" fmla="*/ 4 w 3"/>
                  <a:gd name="T3" fmla="*/ 4 h 5"/>
                  <a:gd name="T4" fmla="*/ 3 w 3"/>
                  <a:gd name="T5" fmla="*/ 6 h 5"/>
                  <a:gd name="T6" fmla="*/ 0 w 3"/>
                  <a:gd name="T7" fmla="*/ 2 h 5"/>
                  <a:gd name="T8" fmla="*/ 3 w 3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0"/>
                    </a:moveTo>
                    <a:cubicBezTo>
                      <a:pt x="3" y="0"/>
                      <a:pt x="3" y="2"/>
                      <a:pt x="3" y="3"/>
                    </a:cubicBezTo>
                    <a:cubicBezTo>
                      <a:pt x="3" y="3"/>
                      <a:pt x="2" y="5"/>
                      <a:pt x="2" y="5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3" name="Freeform 2794"/>
              <p:cNvSpPr>
                <a:spLocks noChangeAspect="1"/>
              </p:cNvSpPr>
              <p:nvPr/>
            </p:nvSpPr>
            <p:spPr bwMode="auto">
              <a:xfrm>
                <a:off x="4572930" y="2174561"/>
                <a:ext cx="6542" cy="9745"/>
              </a:xfrm>
              <a:custGeom>
                <a:avLst/>
                <a:gdLst>
                  <a:gd name="T0" fmla="*/ 3 w 3"/>
                  <a:gd name="T1" fmla="*/ 1 h 5"/>
                  <a:gd name="T2" fmla="*/ 4 w 3"/>
                  <a:gd name="T3" fmla="*/ 4 h 5"/>
                  <a:gd name="T4" fmla="*/ 3 w 3"/>
                  <a:gd name="T5" fmla="*/ 6 h 5"/>
                  <a:gd name="T6" fmla="*/ 0 w 3"/>
                  <a:gd name="T7" fmla="*/ 2 h 5"/>
                  <a:gd name="T8" fmla="*/ 3 w 3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1"/>
                    </a:moveTo>
                    <a:cubicBezTo>
                      <a:pt x="3" y="1"/>
                      <a:pt x="3" y="2"/>
                      <a:pt x="3" y="3"/>
                    </a:cubicBezTo>
                    <a:cubicBezTo>
                      <a:pt x="3" y="4"/>
                      <a:pt x="3" y="5"/>
                      <a:pt x="2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4" name="Freeform 2795"/>
              <p:cNvSpPr>
                <a:spLocks noChangeAspect="1"/>
              </p:cNvSpPr>
              <p:nvPr/>
            </p:nvSpPr>
            <p:spPr bwMode="auto">
              <a:xfrm>
                <a:off x="4584379" y="2203795"/>
                <a:ext cx="9814" cy="6497"/>
              </a:xfrm>
              <a:custGeom>
                <a:avLst/>
                <a:gdLst>
                  <a:gd name="T0" fmla="*/ 5 w 5"/>
                  <a:gd name="T1" fmla="*/ 3 h 3"/>
                  <a:gd name="T2" fmla="*/ 2 w 5"/>
                  <a:gd name="T3" fmla="*/ 4 h 3"/>
                  <a:gd name="T4" fmla="*/ 0 w 5"/>
                  <a:gd name="T5" fmla="*/ 3 h 3"/>
                  <a:gd name="T6" fmla="*/ 4 w 5"/>
                  <a:gd name="T7" fmla="*/ 0 h 3"/>
                  <a:gd name="T8" fmla="*/ 5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4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5" name="Freeform 2796"/>
              <p:cNvSpPr>
                <a:spLocks noChangeAspect="1"/>
              </p:cNvSpPr>
              <p:nvPr/>
            </p:nvSpPr>
            <p:spPr bwMode="auto">
              <a:xfrm>
                <a:off x="4577837" y="2086858"/>
                <a:ext cx="9814" cy="6497"/>
              </a:xfrm>
              <a:custGeom>
                <a:avLst/>
                <a:gdLst>
                  <a:gd name="T0" fmla="*/ 6 w 5"/>
                  <a:gd name="T1" fmla="*/ 3 h 3"/>
                  <a:gd name="T2" fmla="*/ 4 w 5"/>
                  <a:gd name="T3" fmla="*/ 4 h 3"/>
                  <a:gd name="T4" fmla="*/ 1 w 5"/>
                  <a:gd name="T5" fmla="*/ 1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5" y="2"/>
                      <a:pt x="3" y="3"/>
                      <a:pt x="3" y="3"/>
                    </a:cubicBezTo>
                    <a:cubicBezTo>
                      <a:pt x="2" y="3"/>
                      <a:pt x="0" y="2"/>
                      <a:pt x="1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6" name="Freeform 2797"/>
              <p:cNvSpPr>
                <a:spLocks noChangeAspect="1"/>
              </p:cNvSpPr>
              <p:nvPr/>
            </p:nvSpPr>
            <p:spPr bwMode="auto">
              <a:xfrm>
                <a:off x="4620362" y="2057623"/>
                <a:ext cx="8178" cy="4873"/>
              </a:xfrm>
              <a:custGeom>
                <a:avLst/>
                <a:gdLst>
                  <a:gd name="T0" fmla="*/ 5 w 4"/>
                  <a:gd name="T1" fmla="*/ 2 h 2"/>
                  <a:gd name="T2" fmla="*/ 3 w 4"/>
                  <a:gd name="T3" fmla="*/ 3 h 2"/>
                  <a:gd name="T4" fmla="*/ 0 w 4"/>
                  <a:gd name="T5" fmla="*/ 2 h 2"/>
                  <a:gd name="T6" fmla="*/ 3 w 4"/>
                  <a:gd name="T7" fmla="*/ 0 h 2"/>
                  <a:gd name="T8" fmla="*/ 5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1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7" name="Freeform 2798"/>
              <p:cNvSpPr>
                <a:spLocks noChangeAspect="1"/>
              </p:cNvSpPr>
              <p:nvPr/>
            </p:nvSpPr>
            <p:spPr bwMode="auto">
              <a:xfrm>
                <a:off x="4628540" y="2046254"/>
                <a:ext cx="9814" cy="6497"/>
              </a:xfrm>
              <a:custGeom>
                <a:avLst/>
                <a:gdLst>
                  <a:gd name="T0" fmla="*/ 6 w 5"/>
                  <a:gd name="T1" fmla="*/ 3 h 3"/>
                  <a:gd name="T2" fmla="*/ 2 w 5"/>
                  <a:gd name="T3" fmla="*/ 4 h 3"/>
                  <a:gd name="T4" fmla="*/ 0 w 5"/>
                  <a:gd name="T5" fmla="*/ 1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8" name="Freeform 2799"/>
              <p:cNvSpPr>
                <a:spLocks noChangeAspect="1"/>
              </p:cNvSpPr>
              <p:nvPr/>
            </p:nvSpPr>
            <p:spPr bwMode="auto">
              <a:xfrm>
                <a:off x="4710319" y="1956927"/>
                <a:ext cx="9814" cy="4873"/>
              </a:xfrm>
              <a:custGeom>
                <a:avLst/>
                <a:gdLst>
                  <a:gd name="T0" fmla="*/ 6 w 5"/>
                  <a:gd name="T1" fmla="*/ 2 h 3"/>
                  <a:gd name="T2" fmla="*/ 4 w 5"/>
                  <a:gd name="T3" fmla="*/ 3 h 3"/>
                  <a:gd name="T4" fmla="*/ 1 w 5"/>
                  <a:gd name="T5" fmla="*/ 2 h 3"/>
                  <a:gd name="T6" fmla="*/ 4 w 5"/>
                  <a:gd name="T7" fmla="*/ 0 h 3"/>
                  <a:gd name="T8" fmla="*/ 6 w 5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5" y="3"/>
                      <a:pt x="3" y="3"/>
                      <a:pt x="3" y="3"/>
                    </a:cubicBezTo>
                    <a:cubicBezTo>
                      <a:pt x="2" y="3"/>
                      <a:pt x="0" y="3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89" name="Freeform 2800"/>
              <p:cNvSpPr>
                <a:spLocks noChangeAspect="1"/>
              </p:cNvSpPr>
              <p:nvPr/>
            </p:nvSpPr>
            <p:spPr bwMode="auto">
              <a:xfrm>
                <a:off x="4788827" y="1854606"/>
                <a:ext cx="9814" cy="6497"/>
              </a:xfrm>
              <a:custGeom>
                <a:avLst/>
                <a:gdLst>
                  <a:gd name="T0" fmla="*/ 6 w 5"/>
                  <a:gd name="T1" fmla="*/ 3 h 3"/>
                  <a:gd name="T2" fmla="*/ 2 w 5"/>
                  <a:gd name="T3" fmla="*/ 4 h 3"/>
                  <a:gd name="T4" fmla="*/ 0 w 5"/>
                  <a:gd name="T5" fmla="*/ 3 h 3"/>
                  <a:gd name="T6" fmla="*/ 4 w 5"/>
                  <a:gd name="T7" fmla="*/ 0 h 3"/>
                  <a:gd name="T8" fmla="*/ 6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5" y="2"/>
                    </a:moveTo>
                    <a:cubicBezTo>
                      <a:pt x="4" y="3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0" name="Freeform 2801"/>
              <p:cNvSpPr>
                <a:spLocks noChangeAspect="1"/>
              </p:cNvSpPr>
              <p:nvPr/>
            </p:nvSpPr>
            <p:spPr bwMode="auto">
              <a:xfrm>
                <a:off x="4857522" y="1773400"/>
                <a:ext cx="8178" cy="6497"/>
              </a:xfrm>
              <a:custGeom>
                <a:avLst/>
                <a:gdLst>
                  <a:gd name="T0" fmla="*/ 5 w 4"/>
                  <a:gd name="T1" fmla="*/ 3 h 3"/>
                  <a:gd name="T2" fmla="*/ 3 w 4"/>
                  <a:gd name="T3" fmla="*/ 4 h 3"/>
                  <a:gd name="T4" fmla="*/ 0 w 4"/>
                  <a:gd name="T5" fmla="*/ 3 h 3"/>
                  <a:gd name="T6" fmla="*/ 4 w 4"/>
                  <a:gd name="T7" fmla="*/ 0 h 3"/>
                  <a:gd name="T8" fmla="*/ 5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2"/>
                    </a:moveTo>
                    <a:cubicBezTo>
                      <a:pt x="4" y="2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1" name="Freeform 2802"/>
              <p:cNvSpPr>
                <a:spLocks noChangeAspect="1"/>
              </p:cNvSpPr>
              <p:nvPr/>
            </p:nvSpPr>
            <p:spPr bwMode="auto">
              <a:xfrm>
                <a:off x="4865700" y="1766903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2" name="Freeform 2803"/>
              <p:cNvSpPr>
                <a:spLocks noChangeAspect="1"/>
              </p:cNvSpPr>
              <p:nvPr/>
            </p:nvSpPr>
            <p:spPr bwMode="auto">
              <a:xfrm>
                <a:off x="4882056" y="1781521"/>
                <a:ext cx="4907" cy="4873"/>
              </a:xfrm>
              <a:custGeom>
                <a:avLst/>
                <a:gdLst>
                  <a:gd name="T0" fmla="*/ 3 w 3"/>
                  <a:gd name="T1" fmla="*/ 0 h 3"/>
                  <a:gd name="T2" fmla="*/ 2 w 3"/>
                  <a:gd name="T3" fmla="*/ 2 h 3"/>
                  <a:gd name="T4" fmla="*/ 0 w 3"/>
                  <a:gd name="T5" fmla="*/ 3 h 3"/>
                  <a:gd name="T6" fmla="*/ 1 w 3"/>
                  <a:gd name="T7" fmla="*/ 0 h 3"/>
                  <a:gd name="T8" fmla="*/ 3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1"/>
                      <a:pt x="2" y="2"/>
                      <a:pt x="2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3" name="Freeform 2804"/>
              <p:cNvSpPr>
                <a:spLocks noChangeAspect="1"/>
              </p:cNvSpPr>
              <p:nvPr/>
            </p:nvSpPr>
            <p:spPr bwMode="auto">
              <a:xfrm>
                <a:off x="4898412" y="1766903"/>
                <a:ext cx="6542" cy="6497"/>
              </a:xfrm>
              <a:custGeom>
                <a:avLst/>
                <a:gdLst>
                  <a:gd name="T0" fmla="*/ 4 w 3"/>
                  <a:gd name="T1" fmla="*/ 0 h 3"/>
                  <a:gd name="T2" fmla="*/ 3 w 3"/>
                  <a:gd name="T3" fmla="*/ 3 h 3"/>
                  <a:gd name="T4" fmla="*/ 0 w 3"/>
                  <a:gd name="T5" fmla="*/ 4 h 3"/>
                  <a:gd name="T6" fmla="*/ 1 w 3"/>
                  <a:gd name="T7" fmla="*/ 0 h 3"/>
                  <a:gd name="T8" fmla="*/ 4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0"/>
                    </a:moveTo>
                    <a:cubicBezTo>
                      <a:pt x="3" y="1"/>
                      <a:pt x="2" y="2"/>
                      <a:pt x="2" y="2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4" name="Freeform 2805"/>
              <p:cNvSpPr>
                <a:spLocks noChangeAspect="1"/>
              </p:cNvSpPr>
              <p:nvPr/>
            </p:nvSpPr>
            <p:spPr bwMode="auto">
              <a:xfrm>
                <a:off x="4940937" y="1763655"/>
                <a:ext cx="6542" cy="3248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1 h 2"/>
                  <a:gd name="T6" fmla="*/ 3 w 4"/>
                  <a:gd name="T7" fmla="*/ 0 h 2"/>
                  <a:gd name="T8" fmla="*/ 4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2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5" name="Freeform 2806"/>
              <p:cNvSpPr>
                <a:spLocks noChangeAspect="1"/>
              </p:cNvSpPr>
              <p:nvPr/>
            </p:nvSpPr>
            <p:spPr bwMode="auto">
              <a:xfrm>
                <a:off x="4970378" y="1736045"/>
                <a:ext cx="6542" cy="4873"/>
              </a:xfrm>
              <a:custGeom>
                <a:avLst/>
                <a:gdLst>
                  <a:gd name="T0" fmla="*/ 4 w 4"/>
                  <a:gd name="T1" fmla="*/ 3 h 2"/>
                  <a:gd name="T2" fmla="*/ 2 w 4"/>
                  <a:gd name="T3" fmla="*/ 3 h 2"/>
                  <a:gd name="T4" fmla="*/ 0 w 4"/>
                  <a:gd name="T5" fmla="*/ 2 h 2"/>
                  <a:gd name="T6" fmla="*/ 3 w 4"/>
                  <a:gd name="T7" fmla="*/ 0 h 2"/>
                  <a:gd name="T8" fmla="*/ 4 w 4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2"/>
                    </a:moveTo>
                    <a:cubicBezTo>
                      <a:pt x="4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6" name="Freeform 2807"/>
              <p:cNvSpPr>
                <a:spLocks noChangeAspect="1"/>
              </p:cNvSpPr>
              <p:nvPr/>
            </p:nvSpPr>
            <p:spPr bwMode="auto">
              <a:xfrm>
                <a:off x="4975284" y="1744166"/>
                <a:ext cx="8178" cy="3248"/>
              </a:xfrm>
              <a:custGeom>
                <a:avLst/>
                <a:gdLst>
                  <a:gd name="T0" fmla="*/ 5 w 4"/>
                  <a:gd name="T1" fmla="*/ 1 h 2"/>
                  <a:gd name="T2" fmla="*/ 3 w 4"/>
                  <a:gd name="T3" fmla="*/ 2 h 2"/>
                  <a:gd name="T4" fmla="*/ 0 w 4"/>
                  <a:gd name="T5" fmla="*/ 1 h 2"/>
                  <a:gd name="T6" fmla="*/ 4 w 4"/>
                  <a:gd name="T7" fmla="*/ 0 h 2"/>
                  <a:gd name="T8" fmla="*/ 5 w 4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1"/>
                    </a:moveTo>
                    <a:cubicBezTo>
                      <a:pt x="4" y="2"/>
                      <a:pt x="2" y="2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7" name="Freeform 2808"/>
              <p:cNvSpPr>
                <a:spLocks noChangeAspect="1"/>
              </p:cNvSpPr>
              <p:nvPr/>
            </p:nvSpPr>
            <p:spPr bwMode="auto">
              <a:xfrm>
                <a:off x="5001454" y="1731173"/>
                <a:ext cx="11450" cy="6497"/>
              </a:xfrm>
              <a:custGeom>
                <a:avLst/>
                <a:gdLst>
                  <a:gd name="T0" fmla="*/ 7 w 6"/>
                  <a:gd name="T1" fmla="*/ 3 h 4"/>
                  <a:gd name="T2" fmla="*/ 4 w 6"/>
                  <a:gd name="T3" fmla="*/ 4 h 4"/>
                  <a:gd name="T4" fmla="*/ 1 w 6"/>
                  <a:gd name="T5" fmla="*/ 2 h 4"/>
                  <a:gd name="T6" fmla="*/ 5 w 6"/>
                  <a:gd name="T7" fmla="*/ 0 h 4"/>
                  <a:gd name="T8" fmla="*/ 7 w 6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4"/>
                  <a:gd name="T17" fmla="*/ 6 w 6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4">
                    <a:moveTo>
                      <a:pt x="6" y="3"/>
                    </a:moveTo>
                    <a:cubicBezTo>
                      <a:pt x="6" y="4"/>
                      <a:pt x="4" y="4"/>
                      <a:pt x="3" y="4"/>
                    </a:cubicBezTo>
                    <a:cubicBezTo>
                      <a:pt x="2" y="3"/>
                      <a:pt x="0" y="3"/>
                      <a:pt x="1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5" y="1"/>
                      <a:pt x="6" y="2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8" name="Freeform 2809"/>
              <p:cNvSpPr>
                <a:spLocks noChangeAspect="1"/>
              </p:cNvSpPr>
              <p:nvPr/>
            </p:nvSpPr>
            <p:spPr bwMode="auto">
              <a:xfrm>
                <a:off x="4721769" y="1961799"/>
                <a:ext cx="9814" cy="16241"/>
              </a:xfrm>
              <a:custGeom>
                <a:avLst/>
                <a:gdLst>
                  <a:gd name="T0" fmla="*/ 6 w 5"/>
                  <a:gd name="T1" fmla="*/ 1 h 8"/>
                  <a:gd name="T2" fmla="*/ 5 w 5"/>
                  <a:gd name="T3" fmla="*/ 7 h 8"/>
                  <a:gd name="T4" fmla="*/ 1 w 5"/>
                  <a:gd name="T5" fmla="*/ 9 h 8"/>
                  <a:gd name="T6" fmla="*/ 1 w 5"/>
                  <a:gd name="T7" fmla="*/ 3 h 8"/>
                  <a:gd name="T8" fmla="*/ 6 w 5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5" y="1"/>
                    </a:moveTo>
                    <a:cubicBezTo>
                      <a:pt x="5" y="2"/>
                      <a:pt x="5" y="4"/>
                      <a:pt x="4" y="6"/>
                    </a:cubicBezTo>
                    <a:cubicBezTo>
                      <a:pt x="3" y="7"/>
                      <a:pt x="1" y="8"/>
                      <a:pt x="1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2" y="0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499" name="Freeform 2810"/>
              <p:cNvSpPr>
                <a:spLocks noChangeAspect="1"/>
              </p:cNvSpPr>
              <p:nvPr/>
            </p:nvSpPr>
            <p:spPr bwMode="auto">
              <a:xfrm>
                <a:off x="4299787" y="2106347"/>
                <a:ext cx="8178" cy="6497"/>
              </a:xfrm>
              <a:custGeom>
                <a:avLst/>
                <a:gdLst>
                  <a:gd name="T0" fmla="*/ 0 w 4"/>
                  <a:gd name="T1" fmla="*/ 0 h 3"/>
                  <a:gd name="T2" fmla="*/ 4 w 4"/>
                  <a:gd name="T3" fmla="*/ 1 h 3"/>
                  <a:gd name="T4" fmla="*/ 4 w 4"/>
                  <a:gd name="T5" fmla="*/ 3 h 3"/>
                  <a:gd name="T6" fmla="*/ 0 w 4"/>
                  <a:gd name="T7" fmla="*/ 3 h 3"/>
                  <a:gd name="T8" fmla="*/ 0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0" y="0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3" y="1"/>
                      <a:pt x="4" y="2"/>
                      <a:pt x="3" y="2"/>
                    </a:cubicBezTo>
                    <a:cubicBezTo>
                      <a:pt x="3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0" name="Freeform 2811"/>
              <p:cNvSpPr>
                <a:spLocks noChangeAspect="1"/>
              </p:cNvSpPr>
              <p:nvPr/>
            </p:nvSpPr>
            <p:spPr bwMode="auto">
              <a:xfrm>
                <a:off x="4298151" y="2114467"/>
                <a:ext cx="8178" cy="8121"/>
              </a:xfrm>
              <a:custGeom>
                <a:avLst/>
                <a:gdLst>
                  <a:gd name="T0" fmla="*/ 1 w 4"/>
                  <a:gd name="T1" fmla="*/ 1 h 4"/>
                  <a:gd name="T2" fmla="*/ 4 w 4"/>
                  <a:gd name="T3" fmla="*/ 3 h 4"/>
                  <a:gd name="T4" fmla="*/ 4 w 4"/>
                  <a:gd name="T5" fmla="*/ 5 h 4"/>
                  <a:gd name="T6" fmla="*/ 1 w 4"/>
                  <a:gd name="T7" fmla="*/ 3 h 4"/>
                  <a:gd name="T8" fmla="*/ 1 w 4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2" y="4"/>
                      <a:pt x="1" y="3"/>
                      <a:pt x="1" y="2"/>
                    </a:cubicBezTo>
                    <a:cubicBezTo>
                      <a:pt x="0" y="1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1" name="Freeform 2812"/>
              <p:cNvSpPr>
                <a:spLocks noChangeAspect="1"/>
              </p:cNvSpPr>
              <p:nvPr/>
            </p:nvSpPr>
            <p:spPr bwMode="auto">
              <a:xfrm>
                <a:off x="4306329" y="2086858"/>
                <a:ext cx="8178" cy="6497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1 h 3"/>
                  <a:gd name="T4" fmla="*/ 4 w 4"/>
                  <a:gd name="T5" fmla="*/ 4 h 3"/>
                  <a:gd name="T6" fmla="*/ 1 w 4"/>
                  <a:gd name="T7" fmla="*/ 1 h 3"/>
                  <a:gd name="T8" fmla="*/ 1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4" y="3"/>
                      <a:pt x="3" y="3"/>
                    </a:cubicBezTo>
                    <a:cubicBezTo>
                      <a:pt x="2" y="3"/>
                      <a:pt x="1" y="2"/>
                      <a:pt x="1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2" name="Freeform 2813"/>
              <p:cNvSpPr>
                <a:spLocks noChangeAspect="1"/>
              </p:cNvSpPr>
              <p:nvPr/>
            </p:nvSpPr>
            <p:spPr bwMode="auto">
              <a:xfrm>
                <a:off x="4288337" y="2093354"/>
                <a:ext cx="8178" cy="4873"/>
              </a:xfrm>
              <a:custGeom>
                <a:avLst/>
                <a:gdLst>
                  <a:gd name="T0" fmla="*/ 1 w 4"/>
                  <a:gd name="T1" fmla="*/ 0 h 3"/>
                  <a:gd name="T2" fmla="*/ 4 w 4"/>
                  <a:gd name="T3" fmla="*/ 1 h 3"/>
                  <a:gd name="T4" fmla="*/ 4 w 4"/>
                  <a:gd name="T5" fmla="*/ 3 h 3"/>
                  <a:gd name="T6" fmla="*/ 0 w 4"/>
                  <a:gd name="T7" fmla="*/ 2 h 3"/>
                  <a:gd name="T8" fmla="*/ 1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0"/>
                    </a:moveTo>
                    <a:cubicBezTo>
                      <a:pt x="1" y="0"/>
                      <a:pt x="2" y="1"/>
                      <a:pt x="3" y="1"/>
                    </a:cubicBezTo>
                    <a:cubicBezTo>
                      <a:pt x="3" y="2"/>
                      <a:pt x="4" y="2"/>
                      <a:pt x="3" y="3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3" name="Freeform 2814"/>
              <p:cNvSpPr>
                <a:spLocks noChangeAspect="1"/>
              </p:cNvSpPr>
              <p:nvPr/>
            </p:nvSpPr>
            <p:spPr bwMode="auto">
              <a:xfrm>
                <a:off x="4419184" y="2151823"/>
                <a:ext cx="6542" cy="9745"/>
              </a:xfrm>
              <a:custGeom>
                <a:avLst/>
                <a:gdLst>
                  <a:gd name="T0" fmla="*/ 3 w 3"/>
                  <a:gd name="T1" fmla="*/ 1 h 5"/>
                  <a:gd name="T2" fmla="*/ 4 w 3"/>
                  <a:gd name="T3" fmla="*/ 4 h 5"/>
                  <a:gd name="T4" fmla="*/ 1 w 3"/>
                  <a:gd name="T5" fmla="*/ 6 h 5"/>
                  <a:gd name="T6" fmla="*/ 0 w 3"/>
                  <a:gd name="T7" fmla="*/ 2 h 5"/>
                  <a:gd name="T8" fmla="*/ 3 w 3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1"/>
                    </a:moveTo>
                    <a:cubicBezTo>
                      <a:pt x="2" y="1"/>
                      <a:pt x="3" y="2"/>
                      <a:pt x="3" y="3"/>
                    </a:cubicBezTo>
                    <a:cubicBezTo>
                      <a:pt x="3" y="4"/>
                      <a:pt x="2" y="5"/>
                      <a:pt x="1" y="5"/>
                    </a:cubicBezTo>
                    <a:cubicBezTo>
                      <a:pt x="1" y="5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4" name="Freeform 2815"/>
              <p:cNvSpPr>
                <a:spLocks noChangeAspect="1"/>
              </p:cNvSpPr>
              <p:nvPr/>
            </p:nvSpPr>
            <p:spPr bwMode="auto">
              <a:xfrm>
                <a:off x="4291608" y="2088481"/>
                <a:ext cx="14721" cy="14618"/>
              </a:xfrm>
              <a:custGeom>
                <a:avLst/>
                <a:gdLst>
                  <a:gd name="T0" fmla="*/ 0 w 7"/>
                  <a:gd name="T1" fmla="*/ 1 h 7"/>
                  <a:gd name="T2" fmla="*/ 6 w 7"/>
                  <a:gd name="T3" fmla="*/ 5 h 7"/>
                  <a:gd name="T4" fmla="*/ 8 w 7"/>
                  <a:gd name="T5" fmla="*/ 9 h 7"/>
                  <a:gd name="T6" fmla="*/ 4 w 7"/>
                  <a:gd name="T7" fmla="*/ 6 h 7"/>
                  <a:gd name="T8" fmla="*/ 0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0" y="1"/>
                    </a:moveTo>
                    <a:cubicBezTo>
                      <a:pt x="2" y="0"/>
                      <a:pt x="3" y="2"/>
                      <a:pt x="5" y="4"/>
                    </a:cubicBezTo>
                    <a:cubicBezTo>
                      <a:pt x="5" y="5"/>
                      <a:pt x="7" y="6"/>
                      <a:pt x="6" y="7"/>
                    </a:cubicBezTo>
                    <a:cubicBezTo>
                      <a:pt x="5" y="7"/>
                      <a:pt x="4" y="6"/>
                      <a:pt x="3" y="5"/>
                    </a:cubicBezTo>
                    <a:cubicBezTo>
                      <a:pt x="2" y="4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5" name="Freeform 2816"/>
              <p:cNvSpPr>
                <a:spLocks noChangeAspect="1"/>
              </p:cNvSpPr>
              <p:nvPr/>
            </p:nvSpPr>
            <p:spPr bwMode="auto">
              <a:xfrm>
                <a:off x="4628540" y="2055999"/>
                <a:ext cx="13085" cy="12993"/>
              </a:xfrm>
              <a:custGeom>
                <a:avLst/>
                <a:gdLst>
                  <a:gd name="T0" fmla="*/ 1 w 7"/>
                  <a:gd name="T1" fmla="*/ 1 h 7"/>
                  <a:gd name="T2" fmla="*/ 6 w 7"/>
                  <a:gd name="T3" fmla="*/ 5 h 7"/>
                  <a:gd name="T4" fmla="*/ 8 w 7"/>
                  <a:gd name="T5" fmla="*/ 8 h 7"/>
                  <a:gd name="T6" fmla="*/ 3 w 7"/>
                  <a:gd name="T7" fmla="*/ 5 h 7"/>
                  <a:gd name="T8" fmla="*/ 1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1" y="1"/>
                    </a:moveTo>
                    <a:cubicBezTo>
                      <a:pt x="3" y="0"/>
                      <a:pt x="4" y="2"/>
                      <a:pt x="5" y="4"/>
                    </a:cubicBezTo>
                    <a:cubicBezTo>
                      <a:pt x="6" y="5"/>
                      <a:pt x="7" y="6"/>
                      <a:pt x="7" y="7"/>
                    </a:cubicBezTo>
                    <a:cubicBezTo>
                      <a:pt x="5" y="7"/>
                      <a:pt x="4" y="5"/>
                      <a:pt x="3" y="4"/>
                    </a:cubicBezTo>
                    <a:cubicBezTo>
                      <a:pt x="2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6" name="Freeform 2817"/>
              <p:cNvSpPr>
                <a:spLocks noChangeAspect="1"/>
              </p:cNvSpPr>
              <p:nvPr/>
            </p:nvSpPr>
            <p:spPr bwMode="auto">
              <a:xfrm>
                <a:off x="4641624" y="2028389"/>
                <a:ext cx="11450" cy="6497"/>
              </a:xfrm>
              <a:custGeom>
                <a:avLst/>
                <a:gdLst>
                  <a:gd name="T0" fmla="*/ 0 w 6"/>
                  <a:gd name="T1" fmla="*/ 3 h 3"/>
                  <a:gd name="T2" fmla="*/ 4 w 6"/>
                  <a:gd name="T3" fmla="*/ 0 h 3"/>
                  <a:gd name="T4" fmla="*/ 7 w 6"/>
                  <a:gd name="T5" fmla="*/ 1 h 3"/>
                  <a:gd name="T6" fmla="*/ 4 w 6"/>
                  <a:gd name="T7" fmla="*/ 3 h 3"/>
                  <a:gd name="T8" fmla="*/ 0 w 6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2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6" y="0"/>
                      <a:pt x="6" y="1"/>
                    </a:cubicBezTo>
                    <a:cubicBezTo>
                      <a:pt x="5" y="2"/>
                      <a:pt x="4" y="2"/>
                      <a:pt x="3" y="2"/>
                    </a:cubicBezTo>
                    <a:cubicBezTo>
                      <a:pt x="2" y="3"/>
                      <a:pt x="0" y="3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7" name="Freeform 2818"/>
              <p:cNvSpPr>
                <a:spLocks noChangeAspect="1"/>
              </p:cNvSpPr>
              <p:nvPr/>
            </p:nvSpPr>
            <p:spPr bwMode="auto">
              <a:xfrm>
                <a:off x="4728311" y="1937438"/>
                <a:ext cx="8178" cy="11369"/>
              </a:xfrm>
              <a:custGeom>
                <a:avLst/>
                <a:gdLst>
                  <a:gd name="T0" fmla="*/ 1 w 4"/>
                  <a:gd name="T1" fmla="*/ 6 h 6"/>
                  <a:gd name="T2" fmla="*/ 3 w 4"/>
                  <a:gd name="T3" fmla="*/ 2 h 6"/>
                  <a:gd name="T4" fmla="*/ 5 w 4"/>
                  <a:gd name="T5" fmla="*/ 1 h 6"/>
                  <a:gd name="T6" fmla="*/ 4 w 4"/>
                  <a:gd name="T7" fmla="*/ 5 h 6"/>
                  <a:gd name="T8" fmla="*/ 1 w 4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1" y="5"/>
                    </a:moveTo>
                    <a:cubicBezTo>
                      <a:pt x="0" y="4"/>
                      <a:pt x="1" y="3"/>
                      <a:pt x="2" y="2"/>
                    </a:cubicBezTo>
                    <a:cubicBezTo>
                      <a:pt x="2" y="1"/>
                      <a:pt x="3" y="0"/>
                      <a:pt x="4" y="1"/>
                    </a:cubicBezTo>
                    <a:cubicBezTo>
                      <a:pt x="4" y="2"/>
                      <a:pt x="3" y="3"/>
                      <a:pt x="3" y="4"/>
                    </a:cubicBezTo>
                    <a:cubicBezTo>
                      <a:pt x="2" y="4"/>
                      <a:pt x="1" y="6"/>
                      <a:pt x="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8" name="Freeform 2819"/>
              <p:cNvSpPr>
                <a:spLocks noChangeAspect="1"/>
              </p:cNvSpPr>
              <p:nvPr/>
            </p:nvSpPr>
            <p:spPr bwMode="auto">
              <a:xfrm>
                <a:off x="4877149" y="1770152"/>
                <a:ext cx="11450" cy="9745"/>
              </a:xfrm>
              <a:custGeom>
                <a:avLst/>
                <a:gdLst>
                  <a:gd name="T0" fmla="*/ 1 w 6"/>
                  <a:gd name="T1" fmla="*/ 1 h 5"/>
                  <a:gd name="T2" fmla="*/ 5 w 6"/>
                  <a:gd name="T3" fmla="*/ 2 h 5"/>
                  <a:gd name="T4" fmla="*/ 6 w 6"/>
                  <a:gd name="T5" fmla="*/ 6 h 5"/>
                  <a:gd name="T6" fmla="*/ 2 w 6"/>
                  <a:gd name="T7" fmla="*/ 4 h 5"/>
                  <a:gd name="T8" fmla="*/ 1 w 6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1" y="1"/>
                    </a:moveTo>
                    <a:cubicBezTo>
                      <a:pt x="2" y="0"/>
                      <a:pt x="3" y="1"/>
                      <a:pt x="4" y="2"/>
                    </a:cubicBezTo>
                    <a:cubicBezTo>
                      <a:pt x="5" y="3"/>
                      <a:pt x="6" y="4"/>
                      <a:pt x="5" y="5"/>
                    </a:cubicBezTo>
                    <a:cubicBezTo>
                      <a:pt x="4" y="5"/>
                      <a:pt x="3" y="4"/>
                      <a:pt x="2" y="3"/>
                    </a:cubicBezTo>
                    <a:cubicBezTo>
                      <a:pt x="2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09" name="Freeform 2820"/>
              <p:cNvSpPr>
                <a:spLocks noChangeAspect="1"/>
              </p:cNvSpPr>
              <p:nvPr/>
            </p:nvSpPr>
            <p:spPr bwMode="auto">
              <a:xfrm>
                <a:off x="4639989" y="2034886"/>
                <a:ext cx="11450" cy="9745"/>
              </a:xfrm>
              <a:custGeom>
                <a:avLst/>
                <a:gdLst>
                  <a:gd name="T0" fmla="*/ 1 w 6"/>
                  <a:gd name="T1" fmla="*/ 5 h 5"/>
                  <a:gd name="T2" fmla="*/ 4 w 6"/>
                  <a:gd name="T3" fmla="*/ 1 h 5"/>
                  <a:gd name="T4" fmla="*/ 7 w 6"/>
                  <a:gd name="T5" fmla="*/ 1 h 5"/>
                  <a:gd name="T6" fmla="*/ 5 w 6"/>
                  <a:gd name="T7" fmla="*/ 5 h 5"/>
                  <a:gd name="T8" fmla="*/ 1 w 6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1" y="4"/>
                    </a:moveTo>
                    <a:cubicBezTo>
                      <a:pt x="0" y="3"/>
                      <a:pt x="2" y="2"/>
                      <a:pt x="3" y="1"/>
                    </a:cubicBezTo>
                    <a:cubicBezTo>
                      <a:pt x="4" y="1"/>
                      <a:pt x="6" y="0"/>
                      <a:pt x="6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4"/>
                      <a:pt x="1" y="5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0" name="Freeform 2821"/>
              <p:cNvSpPr>
                <a:spLocks noChangeAspect="1"/>
              </p:cNvSpPr>
              <p:nvPr/>
            </p:nvSpPr>
            <p:spPr bwMode="auto">
              <a:xfrm>
                <a:off x="4298151" y="2088481"/>
                <a:ext cx="9814" cy="9745"/>
              </a:xfrm>
              <a:custGeom>
                <a:avLst/>
                <a:gdLst>
                  <a:gd name="T0" fmla="*/ 0 w 5"/>
                  <a:gd name="T1" fmla="*/ 0 h 5"/>
                  <a:gd name="T2" fmla="*/ 5 w 5"/>
                  <a:gd name="T3" fmla="*/ 2 h 5"/>
                  <a:gd name="T4" fmla="*/ 6 w 5"/>
                  <a:gd name="T5" fmla="*/ 6 h 5"/>
                  <a:gd name="T6" fmla="*/ 4 w 5"/>
                  <a:gd name="T7" fmla="*/ 4 h 5"/>
                  <a:gd name="T8" fmla="*/ 0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0"/>
                    </a:moveTo>
                    <a:cubicBezTo>
                      <a:pt x="1" y="0"/>
                      <a:pt x="3" y="2"/>
                      <a:pt x="4" y="2"/>
                    </a:cubicBezTo>
                    <a:cubicBezTo>
                      <a:pt x="5" y="3"/>
                      <a:pt x="5" y="4"/>
                      <a:pt x="5" y="5"/>
                    </a:cubicBezTo>
                    <a:cubicBezTo>
                      <a:pt x="4" y="5"/>
                      <a:pt x="4" y="4"/>
                      <a:pt x="3" y="3"/>
                    </a:cubicBezTo>
                    <a:cubicBezTo>
                      <a:pt x="2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1" name="Freeform 2822"/>
              <p:cNvSpPr>
                <a:spLocks noChangeAspect="1"/>
              </p:cNvSpPr>
              <p:nvPr/>
            </p:nvSpPr>
            <p:spPr bwMode="auto">
              <a:xfrm>
                <a:off x="4829717" y="2272009"/>
                <a:ext cx="17992" cy="47100"/>
              </a:xfrm>
              <a:custGeom>
                <a:avLst/>
                <a:gdLst>
                  <a:gd name="T0" fmla="*/ 11 w 9"/>
                  <a:gd name="T1" fmla="*/ 1 h 24"/>
                  <a:gd name="T2" fmla="*/ 6 w 9"/>
                  <a:gd name="T3" fmla="*/ 19 h 24"/>
                  <a:gd name="T4" fmla="*/ 1 w 9"/>
                  <a:gd name="T5" fmla="*/ 28 h 24"/>
                  <a:gd name="T6" fmla="*/ 1 w 9"/>
                  <a:gd name="T7" fmla="*/ 23 h 24"/>
                  <a:gd name="T8" fmla="*/ 6 w 9"/>
                  <a:gd name="T9" fmla="*/ 6 h 24"/>
                  <a:gd name="T10" fmla="*/ 9 w 9"/>
                  <a:gd name="T11" fmla="*/ 1 h 24"/>
                  <a:gd name="T12" fmla="*/ 11 w 9"/>
                  <a:gd name="T13" fmla="*/ 1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24"/>
                  <a:gd name="T23" fmla="*/ 9 w 9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24">
                    <a:moveTo>
                      <a:pt x="9" y="1"/>
                    </a:moveTo>
                    <a:cubicBezTo>
                      <a:pt x="8" y="6"/>
                      <a:pt x="7" y="11"/>
                      <a:pt x="5" y="16"/>
                    </a:cubicBezTo>
                    <a:cubicBezTo>
                      <a:pt x="4" y="18"/>
                      <a:pt x="3" y="21"/>
                      <a:pt x="1" y="23"/>
                    </a:cubicBezTo>
                    <a:cubicBezTo>
                      <a:pt x="0" y="24"/>
                      <a:pt x="1" y="20"/>
                      <a:pt x="1" y="19"/>
                    </a:cubicBezTo>
                    <a:cubicBezTo>
                      <a:pt x="2" y="14"/>
                      <a:pt x="4" y="10"/>
                      <a:pt x="5" y="5"/>
                    </a:cubicBezTo>
                    <a:cubicBezTo>
                      <a:pt x="6" y="4"/>
                      <a:pt x="6" y="2"/>
                      <a:pt x="7" y="1"/>
                    </a:cubicBezTo>
                    <a:cubicBezTo>
                      <a:pt x="7" y="1"/>
                      <a:pt x="9" y="0"/>
                      <a:pt x="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2" name="Freeform 2823"/>
              <p:cNvSpPr>
                <a:spLocks noChangeAspect="1"/>
              </p:cNvSpPr>
              <p:nvPr/>
            </p:nvSpPr>
            <p:spPr bwMode="auto">
              <a:xfrm>
                <a:off x="4867336" y="2252519"/>
                <a:ext cx="29441" cy="40604"/>
              </a:xfrm>
              <a:custGeom>
                <a:avLst/>
                <a:gdLst>
                  <a:gd name="T0" fmla="*/ 18 w 15"/>
                  <a:gd name="T1" fmla="*/ 1 h 21"/>
                  <a:gd name="T2" fmla="*/ 10 w 15"/>
                  <a:gd name="T3" fmla="*/ 7 h 21"/>
                  <a:gd name="T4" fmla="*/ 10 w 15"/>
                  <a:gd name="T5" fmla="*/ 18 h 21"/>
                  <a:gd name="T6" fmla="*/ 5 w 15"/>
                  <a:gd name="T7" fmla="*/ 25 h 21"/>
                  <a:gd name="T8" fmla="*/ 5 w 15"/>
                  <a:gd name="T9" fmla="*/ 18 h 21"/>
                  <a:gd name="T10" fmla="*/ 2 w 15"/>
                  <a:gd name="T11" fmla="*/ 10 h 21"/>
                  <a:gd name="T12" fmla="*/ 13 w 15"/>
                  <a:gd name="T13" fmla="*/ 0 h 21"/>
                  <a:gd name="T14" fmla="*/ 18 w 15"/>
                  <a:gd name="T15" fmla="*/ 1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21"/>
                  <a:gd name="T26" fmla="*/ 15 w 15"/>
                  <a:gd name="T27" fmla="*/ 21 h 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21">
                    <a:moveTo>
                      <a:pt x="15" y="1"/>
                    </a:moveTo>
                    <a:cubicBezTo>
                      <a:pt x="13" y="3"/>
                      <a:pt x="9" y="3"/>
                      <a:pt x="8" y="6"/>
                    </a:cubicBezTo>
                    <a:cubicBezTo>
                      <a:pt x="7" y="9"/>
                      <a:pt x="9" y="12"/>
                      <a:pt x="8" y="15"/>
                    </a:cubicBezTo>
                    <a:cubicBezTo>
                      <a:pt x="7" y="17"/>
                      <a:pt x="6" y="21"/>
                      <a:pt x="4" y="21"/>
                    </a:cubicBezTo>
                    <a:cubicBezTo>
                      <a:pt x="3" y="21"/>
                      <a:pt x="4" y="17"/>
                      <a:pt x="4" y="15"/>
                    </a:cubicBezTo>
                    <a:cubicBezTo>
                      <a:pt x="3" y="13"/>
                      <a:pt x="0" y="10"/>
                      <a:pt x="2" y="8"/>
                    </a:cubicBezTo>
                    <a:cubicBezTo>
                      <a:pt x="3" y="4"/>
                      <a:pt x="8" y="2"/>
                      <a:pt x="11" y="0"/>
                    </a:cubicBezTo>
                    <a:cubicBezTo>
                      <a:pt x="12" y="0"/>
                      <a:pt x="15" y="0"/>
                      <a:pt x="1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3" name="Freeform 2824"/>
              <p:cNvSpPr>
                <a:spLocks noChangeAspect="1"/>
              </p:cNvSpPr>
              <p:nvPr/>
            </p:nvSpPr>
            <p:spPr bwMode="auto">
              <a:xfrm>
                <a:off x="4896776" y="2161568"/>
                <a:ext cx="21263" cy="14618"/>
              </a:xfrm>
              <a:custGeom>
                <a:avLst/>
                <a:gdLst>
                  <a:gd name="T0" fmla="*/ 1 w 11"/>
                  <a:gd name="T1" fmla="*/ 3 h 8"/>
                  <a:gd name="T2" fmla="*/ 6 w 11"/>
                  <a:gd name="T3" fmla="*/ 6 h 8"/>
                  <a:gd name="T4" fmla="*/ 9 w 11"/>
                  <a:gd name="T5" fmla="*/ 1 h 8"/>
                  <a:gd name="T6" fmla="*/ 13 w 11"/>
                  <a:gd name="T7" fmla="*/ 7 h 8"/>
                  <a:gd name="T8" fmla="*/ 8 w 11"/>
                  <a:gd name="T9" fmla="*/ 8 h 8"/>
                  <a:gd name="T10" fmla="*/ 5 w 11"/>
                  <a:gd name="T11" fmla="*/ 7 h 8"/>
                  <a:gd name="T12" fmla="*/ 2 w 11"/>
                  <a:gd name="T13" fmla="*/ 8 h 8"/>
                  <a:gd name="T14" fmla="*/ 1 w 11"/>
                  <a:gd name="T15" fmla="*/ 3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8"/>
                  <a:gd name="T26" fmla="*/ 11 w 11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8">
                    <a:moveTo>
                      <a:pt x="1" y="3"/>
                    </a:moveTo>
                    <a:cubicBezTo>
                      <a:pt x="2" y="2"/>
                      <a:pt x="4" y="5"/>
                      <a:pt x="5" y="5"/>
                    </a:cubicBezTo>
                    <a:cubicBezTo>
                      <a:pt x="7" y="4"/>
                      <a:pt x="7" y="0"/>
                      <a:pt x="8" y="1"/>
                    </a:cubicBezTo>
                    <a:cubicBezTo>
                      <a:pt x="10" y="1"/>
                      <a:pt x="11" y="4"/>
                      <a:pt x="11" y="6"/>
                    </a:cubicBezTo>
                    <a:cubicBezTo>
                      <a:pt x="11" y="7"/>
                      <a:pt x="9" y="7"/>
                      <a:pt x="7" y="7"/>
                    </a:cubicBezTo>
                    <a:cubicBezTo>
                      <a:pt x="6" y="7"/>
                      <a:pt x="5" y="6"/>
                      <a:pt x="4" y="6"/>
                    </a:cubicBezTo>
                    <a:cubicBezTo>
                      <a:pt x="3" y="6"/>
                      <a:pt x="3" y="8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4" name="Freeform 2825"/>
              <p:cNvSpPr>
                <a:spLocks noChangeAspect="1"/>
              </p:cNvSpPr>
              <p:nvPr/>
            </p:nvSpPr>
            <p:spPr bwMode="auto">
              <a:xfrm>
                <a:off x="4955657" y="2166440"/>
                <a:ext cx="16356" cy="14618"/>
              </a:xfrm>
              <a:custGeom>
                <a:avLst/>
                <a:gdLst>
                  <a:gd name="T0" fmla="*/ 1 w 8"/>
                  <a:gd name="T1" fmla="*/ 1 h 7"/>
                  <a:gd name="T2" fmla="*/ 9 w 8"/>
                  <a:gd name="T3" fmla="*/ 1 h 7"/>
                  <a:gd name="T4" fmla="*/ 9 w 8"/>
                  <a:gd name="T5" fmla="*/ 8 h 7"/>
                  <a:gd name="T6" fmla="*/ 1 w 8"/>
                  <a:gd name="T7" fmla="*/ 6 h 7"/>
                  <a:gd name="T8" fmla="*/ 3 w 8"/>
                  <a:gd name="T9" fmla="*/ 4 h 7"/>
                  <a:gd name="T10" fmla="*/ 1 w 8"/>
                  <a:gd name="T11" fmla="*/ 1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7"/>
                  <a:gd name="T20" fmla="*/ 8 w 8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7">
                    <a:moveTo>
                      <a:pt x="1" y="1"/>
                    </a:moveTo>
                    <a:cubicBezTo>
                      <a:pt x="2" y="1"/>
                      <a:pt x="5" y="0"/>
                      <a:pt x="7" y="1"/>
                    </a:cubicBezTo>
                    <a:cubicBezTo>
                      <a:pt x="8" y="2"/>
                      <a:pt x="8" y="5"/>
                      <a:pt x="7" y="6"/>
                    </a:cubicBezTo>
                    <a:cubicBezTo>
                      <a:pt x="5" y="7"/>
                      <a:pt x="3" y="6"/>
                      <a:pt x="1" y="5"/>
                    </a:cubicBezTo>
                    <a:cubicBezTo>
                      <a:pt x="0" y="5"/>
                      <a:pt x="2" y="4"/>
                      <a:pt x="2" y="3"/>
                    </a:cubicBezTo>
                    <a:cubicBezTo>
                      <a:pt x="2" y="2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5" name="Freeform 2826"/>
              <p:cNvSpPr>
                <a:spLocks noChangeAspect="1"/>
              </p:cNvSpPr>
              <p:nvPr/>
            </p:nvSpPr>
            <p:spPr bwMode="auto">
              <a:xfrm>
                <a:off x="4729946" y="1854606"/>
                <a:ext cx="11450" cy="19490"/>
              </a:xfrm>
              <a:custGeom>
                <a:avLst/>
                <a:gdLst>
                  <a:gd name="T0" fmla="*/ 6 w 6"/>
                  <a:gd name="T1" fmla="*/ 1 h 10"/>
                  <a:gd name="T2" fmla="*/ 6 w 6"/>
                  <a:gd name="T3" fmla="*/ 7 h 10"/>
                  <a:gd name="T4" fmla="*/ 2 w 6"/>
                  <a:gd name="T5" fmla="*/ 11 h 10"/>
                  <a:gd name="T6" fmla="*/ 2 w 6"/>
                  <a:gd name="T7" fmla="*/ 5 h 10"/>
                  <a:gd name="T8" fmla="*/ 6 w 6"/>
                  <a:gd name="T9" fmla="*/ 1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"/>
                  <a:gd name="T17" fmla="*/ 6 w 6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">
                    <a:moveTo>
                      <a:pt x="5" y="1"/>
                    </a:moveTo>
                    <a:cubicBezTo>
                      <a:pt x="6" y="2"/>
                      <a:pt x="6" y="5"/>
                      <a:pt x="5" y="6"/>
                    </a:cubicBezTo>
                    <a:cubicBezTo>
                      <a:pt x="4" y="8"/>
                      <a:pt x="3" y="10"/>
                      <a:pt x="2" y="9"/>
                    </a:cubicBezTo>
                    <a:cubicBezTo>
                      <a:pt x="0" y="8"/>
                      <a:pt x="1" y="5"/>
                      <a:pt x="2" y="4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6" name="Freeform 2827"/>
              <p:cNvSpPr>
                <a:spLocks noChangeAspect="1"/>
              </p:cNvSpPr>
              <p:nvPr/>
            </p:nvSpPr>
            <p:spPr bwMode="auto">
              <a:xfrm>
                <a:off x="4747938" y="1844862"/>
                <a:ext cx="11450" cy="16241"/>
              </a:xfrm>
              <a:custGeom>
                <a:avLst/>
                <a:gdLst>
                  <a:gd name="T0" fmla="*/ 6 w 6"/>
                  <a:gd name="T1" fmla="*/ 1 h 8"/>
                  <a:gd name="T2" fmla="*/ 7 w 6"/>
                  <a:gd name="T3" fmla="*/ 5 h 8"/>
                  <a:gd name="T4" fmla="*/ 2 w 6"/>
                  <a:gd name="T5" fmla="*/ 9 h 8"/>
                  <a:gd name="T6" fmla="*/ 1 w 6"/>
                  <a:gd name="T7" fmla="*/ 3 h 8"/>
                  <a:gd name="T8" fmla="*/ 6 w 6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8"/>
                  <a:gd name="T17" fmla="*/ 6 w 6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8">
                    <a:moveTo>
                      <a:pt x="5" y="1"/>
                    </a:moveTo>
                    <a:cubicBezTo>
                      <a:pt x="6" y="1"/>
                      <a:pt x="6" y="3"/>
                      <a:pt x="6" y="4"/>
                    </a:cubicBezTo>
                    <a:cubicBezTo>
                      <a:pt x="5" y="5"/>
                      <a:pt x="3" y="8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2" y="1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7" name="Freeform 2828"/>
              <p:cNvSpPr>
                <a:spLocks noChangeAspect="1"/>
              </p:cNvSpPr>
              <p:nvPr/>
            </p:nvSpPr>
            <p:spPr bwMode="auto">
              <a:xfrm>
                <a:off x="4765929" y="1839990"/>
                <a:ext cx="14721" cy="17866"/>
              </a:xfrm>
              <a:custGeom>
                <a:avLst/>
                <a:gdLst>
                  <a:gd name="T0" fmla="*/ 8 w 8"/>
                  <a:gd name="T1" fmla="*/ 1 h 9"/>
                  <a:gd name="T2" fmla="*/ 3 w 8"/>
                  <a:gd name="T3" fmla="*/ 2 h 9"/>
                  <a:gd name="T4" fmla="*/ 1 w 8"/>
                  <a:gd name="T5" fmla="*/ 9 h 9"/>
                  <a:gd name="T6" fmla="*/ 8 w 8"/>
                  <a:gd name="T7" fmla="*/ 6 h 9"/>
                  <a:gd name="T8" fmla="*/ 8 w 8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7" y="1"/>
                    </a:moveTo>
                    <a:cubicBezTo>
                      <a:pt x="6" y="0"/>
                      <a:pt x="4" y="1"/>
                      <a:pt x="3" y="2"/>
                    </a:cubicBezTo>
                    <a:cubicBezTo>
                      <a:pt x="1" y="3"/>
                      <a:pt x="0" y="6"/>
                      <a:pt x="1" y="7"/>
                    </a:cubicBezTo>
                    <a:cubicBezTo>
                      <a:pt x="3" y="9"/>
                      <a:pt x="5" y="6"/>
                      <a:pt x="7" y="5"/>
                    </a:cubicBezTo>
                    <a:cubicBezTo>
                      <a:pt x="7" y="4"/>
                      <a:pt x="8" y="2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8" name="Freeform 2829"/>
              <p:cNvSpPr>
                <a:spLocks noChangeAspect="1"/>
              </p:cNvSpPr>
              <p:nvPr/>
            </p:nvSpPr>
            <p:spPr bwMode="auto">
              <a:xfrm>
                <a:off x="4849345" y="1786393"/>
                <a:ext cx="14721" cy="12993"/>
              </a:xfrm>
              <a:custGeom>
                <a:avLst/>
                <a:gdLst>
                  <a:gd name="T0" fmla="*/ 8 w 7"/>
                  <a:gd name="T1" fmla="*/ 0 h 6"/>
                  <a:gd name="T2" fmla="*/ 4 w 7"/>
                  <a:gd name="T3" fmla="*/ 1 h 6"/>
                  <a:gd name="T4" fmla="*/ 1 w 7"/>
                  <a:gd name="T5" fmla="*/ 7 h 6"/>
                  <a:gd name="T6" fmla="*/ 8 w 7"/>
                  <a:gd name="T7" fmla="*/ 4 h 6"/>
                  <a:gd name="T8" fmla="*/ 8 w 7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3" y="6"/>
                      <a:pt x="4" y="4"/>
                      <a:pt x="6" y="3"/>
                    </a:cubicBezTo>
                    <a:cubicBezTo>
                      <a:pt x="6" y="2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19" name="Freeform 2830"/>
              <p:cNvSpPr>
                <a:spLocks noChangeAspect="1"/>
              </p:cNvSpPr>
              <p:nvPr/>
            </p:nvSpPr>
            <p:spPr bwMode="auto">
              <a:xfrm>
                <a:off x="4864064" y="1779896"/>
                <a:ext cx="13085" cy="11369"/>
              </a:xfrm>
              <a:custGeom>
                <a:avLst/>
                <a:gdLst>
                  <a:gd name="T0" fmla="*/ 7 w 7"/>
                  <a:gd name="T1" fmla="*/ 0 h 6"/>
                  <a:gd name="T2" fmla="*/ 3 w 7"/>
                  <a:gd name="T3" fmla="*/ 1 h 6"/>
                  <a:gd name="T4" fmla="*/ 1 w 7"/>
                  <a:gd name="T5" fmla="*/ 6 h 6"/>
                  <a:gd name="T6" fmla="*/ 7 w 7"/>
                  <a:gd name="T7" fmla="*/ 4 h 6"/>
                  <a:gd name="T8" fmla="*/ 7 w 7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2" y="6"/>
                      <a:pt x="4" y="4"/>
                      <a:pt x="6" y="3"/>
                    </a:cubicBezTo>
                    <a:cubicBezTo>
                      <a:pt x="6" y="2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0" name="Freeform 2831"/>
              <p:cNvSpPr>
                <a:spLocks noChangeAspect="1"/>
              </p:cNvSpPr>
              <p:nvPr/>
            </p:nvSpPr>
            <p:spPr bwMode="auto">
              <a:xfrm>
                <a:off x="4788827" y="1804259"/>
                <a:ext cx="19627" cy="25986"/>
              </a:xfrm>
              <a:custGeom>
                <a:avLst/>
                <a:gdLst>
                  <a:gd name="T0" fmla="*/ 8 w 10"/>
                  <a:gd name="T1" fmla="*/ 0 h 13"/>
                  <a:gd name="T2" fmla="*/ 11 w 10"/>
                  <a:gd name="T3" fmla="*/ 7 h 13"/>
                  <a:gd name="T4" fmla="*/ 1 w 10"/>
                  <a:gd name="T5" fmla="*/ 10 h 13"/>
                  <a:gd name="T6" fmla="*/ 0 w 10"/>
                  <a:gd name="T7" fmla="*/ 15 h 13"/>
                  <a:gd name="T8" fmla="*/ 1 w 10"/>
                  <a:gd name="T9" fmla="*/ 6 h 13"/>
                  <a:gd name="T10" fmla="*/ 8 w 10"/>
                  <a:gd name="T11" fmla="*/ 0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13"/>
                  <a:gd name="T20" fmla="*/ 10 w 10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13">
                    <a:moveTo>
                      <a:pt x="7" y="0"/>
                    </a:moveTo>
                    <a:cubicBezTo>
                      <a:pt x="9" y="0"/>
                      <a:pt x="10" y="4"/>
                      <a:pt x="9" y="6"/>
                    </a:cubicBezTo>
                    <a:cubicBezTo>
                      <a:pt x="7" y="8"/>
                      <a:pt x="3" y="7"/>
                      <a:pt x="1" y="8"/>
                    </a:cubicBezTo>
                    <a:cubicBezTo>
                      <a:pt x="0" y="9"/>
                      <a:pt x="0" y="13"/>
                      <a:pt x="0" y="12"/>
                    </a:cubicBezTo>
                    <a:cubicBezTo>
                      <a:pt x="0" y="10"/>
                      <a:pt x="0" y="7"/>
                      <a:pt x="1" y="5"/>
                    </a:cubicBezTo>
                    <a:cubicBezTo>
                      <a:pt x="2" y="3"/>
                      <a:pt x="4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1" name="Freeform 2832"/>
              <p:cNvSpPr>
                <a:spLocks noChangeAspect="1"/>
              </p:cNvSpPr>
              <p:nvPr/>
            </p:nvSpPr>
            <p:spPr bwMode="auto">
              <a:xfrm>
                <a:off x="4769200" y="1814004"/>
                <a:ext cx="16356" cy="24362"/>
              </a:xfrm>
              <a:custGeom>
                <a:avLst/>
                <a:gdLst>
                  <a:gd name="T0" fmla="*/ 9 w 8"/>
                  <a:gd name="T1" fmla="*/ 3 h 12"/>
                  <a:gd name="T2" fmla="*/ 10 w 8"/>
                  <a:gd name="T3" fmla="*/ 13 h 12"/>
                  <a:gd name="T4" fmla="*/ 5 w 8"/>
                  <a:gd name="T5" fmla="*/ 15 h 12"/>
                  <a:gd name="T6" fmla="*/ 5 w 8"/>
                  <a:gd name="T7" fmla="*/ 11 h 12"/>
                  <a:gd name="T8" fmla="*/ 1 w 8"/>
                  <a:gd name="T9" fmla="*/ 11 h 12"/>
                  <a:gd name="T10" fmla="*/ 3 w 8"/>
                  <a:gd name="T11" fmla="*/ 8 h 12"/>
                  <a:gd name="T12" fmla="*/ 6 w 8"/>
                  <a:gd name="T13" fmla="*/ 8 h 12"/>
                  <a:gd name="T14" fmla="*/ 9 w 8"/>
                  <a:gd name="T15" fmla="*/ 3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"/>
                  <a:gd name="T25" fmla="*/ 0 h 12"/>
                  <a:gd name="T26" fmla="*/ 8 w 8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" h="12">
                    <a:moveTo>
                      <a:pt x="7" y="2"/>
                    </a:moveTo>
                    <a:cubicBezTo>
                      <a:pt x="8" y="4"/>
                      <a:pt x="8" y="7"/>
                      <a:pt x="8" y="10"/>
                    </a:cubicBezTo>
                    <a:cubicBezTo>
                      <a:pt x="7" y="11"/>
                      <a:pt x="6" y="12"/>
                      <a:pt x="4" y="12"/>
                    </a:cubicBezTo>
                    <a:cubicBezTo>
                      <a:pt x="3" y="12"/>
                      <a:pt x="5" y="10"/>
                      <a:pt x="4" y="9"/>
                    </a:cubicBezTo>
                    <a:cubicBezTo>
                      <a:pt x="3" y="9"/>
                      <a:pt x="1" y="10"/>
                      <a:pt x="1" y="9"/>
                    </a:cubicBezTo>
                    <a:cubicBezTo>
                      <a:pt x="0" y="8"/>
                      <a:pt x="1" y="6"/>
                      <a:pt x="2" y="6"/>
                    </a:cubicBezTo>
                    <a:cubicBezTo>
                      <a:pt x="2" y="5"/>
                      <a:pt x="4" y="6"/>
                      <a:pt x="5" y="6"/>
                    </a:cubicBezTo>
                    <a:cubicBezTo>
                      <a:pt x="6" y="5"/>
                      <a:pt x="6" y="0"/>
                      <a:pt x="7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2" name="Freeform 2833"/>
              <p:cNvSpPr>
                <a:spLocks noChangeAspect="1"/>
              </p:cNvSpPr>
              <p:nvPr/>
            </p:nvSpPr>
            <p:spPr bwMode="auto">
              <a:xfrm>
                <a:off x="4823175" y="1796138"/>
                <a:ext cx="21263" cy="25986"/>
              </a:xfrm>
              <a:custGeom>
                <a:avLst/>
                <a:gdLst>
                  <a:gd name="T0" fmla="*/ 13 w 11"/>
                  <a:gd name="T1" fmla="*/ 1 h 13"/>
                  <a:gd name="T2" fmla="*/ 11 w 11"/>
                  <a:gd name="T3" fmla="*/ 11 h 13"/>
                  <a:gd name="T4" fmla="*/ 7 w 11"/>
                  <a:gd name="T5" fmla="*/ 12 h 13"/>
                  <a:gd name="T6" fmla="*/ 4 w 11"/>
                  <a:gd name="T7" fmla="*/ 11 h 13"/>
                  <a:gd name="T8" fmla="*/ 2 w 11"/>
                  <a:gd name="T9" fmla="*/ 16 h 13"/>
                  <a:gd name="T10" fmla="*/ 1 w 11"/>
                  <a:gd name="T11" fmla="*/ 10 h 13"/>
                  <a:gd name="T12" fmla="*/ 1 w 11"/>
                  <a:gd name="T13" fmla="*/ 4 h 13"/>
                  <a:gd name="T14" fmla="*/ 9 w 11"/>
                  <a:gd name="T15" fmla="*/ 1 h 13"/>
                  <a:gd name="T16" fmla="*/ 13 w 11"/>
                  <a:gd name="T17" fmla="*/ 1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3"/>
                  <a:gd name="T29" fmla="*/ 11 w 11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3">
                    <a:moveTo>
                      <a:pt x="11" y="1"/>
                    </a:moveTo>
                    <a:cubicBezTo>
                      <a:pt x="11" y="4"/>
                      <a:pt x="11" y="7"/>
                      <a:pt x="9" y="9"/>
                    </a:cubicBezTo>
                    <a:cubicBezTo>
                      <a:pt x="9" y="10"/>
                      <a:pt x="7" y="10"/>
                      <a:pt x="6" y="10"/>
                    </a:cubicBezTo>
                    <a:cubicBezTo>
                      <a:pt x="5" y="10"/>
                      <a:pt x="4" y="9"/>
                      <a:pt x="3" y="9"/>
                    </a:cubicBezTo>
                    <a:cubicBezTo>
                      <a:pt x="2" y="10"/>
                      <a:pt x="3" y="13"/>
                      <a:pt x="2" y="13"/>
                    </a:cubicBezTo>
                    <a:cubicBezTo>
                      <a:pt x="0" y="12"/>
                      <a:pt x="1" y="10"/>
                      <a:pt x="1" y="8"/>
                    </a:cubicBezTo>
                    <a:cubicBezTo>
                      <a:pt x="1" y="7"/>
                      <a:pt x="0" y="4"/>
                      <a:pt x="1" y="3"/>
                    </a:cubicBezTo>
                    <a:cubicBezTo>
                      <a:pt x="3" y="1"/>
                      <a:pt x="6" y="1"/>
                      <a:pt x="8" y="1"/>
                    </a:cubicBezTo>
                    <a:cubicBezTo>
                      <a:pt x="9" y="0"/>
                      <a:pt x="11" y="0"/>
                      <a:pt x="1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3" name="Freeform 2834"/>
              <p:cNvSpPr>
                <a:spLocks noChangeAspect="1"/>
              </p:cNvSpPr>
              <p:nvPr/>
            </p:nvSpPr>
            <p:spPr bwMode="auto">
              <a:xfrm>
                <a:off x="4931124" y="1744166"/>
                <a:ext cx="32712" cy="17866"/>
              </a:xfrm>
              <a:custGeom>
                <a:avLst/>
                <a:gdLst>
                  <a:gd name="T0" fmla="*/ 19 w 17"/>
                  <a:gd name="T1" fmla="*/ 1 h 9"/>
                  <a:gd name="T2" fmla="*/ 12 w 17"/>
                  <a:gd name="T3" fmla="*/ 9 h 9"/>
                  <a:gd name="T4" fmla="*/ 1 w 17"/>
                  <a:gd name="T5" fmla="*/ 9 h 9"/>
                  <a:gd name="T6" fmla="*/ 7 w 17"/>
                  <a:gd name="T7" fmla="*/ 4 h 9"/>
                  <a:gd name="T8" fmla="*/ 14 w 17"/>
                  <a:gd name="T9" fmla="*/ 2 h 9"/>
                  <a:gd name="T10" fmla="*/ 19 w 17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7"/>
                  <a:gd name="T19" fmla="*/ 0 h 9"/>
                  <a:gd name="T20" fmla="*/ 17 w 17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7" h="9">
                    <a:moveTo>
                      <a:pt x="16" y="1"/>
                    </a:moveTo>
                    <a:cubicBezTo>
                      <a:pt x="15" y="4"/>
                      <a:pt x="13" y="6"/>
                      <a:pt x="10" y="7"/>
                    </a:cubicBezTo>
                    <a:cubicBezTo>
                      <a:pt x="7" y="8"/>
                      <a:pt x="3" y="9"/>
                      <a:pt x="1" y="7"/>
                    </a:cubicBezTo>
                    <a:cubicBezTo>
                      <a:pt x="0" y="6"/>
                      <a:pt x="4" y="4"/>
                      <a:pt x="6" y="3"/>
                    </a:cubicBezTo>
                    <a:cubicBezTo>
                      <a:pt x="7" y="2"/>
                      <a:pt x="10" y="2"/>
                      <a:pt x="12" y="2"/>
                    </a:cubicBezTo>
                    <a:cubicBezTo>
                      <a:pt x="13" y="2"/>
                      <a:pt x="17" y="0"/>
                      <a:pt x="1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4" name="Freeform 2835"/>
              <p:cNvSpPr>
                <a:spLocks noChangeAspect="1"/>
              </p:cNvSpPr>
              <p:nvPr/>
            </p:nvSpPr>
            <p:spPr bwMode="auto">
              <a:xfrm>
                <a:off x="4950751" y="1753910"/>
                <a:ext cx="14721" cy="16241"/>
              </a:xfrm>
              <a:custGeom>
                <a:avLst/>
                <a:gdLst>
                  <a:gd name="T0" fmla="*/ 3 w 8"/>
                  <a:gd name="T1" fmla="*/ 3 h 8"/>
                  <a:gd name="T2" fmla="*/ 0 w 8"/>
                  <a:gd name="T3" fmla="*/ 5 h 8"/>
                  <a:gd name="T4" fmla="*/ 2 w 8"/>
                  <a:gd name="T5" fmla="*/ 10 h 8"/>
                  <a:gd name="T6" fmla="*/ 8 w 8"/>
                  <a:gd name="T7" fmla="*/ 4 h 8"/>
                  <a:gd name="T8" fmla="*/ 8 w 8"/>
                  <a:gd name="T9" fmla="*/ 0 h 8"/>
                  <a:gd name="T10" fmla="*/ 3 w 8"/>
                  <a:gd name="T11" fmla="*/ 3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8"/>
                  <a:gd name="T20" fmla="*/ 8 w 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8">
                    <a:moveTo>
                      <a:pt x="3" y="2"/>
                    </a:moveTo>
                    <a:cubicBezTo>
                      <a:pt x="2" y="3"/>
                      <a:pt x="0" y="3"/>
                      <a:pt x="0" y="4"/>
                    </a:cubicBezTo>
                    <a:cubicBezTo>
                      <a:pt x="0" y="5"/>
                      <a:pt x="1" y="8"/>
                      <a:pt x="2" y="8"/>
                    </a:cubicBezTo>
                    <a:cubicBezTo>
                      <a:pt x="4" y="8"/>
                      <a:pt x="6" y="5"/>
                      <a:pt x="7" y="3"/>
                    </a:cubicBezTo>
                    <a:cubicBezTo>
                      <a:pt x="8" y="3"/>
                      <a:pt x="8" y="1"/>
                      <a:pt x="7" y="0"/>
                    </a:cubicBezTo>
                    <a:cubicBezTo>
                      <a:pt x="6" y="0"/>
                      <a:pt x="4" y="2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5" name="Freeform 2836"/>
              <p:cNvSpPr>
                <a:spLocks noChangeAspect="1"/>
              </p:cNvSpPr>
              <p:nvPr/>
            </p:nvSpPr>
            <p:spPr bwMode="auto">
              <a:xfrm>
                <a:off x="4793735" y="2692658"/>
                <a:ext cx="4907" cy="25986"/>
              </a:xfrm>
              <a:custGeom>
                <a:avLst/>
                <a:gdLst>
                  <a:gd name="T0" fmla="*/ 2 w 3"/>
                  <a:gd name="T1" fmla="*/ 1 h 13"/>
                  <a:gd name="T2" fmla="*/ 2 w 3"/>
                  <a:gd name="T3" fmla="*/ 16 h 13"/>
                  <a:gd name="T4" fmla="*/ 1 w 3"/>
                  <a:gd name="T5" fmla="*/ 9 h 13"/>
                  <a:gd name="T6" fmla="*/ 2 w 3"/>
                  <a:gd name="T7" fmla="*/ 1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3"/>
                  <a:gd name="T14" fmla="*/ 3 w 3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3">
                    <a:moveTo>
                      <a:pt x="2" y="1"/>
                    </a:moveTo>
                    <a:cubicBezTo>
                      <a:pt x="2" y="5"/>
                      <a:pt x="3" y="9"/>
                      <a:pt x="2" y="13"/>
                    </a:cubicBezTo>
                    <a:cubicBezTo>
                      <a:pt x="1" y="12"/>
                      <a:pt x="0" y="9"/>
                      <a:pt x="1" y="7"/>
                    </a:cubicBezTo>
                    <a:cubicBezTo>
                      <a:pt x="1" y="6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6" name="Freeform 2837"/>
              <p:cNvSpPr>
                <a:spLocks noChangeAspect="1"/>
              </p:cNvSpPr>
              <p:nvPr/>
            </p:nvSpPr>
            <p:spPr bwMode="auto">
              <a:xfrm>
                <a:off x="4805183" y="2726765"/>
                <a:ext cx="14721" cy="14618"/>
              </a:xfrm>
              <a:custGeom>
                <a:avLst/>
                <a:gdLst>
                  <a:gd name="T0" fmla="*/ 1 w 8"/>
                  <a:gd name="T1" fmla="*/ 1 h 8"/>
                  <a:gd name="T2" fmla="*/ 9 w 8"/>
                  <a:gd name="T3" fmla="*/ 9 h 8"/>
                  <a:gd name="T4" fmla="*/ 5 w 8"/>
                  <a:gd name="T5" fmla="*/ 6 h 8"/>
                  <a:gd name="T6" fmla="*/ 1 w 8"/>
                  <a:gd name="T7" fmla="*/ 1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8"/>
                  <a:gd name="T14" fmla="*/ 8 w 8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8">
                    <a:moveTo>
                      <a:pt x="1" y="1"/>
                    </a:moveTo>
                    <a:cubicBezTo>
                      <a:pt x="4" y="3"/>
                      <a:pt x="7" y="5"/>
                      <a:pt x="8" y="8"/>
                    </a:cubicBezTo>
                    <a:cubicBezTo>
                      <a:pt x="7" y="7"/>
                      <a:pt x="5" y="6"/>
                      <a:pt x="4" y="5"/>
                    </a:cubicBezTo>
                    <a:cubicBezTo>
                      <a:pt x="3" y="4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7" name="Freeform 2838"/>
              <p:cNvSpPr>
                <a:spLocks noChangeAspect="1"/>
              </p:cNvSpPr>
              <p:nvPr/>
            </p:nvSpPr>
            <p:spPr bwMode="auto">
              <a:xfrm>
                <a:off x="4800277" y="2708900"/>
                <a:ext cx="13085" cy="11369"/>
              </a:xfrm>
              <a:custGeom>
                <a:avLst/>
                <a:gdLst>
                  <a:gd name="T0" fmla="*/ 1 w 6"/>
                  <a:gd name="T1" fmla="*/ 1 h 6"/>
                  <a:gd name="T2" fmla="*/ 8 w 6"/>
                  <a:gd name="T3" fmla="*/ 7 h 6"/>
                  <a:gd name="T4" fmla="*/ 4 w 6"/>
                  <a:gd name="T5" fmla="*/ 5 h 6"/>
                  <a:gd name="T6" fmla="*/ 1 w 6"/>
                  <a:gd name="T7" fmla="*/ 1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1" y="1"/>
                    </a:moveTo>
                    <a:cubicBezTo>
                      <a:pt x="3" y="2"/>
                      <a:pt x="5" y="4"/>
                      <a:pt x="6" y="6"/>
                    </a:cubicBezTo>
                    <a:cubicBezTo>
                      <a:pt x="5" y="6"/>
                      <a:pt x="3" y="5"/>
                      <a:pt x="3" y="4"/>
                    </a:cubicBezTo>
                    <a:cubicBezTo>
                      <a:pt x="2" y="3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8" name="Freeform 2839"/>
              <p:cNvSpPr>
                <a:spLocks noChangeAspect="1"/>
              </p:cNvSpPr>
              <p:nvPr/>
            </p:nvSpPr>
            <p:spPr bwMode="auto">
              <a:xfrm>
                <a:off x="4846073" y="2759248"/>
                <a:ext cx="16356" cy="4873"/>
              </a:xfrm>
              <a:custGeom>
                <a:avLst/>
                <a:gdLst>
                  <a:gd name="T0" fmla="*/ 0 w 8"/>
                  <a:gd name="T1" fmla="*/ 0 h 2"/>
                  <a:gd name="T2" fmla="*/ 10 w 8"/>
                  <a:gd name="T3" fmla="*/ 3 h 2"/>
                  <a:gd name="T4" fmla="*/ 5 w 8"/>
                  <a:gd name="T5" fmla="*/ 3 h 2"/>
                  <a:gd name="T6" fmla="*/ 0 w 8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2"/>
                  <a:gd name="T14" fmla="*/ 8 w 8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2">
                    <a:moveTo>
                      <a:pt x="0" y="0"/>
                    </a:moveTo>
                    <a:cubicBezTo>
                      <a:pt x="3" y="0"/>
                      <a:pt x="6" y="1"/>
                      <a:pt x="8" y="2"/>
                    </a:cubicBezTo>
                    <a:cubicBezTo>
                      <a:pt x="7" y="2"/>
                      <a:pt x="5" y="2"/>
                      <a:pt x="4" y="2"/>
                    </a:cubicBezTo>
                    <a:cubicBezTo>
                      <a:pt x="3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29" name="Freeform 2840"/>
              <p:cNvSpPr>
                <a:spLocks noChangeAspect="1"/>
              </p:cNvSpPr>
              <p:nvPr/>
            </p:nvSpPr>
            <p:spPr bwMode="auto">
              <a:xfrm>
                <a:off x="4852616" y="2767368"/>
                <a:ext cx="16356" cy="3248"/>
              </a:xfrm>
              <a:custGeom>
                <a:avLst/>
                <a:gdLst>
                  <a:gd name="T0" fmla="*/ 1 w 9"/>
                  <a:gd name="T1" fmla="*/ 1 h 2"/>
                  <a:gd name="T2" fmla="*/ 10 w 9"/>
                  <a:gd name="T3" fmla="*/ 1 h 2"/>
                  <a:gd name="T4" fmla="*/ 6 w 9"/>
                  <a:gd name="T5" fmla="*/ 0 h 2"/>
                  <a:gd name="T6" fmla="*/ 1 w 9"/>
                  <a:gd name="T7" fmla="*/ 1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2"/>
                  <a:gd name="T14" fmla="*/ 9 w 9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2">
                    <a:moveTo>
                      <a:pt x="1" y="1"/>
                    </a:moveTo>
                    <a:cubicBezTo>
                      <a:pt x="3" y="2"/>
                      <a:pt x="6" y="2"/>
                      <a:pt x="9" y="1"/>
                    </a:cubicBezTo>
                    <a:cubicBezTo>
                      <a:pt x="8" y="1"/>
                      <a:pt x="7" y="0"/>
                      <a:pt x="5" y="0"/>
                    </a:cubicBezTo>
                    <a:cubicBezTo>
                      <a:pt x="4" y="1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0" name="Freeform 2841"/>
              <p:cNvSpPr>
                <a:spLocks noChangeAspect="1"/>
              </p:cNvSpPr>
              <p:nvPr/>
            </p:nvSpPr>
            <p:spPr bwMode="auto">
              <a:xfrm>
                <a:off x="4934395" y="2345094"/>
                <a:ext cx="8178" cy="12993"/>
              </a:xfrm>
              <a:custGeom>
                <a:avLst/>
                <a:gdLst>
                  <a:gd name="T0" fmla="*/ 4 w 4"/>
                  <a:gd name="T1" fmla="*/ 1 h 7"/>
                  <a:gd name="T2" fmla="*/ 1 w 4"/>
                  <a:gd name="T3" fmla="*/ 3 h 7"/>
                  <a:gd name="T4" fmla="*/ 1 w 4"/>
                  <a:gd name="T5" fmla="*/ 7 h 7"/>
                  <a:gd name="T6" fmla="*/ 4 w 4"/>
                  <a:gd name="T7" fmla="*/ 5 h 7"/>
                  <a:gd name="T8" fmla="*/ 4 w 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7"/>
                  <a:gd name="T17" fmla="*/ 4 w 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7">
                    <a:moveTo>
                      <a:pt x="3" y="1"/>
                    </a:moveTo>
                    <a:cubicBezTo>
                      <a:pt x="2" y="0"/>
                      <a:pt x="2" y="2"/>
                      <a:pt x="1" y="3"/>
                    </a:cubicBezTo>
                    <a:cubicBezTo>
                      <a:pt x="1" y="4"/>
                      <a:pt x="0" y="6"/>
                      <a:pt x="1" y="6"/>
                    </a:cubicBezTo>
                    <a:cubicBezTo>
                      <a:pt x="2" y="7"/>
                      <a:pt x="2" y="5"/>
                      <a:pt x="3" y="4"/>
                    </a:cubicBezTo>
                    <a:cubicBezTo>
                      <a:pt x="3" y="3"/>
                      <a:pt x="4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1" name="Freeform 2842"/>
              <p:cNvSpPr>
                <a:spLocks noChangeAspect="1"/>
              </p:cNvSpPr>
              <p:nvPr/>
            </p:nvSpPr>
            <p:spPr bwMode="auto">
              <a:xfrm>
                <a:off x="5006361" y="2894051"/>
                <a:ext cx="42525" cy="37356"/>
              </a:xfrm>
              <a:custGeom>
                <a:avLst/>
                <a:gdLst>
                  <a:gd name="T0" fmla="*/ 0 w 21"/>
                  <a:gd name="T1" fmla="*/ 2 h 19"/>
                  <a:gd name="T2" fmla="*/ 5 w 21"/>
                  <a:gd name="T3" fmla="*/ 1 h 19"/>
                  <a:gd name="T4" fmla="*/ 11 w 21"/>
                  <a:gd name="T5" fmla="*/ 5 h 19"/>
                  <a:gd name="T6" fmla="*/ 17 w 21"/>
                  <a:gd name="T7" fmla="*/ 8 h 19"/>
                  <a:gd name="T8" fmla="*/ 21 w 21"/>
                  <a:gd name="T9" fmla="*/ 17 h 19"/>
                  <a:gd name="T10" fmla="*/ 25 w 21"/>
                  <a:gd name="T11" fmla="*/ 18 h 19"/>
                  <a:gd name="T12" fmla="*/ 24 w 21"/>
                  <a:gd name="T13" fmla="*/ 22 h 19"/>
                  <a:gd name="T14" fmla="*/ 20 w 21"/>
                  <a:gd name="T15" fmla="*/ 19 h 19"/>
                  <a:gd name="T16" fmla="*/ 19 w 21"/>
                  <a:gd name="T17" fmla="*/ 17 h 19"/>
                  <a:gd name="T18" fmla="*/ 16 w 21"/>
                  <a:gd name="T19" fmla="*/ 13 h 19"/>
                  <a:gd name="T20" fmla="*/ 11 w 21"/>
                  <a:gd name="T21" fmla="*/ 13 h 19"/>
                  <a:gd name="T22" fmla="*/ 9 w 21"/>
                  <a:gd name="T23" fmla="*/ 8 h 19"/>
                  <a:gd name="T24" fmla="*/ 5 w 21"/>
                  <a:gd name="T25" fmla="*/ 5 h 19"/>
                  <a:gd name="T26" fmla="*/ 0 w 21"/>
                  <a:gd name="T27" fmla="*/ 2 h 1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"/>
                  <a:gd name="T43" fmla="*/ 0 h 19"/>
                  <a:gd name="T44" fmla="*/ 21 w 21"/>
                  <a:gd name="T45" fmla="*/ 19 h 1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" h="19">
                    <a:moveTo>
                      <a:pt x="0" y="2"/>
                    </a:moveTo>
                    <a:cubicBezTo>
                      <a:pt x="0" y="1"/>
                      <a:pt x="2" y="0"/>
                      <a:pt x="4" y="1"/>
                    </a:cubicBezTo>
                    <a:cubicBezTo>
                      <a:pt x="6" y="1"/>
                      <a:pt x="7" y="3"/>
                      <a:pt x="9" y="4"/>
                    </a:cubicBezTo>
                    <a:cubicBezTo>
                      <a:pt x="11" y="5"/>
                      <a:pt x="13" y="6"/>
                      <a:pt x="14" y="7"/>
                    </a:cubicBezTo>
                    <a:cubicBezTo>
                      <a:pt x="16" y="9"/>
                      <a:pt x="15" y="12"/>
                      <a:pt x="17" y="14"/>
                    </a:cubicBezTo>
                    <a:cubicBezTo>
                      <a:pt x="18" y="15"/>
                      <a:pt x="20" y="14"/>
                      <a:pt x="20" y="15"/>
                    </a:cubicBezTo>
                    <a:cubicBezTo>
                      <a:pt x="21" y="16"/>
                      <a:pt x="21" y="18"/>
                      <a:pt x="19" y="18"/>
                    </a:cubicBezTo>
                    <a:cubicBezTo>
                      <a:pt x="18" y="19"/>
                      <a:pt x="17" y="17"/>
                      <a:pt x="16" y="16"/>
                    </a:cubicBezTo>
                    <a:cubicBezTo>
                      <a:pt x="16" y="15"/>
                      <a:pt x="16" y="14"/>
                      <a:pt x="15" y="14"/>
                    </a:cubicBezTo>
                    <a:cubicBezTo>
                      <a:pt x="15" y="13"/>
                      <a:pt x="14" y="11"/>
                      <a:pt x="13" y="11"/>
                    </a:cubicBezTo>
                    <a:cubicBezTo>
                      <a:pt x="12" y="10"/>
                      <a:pt x="11" y="11"/>
                      <a:pt x="9" y="11"/>
                    </a:cubicBezTo>
                    <a:cubicBezTo>
                      <a:pt x="8" y="10"/>
                      <a:pt x="8" y="8"/>
                      <a:pt x="7" y="7"/>
                    </a:cubicBezTo>
                    <a:cubicBezTo>
                      <a:pt x="6" y="6"/>
                      <a:pt x="5" y="5"/>
                      <a:pt x="4" y="4"/>
                    </a:cubicBezTo>
                    <a:cubicBezTo>
                      <a:pt x="3" y="4"/>
                      <a:pt x="0" y="4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2" name="Freeform 2843"/>
              <p:cNvSpPr>
                <a:spLocks noChangeAspect="1"/>
              </p:cNvSpPr>
              <p:nvPr/>
            </p:nvSpPr>
            <p:spPr bwMode="auto">
              <a:xfrm>
                <a:off x="4944209" y="2911916"/>
                <a:ext cx="11450" cy="16241"/>
              </a:xfrm>
              <a:custGeom>
                <a:avLst/>
                <a:gdLst>
                  <a:gd name="T0" fmla="*/ 5 w 6"/>
                  <a:gd name="T1" fmla="*/ 0 h 8"/>
                  <a:gd name="T2" fmla="*/ 7 w 6"/>
                  <a:gd name="T3" fmla="*/ 9 h 8"/>
                  <a:gd name="T4" fmla="*/ 0 w 6"/>
                  <a:gd name="T5" fmla="*/ 6 h 8"/>
                  <a:gd name="T6" fmla="*/ 5 w 6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8"/>
                  <a:gd name="T14" fmla="*/ 6 w 6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8">
                    <a:moveTo>
                      <a:pt x="4" y="0"/>
                    </a:moveTo>
                    <a:cubicBezTo>
                      <a:pt x="4" y="1"/>
                      <a:pt x="5" y="5"/>
                      <a:pt x="6" y="7"/>
                    </a:cubicBezTo>
                    <a:cubicBezTo>
                      <a:pt x="5" y="8"/>
                      <a:pt x="1" y="6"/>
                      <a:pt x="0" y="5"/>
                    </a:cubicBezTo>
                    <a:cubicBezTo>
                      <a:pt x="0" y="4"/>
                      <a:pt x="2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3" name="Freeform 2844"/>
              <p:cNvSpPr>
                <a:spLocks noChangeAspect="1"/>
              </p:cNvSpPr>
              <p:nvPr/>
            </p:nvSpPr>
            <p:spPr bwMode="auto">
              <a:xfrm>
                <a:off x="4927853" y="2871313"/>
                <a:ext cx="13085" cy="14618"/>
              </a:xfrm>
              <a:custGeom>
                <a:avLst/>
                <a:gdLst>
                  <a:gd name="T0" fmla="*/ 3 w 6"/>
                  <a:gd name="T1" fmla="*/ 0 h 8"/>
                  <a:gd name="T2" fmla="*/ 4 w 6"/>
                  <a:gd name="T3" fmla="*/ 6 h 8"/>
                  <a:gd name="T4" fmla="*/ 7 w 6"/>
                  <a:gd name="T5" fmla="*/ 8 h 8"/>
                  <a:gd name="T6" fmla="*/ 3 w 6"/>
                  <a:gd name="T7" fmla="*/ 7 h 8"/>
                  <a:gd name="T8" fmla="*/ 0 w 6"/>
                  <a:gd name="T9" fmla="*/ 0 h 8"/>
                  <a:gd name="T10" fmla="*/ 3 w 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8"/>
                  <a:gd name="T20" fmla="*/ 6 w 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8">
                    <a:moveTo>
                      <a:pt x="2" y="0"/>
                    </a:moveTo>
                    <a:cubicBezTo>
                      <a:pt x="3" y="1"/>
                      <a:pt x="2" y="3"/>
                      <a:pt x="3" y="5"/>
                    </a:cubicBezTo>
                    <a:cubicBezTo>
                      <a:pt x="3" y="6"/>
                      <a:pt x="6" y="7"/>
                      <a:pt x="5" y="7"/>
                    </a:cubicBezTo>
                    <a:cubicBezTo>
                      <a:pt x="5" y="8"/>
                      <a:pt x="3" y="7"/>
                      <a:pt x="2" y="6"/>
                    </a:cubicBezTo>
                    <a:cubicBezTo>
                      <a:pt x="1" y="4"/>
                      <a:pt x="0" y="2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4" name="Freeform 2845"/>
              <p:cNvSpPr>
                <a:spLocks noChangeAspect="1"/>
              </p:cNvSpPr>
              <p:nvPr/>
            </p:nvSpPr>
            <p:spPr bwMode="auto">
              <a:xfrm>
                <a:off x="5065242" y="2952519"/>
                <a:ext cx="8178" cy="9745"/>
              </a:xfrm>
              <a:custGeom>
                <a:avLst/>
                <a:gdLst>
                  <a:gd name="T0" fmla="*/ 3 w 4"/>
                  <a:gd name="T1" fmla="*/ 0 h 5"/>
                  <a:gd name="T2" fmla="*/ 5 w 4"/>
                  <a:gd name="T3" fmla="*/ 4 h 5"/>
                  <a:gd name="T4" fmla="*/ 3 w 4"/>
                  <a:gd name="T5" fmla="*/ 6 h 5"/>
                  <a:gd name="T6" fmla="*/ 0 w 4"/>
                  <a:gd name="T7" fmla="*/ 4 h 5"/>
                  <a:gd name="T8" fmla="*/ 3 w 4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0"/>
                    </a:moveTo>
                    <a:cubicBezTo>
                      <a:pt x="3" y="0"/>
                      <a:pt x="4" y="2"/>
                      <a:pt x="4" y="3"/>
                    </a:cubicBezTo>
                    <a:cubicBezTo>
                      <a:pt x="4" y="4"/>
                      <a:pt x="3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1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5" name="Freeform 2846"/>
              <p:cNvSpPr>
                <a:spLocks noChangeAspect="1"/>
              </p:cNvSpPr>
              <p:nvPr/>
            </p:nvSpPr>
            <p:spPr bwMode="auto">
              <a:xfrm>
                <a:off x="5065242" y="2976882"/>
                <a:ext cx="6542" cy="4873"/>
              </a:xfrm>
              <a:custGeom>
                <a:avLst/>
                <a:gdLst>
                  <a:gd name="T0" fmla="*/ 3 w 3"/>
                  <a:gd name="T1" fmla="*/ 0 h 3"/>
                  <a:gd name="T2" fmla="*/ 4 w 3"/>
                  <a:gd name="T3" fmla="*/ 2 h 3"/>
                  <a:gd name="T4" fmla="*/ 3 w 3"/>
                  <a:gd name="T5" fmla="*/ 3 h 3"/>
                  <a:gd name="T6" fmla="*/ 0 w 3"/>
                  <a:gd name="T7" fmla="*/ 1 h 3"/>
                  <a:gd name="T8" fmla="*/ 3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0"/>
                    </a:moveTo>
                    <a:cubicBezTo>
                      <a:pt x="2" y="0"/>
                      <a:pt x="3" y="1"/>
                      <a:pt x="3" y="2"/>
                    </a:cubicBezTo>
                    <a:cubicBezTo>
                      <a:pt x="3" y="2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6" name="Oval 2847"/>
              <p:cNvSpPr>
                <a:spLocks noChangeAspect="1" noChangeArrowheads="1"/>
              </p:cNvSpPr>
              <p:nvPr/>
            </p:nvSpPr>
            <p:spPr bwMode="auto">
              <a:xfrm>
                <a:off x="5048886" y="2959016"/>
                <a:ext cx="3271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7" name="Freeform 2848"/>
              <p:cNvSpPr>
                <a:spLocks noChangeAspect="1"/>
              </p:cNvSpPr>
              <p:nvPr/>
            </p:nvSpPr>
            <p:spPr bwMode="auto">
              <a:xfrm>
                <a:off x="5078327" y="2978505"/>
                <a:ext cx="3271" cy="3248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1 h 2"/>
                  <a:gd name="T4" fmla="*/ 1 w 2"/>
                  <a:gd name="T5" fmla="*/ 2 h 2"/>
                  <a:gd name="T6" fmla="*/ 0 w 2"/>
                  <a:gd name="T7" fmla="*/ 1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1" y="0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8" name="Oval 2849"/>
              <p:cNvSpPr>
                <a:spLocks noChangeAspect="1" noChangeArrowheads="1"/>
              </p:cNvSpPr>
              <p:nvPr/>
            </p:nvSpPr>
            <p:spPr bwMode="auto">
              <a:xfrm>
                <a:off x="5042344" y="2952519"/>
                <a:ext cx="3271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39" name="Freeform 2850"/>
              <p:cNvSpPr>
                <a:spLocks noChangeAspect="1"/>
              </p:cNvSpPr>
              <p:nvPr/>
            </p:nvSpPr>
            <p:spPr bwMode="auto">
              <a:xfrm>
                <a:off x="5060335" y="2939526"/>
                <a:ext cx="3271" cy="3248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2 h 2"/>
                  <a:gd name="T4" fmla="*/ 1 w 2"/>
                  <a:gd name="T5" fmla="*/ 2 h 2"/>
                  <a:gd name="T6" fmla="*/ 0 w 2"/>
                  <a:gd name="T7" fmla="*/ 0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2" y="0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0" name="Freeform 2851"/>
              <p:cNvSpPr>
                <a:spLocks noChangeAspect="1"/>
              </p:cNvSpPr>
              <p:nvPr/>
            </p:nvSpPr>
            <p:spPr bwMode="auto">
              <a:xfrm>
                <a:off x="5043979" y="2941151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1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1" name="Freeform 2852"/>
              <p:cNvSpPr>
                <a:spLocks noChangeAspect="1"/>
              </p:cNvSpPr>
              <p:nvPr/>
            </p:nvSpPr>
            <p:spPr bwMode="auto">
              <a:xfrm>
                <a:off x="5039073" y="2937903"/>
                <a:ext cx="3271" cy="3248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2 h 2"/>
                  <a:gd name="T4" fmla="*/ 1 w 2"/>
                  <a:gd name="T5" fmla="*/ 2 h 2"/>
                  <a:gd name="T6" fmla="*/ 0 w 2"/>
                  <a:gd name="T7" fmla="*/ 0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2" y="0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2" name="Freeform 2853"/>
              <p:cNvSpPr>
                <a:spLocks noChangeAspect="1"/>
              </p:cNvSpPr>
              <p:nvPr/>
            </p:nvSpPr>
            <p:spPr bwMode="auto">
              <a:xfrm>
                <a:off x="5063606" y="2967137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2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3" name="Freeform 2854"/>
              <p:cNvSpPr>
                <a:spLocks noChangeAspect="1"/>
              </p:cNvSpPr>
              <p:nvPr/>
            </p:nvSpPr>
            <p:spPr bwMode="auto">
              <a:xfrm>
                <a:off x="5053793" y="2968761"/>
                <a:ext cx="4907" cy="3248"/>
              </a:xfrm>
              <a:custGeom>
                <a:avLst/>
                <a:gdLst>
                  <a:gd name="T0" fmla="*/ 2 w 2"/>
                  <a:gd name="T1" fmla="*/ 1 h 2"/>
                  <a:gd name="T2" fmla="*/ 3 w 2"/>
                  <a:gd name="T3" fmla="*/ 2 h 2"/>
                  <a:gd name="T4" fmla="*/ 2 w 2"/>
                  <a:gd name="T5" fmla="*/ 2 h 2"/>
                  <a:gd name="T6" fmla="*/ 0 w 2"/>
                  <a:gd name="T7" fmla="*/ 1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2" y="1"/>
                      <a:pt x="2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4" name="Freeform 2855"/>
              <p:cNvSpPr>
                <a:spLocks noChangeAspect="1"/>
              </p:cNvSpPr>
              <p:nvPr/>
            </p:nvSpPr>
            <p:spPr bwMode="auto">
              <a:xfrm>
                <a:off x="5068513" y="2942774"/>
                <a:ext cx="3271" cy="1625"/>
              </a:xfrm>
              <a:custGeom>
                <a:avLst/>
                <a:gdLst>
                  <a:gd name="T0" fmla="*/ 1 w 2"/>
                  <a:gd name="T1" fmla="*/ 0 h 1"/>
                  <a:gd name="T2" fmla="*/ 2 w 2"/>
                  <a:gd name="T3" fmla="*/ 1 h 1"/>
                  <a:gd name="T4" fmla="*/ 1 w 2"/>
                  <a:gd name="T5" fmla="*/ 1 h 1"/>
                  <a:gd name="T6" fmla="*/ 0 w 2"/>
                  <a:gd name="T7" fmla="*/ 0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1" y="0"/>
                    </a:moveTo>
                    <a:cubicBezTo>
                      <a:pt x="2" y="0"/>
                      <a:pt x="2" y="0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1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5" name="Freeform 2856"/>
              <p:cNvSpPr>
                <a:spLocks noChangeAspect="1"/>
              </p:cNvSpPr>
              <p:nvPr/>
            </p:nvSpPr>
            <p:spPr bwMode="auto">
              <a:xfrm>
                <a:off x="5058700" y="2954144"/>
                <a:ext cx="6542" cy="6497"/>
              </a:xfrm>
              <a:custGeom>
                <a:avLst/>
                <a:gdLst>
                  <a:gd name="T0" fmla="*/ 1 w 4"/>
                  <a:gd name="T1" fmla="*/ 1 h 3"/>
                  <a:gd name="T2" fmla="*/ 3 w 4"/>
                  <a:gd name="T3" fmla="*/ 1 h 3"/>
                  <a:gd name="T4" fmla="*/ 2 w 4"/>
                  <a:gd name="T5" fmla="*/ 3 h 3"/>
                  <a:gd name="T6" fmla="*/ 0 w 4"/>
                  <a:gd name="T7" fmla="*/ 4 h 3"/>
                  <a:gd name="T8" fmla="*/ 1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1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6" name="Freeform 2857"/>
              <p:cNvSpPr>
                <a:spLocks noChangeAspect="1"/>
              </p:cNvSpPr>
              <p:nvPr/>
            </p:nvSpPr>
            <p:spPr bwMode="auto">
              <a:xfrm>
                <a:off x="5088140" y="2970385"/>
                <a:ext cx="4907" cy="6497"/>
              </a:xfrm>
              <a:custGeom>
                <a:avLst/>
                <a:gdLst>
                  <a:gd name="T0" fmla="*/ 1 w 3"/>
                  <a:gd name="T1" fmla="*/ 1 h 3"/>
                  <a:gd name="T2" fmla="*/ 3 w 3"/>
                  <a:gd name="T3" fmla="*/ 1 h 3"/>
                  <a:gd name="T4" fmla="*/ 2 w 3"/>
                  <a:gd name="T5" fmla="*/ 3 h 3"/>
                  <a:gd name="T6" fmla="*/ 0 w 3"/>
                  <a:gd name="T7" fmla="*/ 3 h 3"/>
                  <a:gd name="T8" fmla="*/ 1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1"/>
                    </a:move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2" y="2"/>
                      <a:pt x="1" y="3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7" name="Freeform 2858"/>
              <p:cNvSpPr>
                <a:spLocks noChangeAspect="1"/>
              </p:cNvSpPr>
              <p:nvPr/>
            </p:nvSpPr>
            <p:spPr bwMode="auto">
              <a:xfrm>
                <a:off x="5104496" y="2963889"/>
                <a:ext cx="6542" cy="4873"/>
              </a:xfrm>
              <a:custGeom>
                <a:avLst/>
                <a:gdLst>
                  <a:gd name="T0" fmla="*/ 1 w 3"/>
                  <a:gd name="T1" fmla="*/ 0 h 2"/>
                  <a:gd name="T2" fmla="*/ 4 w 3"/>
                  <a:gd name="T3" fmla="*/ 0 h 2"/>
                  <a:gd name="T4" fmla="*/ 3 w 3"/>
                  <a:gd name="T5" fmla="*/ 2 h 2"/>
                  <a:gd name="T6" fmla="*/ 0 w 3"/>
                  <a:gd name="T7" fmla="*/ 3 h 2"/>
                  <a:gd name="T8" fmla="*/ 1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0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2" y="1"/>
                      <a:pt x="2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8" name="Freeform 2859"/>
              <p:cNvSpPr>
                <a:spLocks noChangeAspect="1"/>
              </p:cNvSpPr>
              <p:nvPr/>
            </p:nvSpPr>
            <p:spPr bwMode="auto">
              <a:xfrm>
                <a:off x="5075056" y="2882682"/>
                <a:ext cx="17992" cy="12993"/>
              </a:xfrm>
              <a:custGeom>
                <a:avLst/>
                <a:gdLst>
                  <a:gd name="T0" fmla="*/ 7 w 9"/>
                  <a:gd name="T1" fmla="*/ 1 h 7"/>
                  <a:gd name="T2" fmla="*/ 11 w 9"/>
                  <a:gd name="T3" fmla="*/ 7 h 7"/>
                  <a:gd name="T4" fmla="*/ 10 w 9"/>
                  <a:gd name="T5" fmla="*/ 8 h 7"/>
                  <a:gd name="T6" fmla="*/ 5 w 9"/>
                  <a:gd name="T7" fmla="*/ 7 h 7"/>
                  <a:gd name="T8" fmla="*/ 6 w 9"/>
                  <a:gd name="T9" fmla="*/ 5 h 7"/>
                  <a:gd name="T10" fmla="*/ 2 w 9"/>
                  <a:gd name="T11" fmla="*/ 6 h 7"/>
                  <a:gd name="T12" fmla="*/ 1 w 9"/>
                  <a:gd name="T13" fmla="*/ 2 h 7"/>
                  <a:gd name="T14" fmla="*/ 7 w 9"/>
                  <a:gd name="T15" fmla="*/ 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7"/>
                  <a:gd name="T26" fmla="*/ 9 w 9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7">
                    <a:moveTo>
                      <a:pt x="6" y="1"/>
                    </a:moveTo>
                    <a:cubicBezTo>
                      <a:pt x="8" y="1"/>
                      <a:pt x="9" y="4"/>
                      <a:pt x="9" y="6"/>
                    </a:cubicBezTo>
                    <a:cubicBezTo>
                      <a:pt x="9" y="6"/>
                      <a:pt x="8" y="7"/>
                      <a:pt x="8" y="7"/>
                    </a:cubicBezTo>
                    <a:cubicBezTo>
                      <a:pt x="6" y="7"/>
                      <a:pt x="5" y="7"/>
                      <a:pt x="4" y="6"/>
                    </a:cubicBezTo>
                    <a:cubicBezTo>
                      <a:pt x="3" y="6"/>
                      <a:pt x="5" y="5"/>
                      <a:pt x="5" y="4"/>
                    </a:cubicBezTo>
                    <a:cubicBezTo>
                      <a:pt x="4" y="3"/>
                      <a:pt x="3" y="5"/>
                      <a:pt x="2" y="5"/>
                    </a:cubicBezTo>
                    <a:cubicBezTo>
                      <a:pt x="1" y="4"/>
                      <a:pt x="0" y="3"/>
                      <a:pt x="1" y="2"/>
                    </a:cubicBezTo>
                    <a:cubicBezTo>
                      <a:pt x="2" y="1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49" name="Freeform 2860"/>
              <p:cNvSpPr>
                <a:spLocks noChangeAspect="1"/>
              </p:cNvSpPr>
              <p:nvPr/>
            </p:nvSpPr>
            <p:spPr bwMode="auto">
              <a:xfrm>
                <a:off x="5075056" y="2905420"/>
                <a:ext cx="9814" cy="19490"/>
              </a:xfrm>
              <a:custGeom>
                <a:avLst/>
                <a:gdLst>
                  <a:gd name="T0" fmla="*/ 0 w 5"/>
                  <a:gd name="T1" fmla="*/ 1 h 10"/>
                  <a:gd name="T2" fmla="*/ 5 w 5"/>
                  <a:gd name="T3" fmla="*/ 2 h 10"/>
                  <a:gd name="T4" fmla="*/ 5 w 5"/>
                  <a:gd name="T5" fmla="*/ 11 h 10"/>
                  <a:gd name="T6" fmla="*/ 1 w 5"/>
                  <a:gd name="T7" fmla="*/ 8 h 10"/>
                  <a:gd name="T8" fmla="*/ 4 w 5"/>
                  <a:gd name="T9" fmla="*/ 6 h 10"/>
                  <a:gd name="T10" fmla="*/ 0 w 5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0"/>
                  <a:gd name="T20" fmla="*/ 5 w 5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0">
                    <a:moveTo>
                      <a:pt x="0" y="1"/>
                    </a:moveTo>
                    <a:cubicBezTo>
                      <a:pt x="1" y="0"/>
                      <a:pt x="4" y="1"/>
                      <a:pt x="4" y="2"/>
                    </a:cubicBezTo>
                    <a:cubicBezTo>
                      <a:pt x="5" y="4"/>
                      <a:pt x="5" y="7"/>
                      <a:pt x="4" y="9"/>
                    </a:cubicBezTo>
                    <a:cubicBezTo>
                      <a:pt x="4" y="10"/>
                      <a:pt x="1" y="8"/>
                      <a:pt x="1" y="7"/>
                    </a:cubicBezTo>
                    <a:cubicBezTo>
                      <a:pt x="1" y="6"/>
                      <a:pt x="3" y="6"/>
                      <a:pt x="3" y="5"/>
                    </a:cubicBezTo>
                    <a:cubicBezTo>
                      <a:pt x="3" y="4"/>
                      <a:pt x="0" y="3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0" name="Freeform 2861"/>
              <p:cNvSpPr>
                <a:spLocks noChangeAspect="1"/>
              </p:cNvSpPr>
              <p:nvPr/>
            </p:nvSpPr>
            <p:spPr bwMode="auto">
              <a:xfrm>
                <a:off x="5068513" y="2905420"/>
                <a:ext cx="4907" cy="6497"/>
              </a:xfrm>
              <a:custGeom>
                <a:avLst/>
                <a:gdLst>
                  <a:gd name="T0" fmla="*/ 0 w 3"/>
                  <a:gd name="T1" fmla="*/ 0 h 3"/>
                  <a:gd name="T2" fmla="*/ 2 w 3"/>
                  <a:gd name="T3" fmla="*/ 3 h 3"/>
                  <a:gd name="T4" fmla="*/ 1 w 3"/>
                  <a:gd name="T5" fmla="*/ 4 h 3"/>
                  <a:gd name="T6" fmla="*/ 0 w 3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3"/>
                  <a:gd name="T14" fmla="*/ 3 w 3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3">
                    <a:moveTo>
                      <a:pt x="0" y="0"/>
                    </a:moveTo>
                    <a:cubicBezTo>
                      <a:pt x="1" y="0"/>
                      <a:pt x="2" y="1"/>
                      <a:pt x="2" y="2"/>
                    </a:cubicBez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1" name="Freeform 2862"/>
              <p:cNvSpPr>
                <a:spLocks noChangeAspect="1"/>
              </p:cNvSpPr>
              <p:nvPr/>
            </p:nvSpPr>
            <p:spPr bwMode="auto">
              <a:xfrm>
                <a:off x="5022717" y="3001243"/>
                <a:ext cx="70331" cy="25986"/>
              </a:xfrm>
              <a:custGeom>
                <a:avLst/>
                <a:gdLst>
                  <a:gd name="T0" fmla="*/ 4 w 36"/>
                  <a:gd name="T1" fmla="*/ 0 h 13"/>
                  <a:gd name="T2" fmla="*/ 1 w 36"/>
                  <a:gd name="T3" fmla="*/ 5 h 13"/>
                  <a:gd name="T4" fmla="*/ 1 w 36"/>
                  <a:gd name="T5" fmla="*/ 9 h 13"/>
                  <a:gd name="T6" fmla="*/ 14 w 36"/>
                  <a:gd name="T7" fmla="*/ 10 h 13"/>
                  <a:gd name="T8" fmla="*/ 19 w 36"/>
                  <a:gd name="T9" fmla="*/ 12 h 13"/>
                  <a:gd name="T10" fmla="*/ 20 w 36"/>
                  <a:gd name="T11" fmla="*/ 16 h 13"/>
                  <a:gd name="T12" fmla="*/ 41 w 36"/>
                  <a:gd name="T13" fmla="*/ 14 h 13"/>
                  <a:gd name="T14" fmla="*/ 42 w 36"/>
                  <a:gd name="T15" fmla="*/ 10 h 13"/>
                  <a:gd name="T16" fmla="*/ 35 w 36"/>
                  <a:gd name="T17" fmla="*/ 11 h 13"/>
                  <a:gd name="T18" fmla="*/ 35 w 36"/>
                  <a:gd name="T19" fmla="*/ 7 h 13"/>
                  <a:gd name="T20" fmla="*/ 26 w 36"/>
                  <a:gd name="T21" fmla="*/ 7 h 13"/>
                  <a:gd name="T22" fmla="*/ 20 w 36"/>
                  <a:gd name="T23" fmla="*/ 5 h 13"/>
                  <a:gd name="T24" fmla="*/ 13 w 36"/>
                  <a:gd name="T25" fmla="*/ 6 h 13"/>
                  <a:gd name="T26" fmla="*/ 8 w 36"/>
                  <a:gd name="T27" fmla="*/ 2 h 13"/>
                  <a:gd name="T28" fmla="*/ 4 w 36"/>
                  <a:gd name="T29" fmla="*/ 0 h 1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6"/>
                  <a:gd name="T46" fmla="*/ 0 h 13"/>
                  <a:gd name="T47" fmla="*/ 36 w 36"/>
                  <a:gd name="T48" fmla="*/ 13 h 1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6" h="13">
                    <a:moveTo>
                      <a:pt x="3" y="0"/>
                    </a:moveTo>
                    <a:cubicBezTo>
                      <a:pt x="2" y="1"/>
                      <a:pt x="2" y="3"/>
                      <a:pt x="1" y="4"/>
                    </a:cubicBezTo>
                    <a:cubicBezTo>
                      <a:pt x="1" y="5"/>
                      <a:pt x="0" y="7"/>
                      <a:pt x="1" y="7"/>
                    </a:cubicBezTo>
                    <a:cubicBezTo>
                      <a:pt x="5" y="8"/>
                      <a:pt x="9" y="8"/>
                      <a:pt x="12" y="8"/>
                    </a:cubicBezTo>
                    <a:cubicBezTo>
                      <a:pt x="14" y="8"/>
                      <a:pt x="15" y="9"/>
                      <a:pt x="16" y="10"/>
                    </a:cubicBezTo>
                    <a:cubicBezTo>
                      <a:pt x="16" y="11"/>
                      <a:pt x="16" y="13"/>
                      <a:pt x="17" y="13"/>
                    </a:cubicBezTo>
                    <a:cubicBezTo>
                      <a:pt x="22" y="12"/>
                      <a:pt x="28" y="10"/>
                      <a:pt x="34" y="11"/>
                    </a:cubicBezTo>
                    <a:cubicBezTo>
                      <a:pt x="35" y="11"/>
                      <a:pt x="36" y="8"/>
                      <a:pt x="35" y="8"/>
                    </a:cubicBezTo>
                    <a:cubicBezTo>
                      <a:pt x="33" y="7"/>
                      <a:pt x="31" y="9"/>
                      <a:pt x="29" y="9"/>
                    </a:cubicBezTo>
                    <a:cubicBezTo>
                      <a:pt x="28" y="9"/>
                      <a:pt x="29" y="7"/>
                      <a:pt x="29" y="6"/>
                    </a:cubicBezTo>
                    <a:cubicBezTo>
                      <a:pt x="26" y="6"/>
                      <a:pt x="24" y="7"/>
                      <a:pt x="22" y="6"/>
                    </a:cubicBezTo>
                    <a:cubicBezTo>
                      <a:pt x="20" y="6"/>
                      <a:pt x="19" y="4"/>
                      <a:pt x="17" y="4"/>
                    </a:cubicBezTo>
                    <a:cubicBezTo>
                      <a:pt x="15" y="3"/>
                      <a:pt x="13" y="5"/>
                      <a:pt x="11" y="5"/>
                    </a:cubicBezTo>
                    <a:cubicBezTo>
                      <a:pt x="9" y="5"/>
                      <a:pt x="8" y="3"/>
                      <a:pt x="7" y="2"/>
                    </a:cubicBezTo>
                    <a:cubicBezTo>
                      <a:pt x="6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2" name="Freeform 2863"/>
              <p:cNvSpPr>
                <a:spLocks noChangeAspect="1"/>
              </p:cNvSpPr>
              <p:nvPr/>
            </p:nvSpPr>
            <p:spPr bwMode="auto">
              <a:xfrm>
                <a:off x="5124123" y="2972009"/>
                <a:ext cx="14721" cy="25986"/>
              </a:xfrm>
              <a:custGeom>
                <a:avLst/>
                <a:gdLst>
                  <a:gd name="T0" fmla="*/ 9 w 7"/>
                  <a:gd name="T1" fmla="*/ 2 h 13"/>
                  <a:gd name="T2" fmla="*/ 0 w 7"/>
                  <a:gd name="T3" fmla="*/ 15 h 13"/>
                  <a:gd name="T4" fmla="*/ 0 w 7"/>
                  <a:gd name="T5" fmla="*/ 11 h 13"/>
                  <a:gd name="T6" fmla="*/ 1 w 7"/>
                  <a:gd name="T7" fmla="*/ 6 h 13"/>
                  <a:gd name="T8" fmla="*/ 9 w 7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3"/>
                  <a:gd name="T17" fmla="*/ 7 w 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3">
                    <a:moveTo>
                      <a:pt x="7" y="2"/>
                    </a:moveTo>
                    <a:cubicBezTo>
                      <a:pt x="6" y="6"/>
                      <a:pt x="3" y="10"/>
                      <a:pt x="0" y="12"/>
                    </a:cubicBezTo>
                    <a:cubicBezTo>
                      <a:pt x="0" y="13"/>
                      <a:pt x="0" y="10"/>
                      <a:pt x="0" y="9"/>
                    </a:cubicBezTo>
                    <a:cubicBezTo>
                      <a:pt x="0" y="8"/>
                      <a:pt x="0" y="6"/>
                      <a:pt x="1" y="5"/>
                    </a:cubicBezTo>
                    <a:cubicBezTo>
                      <a:pt x="3" y="4"/>
                      <a:pt x="7" y="0"/>
                      <a:pt x="7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3" name="Freeform 2864"/>
              <p:cNvSpPr>
                <a:spLocks noChangeAspect="1"/>
              </p:cNvSpPr>
              <p:nvPr/>
            </p:nvSpPr>
            <p:spPr bwMode="auto">
              <a:xfrm>
                <a:off x="5109403" y="2999620"/>
                <a:ext cx="9814" cy="12993"/>
              </a:xfrm>
              <a:custGeom>
                <a:avLst/>
                <a:gdLst>
                  <a:gd name="T0" fmla="*/ 2 w 5"/>
                  <a:gd name="T1" fmla="*/ 1 h 7"/>
                  <a:gd name="T2" fmla="*/ 6 w 5"/>
                  <a:gd name="T3" fmla="*/ 7 h 7"/>
                  <a:gd name="T4" fmla="*/ 1 w 5"/>
                  <a:gd name="T5" fmla="*/ 6 h 7"/>
                  <a:gd name="T6" fmla="*/ 2 w 5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7"/>
                  <a:gd name="T14" fmla="*/ 5 w 5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7">
                    <a:moveTo>
                      <a:pt x="2" y="1"/>
                    </a:moveTo>
                    <a:cubicBezTo>
                      <a:pt x="4" y="1"/>
                      <a:pt x="5" y="4"/>
                      <a:pt x="5" y="6"/>
                    </a:cubicBezTo>
                    <a:cubicBezTo>
                      <a:pt x="5" y="7"/>
                      <a:pt x="2" y="6"/>
                      <a:pt x="1" y="5"/>
                    </a:cubicBezTo>
                    <a:cubicBezTo>
                      <a:pt x="1" y="4"/>
                      <a:pt x="0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4" name="Freeform 2865"/>
              <p:cNvSpPr>
                <a:spLocks noChangeAspect="1"/>
              </p:cNvSpPr>
              <p:nvPr/>
            </p:nvSpPr>
            <p:spPr bwMode="auto">
              <a:xfrm>
                <a:off x="5111039" y="2976882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1 w 3"/>
                  <a:gd name="T5" fmla="*/ 1 h 2"/>
                  <a:gd name="T6" fmla="*/ 0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5" name="Freeform 2866"/>
              <p:cNvSpPr>
                <a:spLocks noChangeAspect="1"/>
              </p:cNvSpPr>
              <p:nvPr/>
            </p:nvSpPr>
            <p:spPr bwMode="auto">
              <a:xfrm>
                <a:off x="5099589" y="2952519"/>
                <a:ext cx="4907" cy="4873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2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6" name="Freeform 2867"/>
              <p:cNvSpPr>
                <a:spLocks noChangeAspect="1"/>
              </p:cNvSpPr>
              <p:nvPr/>
            </p:nvSpPr>
            <p:spPr bwMode="auto">
              <a:xfrm>
                <a:off x="5071785" y="2855071"/>
                <a:ext cx="8178" cy="6497"/>
              </a:xfrm>
              <a:custGeom>
                <a:avLst/>
                <a:gdLst>
                  <a:gd name="T0" fmla="*/ 3 w 4"/>
                  <a:gd name="T1" fmla="*/ 1 h 3"/>
                  <a:gd name="T2" fmla="*/ 5 w 4"/>
                  <a:gd name="T3" fmla="*/ 3 h 3"/>
                  <a:gd name="T4" fmla="*/ 3 w 4"/>
                  <a:gd name="T5" fmla="*/ 3 h 3"/>
                  <a:gd name="T6" fmla="*/ 0 w 4"/>
                  <a:gd name="T7" fmla="*/ 1 h 3"/>
                  <a:gd name="T8" fmla="*/ 3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1"/>
                    </a:moveTo>
                    <a:cubicBezTo>
                      <a:pt x="3" y="1"/>
                      <a:pt x="4" y="1"/>
                      <a:pt x="4" y="2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7" name="Freeform 2868"/>
              <p:cNvSpPr>
                <a:spLocks noChangeAspect="1"/>
              </p:cNvSpPr>
              <p:nvPr/>
            </p:nvSpPr>
            <p:spPr bwMode="auto">
              <a:xfrm>
                <a:off x="5081598" y="2848575"/>
                <a:ext cx="9814" cy="9745"/>
              </a:xfrm>
              <a:custGeom>
                <a:avLst/>
                <a:gdLst>
                  <a:gd name="T0" fmla="*/ 5 w 5"/>
                  <a:gd name="T1" fmla="*/ 0 h 5"/>
                  <a:gd name="T2" fmla="*/ 2 w 5"/>
                  <a:gd name="T3" fmla="*/ 1 h 5"/>
                  <a:gd name="T4" fmla="*/ 1 w 5"/>
                  <a:gd name="T5" fmla="*/ 5 h 5"/>
                  <a:gd name="T6" fmla="*/ 4 w 5"/>
                  <a:gd name="T7" fmla="*/ 2 h 5"/>
                  <a:gd name="T8" fmla="*/ 5 w 5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0"/>
                    </a:moveTo>
                    <a:cubicBezTo>
                      <a:pt x="3" y="0"/>
                      <a:pt x="2" y="1"/>
                      <a:pt x="2" y="1"/>
                    </a:cubicBezTo>
                    <a:cubicBezTo>
                      <a:pt x="1" y="2"/>
                      <a:pt x="0" y="4"/>
                      <a:pt x="1" y="4"/>
                    </a:cubicBezTo>
                    <a:cubicBezTo>
                      <a:pt x="2" y="5"/>
                      <a:pt x="3" y="3"/>
                      <a:pt x="3" y="2"/>
                    </a:cubicBezTo>
                    <a:cubicBezTo>
                      <a:pt x="4" y="2"/>
                      <a:pt x="5" y="1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8" name="Freeform 2869"/>
              <p:cNvSpPr>
                <a:spLocks noChangeAspect="1"/>
              </p:cNvSpPr>
              <p:nvPr/>
            </p:nvSpPr>
            <p:spPr bwMode="auto">
              <a:xfrm>
                <a:off x="4952386" y="2229781"/>
                <a:ext cx="32712" cy="24362"/>
              </a:xfrm>
              <a:custGeom>
                <a:avLst/>
                <a:gdLst>
                  <a:gd name="T0" fmla="*/ 19 w 17"/>
                  <a:gd name="T1" fmla="*/ 2 h 13"/>
                  <a:gd name="T2" fmla="*/ 7 w 17"/>
                  <a:gd name="T3" fmla="*/ 9 h 13"/>
                  <a:gd name="T4" fmla="*/ 5 w 17"/>
                  <a:gd name="T5" fmla="*/ 15 h 13"/>
                  <a:gd name="T6" fmla="*/ 2 w 17"/>
                  <a:gd name="T7" fmla="*/ 14 h 13"/>
                  <a:gd name="T8" fmla="*/ 5 w 17"/>
                  <a:gd name="T9" fmla="*/ 9 h 13"/>
                  <a:gd name="T10" fmla="*/ 0 w 17"/>
                  <a:gd name="T11" fmla="*/ 6 h 13"/>
                  <a:gd name="T12" fmla="*/ 4 w 17"/>
                  <a:gd name="T13" fmla="*/ 2 h 13"/>
                  <a:gd name="T14" fmla="*/ 14 w 17"/>
                  <a:gd name="T15" fmla="*/ 0 h 13"/>
                  <a:gd name="T16" fmla="*/ 19 w 17"/>
                  <a:gd name="T17" fmla="*/ 1 h 13"/>
                  <a:gd name="T18" fmla="*/ 19 w 17"/>
                  <a:gd name="T19" fmla="*/ 2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"/>
                  <a:gd name="T31" fmla="*/ 0 h 13"/>
                  <a:gd name="T32" fmla="*/ 17 w 17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" h="13">
                    <a:moveTo>
                      <a:pt x="16" y="2"/>
                    </a:moveTo>
                    <a:cubicBezTo>
                      <a:pt x="13" y="5"/>
                      <a:pt x="9" y="5"/>
                      <a:pt x="6" y="8"/>
                    </a:cubicBezTo>
                    <a:cubicBezTo>
                      <a:pt x="5" y="9"/>
                      <a:pt x="6" y="11"/>
                      <a:pt x="4" y="13"/>
                    </a:cubicBezTo>
                    <a:cubicBezTo>
                      <a:pt x="4" y="13"/>
                      <a:pt x="2" y="13"/>
                      <a:pt x="2" y="12"/>
                    </a:cubicBezTo>
                    <a:cubicBezTo>
                      <a:pt x="2" y="10"/>
                      <a:pt x="4" y="9"/>
                      <a:pt x="4" y="8"/>
                    </a:cubicBezTo>
                    <a:cubicBezTo>
                      <a:pt x="3" y="6"/>
                      <a:pt x="0" y="6"/>
                      <a:pt x="0" y="5"/>
                    </a:cubicBezTo>
                    <a:cubicBezTo>
                      <a:pt x="0" y="3"/>
                      <a:pt x="1" y="2"/>
                      <a:pt x="3" y="2"/>
                    </a:cubicBezTo>
                    <a:cubicBezTo>
                      <a:pt x="6" y="0"/>
                      <a:pt x="9" y="0"/>
                      <a:pt x="12" y="0"/>
                    </a:cubicBezTo>
                    <a:cubicBezTo>
                      <a:pt x="13" y="0"/>
                      <a:pt x="15" y="0"/>
                      <a:pt x="16" y="1"/>
                    </a:cubicBezTo>
                    <a:cubicBezTo>
                      <a:pt x="16" y="1"/>
                      <a:pt x="17" y="2"/>
                      <a:pt x="16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59" name="Freeform 2870"/>
              <p:cNvSpPr>
                <a:spLocks noChangeAspect="1"/>
              </p:cNvSpPr>
              <p:nvPr/>
            </p:nvSpPr>
            <p:spPr bwMode="auto">
              <a:xfrm>
                <a:off x="4954022" y="2210292"/>
                <a:ext cx="22898" cy="14618"/>
              </a:xfrm>
              <a:custGeom>
                <a:avLst/>
                <a:gdLst>
                  <a:gd name="T0" fmla="*/ 8 w 12"/>
                  <a:gd name="T1" fmla="*/ 0 h 8"/>
                  <a:gd name="T2" fmla="*/ 14 w 12"/>
                  <a:gd name="T3" fmla="*/ 6 h 8"/>
                  <a:gd name="T4" fmla="*/ 9 w 12"/>
                  <a:gd name="T5" fmla="*/ 6 h 8"/>
                  <a:gd name="T6" fmla="*/ 8 w 12"/>
                  <a:gd name="T7" fmla="*/ 9 h 8"/>
                  <a:gd name="T8" fmla="*/ 4 w 12"/>
                  <a:gd name="T9" fmla="*/ 6 h 8"/>
                  <a:gd name="T10" fmla="*/ 1 w 12"/>
                  <a:gd name="T11" fmla="*/ 3 h 8"/>
                  <a:gd name="T12" fmla="*/ 7 w 12"/>
                  <a:gd name="T13" fmla="*/ 2 h 8"/>
                  <a:gd name="T14" fmla="*/ 8 w 12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8"/>
                  <a:gd name="T26" fmla="*/ 12 w 12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8">
                    <a:moveTo>
                      <a:pt x="7" y="0"/>
                    </a:moveTo>
                    <a:cubicBezTo>
                      <a:pt x="9" y="1"/>
                      <a:pt x="12" y="2"/>
                      <a:pt x="12" y="5"/>
                    </a:cubicBezTo>
                    <a:cubicBezTo>
                      <a:pt x="12" y="6"/>
                      <a:pt x="9" y="4"/>
                      <a:pt x="8" y="5"/>
                    </a:cubicBezTo>
                    <a:cubicBezTo>
                      <a:pt x="7" y="6"/>
                      <a:pt x="8" y="8"/>
                      <a:pt x="7" y="8"/>
                    </a:cubicBezTo>
                    <a:cubicBezTo>
                      <a:pt x="6" y="8"/>
                      <a:pt x="5" y="6"/>
                      <a:pt x="3" y="5"/>
                    </a:cubicBezTo>
                    <a:cubicBezTo>
                      <a:pt x="2" y="4"/>
                      <a:pt x="0" y="4"/>
                      <a:pt x="1" y="3"/>
                    </a:cubicBezTo>
                    <a:cubicBezTo>
                      <a:pt x="2" y="2"/>
                      <a:pt x="5" y="3"/>
                      <a:pt x="6" y="2"/>
                    </a:cubicBezTo>
                    <a:cubicBezTo>
                      <a:pt x="7" y="2"/>
                      <a:pt x="6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0" name="Freeform 2871"/>
              <p:cNvSpPr>
                <a:spLocks noChangeAspect="1"/>
              </p:cNvSpPr>
              <p:nvPr/>
            </p:nvSpPr>
            <p:spPr bwMode="auto">
              <a:xfrm>
                <a:off x="5232072" y="3001243"/>
                <a:ext cx="62152" cy="37356"/>
              </a:xfrm>
              <a:custGeom>
                <a:avLst/>
                <a:gdLst>
                  <a:gd name="T0" fmla="*/ 26 w 31"/>
                  <a:gd name="T1" fmla="*/ 8 h 19"/>
                  <a:gd name="T2" fmla="*/ 37 w 31"/>
                  <a:gd name="T3" fmla="*/ 1 h 19"/>
                  <a:gd name="T4" fmla="*/ 36 w 31"/>
                  <a:gd name="T5" fmla="*/ 0 h 19"/>
                  <a:gd name="T6" fmla="*/ 23 w 31"/>
                  <a:gd name="T7" fmla="*/ 6 h 19"/>
                  <a:gd name="T8" fmla="*/ 20 w 31"/>
                  <a:gd name="T9" fmla="*/ 7 h 19"/>
                  <a:gd name="T10" fmla="*/ 12 w 31"/>
                  <a:gd name="T11" fmla="*/ 6 h 19"/>
                  <a:gd name="T12" fmla="*/ 9 w 31"/>
                  <a:gd name="T13" fmla="*/ 5 h 19"/>
                  <a:gd name="T14" fmla="*/ 9 w 31"/>
                  <a:gd name="T15" fmla="*/ 8 h 19"/>
                  <a:gd name="T16" fmla="*/ 1 w 31"/>
                  <a:gd name="T17" fmla="*/ 10 h 19"/>
                  <a:gd name="T18" fmla="*/ 0 w 31"/>
                  <a:gd name="T19" fmla="*/ 17 h 19"/>
                  <a:gd name="T20" fmla="*/ 6 w 31"/>
                  <a:gd name="T21" fmla="*/ 19 h 19"/>
                  <a:gd name="T22" fmla="*/ 11 w 31"/>
                  <a:gd name="T23" fmla="*/ 19 h 19"/>
                  <a:gd name="T24" fmla="*/ 15 w 31"/>
                  <a:gd name="T25" fmla="*/ 22 h 19"/>
                  <a:gd name="T26" fmla="*/ 20 w 31"/>
                  <a:gd name="T27" fmla="*/ 17 h 19"/>
                  <a:gd name="T28" fmla="*/ 23 w 31"/>
                  <a:gd name="T29" fmla="*/ 13 h 19"/>
                  <a:gd name="T30" fmla="*/ 28 w 31"/>
                  <a:gd name="T31" fmla="*/ 13 h 19"/>
                  <a:gd name="T32" fmla="*/ 28 w 31"/>
                  <a:gd name="T33" fmla="*/ 12 h 19"/>
                  <a:gd name="T34" fmla="*/ 26 w 31"/>
                  <a:gd name="T35" fmla="*/ 8 h 1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1"/>
                  <a:gd name="T55" fmla="*/ 0 h 19"/>
                  <a:gd name="T56" fmla="*/ 31 w 31"/>
                  <a:gd name="T57" fmla="*/ 19 h 1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1" h="19">
                    <a:moveTo>
                      <a:pt x="21" y="7"/>
                    </a:moveTo>
                    <a:cubicBezTo>
                      <a:pt x="24" y="4"/>
                      <a:pt x="28" y="3"/>
                      <a:pt x="30" y="1"/>
                    </a:cubicBezTo>
                    <a:cubicBezTo>
                      <a:pt x="31" y="1"/>
                      <a:pt x="29" y="0"/>
                      <a:pt x="29" y="0"/>
                    </a:cubicBezTo>
                    <a:cubicBezTo>
                      <a:pt x="25" y="1"/>
                      <a:pt x="22" y="3"/>
                      <a:pt x="19" y="5"/>
                    </a:cubicBezTo>
                    <a:cubicBezTo>
                      <a:pt x="18" y="5"/>
                      <a:pt x="17" y="6"/>
                      <a:pt x="16" y="6"/>
                    </a:cubicBezTo>
                    <a:cubicBezTo>
                      <a:pt x="14" y="6"/>
                      <a:pt x="12" y="6"/>
                      <a:pt x="10" y="5"/>
                    </a:cubicBezTo>
                    <a:cubicBezTo>
                      <a:pt x="9" y="5"/>
                      <a:pt x="8" y="4"/>
                      <a:pt x="7" y="4"/>
                    </a:cubicBezTo>
                    <a:cubicBezTo>
                      <a:pt x="6" y="4"/>
                      <a:pt x="8" y="6"/>
                      <a:pt x="7" y="7"/>
                    </a:cubicBezTo>
                    <a:cubicBezTo>
                      <a:pt x="5" y="8"/>
                      <a:pt x="2" y="7"/>
                      <a:pt x="1" y="8"/>
                    </a:cubicBezTo>
                    <a:cubicBezTo>
                      <a:pt x="1" y="10"/>
                      <a:pt x="0" y="13"/>
                      <a:pt x="0" y="14"/>
                    </a:cubicBezTo>
                    <a:cubicBezTo>
                      <a:pt x="2" y="14"/>
                      <a:pt x="4" y="15"/>
                      <a:pt x="5" y="16"/>
                    </a:cubicBezTo>
                    <a:cubicBezTo>
                      <a:pt x="7" y="16"/>
                      <a:pt x="8" y="16"/>
                      <a:pt x="9" y="16"/>
                    </a:cubicBezTo>
                    <a:cubicBezTo>
                      <a:pt x="10" y="16"/>
                      <a:pt x="11" y="19"/>
                      <a:pt x="12" y="18"/>
                    </a:cubicBezTo>
                    <a:cubicBezTo>
                      <a:pt x="13" y="16"/>
                      <a:pt x="14" y="15"/>
                      <a:pt x="16" y="14"/>
                    </a:cubicBezTo>
                    <a:cubicBezTo>
                      <a:pt x="17" y="13"/>
                      <a:pt x="18" y="12"/>
                      <a:pt x="19" y="11"/>
                    </a:cubicBezTo>
                    <a:cubicBezTo>
                      <a:pt x="20" y="11"/>
                      <a:pt x="22" y="12"/>
                      <a:pt x="23" y="11"/>
                    </a:cubicBezTo>
                    <a:cubicBezTo>
                      <a:pt x="23" y="11"/>
                      <a:pt x="23" y="10"/>
                      <a:pt x="23" y="10"/>
                    </a:cubicBezTo>
                    <a:cubicBezTo>
                      <a:pt x="22" y="9"/>
                      <a:pt x="21" y="7"/>
                      <a:pt x="21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1" name="Freeform 2872"/>
              <p:cNvSpPr>
                <a:spLocks noChangeAspect="1"/>
              </p:cNvSpPr>
              <p:nvPr/>
            </p:nvSpPr>
            <p:spPr bwMode="auto">
              <a:xfrm>
                <a:off x="5506851" y="3499852"/>
                <a:ext cx="263330" cy="183527"/>
              </a:xfrm>
              <a:custGeom>
                <a:avLst/>
                <a:gdLst>
                  <a:gd name="T0" fmla="*/ 161 w 134"/>
                  <a:gd name="T1" fmla="*/ 42 h 94"/>
                  <a:gd name="T2" fmla="*/ 147 w 134"/>
                  <a:gd name="T3" fmla="*/ 50 h 94"/>
                  <a:gd name="T4" fmla="*/ 147 w 134"/>
                  <a:gd name="T5" fmla="*/ 60 h 94"/>
                  <a:gd name="T6" fmla="*/ 121 w 134"/>
                  <a:gd name="T7" fmla="*/ 70 h 94"/>
                  <a:gd name="T8" fmla="*/ 103 w 134"/>
                  <a:gd name="T9" fmla="*/ 79 h 94"/>
                  <a:gd name="T10" fmla="*/ 95 w 134"/>
                  <a:gd name="T11" fmla="*/ 88 h 94"/>
                  <a:gd name="T12" fmla="*/ 85 w 134"/>
                  <a:gd name="T13" fmla="*/ 88 h 94"/>
                  <a:gd name="T14" fmla="*/ 71 w 134"/>
                  <a:gd name="T15" fmla="*/ 95 h 94"/>
                  <a:gd name="T16" fmla="*/ 58 w 134"/>
                  <a:gd name="T17" fmla="*/ 95 h 94"/>
                  <a:gd name="T18" fmla="*/ 46 w 134"/>
                  <a:gd name="T19" fmla="*/ 100 h 94"/>
                  <a:gd name="T20" fmla="*/ 37 w 134"/>
                  <a:gd name="T21" fmla="*/ 111 h 94"/>
                  <a:gd name="T22" fmla="*/ 17 w 134"/>
                  <a:gd name="T23" fmla="*/ 111 h 94"/>
                  <a:gd name="T24" fmla="*/ 12 w 134"/>
                  <a:gd name="T25" fmla="*/ 101 h 94"/>
                  <a:gd name="T26" fmla="*/ 11 w 134"/>
                  <a:gd name="T27" fmla="*/ 87 h 94"/>
                  <a:gd name="T28" fmla="*/ 5 w 134"/>
                  <a:gd name="T29" fmla="*/ 71 h 94"/>
                  <a:gd name="T30" fmla="*/ 0 w 134"/>
                  <a:gd name="T31" fmla="*/ 70 h 94"/>
                  <a:gd name="T32" fmla="*/ 5 w 134"/>
                  <a:gd name="T33" fmla="*/ 65 h 94"/>
                  <a:gd name="T34" fmla="*/ 6 w 134"/>
                  <a:gd name="T35" fmla="*/ 54 h 94"/>
                  <a:gd name="T36" fmla="*/ 5 w 134"/>
                  <a:gd name="T37" fmla="*/ 48 h 94"/>
                  <a:gd name="T38" fmla="*/ 10 w 134"/>
                  <a:gd name="T39" fmla="*/ 42 h 94"/>
                  <a:gd name="T40" fmla="*/ 10 w 134"/>
                  <a:gd name="T41" fmla="*/ 32 h 94"/>
                  <a:gd name="T42" fmla="*/ 13 w 134"/>
                  <a:gd name="T43" fmla="*/ 29 h 94"/>
                  <a:gd name="T44" fmla="*/ 18 w 134"/>
                  <a:gd name="T45" fmla="*/ 31 h 94"/>
                  <a:gd name="T46" fmla="*/ 60 w 134"/>
                  <a:gd name="T47" fmla="*/ 29 h 94"/>
                  <a:gd name="T48" fmla="*/ 68 w 134"/>
                  <a:gd name="T49" fmla="*/ 35 h 94"/>
                  <a:gd name="T50" fmla="*/ 77 w 134"/>
                  <a:gd name="T51" fmla="*/ 34 h 94"/>
                  <a:gd name="T52" fmla="*/ 90 w 134"/>
                  <a:gd name="T53" fmla="*/ 16 h 94"/>
                  <a:gd name="T54" fmla="*/ 141 w 134"/>
                  <a:gd name="T55" fmla="*/ 0 h 94"/>
                  <a:gd name="T56" fmla="*/ 161 w 134"/>
                  <a:gd name="T57" fmla="*/ 42 h 9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4"/>
                  <a:gd name="T88" fmla="*/ 0 h 94"/>
                  <a:gd name="T89" fmla="*/ 134 w 134"/>
                  <a:gd name="T90" fmla="*/ 94 h 9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4" h="94">
                    <a:moveTo>
                      <a:pt x="134" y="35"/>
                    </a:moveTo>
                    <a:cubicBezTo>
                      <a:pt x="130" y="38"/>
                      <a:pt x="125" y="39"/>
                      <a:pt x="122" y="42"/>
                    </a:cubicBezTo>
                    <a:cubicBezTo>
                      <a:pt x="121" y="45"/>
                      <a:pt x="124" y="49"/>
                      <a:pt x="122" y="50"/>
                    </a:cubicBezTo>
                    <a:cubicBezTo>
                      <a:pt x="116" y="55"/>
                      <a:pt x="108" y="55"/>
                      <a:pt x="101" y="58"/>
                    </a:cubicBezTo>
                    <a:cubicBezTo>
                      <a:pt x="96" y="60"/>
                      <a:pt x="90" y="63"/>
                      <a:pt x="86" y="66"/>
                    </a:cubicBezTo>
                    <a:cubicBezTo>
                      <a:pt x="83" y="68"/>
                      <a:pt x="82" y="72"/>
                      <a:pt x="79" y="73"/>
                    </a:cubicBezTo>
                    <a:cubicBezTo>
                      <a:pt x="76" y="74"/>
                      <a:pt x="73" y="72"/>
                      <a:pt x="71" y="73"/>
                    </a:cubicBezTo>
                    <a:cubicBezTo>
                      <a:pt x="66" y="74"/>
                      <a:pt x="63" y="78"/>
                      <a:pt x="59" y="79"/>
                    </a:cubicBezTo>
                    <a:cubicBezTo>
                      <a:pt x="56" y="80"/>
                      <a:pt x="52" y="79"/>
                      <a:pt x="48" y="79"/>
                    </a:cubicBezTo>
                    <a:cubicBezTo>
                      <a:pt x="45" y="80"/>
                      <a:pt x="41" y="81"/>
                      <a:pt x="38" y="83"/>
                    </a:cubicBezTo>
                    <a:cubicBezTo>
                      <a:pt x="35" y="85"/>
                      <a:pt x="34" y="90"/>
                      <a:pt x="31" y="92"/>
                    </a:cubicBezTo>
                    <a:cubicBezTo>
                      <a:pt x="26" y="94"/>
                      <a:pt x="20" y="94"/>
                      <a:pt x="14" y="92"/>
                    </a:cubicBezTo>
                    <a:cubicBezTo>
                      <a:pt x="11" y="91"/>
                      <a:pt x="11" y="87"/>
                      <a:pt x="10" y="84"/>
                    </a:cubicBezTo>
                    <a:cubicBezTo>
                      <a:pt x="9" y="80"/>
                      <a:pt x="10" y="76"/>
                      <a:pt x="9" y="72"/>
                    </a:cubicBezTo>
                    <a:cubicBezTo>
                      <a:pt x="8" y="68"/>
                      <a:pt x="7" y="63"/>
                      <a:pt x="4" y="59"/>
                    </a:cubicBezTo>
                    <a:cubicBezTo>
                      <a:pt x="4" y="58"/>
                      <a:pt x="0" y="59"/>
                      <a:pt x="0" y="58"/>
                    </a:cubicBezTo>
                    <a:cubicBezTo>
                      <a:pt x="0" y="56"/>
                      <a:pt x="3" y="55"/>
                      <a:pt x="4" y="54"/>
                    </a:cubicBezTo>
                    <a:cubicBezTo>
                      <a:pt x="5" y="51"/>
                      <a:pt x="5" y="48"/>
                      <a:pt x="5" y="45"/>
                    </a:cubicBezTo>
                    <a:cubicBezTo>
                      <a:pt x="5" y="43"/>
                      <a:pt x="5" y="42"/>
                      <a:pt x="4" y="40"/>
                    </a:cubicBezTo>
                    <a:cubicBezTo>
                      <a:pt x="6" y="38"/>
                      <a:pt x="7" y="37"/>
                      <a:pt x="8" y="35"/>
                    </a:cubicBezTo>
                    <a:cubicBezTo>
                      <a:pt x="9" y="32"/>
                      <a:pt x="8" y="29"/>
                      <a:pt x="8" y="27"/>
                    </a:cubicBezTo>
                    <a:cubicBezTo>
                      <a:pt x="9" y="25"/>
                      <a:pt x="10" y="24"/>
                      <a:pt x="11" y="24"/>
                    </a:cubicBezTo>
                    <a:cubicBezTo>
                      <a:pt x="13" y="23"/>
                      <a:pt x="14" y="26"/>
                      <a:pt x="15" y="26"/>
                    </a:cubicBezTo>
                    <a:cubicBezTo>
                      <a:pt x="27" y="26"/>
                      <a:pt x="39" y="24"/>
                      <a:pt x="50" y="24"/>
                    </a:cubicBezTo>
                    <a:lnTo>
                      <a:pt x="57" y="29"/>
                    </a:lnTo>
                    <a:cubicBezTo>
                      <a:pt x="59" y="31"/>
                      <a:pt x="62" y="30"/>
                      <a:pt x="64" y="28"/>
                    </a:cubicBezTo>
                    <a:cubicBezTo>
                      <a:pt x="69" y="24"/>
                      <a:pt x="71" y="18"/>
                      <a:pt x="75" y="13"/>
                    </a:cubicBezTo>
                    <a:cubicBezTo>
                      <a:pt x="89" y="9"/>
                      <a:pt x="103" y="4"/>
                      <a:pt x="117" y="0"/>
                    </a:cubicBezTo>
                    <a:lnTo>
                      <a:pt x="134" y="35"/>
                    </a:ln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2" name="Freeform 2873"/>
              <p:cNvSpPr>
                <a:spLocks noChangeAspect="1"/>
              </p:cNvSpPr>
              <p:nvPr/>
            </p:nvSpPr>
            <p:spPr bwMode="auto">
              <a:xfrm>
                <a:off x="5832332" y="3278970"/>
                <a:ext cx="13085" cy="34107"/>
              </a:xfrm>
              <a:custGeom>
                <a:avLst/>
                <a:gdLst>
                  <a:gd name="T0" fmla="*/ 3 w 7"/>
                  <a:gd name="T1" fmla="*/ 20 h 18"/>
                  <a:gd name="T2" fmla="*/ 6 w 7"/>
                  <a:gd name="T3" fmla="*/ 14 h 18"/>
                  <a:gd name="T4" fmla="*/ 6 w 7"/>
                  <a:gd name="T5" fmla="*/ 2 h 18"/>
                  <a:gd name="T6" fmla="*/ 0 w 7"/>
                  <a:gd name="T7" fmla="*/ 8 h 18"/>
                  <a:gd name="T8" fmla="*/ 1 w 7"/>
                  <a:gd name="T9" fmla="*/ 14 h 18"/>
                  <a:gd name="T10" fmla="*/ 1 w 7"/>
                  <a:gd name="T11" fmla="*/ 21 h 18"/>
                  <a:gd name="T12" fmla="*/ 3 w 7"/>
                  <a:gd name="T13" fmla="*/ 2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8"/>
                  <a:gd name="T23" fmla="*/ 7 w 7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8">
                    <a:moveTo>
                      <a:pt x="3" y="17"/>
                    </a:moveTo>
                    <a:cubicBezTo>
                      <a:pt x="4" y="15"/>
                      <a:pt x="5" y="14"/>
                      <a:pt x="5" y="12"/>
                    </a:cubicBezTo>
                    <a:cubicBezTo>
                      <a:pt x="6" y="9"/>
                      <a:pt x="7" y="4"/>
                      <a:pt x="5" y="2"/>
                    </a:cubicBezTo>
                    <a:cubicBezTo>
                      <a:pt x="4" y="0"/>
                      <a:pt x="2" y="5"/>
                      <a:pt x="0" y="7"/>
                    </a:cubicBezTo>
                    <a:cubicBezTo>
                      <a:pt x="1" y="8"/>
                      <a:pt x="1" y="10"/>
                      <a:pt x="1" y="12"/>
                    </a:cubicBezTo>
                    <a:cubicBezTo>
                      <a:pt x="1" y="14"/>
                      <a:pt x="0" y="16"/>
                      <a:pt x="1" y="18"/>
                    </a:cubicBezTo>
                    <a:cubicBezTo>
                      <a:pt x="1" y="18"/>
                      <a:pt x="2" y="18"/>
                      <a:pt x="3" y="17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3" name="Freeform 2874"/>
              <p:cNvSpPr>
                <a:spLocks noChangeAspect="1"/>
              </p:cNvSpPr>
              <p:nvPr/>
            </p:nvSpPr>
            <p:spPr bwMode="auto">
              <a:xfrm>
                <a:off x="5703122" y="3290339"/>
                <a:ext cx="24534" cy="51972"/>
              </a:xfrm>
              <a:custGeom>
                <a:avLst/>
                <a:gdLst>
                  <a:gd name="T0" fmla="*/ 6 w 12"/>
                  <a:gd name="T1" fmla="*/ 30 h 27"/>
                  <a:gd name="T2" fmla="*/ 13 w 12"/>
                  <a:gd name="T3" fmla="*/ 27 h 27"/>
                  <a:gd name="T4" fmla="*/ 14 w 12"/>
                  <a:gd name="T5" fmla="*/ 21 h 27"/>
                  <a:gd name="T6" fmla="*/ 9 w 12"/>
                  <a:gd name="T7" fmla="*/ 14 h 27"/>
                  <a:gd name="T8" fmla="*/ 11 w 12"/>
                  <a:gd name="T9" fmla="*/ 8 h 27"/>
                  <a:gd name="T10" fmla="*/ 6 w 12"/>
                  <a:gd name="T11" fmla="*/ 0 h 27"/>
                  <a:gd name="T12" fmla="*/ 1 w 12"/>
                  <a:gd name="T13" fmla="*/ 6 h 27"/>
                  <a:gd name="T14" fmla="*/ 1 w 12"/>
                  <a:gd name="T15" fmla="*/ 13 h 27"/>
                  <a:gd name="T16" fmla="*/ 1 w 12"/>
                  <a:gd name="T17" fmla="*/ 19 h 27"/>
                  <a:gd name="T18" fmla="*/ 1 w 12"/>
                  <a:gd name="T19" fmla="*/ 25 h 27"/>
                  <a:gd name="T20" fmla="*/ 0 w 12"/>
                  <a:gd name="T21" fmla="*/ 27 h 27"/>
                  <a:gd name="T22" fmla="*/ 3 w 12"/>
                  <a:gd name="T23" fmla="*/ 32 h 27"/>
                  <a:gd name="T24" fmla="*/ 6 w 12"/>
                  <a:gd name="T25" fmla="*/ 30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2"/>
                  <a:gd name="T40" fmla="*/ 0 h 27"/>
                  <a:gd name="T41" fmla="*/ 12 w 12"/>
                  <a:gd name="T42" fmla="*/ 27 h 2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2" h="27">
                    <a:moveTo>
                      <a:pt x="5" y="25"/>
                    </a:moveTo>
                    <a:cubicBezTo>
                      <a:pt x="7" y="25"/>
                      <a:pt x="9" y="24"/>
                      <a:pt x="10" y="23"/>
                    </a:cubicBezTo>
                    <a:cubicBezTo>
                      <a:pt x="11" y="21"/>
                      <a:pt x="12" y="20"/>
                      <a:pt x="11" y="18"/>
                    </a:cubicBezTo>
                    <a:cubicBezTo>
                      <a:pt x="11" y="16"/>
                      <a:pt x="7" y="15"/>
                      <a:pt x="7" y="12"/>
                    </a:cubicBezTo>
                    <a:cubicBezTo>
                      <a:pt x="6" y="10"/>
                      <a:pt x="9" y="9"/>
                      <a:pt x="9" y="7"/>
                    </a:cubicBezTo>
                    <a:cubicBezTo>
                      <a:pt x="8" y="5"/>
                      <a:pt x="7" y="2"/>
                      <a:pt x="5" y="0"/>
                    </a:cubicBezTo>
                    <a:cubicBezTo>
                      <a:pt x="3" y="0"/>
                      <a:pt x="2" y="3"/>
                      <a:pt x="1" y="5"/>
                    </a:cubicBezTo>
                    <a:cubicBezTo>
                      <a:pt x="0" y="7"/>
                      <a:pt x="1" y="9"/>
                      <a:pt x="1" y="11"/>
                    </a:cubicBezTo>
                    <a:cubicBezTo>
                      <a:pt x="1" y="12"/>
                      <a:pt x="0" y="14"/>
                      <a:pt x="1" y="16"/>
                    </a:cubicBezTo>
                    <a:cubicBezTo>
                      <a:pt x="1" y="17"/>
                      <a:pt x="2" y="19"/>
                      <a:pt x="1" y="21"/>
                    </a:cubicBezTo>
                    <a:cubicBezTo>
                      <a:pt x="1" y="22"/>
                      <a:pt x="1" y="22"/>
                      <a:pt x="0" y="23"/>
                    </a:cubicBezTo>
                    <a:cubicBezTo>
                      <a:pt x="0" y="24"/>
                      <a:pt x="1" y="26"/>
                      <a:pt x="2" y="27"/>
                    </a:cubicBezTo>
                    <a:cubicBezTo>
                      <a:pt x="3" y="27"/>
                      <a:pt x="4" y="26"/>
                      <a:pt x="5" y="25"/>
                    </a:cubicBezTo>
                    <a:close/>
                  </a:path>
                </a:pathLst>
              </a:custGeom>
              <a:solidFill>
                <a:srgbClr val="FFFF0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4" name="Freeform 2875"/>
              <p:cNvSpPr>
                <a:spLocks noChangeAspect="1"/>
              </p:cNvSpPr>
              <p:nvPr/>
            </p:nvSpPr>
            <p:spPr bwMode="auto">
              <a:xfrm>
                <a:off x="5629520" y="3178274"/>
                <a:ext cx="9814" cy="12993"/>
              </a:xfrm>
              <a:custGeom>
                <a:avLst/>
                <a:gdLst>
                  <a:gd name="T0" fmla="*/ 0 w 5"/>
                  <a:gd name="T1" fmla="*/ 1 h 6"/>
                  <a:gd name="T2" fmla="*/ 1 w 5"/>
                  <a:gd name="T3" fmla="*/ 7 h 6"/>
                  <a:gd name="T4" fmla="*/ 4 w 5"/>
                  <a:gd name="T5" fmla="*/ 7 h 6"/>
                  <a:gd name="T6" fmla="*/ 6 w 5"/>
                  <a:gd name="T7" fmla="*/ 4 h 6"/>
                  <a:gd name="T8" fmla="*/ 4 w 5"/>
                  <a:gd name="T9" fmla="*/ 1 h 6"/>
                  <a:gd name="T10" fmla="*/ 0 w 5"/>
                  <a:gd name="T11" fmla="*/ 1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6"/>
                  <a:gd name="T20" fmla="*/ 5 w 5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6">
                    <a:moveTo>
                      <a:pt x="0" y="1"/>
                    </a:moveTo>
                    <a:cubicBezTo>
                      <a:pt x="0" y="2"/>
                      <a:pt x="0" y="4"/>
                      <a:pt x="1" y="5"/>
                    </a:cubicBezTo>
                    <a:cubicBezTo>
                      <a:pt x="1" y="6"/>
                      <a:pt x="2" y="5"/>
                      <a:pt x="3" y="5"/>
                    </a:cubicBezTo>
                    <a:cubicBezTo>
                      <a:pt x="4" y="4"/>
                      <a:pt x="5" y="4"/>
                      <a:pt x="5" y="3"/>
                    </a:cubicBezTo>
                    <a:cubicBezTo>
                      <a:pt x="5" y="2"/>
                      <a:pt x="4" y="2"/>
                      <a:pt x="3" y="1"/>
                    </a:cubicBezTo>
                    <a:cubicBezTo>
                      <a:pt x="2" y="1"/>
                      <a:pt x="1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5" name="Freeform 2876"/>
              <p:cNvSpPr>
                <a:spLocks noChangeAspect="1"/>
              </p:cNvSpPr>
              <p:nvPr/>
            </p:nvSpPr>
            <p:spPr bwMode="auto">
              <a:xfrm>
                <a:off x="5483953" y="3563193"/>
                <a:ext cx="17992" cy="19490"/>
              </a:xfrm>
              <a:custGeom>
                <a:avLst/>
                <a:gdLst>
                  <a:gd name="T0" fmla="*/ 0 w 9"/>
                  <a:gd name="T1" fmla="*/ 2 h 10"/>
                  <a:gd name="T2" fmla="*/ 4 w 9"/>
                  <a:gd name="T3" fmla="*/ 1 h 10"/>
                  <a:gd name="T4" fmla="*/ 5 w 9"/>
                  <a:gd name="T5" fmla="*/ 6 h 10"/>
                  <a:gd name="T6" fmla="*/ 9 w 9"/>
                  <a:gd name="T7" fmla="*/ 5 h 10"/>
                  <a:gd name="T8" fmla="*/ 10 w 9"/>
                  <a:gd name="T9" fmla="*/ 11 h 10"/>
                  <a:gd name="T10" fmla="*/ 5 w 9"/>
                  <a:gd name="T11" fmla="*/ 7 h 10"/>
                  <a:gd name="T12" fmla="*/ 1 w 9"/>
                  <a:gd name="T13" fmla="*/ 6 h 10"/>
                  <a:gd name="T14" fmla="*/ 0 w 9"/>
                  <a:gd name="T15" fmla="*/ 2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10"/>
                  <a:gd name="T26" fmla="*/ 9 w 9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10">
                    <a:moveTo>
                      <a:pt x="0" y="2"/>
                    </a:moveTo>
                    <a:cubicBezTo>
                      <a:pt x="0" y="1"/>
                      <a:pt x="2" y="0"/>
                      <a:pt x="3" y="1"/>
                    </a:cubicBezTo>
                    <a:cubicBezTo>
                      <a:pt x="4" y="1"/>
                      <a:pt x="3" y="4"/>
                      <a:pt x="4" y="5"/>
                    </a:cubicBezTo>
                    <a:cubicBezTo>
                      <a:pt x="5" y="6"/>
                      <a:pt x="6" y="3"/>
                      <a:pt x="7" y="4"/>
                    </a:cubicBezTo>
                    <a:cubicBezTo>
                      <a:pt x="8" y="5"/>
                      <a:pt x="9" y="8"/>
                      <a:pt x="8" y="9"/>
                    </a:cubicBezTo>
                    <a:cubicBezTo>
                      <a:pt x="7" y="10"/>
                      <a:pt x="6" y="7"/>
                      <a:pt x="4" y="6"/>
                    </a:cubicBezTo>
                    <a:cubicBezTo>
                      <a:pt x="3" y="6"/>
                      <a:pt x="2" y="6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6" name="Freeform 2877"/>
              <p:cNvSpPr>
                <a:spLocks noChangeAspect="1"/>
              </p:cNvSpPr>
              <p:nvPr/>
            </p:nvSpPr>
            <p:spPr bwMode="auto">
              <a:xfrm>
                <a:off x="5807799" y="3270849"/>
                <a:ext cx="26169" cy="14618"/>
              </a:xfrm>
              <a:custGeom>
                <a:avLst/>
                <a:gdLst>
                  <a:gd name="T0" fmla="*/ 1 w 13"/>
                  <a:gd name="T1" fmla="*/ 7 h 8"/>
                  <a:gd name="T2" fmla="*/ 1 w 13"/>
                  <a:gd name="T3" fmla="*/ 8 h 8"/>
                  <a:gd name="T4" fmla="*/ 9 w 13"/>
                  <a:gd name="T5" fmla="*/ 5 h 8"/>
                  <a:gd name="T6" fmla="*/ 14 w 13"/>
                  <a:gd name="T7" fmla="*/ 5 h 8"/>
                  <a:gd name="T8" fmla="*/ 16 w 13"/>
                  <a:gd name="T9" fmla="*/ 1 h 8"/>
                  <a:gd name="T10" fmla="*/ 14 w 13"/>
                  <a:gd name="T11" fmla="*/ 0 h 8"/>
                  <a:gd name="T12" fmla="*/ 7 w 13"/>
                  <a:gd name="T13" fmla="*/ 2 h 8"/>
                  <a:gd name="T14" fmla="*/ 6 w 13"/>
                  <a:gd name="T15" fmla="*/ 5 h 8"/>
                  <a:gd name="T16" fmla="*/ 1 w 13"/>
                  <a:gd name="T17" fmla="*/ 7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8"/>
                  <a:gd name="T29" fmla="*/ 13 w 1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8">
                    <a:moveTo>
                      <a:pt x="1" y="6"/>
                    </a:moveTo>
                    <a:cubicBezTo>
                      <a:pt x="0" y="6"/>
                      <a:pt x="1" y="8"/>
                      <a:pt x="1" y="7"/>
                    </a:cubicBezTo>
                    <a:cubicBezTo>
                      <a:pt x="3" y="7"/>
                      <a:pt x="5" y="5"/>
                      <a:pt x="7" y="4"/>
                    </a:cubicBezTo>
                    <a:cubicBezTo>
                      <a:pt x="9" y="4"/>
                      <a:pt x="10" y="5"/>
                      <a:pt x="11" y="4"/>
                    </a:cubicBezTo>
                    <a:cubicBezTo>
                      <a:pt x="12" y="3"/>
                      <a:pt x="13" y="2"/>
                      <a:pt x="13" y="1"/>
                    </a:cubicBezTo>
                    <a:cubicBezTo>
                      <a:pt x="13" y="0"/>
                      <a:pt x="12" y="0"/>
                      <a:pt x="11" y="0"/>
                    </a:cubicBezTo>
                    <a:cubicBezTo>
                      <a:pt x="9" y="1"/>
                      <a:pt x="8" y="1"/>
                      <a:pt x="6" y="2"/>
                    </a:cubicBezTo>
                    <a:cubicBezTo>
                      <a:pt x="5" y="2"/>
                      <a:pt x="5" y="3"/>
                      <a:pt x="5" y="4"/>
                    </a:cubicBezTo>
                    <a:cubicBezTo>
                      <a:pt x="3" y="5"/>
                      <a:pt x="2" y="4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7" name="Freeform 2878"/>
              <p:cNvSpPr>
                <a:spLocks noChangeAspect="1"/>
              </p:cNvSpPr>
              <p:nvPr/>
            </p:nvSpPr>
            <p:spPr bwMode="auto">
              <a:xfrm>
                <a:off x="7031219" y="3746720"/>
                <a:ext cx="8178" cy="12993"/>
              </a:xfrm>
              <a:custGeom>
                <a:avLst/>
                <a:gdLst>
                  <a:gd name="T0" fmla="*/ 0 w 4"/>
                  <a:gd name="T1" fmla="*/ 2 h 7"/>
                  <a:gd name="T2" fmla="*/ 3 w 4"/>
                  <a:gd name="T3" fmla="*/ 0 h 7"/>
                  <a:gd name="T4" fmla="*/ 5 w 4"/>
                  <a:gd name="T5" fmla="*/ 3 h 7"/>
                  <a:gd name="T6" fmla="*/ 4 w 4"/>
                  <a:gd name="T7" fmla="*/ 8 h 7"/>
                  <a:gd name="T8" fmla="*/ 3 w 4"/>
                  <a:gd name="T9" fmla="*/ 6 h 7"/>
                  <a:gd name="T10" fmla="*/ 0 w 4"/>
                  <a:gd name="T11" fmla="*/ 2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7"/>
                  <a:gd name="T20" fmla="*/ 4 w 4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7"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5"/>
                      <a:pt x="4" y="6"/>
                      <a:pt x="3" y="7"/>
                    </a:cubicBezTo>
                    <a:cubicBezTo>
                      <a:pt x="2" y="7"/>
                      <a:pt x="2" y="5"/>
                      <a:pt x="2" y="5"/>
                    </a:cubicBezTo>
                    <a:cubicBezTo>
                      <a:pt x="1" y="4"/>
                      <a:pt x="0" y="3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8" name="Freeform 2879"/>
              <p:cNvSpPr>
                <a:spLocks noChangeAspect="1"/>
              </p:cNvSpPr>
              <p:nvPr/>
            </p:nvSpPr>
            <p:spPr bwMode="auto">
              <a:xfrm>
                <a:off x="7129354" y="3468993"/>
                <a:ext cx="60517" cy="60093"/>
              </a:xfrm>
              <a:custGeom>
                <a:avLst/>
                <a:gdLst>
                  <a:gd name="T0" fmla="*/ 35 w 31"/>
                  <a:gd name="T1" fmla="*/ 0 h 31"/>
                  <a:gd name="T2" fmla="*/ 37 w 31"/>
                  <a:gd name="T3" fmla="*/ 7 h 31"/>
                  <a:gd name="T4" fmla="*/ 33 w 31"/>
                  <a:gd name="T5" fmla="*/ 13 h 31"/>
                  <a:gd name="T6" fmla="*/ 32 w 31"/>
                  <a:gd name="T7" fmla="*/ 25 h 31"/>
                  <a:gd name="T8" fmla="*/ 26 w 31"/>
                  <a:gd name="T9" fmla="*/ 31 h 31"/>
                  <a:gd name="T10" fmla="*/ 19 w 31"/>
                  <a:gd name="T11" fmla="*/ 32 h 31"/>
                  <a:gd name="T12" fmla="*/ 19 w 31"/>
                  <a:gd name="T13" fmla="*/ 36 h 31"/>
                  <a:gd name="T14" fmla="*/ 14 w 31"/>
                  <a:gd name="T15" fmla="*/ 35 h 31"/>
                  <a:gd name="T16" fmla="*/ 5 w 31"/>
                  <a:gd name="T17" fmla="*/ 31 h 31"/>
                  <a:gd name="T18" fmla="*/ 2 w 31"/>
                  <a:gd name="T19" fmla="*/ 24 h 31"/>
                  <a:gd name="T20" fmla="*/ 2 w 31"/>
                  <a:gd name="T21" fmla="*/ 13 h 31"/>
                  <a:gd name="T22" fmla="*/ 11 w 31"/>
                  <a:gd name="T23" fmla="*/ 7 h 31"/>
                  <a:gd name="T24" fmla="*/ 10 w 31"/>
                  <a:gd name="T25" fmla="*/ 6 h 31"/>
                  <a:gd name="T26" fmla="*/ 12 w 31"/>
                  <a:gd name="T27" fmla="*/ 4 h 31"/>
                  <a:gd name="T28" fmla="*/ 13 w 31"/>
                  <a:gd name="T29" fmla="*/ 5 h 31"/>
                  <a:gd name="T30" fmla="*/ 19 w 31"/>
                  <a:gd name="T31" fmla="*/ 4 h 31"/>
                  <a:gd name="T32" fmla="*/ 24 w 31"/>
                  <a:gd name="T33" fmla="*/ 4 h 31"/>
                  <a:gd name="T34" fmla="*/ 29 w 31"/>
                  <a:gd name="T35" fmla="*/ 2 h 31"/>
                  <a:gd name="T36" fmla="*/ 31 w 31"/>
                  <a:gd name="T37" fmla="*/ 4 h 31"/>
                  <a:gd name="T38" fmla="*/ 35 w 31"/>
                  <a:gd name="T39" fmla="*/ 0 h 31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1"/>
                  <a:gd name="T61" fmla="*/ 0 h 31"/>
                  <a:gd name="T62" fmla="*/ 31 w 31"/>
                  <a:gd name="T63" fmla="*/ 31 h 31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1" h="31">
                    <a:moveTo>
                      <a:pt x="29" y="0"/>
                    </a:moveTo>
                    <a:cubicBezTo>
                      <a:pt x="30" y="1"/>
                      <a:pt x="31" y="4"/>
                      <a:pt x="31" y="6"/>
                    </a:cubicBezTo>
                    <a:cubicBezTo>
                      <a:pt x="31" y="8"/>
                      <a:pt x="28" y="9"/>
                      <a:pt x="28" y="11"/>
                    </a:cubicBezTo>
                    <a:cubicBezTo>
                      <a:pt x="27" y="14"/>
                      <a:pt x="29" y="18"/>
                      <a:pt x="27" y="21"/>
                    </a:cubicBezTo>
                    <a:cubicBezTo>
                      <a:pt x="27" y="23"/>
                      <a:pt x="24" y="25"/>
                      <a:pt x="22" y="26"/>
                    </a:cubicBezTo>
                    <a:cubicBezTo>
                      <a:pt x="20" y="27"/>
                      <a:pt x="18" y="26"/>
                      <a:pt x="16" y="27"/>
                    </a:cubicBezTo>
                    <a:cubicBezTo>
                      <a:pt x="15" y="27"/>
                      <a:pt x="17" y="29"/>
                      <a:pt x="16" y="30"/>
                    </a:cubicBezTo>
                    <a:cubicBezTo>
                      <a:pt x="14" y="31"/>
                      <a:pt x="13" y="30"/>
                      <a:pt x="12" y="29"/>
                    </a:cubicBezTo>
                    <a:cubicBezTo>
                      <a:pt x="9" y="29"/>
                      <a:pt x="6" y="28"/>
                      <a:pt x="4" y="26"/>
                    </a:cubicBezTo>
                    <a:cubicBezTo>
                      <a:pt x="2" y="25"/>
                      <a:pt x="2" y="23"/>
                      <a:pt x="2" y="20"/>
                    </a:cubicBezTo>
                    <a:cubicBezTo>
                      <a:pt x="1" y="17"/>
                      <a:pt x="0" y="14"/>
                      <a:pt x="2" y="11"/>
                    </a:cubicBezTo>
                    <a:cubicBezTo>
                      <a:pt x="3" y="8"/>
                      <a:pt x="7" y="9"/>
                      <a:pt x="9" y="6"/>
                    </a:cubicBezTo>
                    <a:cubicBezTo>
                      <a:pt x="10" y="6"/>
                      <a:pt x="8" y="5"/>
                      <a:pt x="8" y="5"/>
                    </a:cubicBezTo>
                    <a:cubicBezTo>
                      <a:pt x="8" y="4"/>
                      <a:pt x="9" y="3"/>
                      <a:pt x="10" y="3"/>
                    </a:cubicBezTo>
                    <a:cubicBezTo>
                      <a:pt x="10" y="3"/>
                      <a:pt x="11" y="4"/>
                      <a:pt x="11" y="4"/>
                    </a:cubicBezTo>
                    <a:cubicBezTo>
                      <a:pt x="13" y="4"/>
                      <a:pt x="15" y="3"/>
                      <a:pt x="16" y="3"/>
                    </a:cubicBezTo>
                    <a:cubicBezTo>
                      <a:pt x="18" y="3"/>
                      <a:pt x="19" y="3"/>
                      <a:pt x="20" y="3"/>
                    </a:cubicBezTo>
                    <a:cubicBezTo>
                      <a:pt x="21" y="3"/>
                      <a:pt x="23" y="2"/>
                      <a:pt x="24" y="2"/>
                    </a:cubicBezTo>
                    <a:cubicBezTo>
                      <a:pt x="25" y="2"/>
                      <a:pt x="25" y="3"/>
                      <a:pt x="26" y="3"/>
                    </a:cubicBezTo>
                    <a:cubicBezTo>
                      <a:pt x="27" y="3"/>
                      <a:pt x="28" y="0"/>
                      <a:pt x="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69" name="Freeform 2880"/>
              <p:cNvSpPr>
                <a:spLocks noChangeAspect="1"/>
              </p:cNvSpPr>
              <p:nvPr/>
            </p:nvSpPr>
            <p:spPr bwMode="auto">
              <a:xfrm>
                <a:off x="7404133" y="3319573"/>
                <a:ext cx="40890" cy="99073"/>
              </a:xfrm>
              <a:custGeom>
                <a:avLst/>
                <a:gdLst>
                  <a:gd name="T0" fmla="*/ 25 w 21"/>
                  <a:gd name="T1" fmla="*/ 7 h 51"/>
                  <a:gd name="T2" fmla="*/ 21 w 21"/>
                  <a:gd name="T3" fmla="*/ 24 h 51"/>
                  <a:gd name="T4" fmla="*/ 20 w 21"/>
                  <a:gd name="T5" fmla="*/ 39 h 51"/>
                  <a:gd name="T6" fmla="*/ 14 w 21"/>
                  <a:gd name="T7" fmla="*/ 50 h 51"/>
                  <a:gd name="T8" fmla="*/ 14 w 21"/>
                  <a:gd name="T9" fmla="*/ 61 h 51"/>
                  <a:gd name="T10" fmla="*/ 5 w 21"/>
                  <a:gd name="T11" fmla="*/ 49 h 51"/>
                  <a:gd name="T12" fmla="*/ 1 w 21"/>
                  <a:gd name="T13" fmla="*/ 42 h 51"/>
                  <a:gd name="T14" fmla="*/ 4 w 21"/>
                  <a:gd name="T15" fmla="*/ 24 h 51"/>
                  <a:gd name="T16" fmla="*/ 10 w 21"/>
                  <a:gd name="T17" fmla="*/ 10 h 51"/>
                  <a:gd name="T18" fmla="*/ 11 w 21"/>
                  <a:gd name="T19" fmla="*/ 4 h 51"/>
                  <a:gd name="T20" fmla="*/ 17 w 21"/>
                  <a:gd name="T21" fmla="*/ 0 h 51"/>
                  <a:gd name="T22" fmla="*/ 24 w 21"/>
                  <a:gd name="T23" fmla="*/ 4 h 51"/>
                  <a:gd name="T24" fmla="*/ 25 w 21"/>
                  <a:gd name="T25" fmla="*/ 7 h 5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1"/>
                  <a:gd name="T40" fmla="*/ 0 h 51"/>
                  <a:gd name="T41" fmla="*/ 21 w 21"/>
                  <a:gd name="T42" fmla="*/ 51 h 5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1" h="51">
                    <a:moveTo>
                      <a:pt x="21" y="6"/>
                    </a:moveTo>
                    <a:cubicBezTo>
                      <a:pt x="20" y="10"/>
                      <a:pt x="19" y="15"/>
                      <a:pt x="18" y="20"/>
                    </a:cubicBezTo>
                    <a:cubicBezTo>
                      <a:pt x="18" y="24"/>
                      <a:pt x="18" y="29"/>
                      <a:pt x="17" y="33"/>
                    </a:cubicBezTo>
                    <a:cubicBezTo>
                      <a:pt x="16" y="36"/>
                      <a:pt x="13" y="39"/>
                      <a:pt x="12" y="42"/>
                    </a:cubicBezTo>
                    <a:cubicBezTo>
                      <a:pt x="11" y="45"/>
                      <a:pt x="13" y="48"/>
                      <a:pt x="12" y="51"/>
                    </a:cubicBezTo>
                    <a:cubicBezTo>
                      <a:pt x="8" y="47"/>
                      <a:pt x="6" y="45"/>
                      <a:pt x="4" y="41"/>
                    </a:cubicBezTo>
                    <a:cubicBezTo>
                      <a:pt x="2" y="39"/>
                      <a:pt x="1" y="37"/>
                      <a:pt x="1" y="35"/>
                    </a:cubicBezTo>
                    <a:cubicBezTo>
                      <a:pt x="0" y="30"/>
                      <a:pt x="2" y="25"/>
                      <a:pt x="3" y="20"/>
                    </a:cubicBezTo>
                    <a:cubicBezTo>
                      <a:pt x="4" y="16"/>
                      <a:pt x="6" y="12"/>
                      <a:pt x="8" y="8"/>
                    </a:cubicBezTo>
                    <a:cubicBezTo>
                      <a:pt x="8" y="7"/>
                      <a:pt x="8" y="5"/>
                      <a:pt x="9" y="3"/>
                    </a:cubicBezTo>
                    <a:cubicBezTo>
                      <a:pt x="10" y="2"/>
                      <a:pt x="12" y="1"/>
                      <a:pt x="14" y="0"/>
                    </a:cubicBezTo>
                    <a:cubicBezTo>
                      <a:pt x="16" y="0"/>
                      <a:pt x="18" y="1"/>
                      <a:pt x="20" y="3"/>
                    </a:cubicBezTo>
                    <a:cubicBezTo>
                      <a:pt x="21" y="3"/>
                      <a:pt x="21" y="4"/>
                      <a:pt x="2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0" name="Freeform 2881"/>
              <p:cNvSpPr>
                <a:spLocks noChangeAspect="1"/>
              </p:cNvSpPr>
              <p:nvPr/>
            </p:nvSpPr>
            <p:spPr bwMode="auto">
              <a:xfrm>
                <a:off x="7498997" y="3347184"/>
                <a:ext cx="6542" cy="9745"/>
              </a:xfrm>
              <a:custGeom>
                <a:avLst/>
                <a:gdLst>
                  <a:gd name="T0" fmla="*/ 3 w 4"/>
                  <a:gd name="T1" fmla="*/ 0 h 5"/>
                  <a:gd name="T2" fmla="*/ 3 w 4"/>
                  <a:gd name="T3" fmla="*/ 5 h 5"/>
                  <a:gd name="T4" fmla="*/ 0 w 4"/>
                  <a:gd name="T5" fmla="*/ 2 h 5"/>
                  <a:gd name="T6" fmla="*/ 3 w 4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3" y="0"/>
                    </a:moveTo>
                    <a:cubicBezTo>
                      <a:pt x="4" y="1"/>
                      <a:pt x="4" y="4"/>
                      <a:pt x="3" y="4"/>
                    </a:cubicBezTo>
                    <a:cubicBezTo>
                      <a:pt x="2" y="5"/>
                      <a:pt x="0" y="3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1" name="Freeform 2882"/>
              <p:cNvSpPr>
                <a:spLocks noChangeAspect="1"/>
              </p:cNvSpPr>
              <p:nvPr/>
            </p:nvSpPr>
            <p:spPr bwMode="auto">
              <a:xfrm>
                <a:off x="7525167" y="3332566"/>
                <a:ext cx="6542" cy="8121"/>
              </a:xfrm>
              <a:custGeom>
                <a:avLst/>
                <a:gdLst>
                  <a:gd name="T0" fmla="*/ 3 w 3"/>
                  <a:gd name="T1" fmla="*/ 0 h 4"/>
                  <a:gd name="T2" fmla="*/ 3 w 3"/>
                  <a:gd name="T3" fmla="*/ 5 h 4"/>
                  <a:gd name="T4" fmla="*/ 0 w 3"/>
                  <a:gd name="T5" fmla="*/ 3 h 4"/>
                  <a:gd name="T6" fmla="*/ 3 w 3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2" y="0"/>
                    </a:moveTo>
                    <a:cubicBezTo>
                      <a:pt x="3" y="1"/>
                      <a:pt x="3" y="3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2" name="Freeform 2883"/>
              <p:cNvSpPr>
                <a:spLocks noChangeAspect="1"/>
              </p:cNvSpPr>
              <p:nvPr/>
            </p:nvSpPr>
            <p:spPr bwMode="auto">
              <a:xfrm>
                <a:off x="7484276" y="3347184"/>
                <a:ext cx="8178" cy="9745"/>
              </a:xfrm>
              <a:custGeom>
                <a:avLst/>
                <a:gdLst>
                  <a:gd name="T0" fmla="*/ 5 w 4"/>
                  <a:gd name="T1" fmla="*/ 2 h 5"/>
                  <a:gd name="T2" fmla="*/ 1 w 4"/>
                  <a:gd name="T3" fmla="*/ 6 h 5"/>
                  <a:gd name="T4" fmla="*/ 1 w 4"/>
                  <a:gd name="T5" fmla="*/ 1 h 5"/>
                  <a:gd name="T6" fmla="*/ 5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4" y="2"/>
                    </a:moveTo>
                    <a:cubicBezTo>
                      <a:pt x="4" y="3"/>
                      <a:pt x="2" y="5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3" name="Freeform 2884"/>
              <p:cNvSpPr>
                <a:spLocks noChangeAspect="1"/>
              </p:cNvSpPr>
              <p:nvPr/>
            </p:nvSpPr>
            <p:spPr bwMode="auto">
              <a:xfrm>
                <a:off x="7484276" y="3347184"/>
                <a:ext cx="8178" cy="9745"/>
              </a:xfrm>
              <a:custGeom>
                <a:avLst/>
                <a:gdLst>
                  <a:gd name="T0" fmla="*/ 5 w 4"/>
                  <a:gd name="T1" fmla="*/ 2 h 5"/>
                  <a:gd name="T2" fmla="*/ 1 w 4"/>
                  <a:gd name="T3" fmla="*/ 6 h 5"/>
                  <a:gd name="T4" fmla="*/ 1 w 4"/>
                  <a:gd name="T5" fmla="*/ 1 h 5"/>
                  <a:gd name="T6" fmla="*/ 5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4" y="2"/>
                    </a:moveTo>
                    <a:cubicBezTo>
                      <a:pt x="4" y="3"/>
                      <a:pt x="2" y="5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4" name="Freeform 2885"/>
              <p:cNvSpPr>
                <a:spLocks noChangeAspect="1"/>
              </p:cNvSpPr>
              <p:nvPr/>
            </p:nvSpPr>
            <p:spPr bwMode="auto">
              <a:xfrm>
                <a:off x="7513717" y="3071081"/>
                <a:ext cx="19627" cy="12993"/>
              </a:xfrm>
              <a:custGeom>
                <a:avLst/>
                <a:gdLst>
                  <a:gd name="T0" fmla="*/ 8 w 10"/>
                  <a:gd name="T1" fmla="*/ 0 h 6"/>
                  <a:gd name="T2" fmla="*/ 12 w 10"/>
                  <a:gd name="T3" fmla="*/ 4 h 6"/>
                  <a:gd name="T4" fmla="*/ 7 w 10"/>
                  <a:gd name="T5" fmla="*/ 7 h 6"/>
                  <a:gd name="T6" fmla="*/ 2 w 10"/>
                  <a:gd name="T7" fmla="*/ 8 h 6"/>
                  <a:gd name="T8" fmla="*/ 1 w 10"/>
                  <a:gd name="T9" fmla="*/ 5 h 6"/>
                  <a:gd name="T10" fmla="*/ 8 w 10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6"/>
                  <a:gd name="T20" fmla="*/ 10 w 10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6">
                    <a:moveTo>
                      <a:pt x="7" y="0"/>
                    </a:moveTo>
                    <a:cubicBezTo>
                      <a:pt x="8" y="0"/>
                      <a:pt x="10" y="2"/>
                      <a:pt x="10" y="3"/>
                    </a:cubicBezTo>
                    <a:cubicBezTo>
                      <a:pt x="10" y="5"/>
                      <a:pt x="7" y="5"/>
                      <a:pt x="6" y="5"/>
                    </a:cubicBezTo>
                    <a:cubicBezTo>
                      <a:pt x="5" y="6"/>
                      <a:pt x="4" y="6"/>
                      <a:pt x="2" y="6"/>
                    </a:cubicBezTo>
                    <a:cubicBezTo>
                      <a:pt x="2" y="6"/>
                      <a:pt x="0" y="5"/>
                      <a:pt x="1" y="4"/>
                    </a:cubicBezTo>
                    <a:cubicBezTo>
                      <a:pt x="2" y="2"/>
                      <a:pt x="4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5" name="Freeform 2886"/>
              <p:cNvSpPr>
                <a:spLocks noChangeAspect="1"/>
              </p:cNvSpPr>
              <p:nvPr/>
            </p:nvSpPr>
            <p:spPr bwMode="auto">
              <a:xfrm>
                <a:off x="5075056" y="1433957"/>
                <a:ext cx="3575396" cy="1393505"/>
              </a:xfrm>
              <a:custGeom>
                <a:avLst/>
                <a:gdLst>
                  <a:gd name="T0" fmla="*/ 1579 w 1821"/>
                  <a:gd name="T1" fmla="*/ 599 h 715"/>
                  <a:gd name="T2" fmla="*/ 1708 w 1821"/>
                  <a:gd name="T3" fmla="*/ 472 h 715"/>
                  <a:gd name="T4" fmla="*/ 1833 w 1821"/>
                  <a:gd name="T5" fmla="*/ 446 h 715"/>
                  <a:gd name="T6" fmla="*/ 1813 w 1821"/>
                  <a:gd name="T7" fmla="*/ 523 h 715"/>
                  <a:gd name="T8" fmla="*/ 1905 w 1821"/>
                  <a:gd name="T9" fmla="*/ 547 h 715"/>
                  <a:gd name="T10" fmla="*/ 1944 w 1821"/>
                  <a:gd name="T11" fmla="*/ 445 h 715"/>
                  <a:gd name="T12" fmla="*/ 2058 w 1821"/>
                  <a:gd name="T13" fmla="*/ 341 h 715"/>
                  <a:gd name="T14" fmla="*/ 2164 w 1821"/>
                  <a:gd name="T15" fmla="*/ 305 h 715"/>
                  <a:gd name="T16" fmla="*/ 1874 w 1821"/>
                  <a:gd name="T17" fmla="*/ 240 h 715"/>
                  <a:gd name="T18" fmla="*/ 1631 w 1821"/>
                  <a:gd name="T19" fmla="*/ 186 h 715"/>
                  <a:gd name="T20" fmla="*/ 1520 w 1821"/>
                  <a:gd name="T21" fmla="*/ 151 h 715"/>
                  <a:gd name="T22" fmla="*/ 1405 w 1821"/>
                  <a:gd name="T23" fmla="*/ 170 h 715"/>
                  <a:gd name="T24" fmla="*/ 1229 w 1821"/>
                  <a:gd name="T25" fmla="*/ 120 h 715"/>
                  <a:gd name="T26" fmla="*/ 1061 w 1821"/>
                  <a:gd name="T27" fmla="*/ 118 h 715"/>
                  <a:gd name="T28" fmla="*/ 1074 w 1821"/>
                  <a:gd name="T29" fmla="*/ 46 h 715"/>
                  <a:gd name="T30" fmla="*/ 917 w 1821"/>
                  <a:gd name="T31" fmla="*/ 23 h 715"/>
                  <a:gd name="T32" fmla="*/ 813 w 1821"/>
                  <a:gd name="T33" fmla="*/ 61 h 715"/>
                  <a:gd name="T34" fmla="*/ 731 w 1821"/>
                  <a:gd name="T35" fmla="*/ 116 h 715"/>
                  <a:gd name="T36" fmla="*/ 714 w 1821"/>
                  <a:gd name="T37" fmla="*/ 208 h 715"/>
                  <a:gd name="T38" fmla="*/ 629 w 1821"/>
                  <a:gd name="T39" fmla="*/ 157 h 715"/>
                  <a:gd name="T40" fmla="*/ 598 w 1821"/>
                  <a:gd name="T41" fmla="*/ 163 h 715"/>
                  <a:gd name="T42" fmla="*/ 681 w 1821"/>
                  <a:gd name="T43" fmla="*/ 275 h 715"/>
                  <a:gd name="T44" fmla="*/ 598 w 1821"/>
                  <a:gd name="T45" fmla="*/ 308 h 715"/>
                  <a:gd name="T46" fmla="*/ 528 w 1821"/>
                  <a:gd name="T47" fmla="*/ 136 h 715"/>
                  <a:gd name="T48" fmla="*/ 433 w 1821"/>
                  <a:gd name="T49" fmla="*/ 245 h 715"/>
                  <a:gd name="T50" fmla="*/ 291 w 1821"/>
                  <a:gd name="T51" fmla="*/ 262 h 715"/>
                  <a:gd name="T52" fmla="*/ 211 w 1821"/>
                  <a:gd name="T53" fmla="*/ 264 h 715"/>
                  <a:gd name="T54" fmla="*/ 132 w 1821"/>
                  <a:gd name="T55" fmla="*/ 342 h 715"/>
                  <a:gd name="T56" fmla="*/ 56 w 1821"/>
                  <a:gd name="T57" fmla="*/ 292 h 715"/>
                  <a:gd name="T58" fmla="*/ 48 w 1821"/>
                  <a:gd name="T59" fmla="*/ 222 h 715"/>
                  <a:gd name="T60" fmla="*/ 1 w 1821"/>
                  <a:gd name="T61" fmla="*/ 252 h 715"/>
                  <a:gd name="T62" fmla="*/ 29 w 1821"/>
                  <a:gd name="T63" fmla="*/ 352 h 715"/>
                  <a:gd name="T64" fmla="*/ 18 w 1821"/>
                  <a:gd name="T65" fmla="*/ 450 h 715"/>
                  <a:gd name="T66" fmla="*/ 8 w 1821"/>
                  <a:gd name="T67" fmla="*/ 478 h 715"/>
                  <a:gd name="T68" fmla="*/ 17 w 1821"/>
                  <a:gd name="T69" fmla="*/ 540 h 715"/>
                  <a:gd name="T70" fmla="*/ 71 w 1821"/>
                  <a:gd name="T71" fmla="*/ 596 h 715"/>
                  <a:gd name="T72" fmla="*/ 104 w 1821"/>
                  <a:gd name="T73" fmla="*/ 626 h 715"/>
                  <a:gd name="T74" fmla="*/ 170 w 1821"/>
                  <a:gd name="T75" fmla="*/ 674 h 715"/>
                  <a:gd name="T76" fmla="*/ 176 w 1821"/>
                  <a:gd name="T77" fmla="*/ 721 h 715"/>
                  <a:gd name="T78" fmla="*/ 163 w 1821"/>
                  <a:gd name="T79" fmla="*/ 768 h 715"/>
                  <a:gd name="T80" fmla="*/ 238 w 1821"/>
                  <a:gd name="T81" fmla="*/ 815 h 715"/>
                  <a:gd name="T82" fmla="*/ 319 w 1821"/>
                  <a:gd name="T83" fmla="*/ 857 h 715"/>
                  <a:gd name="T84" fmla="*/ 313 w 1821"/>
                  <a:gd name="T85" fmla="*/ 766 h 715"/>
                  <a:gd name="T86" fmla="*/ 295 w 1821"/>
                  <a:gd name="T87" fmla="*/ 722 h 715"/>
                  <a:gd name="T88" fmla="*/ 316 w 1821"/>
                  <a:gd name="T89" fmla="*/ 673 h 715"/>
                  <a:gd name="T90" fmla="*/ 377 w 1821"/>
                  <a:gd name="T91" fmla="*/ 643 h 715"/>
                  <a:gd name="T92" fmla="*/ 454 w 1821"/>
                  <a:gd name="T93" fmla="*/ 660 h 715"/>
                  <a:gd name="T94" fmla="*/ 492 w 1821"/>
                  <a:gd name="T95" fmla="*/ 610 h 715"/>
                  <a:gd name="T96" fmla="*/ 582 w 1821"/>
                  <a:gd name="T97" fmla="*/ 563 h 715"/>
                  <a:gd name="T98" fmla="*/ 648 w 1821"/>
                  <a:gd name="T99" fmla="*/ 593 h 715"/>
                  <a:gd name="T100" fmla="*/ 762 w 1821"/>
                  <a:gd name="T101" fmla="*/ 660 h 715"/>
                  <a:gd name="T102" fmla="*/ 836 w 1821"/>
                  <a:gd name="T103" fmla="*/ 674 h 715"/>
                  <a:gd name="T104" fmla="*/ 926 w 1821"/>
                  <a:gd name="T105" fmla="*/ 668 h 715"/>
                  <a:gd name="T106" fmla="*/ 1007 w 1821"/>
                  <a:gd name="T107" fmla="*/ 679 h 715"/>
                  <a:gd name="T108" fmla="*/ 1071 w 1821"/>
                  <a:gd name="T109" fmla="*/ 644 h 715"/>
                  <a:gd name="T110" fmla="*/ 1167 w 1821"/>
                  <a:gd name="T111" fmla="*/ 685 h 715"/>
                  <a:gd name="T112" fmla="*/ 1286 w 1821"/>
                  <a:gd name="T113" fmla="*/ 679 h 715"/>
                  <a:gd name="T114" fmla="*/ 1341 w 1821"/>
                  <a:gd name="T115" fmla="*/ 613 h 715"/>
                  <a:gd name="T116" fmla="*/ 1431 w 1821"/>
                  <a:gd name="T117" fmla="*/ 658 h 715"/>
                  <a:gd name="T118" fmla="*/ 1502 w 1821"/>
                  <a:gd name="T119" fmla="*/ 726 h 715"/>
                  <a:gd name="T120" fmla="*/ 1541 w 1821"/>
                  <a:gd name="T121" fmla="*/ 780 h 71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21"/>
                  <a:gd name="T184" fmla="*/ 0 h 715"/>
                  <a:gd name="T185" fmla="*/ 1821 w 1821"/>
                  <a:gd name="T186" fmla="*/ 715 h 71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21" h="715">
                    <a:moveTo>
                      <a:pt x="1266" y="694"/>
                    </a:moveTo>
                    <a:cubicBezTo>
                      <a:pt x="1272" y="691"/>
                      <a:pt x="1278" y="683"/>
                      <a:pt x="1283" y="682"/>
                    </a:cubicBezTo>
                    <a:cubicBezTo>
                      <a:pt x="1285" y="681"/>
                      <a:pt x="1286" y="685"/>
                      <a:pt x="1288" y="686"/>
                    </a:cubicBezTo>
                    <a:cubicBezTo>
                      <a:pt x="1292" y="687"/>
                      <a:pt x="1297" y="688"/>
                      <a:pt x="1301" y="686"/>
                    </a:cubicBezTo>
                    <a:cubicBezTo>
                      <a:pt x="1307" y="684"/>
                      <a:pt x="1314" y="682"/>
                      <a:pt x="1318" y="676"/>
                    </a:cubicBezTo>
                    <a:cubicBezTo>
                      <a:pt x="1328" y="663"/>
                      <a:pt x="1334" y="646"/>
                      <a:pt x="1342" y="631"/>
                    </a:cubicBezTo>
                    <a:cubicBezTo>
                      <a:pt x="1348" y="618"/>
                      <a:pt x="1354" y="606"/>
                      <a:pt x="1361" y="593"/>
                    </a:cubicBezTo>
                    <a:cubicBezTo>
                      <a:pt x="1358" y="580"/>
                      <a:pt x="1359" y="566"/>
                      <a:pt x="1354" y="553"/>
                    </a:cubicBezTo>
                    <a:cubicBezTo>
                      <a:pt x="1350" y="544"/>
                      <a:pt x="1355" y="536"/>
                      <a:pt x="1356" y="529"/>
                    </a:cubicBezTo>
                    <a:cubicBezTo>
                      <a:pt x="1355" y="523"/>
                      <a:pt x="1353" y="516"/>
                      <a:pt x="1352" y="510"/>
                    </a:cubicBezTo>
                    <a:cubicBezTo>
                      <a:pt x="1342" y="504"/>
                      <a:pt x="1334" y="494"/>
                      <a:pt x="1323" y="490"/>
                    </a:cubicBezTo>
                    <a:cubicBezTo>
                      <a:pt x="1314" y="487"/>
                      <a:pt x="1319" y="498"/>
                      <a:pt x="1315" y="499"/>
                    </a:cubicBezTo>
                    <a:cubicBezTo>
                      <a:pt x="1312" y="500"/>
                      <a:pt x="1308" y="501"/>
                      <a:pt x="1304" y="500"/>
                    </a:cubicBezTo>
                    <a:cubicBezTo>
                      <a:pt x="1302" y="500"/>
                      <a:pt x="1301" y="487"/>
                      <a:pt x="1300" y="486"/>
                    </a:cubicBezTo>
                    <a:cubicBezTo>
                      <a:pt x="1299" y="486"/>
                      <a:pt x="1297" y="499"/>
                      <a:pt x="1296" y="498"/>
                    </a:cubicBezTo>
                    <a:cubicBezTo>
                      <a:pt x="1291" y="494"/>
                      <a:pt x="1296" y="481"/>
                      <a:pt x="1290" y="481"/>
                    </a:cubicBezTo>
                    <a:cubicBezTo>
                      <a:pt x="1286" y="481"/>
                      <a:pt x="1273" y="486"/>
                      <a:pt x="1271" y="478"/>
                    </a:cubicBezTo>
                    <a:cubicBezTo>
                      <a:pt x="1269" y="470"/>
                      <a:pt x="1281" y="467"/>
                      <a:pt x="1286" y="461"/>
                    </a:cubicBezTo>
                    <a:cubicBezTo>
                      <a:pt x="1294" y="451"/>
                      <a:pt x="1302" y="441"/>
                      <a:pt x="1309" y="431"/>
                    </a:cubicBezTo>
                    <a:cubicBezTo>
                      <a:pt x="1314" y="423"/>
                      <a:pt x="1317" y="412"/>
                      <a:pt x="1325" y="405"/>
                    </a:cubicBezTo>
                    <a:cubicBezTo>
                      <a:pt x="1333" y="399"/>
                      <a:pt x="1344" y="398"/>
                      <a:pt x="1354" y="396"/>
                    </a:cubicBezTo>
                    <a:cubicBezTo>
                      <a:pt x="1364" y="395"/>
                      <a:pt x="1375" y="399"/>
                      <a:pt x="1385" y="398"/>
                    </a:cubicBezTo>
                    <a:cubicBezTo>
                      <a:pt x="1392" y="398"/>
                      <a:pt x="1399" y="394"/>
                      <a:pt x="1406" y="393"/>
                    </a:cubicBezTo>
                    <a:cubicBezTo>
                      <a:pt x="1405" y="387"/>
                      <a:pt x="1417" y="393"/>
                      <a:pt x="1423" y="393"/>
                    </a:cubicBezTo>
                    <a:cubicBezTo>
                      <a:pt x="1430" y="394"/>
                      <a:pt x="1438" y="394"/>
                      <a:pt x="1445" y="397"/>
                    </a:cubicBezTo>
                    <a:cubicBezTo>
                      <a:pt x="1447" y="398"/>
                      <a:pt x="1436" y="400"/>
                      <a:pt x="1434" y="402"/>
                    </a:cubicBezTo>
                    <a:cubicBezTo>
                      <a:pt x="1433" y="403"/>
                      <a:pt x="1434" y="406"/>
                      <a:pt x="1435" y="407"/>
                    </a:cubicBezTo>
                    <a:cubicBezTo>
                      <a:pt x="1440" y="407"/>
                      <a:pt x="1449" y="404"/>
                      <a:pt x="1454" y="403"/>
                    </a:cubicBezTo>
                    <a:cubicBezTo>
                      <a:pt x="1460" y="399"/>
                      <a:pt x="1469" y="402"/>
                      <a:pt x="1477" y="401"/>
                    </a:cubicBezTo>
                    <a:cubicBezTo>
                      <a:pt x="1480" y="397"/>
                      <a:pt x="1472" y="394"/>
                      <a:pt x="1470" y="395"/>
                    </a:cubicBezTo>
                    <a:cubicBezTo>
                      <a:pt x="1467" y="393"/>
                      <a:pt x="1463" y="391"/>
                      <a:pt x="1464" y="387"/>
                    </a:cubicBezTo>
                    <a:cubicBezTo>
                      <a:pt x="1468" y="376"/>
                      <a:pt x="1475" y="365"/>
                      <a:pt x="1483" y="357"/>
                    </a:cubicBezTo>
                    <a:cubicBezTo>
                      <a:pt x="1489" y="352"/>
                      <a:pt x="1498" y="351"/>
                      <a:pt x="1505" y="349"/>
                    </a:cubicBezTo>
                    <a:cubicBezTo>
                      <a:pt x="1509" y="348"/>
                      <a:pt x="1515" y="344"/>
                      <a:pt x="1519" y="347"/>
                    </a:cubicBezTo>
                    <a:cubicBezTo>
                      <a:pt x="1523" y="351"/>
                      <a:pt x="1517" y="361"/>
                      <a:pt x="1520" y="366"/>
                    </a:cubicBezTo>
                    <a:cubicBezTo>
                      <a:pt x="1524" y="365"/>
                      <a:pt x="1524" y="373"/>
                      <a:pt x="1527" y="372"/>
                    </a:cubicBezTo>
                    <a:cubicBezTo>
                      <a:pt x="1534" y="365"/>
                      <a:pt x="1543" y="355"/>
                      <a:pt x="1555" y="353"/>
                    </a:cubicBezTo>
                    <a:cubicBezTo>
                      <a:pt x="1551" y="349"/>
                      <a:pt x="1545" y="339"/>
                      <a:pt x="1549" y="334"/>
                    </a:cubicBezTo>
                    <a:cubicBezTo>
                      <a:pt x="1553" y="329"/>
                      <a:pt x="1562" y="332"/>
                      <a:pt x="1568" y="335"/>
                    </a:cubicBezTo>
                    <a:cubicBezTo>
                      <a:pt x="1570" y="337"/>
                      <a:pt x="1562" y="338"/>
                      <a:pt x="1561" y="341"/>
                    </a:cubicBezTo>
                    <a:cubicBezTo>
                      <a:pt x="1559" y="346"/>
                      <a:pt x="1561" y="351"/>
                      <a:pt x="1561" y="356"/>
                    </a:cubicBezTo>
                    <a:cubicBezTo>
                      <a:pt x="1561" y="360"/>
                      <a:pt x="1563" y="364"/>
                      <a:pt x="1561" y="367"/>
                    </a:cubicBezTo>
                    <a:cubicBezTo>
                      <a:pt x="1558" y="371"/>
                      <a:pt x="1551" y="369"/>
                      <a:pt x="1547" y="373"/>
                    </a:cubicBezTo>
                    <a:cubicBezTo>
                      <a:pt x="1545" y="375"/>
                      <a:pt x="1549" y="379"/>
                      <a:pt x="1547" y="381"/>
                    </a:cubicBezTo>
                    <a:cubicBezTo>
                      <a:pt x="1544" y="387"/>
                      <a:pt x="1539" y="392"/>
                      <a:pt x="1535" y="398"/>
                    </a:cubicBezTo>
                    <a:cubicBezTo>
                      <a:pt x="1531" y="405"/>
                      <a:pt x="1530" y="415"/>
                      <a:pt x="1524" y="421"/>
                    </a:cubicBezTo>
                    <a:cubicBezTo>
                      <a:pt x="1519" y="425"/>
                      <a:pt x="1510" y="420"/>
                      <a:pt x="1506" y="425"/>
                    </a:cubicBezTo>
                    <a:cubicBezTo>
                      <a:pt x="1503" y="428"/>
                      <a:pt x="1510" y="432"/>
                      <a:pt x="1510" y="436"/>
                    </a:cubicBezTo>
                    <a:cubicBezTo>
                      <a:pt x="1509" y="441"/>
                      <a:pt x="1504" y="445"/>
                      <a:pt x="1504" y="449"/>
                    </a:cubicBezTo>
                    <a:cubicBezTo>
                      <a:pt x="1504" y="459"/>
                      <a:pt x="1505" y="469"/>
                      <a:pt x="1509" y="478"/>
                    </a:cubicBezTo>
                    <a:cubicBezTo>
                      <a:pt x="1515" y="493"/>
                      <a:pt x="1526" y="506"/>
                      <a:pt x="1533" y="521"/>
                    </a:cubicBezTo>
                    <a:cubicBezTo>
                      <a:pt x="1536" y="527"/>
                      <a:pt x="1537" y="534"/>
                      <a:pt x="1540" y="541"/>
                    </a:cubicBezTo>
                    <a:cubicBezTo>
                      <a:pt x="1541" y="543"/>
                      <a:pt x="1543" y="549"/>
                      <a:pt x="1545" y="547"/>
                    </a:cubicBezTo>
                    <a:cubicBezTo>
                      <a:pt x="1550" y="541"/>
                      <a:pt x="1557" y="534"/>
                      <a:pt x="1559" y="527"/>
                    </a:cubicBezTo>
                    <a:cubicBezTo>
                      <a:pt x="1561" y="522"/>
                      <a:pt x="1554" y="518"/>
                      <a:pt x="1556" y="513"/>
                    </a:cubicBezTo>
                    <a:cubicBezTo>
                      <a:pt x="1559" y="510"/>
                      <a:pt x="1568" y="516"/>
                      <a:pt x="1570" y="512"/>
                    </a:cubicBezTo>
                    <a:cubicBezTo>
                      <a:pt x="1573" y="505"/>
                      <a:pt x="1562" y="496"/>
                      <a:pt x="1566" y="490"/>
                    </a:cubicBezTo>
                    <a:cubicBezTo>
                      <a:pt x="1570" y="484"/>
                      <a:pt x="1583" y="491"/>
                      <a:pt x="1586" y="485"/>
                    </a:cubicBezTo>
                    <a:cubicBezTo>
                      <a:pt x="1589" y="480"/>
                      <a:pt x="1577" y="476"/>
                      <a:pt x="1578" y="470"/>
                    </a:cubicBezTo>
                    <a:cubicBezTo>
                      <a:pt x="1578" y="466"/>
                      <a:pt x="1580" y="448"/>
                      <a:pt x="1587" y="456"/>
                    </a:cubicBezTo>
                    <a:cubicBezTo>
                      <a:pt x="1589" y="454"/>
                      <a:pt x="1587" y="450"/>
                      <a:pt x="1587" y="448"/>
                    </a:cubicBezTo>
                    <a:cubicBezTo>
                      <a:pt x="1588" y="443"/>
                      <a:pt x="1580" y="447"/>
                      <a:pt x="1579" y="442"/>
                    </a:cubicBezTo>
                    <a:cubicBezTo>
                      <a:pt x="1577" y="437"/>
                      <a:pt x="1577" y="430"/>
                      <a:pt x="1580" y="424"/>
                    </a:cubicBezTo>
                    <a:cubicBezTo>
                      <a:pt x="1577" y="420"/>
                      <a:pt x="1569" y="428"/>
                      <a:pt x="1565" y="424"/>
                    </a:cubicBezTo>
                    <a:cubicBezTo>
                      <a:pt x="1562" y="421"/>
                      <a:pt x="1564" y="415"/>
                      <a:pt x="1565" y="410"/>
                    </a:cubicBezTo>
                    <a:cubicBezTo>
                      <a:pt x="1570" y="403"/>
                      <a:pt x="1565" y="393"/>
                      <a:pt x="1571" y="387"/>
                    </a:cubicBezTo>
                    <a:cubicBezTo>
                      <a:pt x="1574" y="384"/>
                      <a:pt x="1580" y="392"/>
                      <a:pt x="1585" y="391"/>
                    </a:cubicBezTo>
                    <a:cubicBezTo>
                      <a:pt x="1587" y="391"/>
                      <a:pt x="1583" y="386"/>
                      <a:pt x="1584" y="384"/>
                    </a:cubicBezTo>
                    <a:cubicBezTo>
                      <a:pt x="1587" y="380"/>
                      <a:pt x="1592" y="374"/>
                      <a:pt x="1597" y="375"/>
                    </a:cubicBezTo>
                    <a:cubicBezTo>
                      <a:pt x="1601" y="376"/>
                      <a:pt x="1596" y="384"/>
                      <a:pt x="1598" y="387"/>
                    </a:cubicBezTo>
                    <a:cubicBezTo>
                      <a:pt x="1599" y="389"/>
                      <a:pt x="1601" y="385"/>
                      <a:pt x="1603" y="384"/>
                    </a:cubicBezTo>
                    <a:cubicBezTo>
                      <a:pt x="1609" y="380"/>
                      <a:pt x="1612" y="372"/>
                      <a:pt x="1619" y="371"/>
                    </a:cubicBezTo>
                    <a:cubicBezTo>
                      <a:pt x="1626" y="371"/>
                      <a:pt x="1633" y="377"/>
                      <a:pt x="1640" y="379"/>
                    </a:cubicBezTo>
                    <a:cubicBezTo>
                      <a:pt x="1642" y="380"/>
                      <a:pt x="1645" y="383"/>
                      <a:pt x="1646" y="381"/>
                    </a:cubicBezTo>
                    <a:cubicBezTo>
                      <a:pt x="1648" y="380"/>
                      <a:pt x="1646" y="375"/>
                      <a:pt x="1648" y="373"/>
                    </a:cubicBezTo>
                    <a:cubicBezTo>
                      <a:pt x="1654" y="365"/>
                      <a:pt x="1662" y="359"/>
                      <a:pt x="1670" y="353"/>
                    </a:cubicBezTo>
                    <a:cubicBezTo>
                      <a:pt x="1678" y="348"/>
                      <a:pt x="1686" y="342"/>
                      <a:pt x="1695" y="339"/>
                    </a:cubicBezTo>
                    <a:cubicBezTo>
                      <a:pt x="1705" y="333"/>
                      <a:pt x="1717" y="338"/>
                      <a:pt x="1727" y="337"/>
                    </a:cubicBezTo>
                    <a:cubicBezTo>
                      <a:pt x="1731" y="335"/>
                      <a:pt x="1729" y="328"/>
                      <a:pt x="1727" y="325"/>
                    </a:cubicBezTo>
                    <a:cubicBezTo>
                      <a:pt x="1721" y="315"/>
                      <a:pt x="1713" y="308"/>
                      <a:pt x="1704" y="301"/>
                    </a:cubicBezTo>
                    <a:cubicBezTo>
                      <a:pt x="1698" y="297"/>
                      <a:pt x="1690" y="298"/>
                      <a:pt x="1685" y="294"/>
                    </a:cubicBezTo>
                    <a:cubicBezTo>
                      <a:pt x="1682" y="293"/>
                      <a:pt x="1679" y="288"/>
                      <a:pt x="1682" y="286"/>
                    </a:cubicBezTo>
                    <a:cubicBezTo>
                      <a:pt x="1686" y="284"/>
                      <a:pt x="1690" y="290"/>
                      <a:pt x="1695" y="289"/>
                    </a:cubicBezTo>
                    <a:cubicBezTo>
                      <a:pt x="1701" y="289"/>
                      <a:pt x="1710" y="289"/>
                      <a:pt x="1714" y="284"/>
                    </a:cubicBezTo>
                    <a:cubicBezTo>
                      <a:pt x="1717" y="280"/>
                      <a:pt x="1712" y="274"/>
                      <a:pt x="1712" y="270"/>
                    </a:cubicBezTo>
                    <a:cubicBezTo>
                      <a:pt x="1712" y="266"/>
                      <a:pt x="1711" y="259"/>
                      <a:pt x="1714" y="258"/>
                    </a:cubicBezTo>
                    <a:cubicBezTo>
                      <a:pt x="1718" y="257"/>
                      <a:pt x="1722" y="263"/>
                      <a:pt x="1724" y="266"/>
                    </a:cubicBezTo>
                    <a:cubicBezTo>
                      <a:pt x="1727" y="270"/>
                      <a:pt x="1726" y="279"/>
                      <a:pt x="1731" y="280"/>
                    </a:cubicBezTo>
                    <a:cubicBezTo>
                      <a:pt x="1737" y="282"/>
                      <a:pt x="1744" y="272"/>
                      <a:pt x="1750" y="274"/>
                    </a:cubicBezTo>
                    <a:cubicBezTo>
                      <a:pt x="1759" y="276"/>
                      <a:pt x="1765" y="288"/>
                      <a:pt x="1772" y="293"/>
                    </a:cubicBezTo>
                    <a:cubicBezTo>
                      <a:pt x="1779" y="293"/>
                      <a:pt x="1785" y="300"/>
                      <a:pt x="1793" y="302"/>
                    </a:cubicBezTo>
                    <a:cubicBezTo>
                      <a:pt x="1796" y="302"/>
                      <a:pt x="1811" y="299"/>
                      <a:pt x="1801" y="295"/>
                    </a:cubicBezTo>
                    <a:cubicBezTo>
                      <a:pt x="1802" y="289"/>
                      <a:pt x="1797" y="281"/>
                      <a:pt x="1800" y="276"/>
                    </a:cubicBezTo>
                    <a:cubicBezTo>
                      <a:pt x="1804" y="278"/>
                      <a:pt x="1811" y="279"/>
                      <a:pt x="1816" y="276"/>
                    </a:cubicBezTo>
                    <a:cubicBezTo>
                      <a:pt x="1819" y="275"/>
                      <a:pt x="1819" y="267"/>
                      <a:pt x="1821" y="264"/>
                    </a:cubicBezTo>
                    <a:cubicBezTo>
                      <a:pt x="1813" y="260"/>
                      <a:pt x="1809" y="257"/>
                      <a:pt x="1803" y="254"/>
                    </a:cubicBezTo>
                    <a:cubicBezTo>
                      <a:pt x="1792" y="251"/>
                      <a:pt x="1781" y="245"/>
                      <a:pt x="1769" y="245"/>
                    </a:cubicBezTo>
                    <a:cubicBezTo>
                      <a:pt x="1766" y="246"/>
                      <a:pt x="1773" y="253"/>
                      <a:pt x="1771" y="255"/>
                    </a:cubicBezTo>
                    <a:cubicBezTo>
                      <a:pt x="1768" y="258"/>
                      <a:pt x="1763" y="257"/>
                      <a:pt x="1760" y="254"/>
                    </a:cubicBezTo>
                    <a:cubicBezTo>
                      <a:pt x="1754" y="248"/>
                      <a:pt x="1754" y="235"/>
                      <a:pt x="1746" y="230"/>
                    </a:cubicBezTo>
                    <a:cubicBezTo>
                      <a:pt x="1725" y="221"/>
                      <a:pt x="1710" y="214"/>
                      <a:pt x="1692" y="207"/>
                    </a:cubicBezTo>
                    <a:cubicBezTo>
                      <a:pt x="1670" y="199"/>
                      <a:pt x="1649" y="187"/>
                      <a:pt x="1626" y="182"/>
                    </a:cubicBezTo>
                    <a:cubicBezTo>
                      <a:pt x="1617" y="180"/>
                      <a:pt x="1607" y="186"/>
                      <a:pt x="1598" y="185"/>
                    </a:cubicBezTo>
                    <a:cubicBezTo>
                      <a:pt x="1589" y="184"/>
                      <a:pt x="1580" y="179"/>
                      <a:pt x="1571" y="177"/>
                    </a:cubicBezTo>
                    <a:cubicBezTo>
                      <a:pt x="1569" y="177"/>
                      <a:pt x="1564" y="177"/>
                      <a:pt x="1568" y="183"/>
                    </a:cubicBezTo>
                    <a:cubicBezTo>
                      <a:pt x="1570" y="189"/>
                      <a:pt x="1578" y="192"/>
                      <a:pt x="1579" y="199"/>
                    </a:cubicBezTo>
                    <a:cubicBezTo>
                      <a:pt x="1580" y="202"/>
                      <a:pt x="1577" y="206"/>
                      <a:pt x="1574" y="207"/>
                    </a:cubicBezTo>
                    <a:cubicBezTo>
                      <a:pt x="1569" y="209"/>
                      <a:pt x="1564" y="206"/>
                      <a:pt x="1561" y="200"/>
                    </a:cubicBezTo>
                    <a:cubicBezTo>
                      <a:pt x="1557" y="199"/>
                      <a:pt x="1552" y="200"/>
                      <a:pt x="1548" y="197"/>
                    </a:cubicBezTo>
                    <a:cubicBezTo>
                      <a:pt x="1544" y="195"/>
                      <a:pt x="1544" y="187"/>
                      <a:pt x="1540" y="185"/>
                    </a:cubicBezTo>
                    <a:cubicBezTo>
                      <a:pt x="1537" y="184"/>
                      <a:pt x="1533" y="191"/>
                      <a:pt x="1530" y="192"/>
                    </a:cubicBezTo>
                    <a:cubicBezTo>
                      <a:pt x="1517" y="192"/>
                      <a:pt x="1503" y="185"/>
                      <a:pt x="1490" y="187"/>
                    </a:cubicBezTo>
                    <a:cubicBezTo>
                      <a:pt x="1484" y="188"/>
                      <a:pt x="1475" y="191"/>
                      <a:pt x="1474" y="199"/>
                    </a:cubicBezTo>
                    <a:cubicBezTo>
                      <a:pt x="1470" y="199"/>
                      <a:pt x="1470" y="191"/>
                      <a:pt x="1467" y="190"/>
                    </a:cubicBezTo>
                    <a:cubicBezTo>
                      <a:pt x="1462" y="187"/>
                      <a:pt x="1456" y="189"/>
                      <a:pt x="1451" y="187"/>
                    </a:cubicBezTo>
                    <a:cubicBezTo>
                      <a:pt x="1450" y="187"/>
                      <a:pt x="1451" y="184"/>
                      <a:pt x="1451" y="183"/>
                    </a:cubicBezTo>
                    <a:cubicBezTo>
                      <a:pt x="1451" y="176"/>
                      <a:pt x="1448" y="168"/>
                      <a:pt x="1438" y="163"/>
                    </a:cubicBezTo>
                    <a:cubicBezTo>
                      <a:pt x="1428" y="159"/>
                      <a:pt x="1415" y="159"/>
                      <a:pt x="1404" y="159"/>
                    </a:cubicBezTo>
                    <a:cubicBezTo>
                      <a:pt x="1389" y="160"/>
                      <a:pt x="1374" y="163"/>
                      <a:pt x="1359" y="162"/>
                    </a:cubicBezTo>
                    <a:cubicBezTo>
                      <a:pt x="1357" y="161"/>
                      <a:pt x="1361" y="156"/>
                      <a:pt x="1359" y="155"/>
                    </a:cubicBezTo>
                    <a:cubicBezTo>
                      <a:pt x="1354" y="150"/>
                      <a:pt x="1351" y="148"/>
                      <a:pt x="1344" y="147"/>
                    </a:cubicBezTo>
                    <a:cubicBezTo>
                      <a:pt x="1337" y="150"/>
                      <a:pt x="1323" y="147"/>
                      <a:pt x="1316" y="145"/>
                    </a:cubicBezTo>
                    <a:cubicBezTo>
                      <a:pt x="1312" y="143"/>
                      <a:pt x="1325" y="143"/>
                      <a:pt x="1327" y="139"/>
                    </a:cubicBezTo>
                    <a:cubicBezTo>
                      <a:pt x="1319" y="132"/>
                      <a:pt x="1304" y="129"/>
                      <a:pt x="1293" y="130"/>
                    </a:cubicBezTo>
                    <a:cubicBezTo>
                      <a:pt x="1287" y="130"/>
                      <a:pt x="1289" y="135"/>
                      <a:pt x="1285" y="138"/>
                    </a:cubicBezTo>
                    <a:cubicBezTo>
                      <a:pt x="1282" y="141"/>
                      <a:pt x="1280" y="148"/>
                      <a:pt x="1276" y="147"/>
                    </a:cubicBezTo>
                    <a:cubicBezTo>
                      <a:pt x="1275" y="146"/>
                      <a:pt x="1272" y="143"/>
                      <a:pt x="1273" y="141"/>
                    </a:cubicBezTo>
                    <a:cubicBezTo>
                      <a:pt x="1277" y="140"/>
                      <a:pt x="1276" y="134"/>
                      <a:pt x="1280" y="134"/>
                    </a:cubicBezTo>
                    <a:cubicBezTo>
                      <a:pt x="1280" y="133"/>
                      <a:pt x="1281" y="140"/>
                      <a:pt x="1282" y="139"/>
                    </a:cubicBezTo>
                    <a:cubicBezTo>
                      <a:pt x="1284" y="138"/>
                      <a:pt x="1287" y="131"/>
                      <a:pt x="1286" y="131"/>
                    </a:cubicBezTo>
                    <a:cubicBezTo>
                      <a:pt x="1282" y="127"/>
                      <a:pt x="1257" y="136"/>
                      <a:pt x="1258" y="131"/>
                    </a:cubicBezTo>
                    <a:cubicBezTo>
                      <a:pt x="1259" y="129"/>
                      <a:pt x="1262" y="126"/>
                      <a:pt x="1266" y="126"/>
                    </a:cubicBezTo>
                    <a:cubicBezTo>
                      <a:pt x="1272" y="126"/>
                      <a:pt x="1280" y="129"/>
                      <a:pt x="1283" y="127"/>
                    </a:cubicBezTo>
                    <a:cubicBezTo>
                      <a:pt x="1276" y="122"/>
                      <a:pt x="1267" y="125"/>
                      <a:pt x="1262" y="124"/>
                    </a:cubicBezTo>
                    <a:cubicBezTo>
                      <a:pt x="1248" y="121"/>
                      <a:pt x="1230" y="118"/>
                      <a:pt x="1218" y="114"/>
                    </a:cubicBezTo>
                    <a:cubicBezTo>
                      <a:pt x="1216" y="116"/>
                      <a:pt x="1222" y="120"/>
                      <a:pt x="1221" y="121"/>
                    </a:cubicBezTo>
                    <a:cubicBezTo>
                      <a:pt x="1219" y="125"/>
                      <a:pt x="1211" y="122"/>
                      <a:pt x="1207" y="124"/>
                    </a:cubicBezTo>
                    <a:cubicBezTo>
                      <a:pt x="1207" y="125"/>
                      <a:pt x="1205" y="130"/>
                      <a:pt x="1206" y="132"/>
                    </a:cubicBezTo>
                    <a:cubicBezTo>
                      <a:pt x="1208" y="134"/>
                      <a:pt x="1215" y="128"/>
                      <a:pt x="1215" y="130"/>
                    </a:cubicBezTo>
                    <a:cubicBezTo>
                      <a:pt x="1210" y="135"/>
                      <a:pt x="1214" y="140"/>
                      <a:pt x="1219" y="149"/>
                    </a:cubicBezTo>
                    <a:cubicBezTo>
                      <a:pt x="1215" y="149"/>
                      <a:pt x="1208" y="144"/>
                      <a:pt x="1203" y="144"/>
                    </a:cubicBezTo>
                    <a:cubicBezTo>
                      <a:pt x="1201" y="144"/>
                      <a:pt x="1191" y="146"/>
                      <a:pt x="1203" y="151"/>
                    </a:cubicBezTo>
                    <a:cubicBezTo>
                      <a:pt x="1202" y="153"/>
                      <a:pt x="1201" y="155"/>
                      <a:pt x="1199" y="155"/>
                    </a:cubicBezTo>
                    <a:cubicBezTo>
                      <a:pt x="1189" y="152"/>
                      <a:pt x="1180" y="144"/>
                      <a:pt x="1170" y="142"/>
                    </a:cubicBezTo>
                    <a:cubicBezTo>
                      <a:pt x="1166" y="141"/>
                      <a:pt x="1165" y="148"/>
                      <a:pt x="1162" y="149"/>
                    </a:cubicBezTo>
                    <a:cubicBezTo>
                      <a:pt x="1158" y="150"/>
                      <a:pt x="1152" y="151"/>
                      <a:pt x="1148" y="149"/>
                    </a:cubicBezTo>
                    <a:cubicBezTo>
                      <a:pt x="1143" y="143"/>
                      <a:pt x="1136" y="144"/>
                      <a:pt x="1134" y="137"/>
                    </a:cubicBezTo>
                    <a:cubicBezTo>
                      <a:pt x="1130" y="138"/>
                      <a:pt x="1133" y="147"/>
                      <a:pt x="1133" y="152"/>
                    </a:cubicBezTo>
                    <a:cubicBezTo>
                      <a:pt x="1133" y="157"/>
                      <a:pt x="1131" y="164"/>
                      <a:pt x="1127" y="164"/>
                    </a:cubicBezTo>
                    <a:cubicBezTo>
                      <a:pt x="1118" y="164"/>
                      <a:pt x="1114" y="156"/>
                      <a:pt x="1106" y="151"/>
                    </a:cubicBezTo>
                    <a:cubicBezTo>
                      <a:pt x="1101" y="147"/>
                      <a:pt x="1092" y="142"/>
                      <a:pt x="1089" y="136"/>
                    </a:cubicBezTo>
                    <a:cubicBezTo>
                      <a:pt x="1091" y="134"/>
                      <a:pt x="1096" y="135"/>
                      <a:pt x="1096" y="133"/>
                    </a:cubicBezTo>
                    <a:cubicBezTo>
                      <a:pt x="1096" y="129"/>
                      <a:pt x="1095" y="126"/>
                      <a:pt x="1093" y="122"/>
                    </a:cubicBezTo>
                    <a:cubicBezTo>
                      <a:pt x="1092" y="108"/>
                      <a:pt x="1082" y="104"/>
                      <a:pt x="1073" y="100"/>
                    </a:cubicBezTo>
                    <a:cubicBezTo>
                      <a:pt x="1065" y="96"/>
                      <a:pt x="1056" y="97"/>
                      <a:pt x="1047" y="97"/>
                    </a:cubicBezTo>
                    <a:cubicBezTo>
                      <a:pt x="1034" y="97"/>
                      <a:pt x="1032" y="89"/>
                      <a:pt x="1024" y="100"/>
                    </a:cubicBezTo>
                    <a:cubicBezTo>
                      <a:pt x="1020" y="103"/>
                      <a:pt x="1030" y="112"/>
                      <a:pt x="1026" y="112"/>
                    </a:cubicBezTo>
                    <a:cubicBezTo>
                      <a:pt x="1009" y="114"/>
                      <a:pt x="985" y="110"/>
                      <a:pt x="969" y="106"/>
                    </a:cubicBezTo>
                    <a:cubicBezTo>
                      <a:pt x="973" y="103"/>
                      <a:pt x="976" y="99"/>
                      <a:pt x="973" y="99"/>
                    </a:cubicBezTo>
                    <a:cubicBezTo>
                      <a:pt x="956" y="97"/>
                      <a:pt x="938" y="96"/>
                      <a:pt x="921" y="100"/>
                    </a:cubicBezTo>
                    <a:cubicBezTo>
                      <a:pt x="917" y="101"/>
                      <a:pt x="924" y="113"/>
                      <a:pt x="921" y="113"/>
                    </a:cubicBezTo>
                    <a:cubicBezTo>
                      <a:pt x="915" y="108"/>
                      <a:pt x="916" y="96"/>
                      <a:pt x="909" y="93"/>
                    </a:cubicBezTo>
                    <a:cubicBezTo>
                      <a:pt x="907" y="92"/>
                      <a:pt x="910" y="99"/>
                      <a:pt x="908" y="100"/>
                    </a:cubicBezTo>
                    <a:cubicBezTo>
                      <a:pt x="904" y="101"/>
                      <a:pt x="899" y="101"/>
                      <a:pt x="895" y="100"/>
                    </a:cubicBezTo>
                    <a:cubicBezTo>
                      <a:pt x="891" y="98"/>
                      <a:pt x="892" y="92"/>
                      <a:pt x="888" y="91"/>
                    </a:cubicBezTo>
                    <a:cubicBezTo>
                      <a:pt x="885" y="95"/>
                      <a:pt x="876" y="87"/>
                      <a:pt x="874" y="90"/>
                    </a:cubicBezTo>
                    <a:cubicBezTo>
                      <a:pt x="873" y="92"/>
                      <a:pt x="871" y="96"/>
                      <a:pt x="873" y="97"/>
                    </a:cubicBezTo>
                    <a:cubicBezTo>
                      <a:pt x="878" y="97"/>
                      <a:pt x="883" y="95"/>
                      <a:pt x="884" y="98"/>
                    </a:cubicBezTo>
                    <a:cubicBezTo>
                      <a:pt x="880" y="101"/>
                      <a:pt x="875" y="101"/>
                      <a:pt x="870" y="103"/>
                    </a:cubicBezTo>
                    <a:cubicBezTo>
                      <a:pt x="865" y="108"/>
                      <a:pt x="857" y="108"/>
                      <a:pt x="851" y="110"/>
                    </a:cubicBezTo>
                    <a:cubicBezTo>
                      <a:pt x="848" y="112"/>
                      <a:pt x="845" y="107"/>
                      <a:pt x="841" y="109"/>
                    </a:cubicBezTo>
                    <a:cubicBezTo>
                      <a:pt x="841" y="114"/>
                      <a:pt x="833" y="119"/>
                      <a:pt x="828" y="121"/>
                    </a:cubicBezTo>
                    <a:cubicBezTo>
                      <a:pt x="828" y="121"/>
                      <a:pt x="827" y="119"/>
                      <a:pt x="828" y="119"/>
                    </a:cubicBezTo>
                    <a:cubicBezTo>
                      <a:pt x="836" y="112"/>
                      <a:pt x="845" y="95"/>
                      <a:pt x="848" y="99"/>
                    </a:cubicBezTo>
                    <a:cubicBezTo>
                      <a:pt x="859" y="91"/>
                      <a:pt x="873" y="86"/>
                      <a:pt x="884" y="78"/>
                    </a:cubicBezTo>
                    <a:cubicBezTo>
                      <a:pt x="892" y="73"/>
                      <a:pt x="901" y="68"/>
                      <a:pt x="905" y="60"/>
                    </a:cubicBezTo>
                    <a:cubicBezTo>
                      <a:pt x="907" y="57"/>
                      <a:pt x="899" y="59"/>
                      <a:pt x="897" y="57"/>
                    </a:cubicBezTo>
                    <a:cubicBezTo>
                      <a:pt x="895" y="55"/>
                      <a:pt x="889" y="50"/>
                      <a:pt x="892" y="48"/>
                    </a:cubicBezTo>
                    <a:cubicBezTo>
                      <a:pt x="896" y="46"/>
                      <a:pt x="904" y="57"/>
                      <a:pt x="905" y="52"/>
                    </a:cubicBezTo>
                    <a:cubicBezTo>
                      <a:pt x="903" y="47"/>
                      <a:pt x="900" y="42"/>
                      <a:pt x="895" y="38"/>
                    </a:cubicBezTo>
                    <a:cubicBezTo>
                      <a:pt x="893" y="37"/>
                      <a:pt x="893" y="44"/>
                      <a:pt x="891" y="43"/>
                    </a:cubicBezTo>
                    <a:cubicBezTo>
                      <a:pt x="888" y="40"/>
                      <a:pt x="885" y="34"/>
                      <a:pt x="881" y="33"/>
                    </a:cubicBezTo>
                    <a:cubicBezTo>
                      <a:pt x="870" y="29"/>
                      <a:pt x="859" y="27"/>
                      <a:pt x="847" y="26"/>
                    </a:cubicBezTo>
                    <a:cubicBezTo>
                      <a:pt x="839" y="26"/>
                      <a:pt x="828" y="34"/>
                      <a:pt x="820" y="32"/>
                    </a:cubicBezTo>
                    <a:cubicBezTo>
                      <a:pt x="821" y="27"/>
                      <a:pt x="831" y="23"/>
                      <a:pt x="828" y="21"/>
                    </a:cubicBezTo>
                    <a:cubicBezTo>
                      <a:pt x="821" y="18"/>
                      <a:pt x="816" y="20"/>
                      <a:pt x="808" y="21"/>
                    </a:cubicBezTo>
                    <a:cubicBezTo>
                      <a:pt x="813" y="15"/>
                      <a:pt x="807" y="17"/>
                      <a:pt x="802" y="19"/>
                    </a:cubicBezTo>
                    <a:cubicBezTo>
                      <a:pt x="798" y="19"/>
                      <a:pt x="794" y="20"/>
                      <a:pt x="793" y="19"/>
                    </a:cubicBezTo>
                    <a:cubicBezTo>
                      <a:pt x="795" y="16"/>
                      <a:pt x="807" y="13"/>
                      <a:pt x="810" y="9"/>
                    </a:cubicBezTo>
                    <a:cubicBezTo>
                      <a:pt x="809" y="6"/>
                      <a:pt x="807" y="4"/>
                      <a:pt x="805" y="3"/>
                    </a:cubicBezTo>
                    <a:cubicBezTo>
                      <a:pt x="807" y="13"/>
                      <a:pt x="793" y="0"/>
                      <a:pt x="788" y="1"/>
                    </a:cubicBezTo>
                    <a:cubicBezTo>
                      <a:pt x="781" y="5"/>
                      <a:pt x="770" y="11"/>
                      <a:pt x="764" y="19"/>
                    </a:cubicBezTo>
                    <a:cubicBezTo>
                      <a:pt x="762" y="22"/>
                      <a:pt x="763" y="27"/>
                      <a:pt x="764" y="31"/>
                    </a:cubicBezTo>
                    <a:cubicBezTo>
                      <a:pt x="766" y="35"/>
                      <a:pt x="780" y="37"/>
                      <a:pt x="776" y="40"/>
                    </a:cubicBezTo>
                    <a:cubicBezTo>
                      <a:pt x="772" y="43"/>
                      <a:pt x="764" y="36"/>
                      <a:pt x="758" y="35"/>
                    </a:cubicBezTo>
                    <a:cubicBezTo>
                      <a:pt x="752" y="34"/>
                      <a:pt x="746" y="35"/>
                      <a:pt x="739" y="34"/>
                    </a:cubicBezTo>
                    <a:cubicBezTo>
                      <a:pt x="736" y="38"/>
                      <a:pt x="751" y="39"/>
                      <a:pt x="754" y="44"/>
                    </a:cubicBezTo>
                    <a:cubicBezTo>
                      <a:pt x="755" y="46"/>
                      <a:pt x="753" y="51"/>
                      <a:pt x="751" y="51"/>
                    </a:cubicBezTo>
                    <a:cubicBezTo>
                      <a:pt x="753" y="43"/>
                      <a:pt x="744" y="42"/>
                      <a:pt x="740" y="42"/>
                    </a:cubicBezTo>
                    <a:cubicBezTo>
                      <a:pt x="730" y="41"/>
                      <a:pt x="720" y="47"/>
                      <a:pt x="710" y="47"/>
                    </a:cubicBezTo>
                    <a:cubicBezTo>
                      <a:pt x="709" y="47"/>
                      <a:pt x="712" y="40"/>
                      <a:pt x="710" y="40"/>
                    </a:cubicBezTo>
                    <a:cubicBezTo>
                      <a:pt x="700" y="40"/>
                      <a:pt x="691" y="41"/>
                      <a:pt x="682" y="45"/>
                    </a:cubicBezTo>
                    <a:cubicBezTo>
                      <a:pt x="679" y="46"/>
                      <a:pt x="693" y="45"/>
                      <a:pt x="691" y="48"/>
                    </a:cubicBezTo>
                    <a:cubicBezTo>
                      <a:pt x="688" y="51"/>
                      <a:pt x="682" y="50"/>
                      <a:pt x="677" y="51"/>
                    </a:cubicBezTo>
                    <a:cubicBezTo>
                      <a:pt x="664" y="53"/>
                      <a:pt x="650" y="53"/>
                      <a:pt x="637" y="57"/>
                    </a:cubicBezTo>
                    <a:cubicBezTo>
                      <a:pt x="634" y="58"/>
                      <a:pt x="632" y="61"/>
                      <a:pt x="629" y="63"/>
                    </a:cubicBezTo>
                    <a:cubicBezTo>
                      <a:pt x="618" y="62"/>
                      <a:pt x="618" y="63"/>
                      <a:pt x="626" y="68"/>
                    </a:cubicBezTo>
                    <a:cubicBezTo>
                      <a:pt x="625" y="70"/>
                      <a:pt x="621" y="74"/>
                      <a:pt x="620" y="77"/>
                    </a:cubicBezTo>
                    <a:cubicBezTo>
                      <a:pt x="620" y="77"/>
                      <a:pt x="617" y="72"/>
                      <a:pt x="615" y="71"/>
                    </a:cubicBezTo>
                    <a:cubicBezTo>
                      <a:pt x="611" y="71"/>
                      <a:pt x="609" y="74"/>
                      <a:pt x="612" y="76"/>
                    </a:cubicBezTo>
                    <a:cubicBezTo>
                      <a:pt x="613" y="76"/>
                      <a:pt x="625" y="81"/>
                      <a:pt x="623" y="82"/>
                    </a:cubicBezTo>
                    <a:cubicBezTo>
                      <a:pt x="614" y="79"/>
                      <a:pt x="612" y="81"/>
                      <a:pt x="612" y="83"/>
                    </a:cubicBezTo>
                    <a:cubicBezTo>
                      <a:pt x="612" y="84"/>
                      <a:pt x="620" y="86"/>
                      <a:pt x="621" y="87"/>
                    </a:cubicBezTo>
                    <a:cubicBezTo>
                      <a:pt x="623" y="90"/>
                      <a:pt x="631" y="94"/>
                      <a:pt x="628" y="97"/>
                    </a:cubicBezTo>
                    <a:cubicBezTo>
                      <a:pt x="627" y="98"/>
                      <a:pt x="625" y="99"/>
                      <a:pt x="624" y="99"/>
                    </a:cubicBezTo>
                    <a:cubicBezTo>
                      <a:pt x="631" y="87"/>
                      <a:pt x="613" y="97"/>
                      <a:pt x="609" y="97"/>
                    </a:cubicBezTo>
                    <a:cubicBezTo>
                      <a:pt x="607" y="96"/>
                      <a:pt x="604" y="94"/>
                      <a:pt x="602" y="94"/>
                    </a:cubicBezTo>
                    <a:cubicBezTo>
                      <a:pt x="597" y="94"/>
                      <a:pt x="593" y="97"/>
                      <a:pt x="589" y="97"/>
                    </a:cubicBezTo>
                    <a:cubicBezTo>
                      <a:pt x="579" y="99"/>
                      <a:pt x="567" y="99"/>
                      <a:pt x="558" y="100"/>
                    </a:cubicBezTo>
                    <a:cubicBezTo>
                      <a:pt x="559" y="103"/>
                      <a:pt x="562" y="108"/>
                      <a:pt x="563" y="113"/>
                    </a:cubicBezTo>
                    <a:cubicBezTo>
                      <a:pt x="565" y="116"/>
                      <a:pt x="563" y="124"/>
                      <a:pt x="566" y="127"/>
                    </a:cubicBezTo>
                    <a:cubicBezTo>
                      <a:pt x="569" y="131"/>
                      <a:pt x="575" y="128"/>
                      <a:pt x="579" y="130"/>
                    </a:cubicBezTo>
                    <a:cubicBezTo>
                      <a:pt x="582" y="132"/>
                      <a:pt x="583" y="136"/>
                      <a:pt x="586" y="138"/>
                    </a:cubicBezTo>
                    <a:cubicBezTo>
                      <a:pt x="590" y="140"/>
                      <a:pt x="594" y="138"/>
                      <a:pt x="597" y="142"/>
                    </a:cubicBezTo>
                    <a:cubicBezTo>
                      <a:pt x="599" y="145"/>
                      <a:pt x="597" y="150"/>
                      <a:pt x="599" y="153"/>
                    </a:cubicBezTo>
                    <a:cubicBezTo>
                      <a:pt x="601" y="159"/>
                      <a:pt x="608" y="162"/>
                      <a:pt x="609" y="168"/>
                    </a:cubicBezTo>
                    <a:cubicBezTo>
                      <a:pt x="609" y="172"/>
                      <a:pt x="605" y="174"/>
                      <a:pt x="602" y="175"/>
                    </a:cubicBezTo>
                    <a:cubicBezTo>
                      <a:pt x="600" y="176"/>
                      <a:pt x="597" y="174"/>
                      <a:pt x="595" y="173"/>
                    </a:cubicBezTo>
                    <a:cubicBezTo>
                      <a:pt x="594" y="172"/>
                      <a:pt x="600" y="163"/>
                      <a:pt x="598" y="160"/>
                    </a:cubicBezTo>
                    <a:cubicBezTo>
                      <a:pt x="596" y="158"/>
                      <a:pt x="592" y="168"/>
                      <a:pt x="589" y="169"/>
                    </a:cubicBezTo>
                    <a:cubicBezTo>
                      <a:pt x="590" y="161"/>
                      <a:pt x="586" y="156"/>
                      <a:pt x="587" y="151"/>
                    </a:cubicBezTo>
                    <a:cubicBezTo>
                      <a:pt x="588" y="148"/>
                      <a:pt x="593" y="149"/>
                      <a:pt x="593" y="147"/>
                    </a:cubicBezTo>
                    <a:cubicBezTo>
                      <a:pt x="593" y="146"/>
                      <a:pt x="594" y="142"/>
                      <a:pt x="590" y="142"/>
                    </a:cubicBezTo>
                    <a:cubicBezTo>
                      <a:pt x="586" y="143"/>
                      <a:pt x="581" y="144"/>
                      <a:pt x="577" y="142"/>
                    </a:cubicBezTo>
                    <a:cubicBezTo>
                      <a:pt x="572" y="140"/>
                      <a:pt x="567" y="136"/>
                      <a:pt x="565" y="131"/>
                    </a:cubicBezTo>
                    <a:cubicBezTo>
                      <a:pt x="559" y="131"/>
                      <a:pt x="550" y="126"/>
                      <a:pt x="542" y="125"/>
                    </a:cubicBezTo>
                    <a:cubicBezTo>
                      <a:pt x="538" y="125"/>
                      <a:pt x="532" y="128"/>
                      <a:pt x="532" y="132"/>
                    </a:cubicBezTo>
                    <a:cubicBezTo>
                      <a:pt x="537" y="132"/>
                      <a:pt x="540" y="133"/>
                      <a:pt x="541" y="137"/>
                    </a:cubicBezTo>
                    <a:cubicBezTo>
                      <a:pt x="542" y="139"/>
                      <a:pt x="538" y="143"/>
                      <a:pt x="535" y="142"/>
                    </a:cubicBezTo>
                    <a:cubicBezTo>
                      <a:pt x="531" y="140"/>
                      <a:pt x="529" y="133"/>
                      <a:pt x="524" y="131"/>
                    </a:cubicBezTo>
                    <a:cubicBezTo>
                      <a:pt x="523" y="132"/>
                      <a:pt x="518" y="136"/>
                      <a:pt x="516" y="137"/>
                    </a:cubicBezTo>
                    <a:cubicBezTo>
                      <a:pt x="515" y="141"/>
                      <a:pt x="519" y="143"/>
                      <a:pt x="522" y="145"/>
                    </a:cubicBezTo>
                    <a:cubicBezTo>
                      <a:pt x="527" y="148"/>
                      <a:pt x="533" y="151"/>
                      <a:pt x="539" y="150"/>
                    </a:cubicBezTo>
                    <a:cubicBezTo>
                      <a:pt x="543" y="152"/>
                      <a:pt x="546" y="156"/>
                      <a:pt x="549" y="158"/>
                    </a:cubicBezTo>
                    <a:cubicBezTo>
                      <a:pt x="550" y="159"/>
                      <a:pt x="547" y="159"/>
                      <a:pt x="546" y="159"/>
                    </a:cubicBezTo>
                    <a:cubicBezTo>
                      <a:pt x="541" y="158"/>
                      <a:pt x="538" y="153"/>
                      <a:pt x="531" y="154"/>
                    </a:cubicBezTo>
                    <a:cubicBezTo>
                      <a:pt x="524" y="152"/>
                      <a:pt x="515" y="154"/>
                      <a:pt x="511" y="148"/>
                    </a:cubicBezTo>
                    <a:cubicBezTo>
                      <a:pt x="509" y="146"/>
                      <a:pt x="511" y="141"/>
                      <a:pt x="508" y="140"/>
                    </a:cubicBezTo>
                    <a:cubicBezTo>
                      <a:pt x="507" y="134"/>
                      <a:pt x="508" y="129"/>
                      <a:pt x="507" y="124"/>
                    </a:cubicBezTo>
                    <a:cubicBezTo>
                      <a:pt x="506" y="120"/>
                      <a:pt x="503" y="116"/>
                      <a:pt x="500" y="114"/>
                    </a:cubicBezTo>
                    <a:cubicBezTo>
                      <a:pt x="499" y="113"/>
                      <a:pt x="500" y="117"/>
                      <a:pt x="501" y="119"/>
                    </a:cubicBezTo>
                    <a:cubicBezTo>
                      <a:pt x="502" y="125"/>
                      <a:pt x="503" y="131"/>
                      <a:pt x="498" y="136"/>
                    </a:cubicBezTo>
                    <a:cubicBezTo>
                      <a:pt x="497" y="138"/>
                      <a:pt x="494" y="139"/>
                      <a:pt x="491" y="140"/>
                    </a:cubicBezTo>
                    <a:cubicBezTo>
                      <a:pt x="491" y="142"/>
                      <a:pt x="488" y="146"/>
                      <a:pt x="484" y="149"/>
                    </a:cubicBezTo>
                    <a:cubicBezTo>
                      <a:pt x="490" y="154"/>
                      <a:pt x="498" y="157"/>
                      <a:pt x="501" y="164"/>
                    </a:cubicBezTo>
                    <a:cubicBezTo>
                      <a:pt x="503" y="167"/>
                      <a:pt x="499" y="173"/>
                      <a:pt x="499" y="177"/>
                    </a:cubicBezTo>
                    <a:cubicBezTo>
                      <a:pt x="500" y="184"/>
                      <a:pt x="499" y="191"/>
                      <a:pt x="503" y="196"/>
                    </a:cubicBezTo>
                    <a:cubicBezTo>
                      <a:pt x="505" y="198"/>
                      <a:pt x="510" y="197"/>
                      <a:pt x="514" y="198"/>
                    </a:cubicBezTo>
                    <a:cubicBezTo>
                      <a:pt x="519" y="195"/>
                      <a:pt x="522" y="191"/>
                      <a:pt x="526" y="192"/>
                    </a:cubicBezTo>
                    <a:cubicBezTo>
                      <a:pt x="534" y="194"/>
                      <a:pt x="538" y="199"/>
                      <a:pt x="546" y="203"/>
                    </a:cubicBezTo>
                    <a:cubicBezTo>
                      <a:pt x="550" y="207"/>
                      <a:pt x="554" y="211"/>
                      <a:pt x="555" y="216"/>
                    </a:cubicBezTo>
                    <a:cubicBezTo>
                      <a:pt x="556" y="218"/>
                      <a:pt x="549" y="217"/>
                      <a:pt x="549" y="219"/>
                    </a:cubicBezTo>
                    <a:cubicBezTo>
                      <a:pt x="549" y="222"/>
                      <a:pt x="551" y="226"/>
                      <a:pt x="553" y="227"/>
                    </a:cubicBezTo>
                    <a:cubicBezTo>
                      <a:pt x="558" y="228"/>
                      <a:pt x="563" y="226"/>
                      <a:pt x="567" y="229"/>
                    </a:cubicBezTo>
                    <a:cubicBezTo>
                      <a:pt x="570" y="230"/>
                      <a:pt x="573" y="233"/>
                      <a:pt x="572" y="236"/>
                    </a:cubicBezTo>
                    <a:cubicBezTo>
                      <a:pt x="571" y="238"/>
                      <a:pt x="569" y="232"/>
                      <a:pt x="567" y="231"/>
                    </a:cubicBezTo>
                    <a:cubicBezTo>
                      <a:pt x="562" y="230"/>
                      <a:pt x="555" y="234"/>
                      <a:pt x="550" y="231"/>
                    </a:cubicBezTo>
                    <a:cubicBezTo>
                      <a:pt x="545" y="228"/>
                      <a:pt x="546" y="220"/>
                      <a:pt x="543" y="214"/>
                    </a:cubicBezTo>
                    <a:cubicBezTo>
                      <a:pt x="541" y="210"/>
                      <a:pt x="539" y="205"/>
                      <a:pt x="535" y="203"/>
                    </a:cubicBezTo>
                    <a:cubicBezTo>
                      <a:pt x="530" y="201"/>
                      <a:pt x="525" y="202"/>
                      <a:pt x="520" y="203"/>
                    </a:cubicBezTo>
                    <a:cubicBezTo>
                      <a:pt x="517" y="204"/>
                      <a:pt x="513" y="206"/>
                      <a:pt x="513" y="209"/>
                    </a:cubicBezTo>
                    <a:cubicBezTo>
                      <a:pt x="513" y="217"/>
                      <a:pt x="520" y="217"/>
                      <a:pt x="520" y="222"/>
                    </a:cubicBezTo>
                    <a:cubicBezTo>
                      <a:pt x="521" y="226"/>
                      <a:pt x="516" y="229"/>
                      <a:pt x="514" y="232"/>
                    </a:cubicBezTo>
                    <a:cubicBezTo>
                      <a:pt x="513" y="235"/>
                      <a:pt x="513" y="240"/>
                      <a:pt x="511" y="242"/>
                    </a:cubicBezTo>
                    <a:cubicBezTo>
                      <a:pt x="508" y="246"/>
                      <a:pt x="502" y="247"/>
                      <a:pt x="499" y="251"/>
                    </a:cubicBezTo>
                    <a:cubicBezTo>
                      <a:pt x="497" y="253"/>
                      <a:pt x="501" y="255"/>
                      <a:pt x="498" y="257"/>
                    </a:cubicBezTo>
                    <a:cubicBezTo>
                      <a:pt x="493" y="259"/>
                      <a:pt x="487" y="258"/>
                      <a:pt x="482" y="258"/>
                    </a:cubicBezTo>
                    <a:cubicBezTo>
                      <a:pt x="477" y="257"/>
                      <a:pt x="468" y="257"/>
                      <a:pt x="468" y="251"/>
                    </a:cubicBezTo>
                    <a:cubicBezTo>
                      <a:pt x="472" y="250"/>
                      <a:pt x="476" y="254"/>
                      <a:pt x="481" y="252"/>
                    </a:cubicBezTo>
                    <a:cubicBezTo>
                      <a:pt x="484" y="251"/>
                      <a:pt x="487" y="247"/>
                      <a:pt x="489" y="245"/>
                    </a:cubicBezTo>
                    <a:cubicBezTo>
                      <a:pt x="493" y="239"/>
                      <a:pt x="495" y="232"/>
                      <a:pt x="499" y="227"/>
                    </a:cubicBezTo>
                    <a:cubicBezTo>
                      <a:pt x="501" y="222"/>
                      <a:pt x="498" y="214"/>
                      <a:pt x="501" y="211"/>
                    </a:cubicBezTo>
                    <a:cubicBezTo>
                      <a:pt x="500" y="206"/>
                      <a:pt x="492" y="206"/>
                      <a:pt x="491" y="201"/>
                    </a:cubicBezTo>
                    <a:cubicBezTo>
                      <a:pt x="489" y="187"/>
                      <a:pt x="487" y="171"/>
                      <a:pt x="483" y="157"/>
                    </a:cubicBezTo>
                    <a:cubicBezTo>
                      <a:pt x="481" y="154"/>
                      <a:pt x="472" y="150"/>
                      <a:pt x="471" y="144"/>
                    </a:cubicBezTo>
                    <a:cubicBezTo>
                      <a:pt x="473" y="139"/>
                      <a:pt x="476" y="134"/>
                      <a:pt x="476" y="128"/>
                    </a:cubicBezTo>
                    <a:cubicBezTo>
                      <a:pt x="476" y="123"/>
                      <a:pt x="477" y="116"/>
                      <a:pt x="472" y="114"/>
                    </a:cubicBezTo>
                    <a:cubicBezTo>
                      <a:pt x="463" y="115"/>
                      <a:pt x="447" y="115"/>
                      <a:pt x="440" y="113"/>
                    </a:cubicBezTo>
                    <a:cubicBezTo>
                      <a:pt x="433" y="118"/>
                      <a:pt x="437" y="131"/>
                      <a:pt x="433" y="139"/>
                    </a:cubicBezTo>
                    <a:cubicBezTo>
                      <a:pt x="432" y="149"/>
                      <a:pt x="417" y="147"/>
                      <a:pt x="416" y="155"/>
                    </a:cubicBezTo>
                    <a:cubicBezTo>
                      <a:pt x="416" y="157"/>
                      <a:pt x="416" y="160"/>
                      <a:pt x="416" y="162"/>
                    </a:cubicBezTo>
                    <a:cubicBezTo>
                      <a:pt x="421" y="159"/>
                      <a:pt x="423" y="168"/>
                      <a:pt x="424" y="176"/>
                    </a:cubicBezTo>
                    <a:cubicBezTo>
                      <a:pt x="424" y="181"/>
                      <a:pt x="420" y="184"/>
                      <a:pt x="424" y="187"/>
                    </a:cubicBezTo>
                    <a:cubicBezTo>
                      <a:pt x="428" y="188"/>
                      <a:pt x="434" y="190"/>
                      <a:pt x="439" y="191"/>
                    </a:cubicBezTo>
                    <a:cubicBezTo>
                      <a:pt x="438" y="198"/>
                      <a:pt x="445" y="205"/>
                      <a:pt x="450" y="205"/>
                    </a:cubicBezTo>
                    <a:cubicBezTo>
                      <a:pt x="451" y="209"/>
                      <a:pt x="446" y="214"/>
                      <a:pt x="444" y="218"/>
                    </a:cubicBezTo>
                    <a:cubicBezTo>
                      <a:pt x="427" y="205"/>
                      <a:pt x="413" y="191"/>
                      <a:pt x="393" y="186"/>
                    </a:cubicBezTo>
                    <a:cubicBezTo>
                      <a:pt x="382" y="183"/>
                      <a:pt x="371" y="181"/>
                      <a:pt x="360" y="181"/>
                    </a:cubicBezTo>
                    <a:cubicBezTo>
                      <a:pt x="356" y="181"/>
                      <a:pt x="349" y="183"/>
                      <a:pt x="350" y="187"/>
                    </a:cubicBezTo>
                    <a:cubicBezTo>
                      <a:pt x="350" y="194"/>
                      <a:pt x="363" y="196"/>
                      <a:pt x="361" y="204"/>
                    </a:cubicBezTo>
                    <a:cubicBezTo>
                      <a:pt x="357" y="209"/>
                      <a:pt x="349" y="215"/>
                      <a:pt x="341" y="213"/>
                    </a:cubicBezTo>
                    <a:cubicBezTo>
                      <a:pt x="337" y="211"/>
                      <a:pt x="343" y="201"/>
                      <a:pt x="339" y="200"/>
                    </a:cubicBezTo>
                    <a:cubicBezTo>
                      <a:pt x="327" y="199"/>
                      <a:pt x="319" y="214"/>
                      <a:pt x="315" y="207"/>
                    </a:cubicBezTo>
                    <a:cubicBezTo>
                      <a:pt x="307" y="204"/>
                      <a:pt x="300" y="206"/>
                      <a:pt x="295" y="209"/>
                    </a:cubicBezTo>
                    <a:cubicBezTo>
                      <a:pt x="296" y="216"/>
                      <a:pt x="295" y="217"/>
                      <a:pt x="291" y="214"/>
                    </a:cubicBezTo>
                    <a:cubicBezTo>
                      <a:pt x="287" y="216"/>
                      <a:pt x="277" y="217"/>
                      <a:pt x="275" y="214"/>
                    </a:cubicBezTo>
                    <a:cubicBezTo>
                      <a:pt x="281" y="212"/>
                      <a:pt x="282" y="207"/>
                      <a:pt x="281" y="203"/>
                    </a:cubicBezTo>
                    <a:cubicBezTo>
                      <a:pt x="280" y="200"/>
                      <a:pt x="276" y="201"/>
                      <a:pt x="273" y="203"/>
                    </a:cubicBezTo>
                    <a:cubicBezTo>
                      <a:pt x="271" y="205"/>
                      <a:pt x="264" y="206"/>
                      <a:pt x="271" y="211"/>
                    </a:cubicBezTo>
                    <a:cubicBezTo>
                      <a:pt x="270" y="212"/>
                      <a:pt x="268" y="216"/>
                      <a:pt x="267" y="216"/>
                    </a:cubicBezTo>
                    <a:cubicBezTo>
                      <a:pt x="265" y="215"/>
                      <a:pt x="267" y="210"/>
                      <a:pt x="264" y="210"/>
                    </a:cubicBezTo>
                    <a:cubicBezTo>
                      <a:pt x="256" y="212"/>
                      <a:pt x="250" y="216"/>
                      <a:pt x="242" y="218"/>
                    </a:cubicBezTo>
                    <a:cubicBezTo>
                      <a:pt x="240" y="219"/>
                      <a:pt x="237" y="223"/>
                      <a:pt x="234" y="225"/>
                    </a:cubicBezTo>
                    <a:cubicBezTo>
                      <a:pt x="227" y="224"/>
                      <a:pt x="227" y="228"/>
                      <a:pt x="228" y="231"/>
                    </a:cubicBezTo>
                    <a:cubicBezTo>
                      <a:pt x="225" y="233"/>
                      <a:pt x="220" y="232"/>
                      <a:pt x="219" y="234"/>
                    </a:cubicBezTo>
                    <a:cubicBezTo>
                      <a:pt x="217" y="236"/>
                      <a:pt x="220" y="242"/>
                      <a:pt x="218" y="243"/>
                    </a:cubicBezTo>
                    <a:cubicBezTo>
                      <a:pt x="212" y="246"/>
                      <a:pt x="205" y="249"/>
                      <a:pt x="198" y="246"/>
                    </a:cubicBezTo>
                    <a:cubicBezTo>
                      <a:pt x="192" y="244"/>
                      <a:pt x="187" y="236"/>
                      <a:pt x="187" y="230"/>
                    </a:cubicBezTo>
                    <a:cubicBezTo>
                      <a:pt x="188" y="225"/>
                      <a:pt x="196" y="224"/>
                      <a:pt x="201" y="224"/>
                    </a:cubicBezTo>
                    <a:cubicBezTo>
                      <a:pt x="202" y="223"/>
                      <a:pt x="201" y="220"/>
                      <a:pt x="199" y="218"/>
                    </a:cubicBezTo>
                    <a:cubicBezTo>
                      <a:pt x="197" y="214"/>
                      <a:pt x="194" y="208"/>
                      <a:pt x="189" y="208"/>
                    </a:cubicBezTo>
                    <a:cubicBezTo>
                      <a:pt x="181" y="205"/>
                      <a:pt x="172" y="205"/>
                      <a:pt x="164" y="203"/>
                    </a:cubicBezTo>
                    <a:cubicBezTo>
                      <a:pt x="163" y="203"/>
                      <a:pt x="164" y="207"/>
                      <a:pt x="165" y="208"/>
                    </a:cubicBezTo>
                    <a:cubicBezTo>
                      <a:pt x="168" y="212"/>
                      <a:pt x="175" y="214"/>
                      <a:pt x="176" y="220"/>
                    </a:cubicBezTo>
                    <a:cubicBezTo>
                      <a:pt x="177" y="225"/>
                      <a:pt x="172" y="235"/>
                      <a:pt x="173" y="241"/>
                    </a:cubicBezTo>
                    <a:cubicBezTo>
                      <a:pt x="178" y="240"/>
                      <a:pt x="178" y="243"/>
                      <a:pt x="180" y="248"/>
                    </a:cubicBezTo>
                    <a:cubicBezTo>
                      <a:pt x="181" y="252"/>
                      <a:pt x="178" y="257"/>
                      <a:pt x="180" y="262"/>
                    </a:cubicBezTo>
                    <a:cubicBezTo>
                      <a:pt x="175" y="259"/>
                      <a:pt x="170" y="256"/>
                      <a:pt x="164" y="254"/>
                    </a:cubicBezTo>
                    <a:cubicBezTo>
                      <a:pt x="162" y="253"/>
                      <a:pt x="158" y="252"/>
                      <a:pt x="156" y="253"/>
                    </a:cubicBezTo>
                    <a:cubicBezTo>
                      <a:pt x="150" y="259"/>
                      <a:pt x="142" y="264"/>
                      <a:pt x="135" y="270"/>
                    </a:cubicBezTo>
                    <a:cubicBezTo>
                      <a:pt x="133" y="271"/>
                      <a:pt x="133" y="275"/>
                      <a:pt x="134" y="277"/>
                    </a:cubicBezTo>
                    <a:cubicBezTo>
                      <a:pt x="139" y="281"/>
                      <a:pt x="143" y="288"/>
                      <a:pt x="146" y="294"/>
                    </a:cubicBezTo>
                    <a:cubicBezTo>
                      <a:pt x="144" y="295"/>
                      <a:pt x="141" y="293"/>
                      <a:pt x="139" y="293"/>
                    </a:cubicBezTo>
                    <a:cubicBezTo>
                      <a:pt x="134" y="291"/>
                      <a:pt x="131" y="289"/>
                      <a:pt x="125" y="288"/>
                    </a:cubicBezTo>
                    <a:cubicBezTo>
                      <a:pt x="121" y="287"/>
                      <a:pt x="117" y="291"/>
                      <a:pt x="113" y="289"/>
                    </a:cubicBezTo>
                    <a:cubicBezTo>
                      <a:pt x="112" y="289"/>
                      <a:pt x="120" y="286"/>
                      <a:pt x="110" y="285"/>
                    </a:cubicBezTo>
                    <a:cubicBezTo>
                      <a:pt x="110" y="283"/>
                      <a:pt x="109" y="281"/>
                      <a:pt x="107" y="280"/>
                    </a:cubicBezTo>
                    <a:cubicBezTo>
                      <a:pt x="105" y="279"/>
                      <a:pt x="101" y="279"/>
                      <a:pt x="100" y="281"/>
                    </a:cubicBezTo>
                    <a:cubicBezTo>
                      <a:pt x="96" y="286"/>
                      <a:pt x="99" y="292"/>
                      <a:pt x="104" y="294"/>
                    </a:cubicBezTo>
                    <a:cubicBezTo>
                      <a:pt x="106" y="296"/>
                      <a:pt x="110" y="293"/>
                      <a:pt x="113" y="295"/>
                    </a:cubicBezTo>
                    <a:cubicBezTo>
                      <a:pt x="115" y="297"/>
                      <a:pt x="116" y="302"/>
                      <a:pt x="113" y="304"/>
                    </a:cubicBezTo>
                    <a:cubicBezTo>
                      <a:pt x="110" y="306"/>
                      <a:pt x="105" y="306"/>
                      <a:pt x="101" y="304"/>
                    </a:cubicBezTo>
                    <a:cubicBezTo>
                      <a:pt x="97" y="303"/>
                      <a:pt x="93" y="300"/>
                      <a:pt x="89" y="298"/>
                    </a:cubicBezTo>
                    <a:cubicBezTo>
                      <a:pt x="85" y="295"/>
                      <a:pt x="82" y="293"/>
                      <a:pt x="79" y="290"/>
                    </a:cubicBezTo>
                    <a:cubicBezTo>
                      <a:pt x="77" y="286"/>
                      <a:pt x="76" y="281"/>
                      <a:pt x="75" y="276"/>
                    </a:cubicBezTo>
                    <a:cubicBezTo>
                      <a:pt x="75" y="273"/>
                      <a:pt x="78" y="269"/>
                      <a:pt x="76" y="266"/>
                    </a:cubicBezTo>
                    <a:cubicBezTo>
                      <a:pt x="73" y="261"/>
                      <a:pt x="67" y="256"/>
                      <a:pt x="61" y="256"/>
                    </a:cubicBezTo>
                    <a:cubicBezTo>
                      <a:pt x="62" y="249"/>
                      <a:pt x="51" y="248"/>
                      <a:pt x="47" y="243"/>
                    </a:cubicBezTo>
                    <a:cubicBezTo>
                      <a:pt x="46" y="242"/>
                      <a:pt x="50" y="240"/>
                      <a:pt x="51" y="241"/>
                    </a:cubicBezTo>
                    <a:cubicBezTo>
                      <a:pt x="61" y="244"/>
                      <a:pt x="69" y="250"/>
                      <a:pt x="79" y="253"/>
                    </a:cubicBezTo>
                    <a:cubicBezTo>
                      <a:pt x="84" y="255"/>
                      <a:pt x="92" y="255"/>
                      <a:pt x="98" y="257"/>
                    </a:cubicBezTo>
                    <a:cubicBezTo>
                      <a:pt x="104" y="258"/>
                      <a:pt x="107" y="260"/>
                      <a:pt x="113" y="261"/>
                    </a:cubicBezTo>
                    <a:cubicBezTo>
                      <a:pt x="123" y="261"/>
                      <a:pt x="134" y="256"/>
                      <a:pt x="142" y="250"/>
                    </a:cubicBezTo>
                    <a:cubicBezTo>
                      <a:pt x="146" y="247"/>
                      <a:pt x="148" y="240"/>
                      <a:pt x="146" y="235"/>
                    </a:cubicBezTo>
                    <a:cubicBezTo>
                      <a:pt x="143" y="228"/>
                      <a:pt x="135" y="225"/>
                      <a:pt x="129" y="221"/>
                    </a:cubicBezTo>
                    <a:cubicBezTo>
                      <a:pt x="119" y="218"/>
                      <a:pt x="112" y="211"/>
                      <a:pt x="104" y="207"/>
                    </a:cubicBezTo>
                    <a:cubicBezTo>
                      <a:pt x="94" y="202"/>
                      <a:pt x="85" y="198"/>
                      <a:pt x="74" y="196"/>
                    </a:cubicBezTo>
                    <a:cubicBezTo>
                      <a:pt x="69" y="194"/>
                      <a:pt x="58" y="190"/>
                      <a:pt x="56" y="194"/>
                    </a:cubicBezTo>
                    <a:cubicBezTo>
                      <a:pt x="50" y="193"/>
                      <a:pt x="45" y="191"/>
                      <a:pt x="40" y="188"/>
                    </a:cubicBezTo>
                    <a:cubicBezTo>
                      <a:pt x="39" y="188"/>
                      <a:pt x="39" y="185"/>
                      <a:pt x="40" y="185"/>
                    </a:cubicBezTo>
                    <a:cubicBezTo>
                      <a:pt x="43" y="184"/>
                      <a:pt x="48" y="188"/>
                      <a:pt x="50" y="185"/>
                    </a:cubicBezTo>
                    <a:cubicBezTo>
                      <a:pt x="48" y="182"/>
                      <a:pt x="45" y="181"/>
                      <a:pt x="42" y="181"/>
                    </a:cubicBezTo>
                    <a:cubicBezTo>
                      <a:pt x="37" y="181"/>
                      <a:pt x="32" y="183"/>
                      <a:pt x="27" y="185"/>
                    </a:cubicBezTo>
                    <a:cubicBezTo>
                      <a:pt x="26" y="186"/>
                      <a:pt x="26" y="188"/>
                      <a:pt x="24" y="188"/>
                    </a:cubicBezTo>
                    <a:cubicBezTo>
                      <a:pt x="22" y="188"/>
                      <a:pt x="20" y="185"/>
                      <a:pt x="18" y="185"/>
                    </a:cubicBezTo>
                    <a:cubicBezTo>
                      <a:pt x="16" y="185"/>
                      <a:pt x="17" y="190"/>
                      <a:pt x="16" y="190"/>
                    </a:cubicBezTo>
                    <a:cubicBezTo>
                      <a:pt x="13" y="191"/>
                      <a:pt x="11" y="192"/>
                      <a:pt x="9" y="193"/>
                    </a:cubicBezTo>
                    <a:cubicBezTo>
                      <a:pt x="8" y="195"/>
                      <a:pt x="9" y="198"/>
                      <a:pt x="8" y="199"/>
                    </a:cubicBezTo>
                    <a:cubicBezTo>
                      <a:pt x="7" y="200"/>
                      <a:pt x="5" y="198"/>
                      <a:pt x="4" y="198"/>
                    </a:cubicBezTo>
                    <a:cubicBezTo>
                      <a:pt x="3" y="199"/>
                      <a:pt x="0" y="200"/>
                      <a:pt x="0" y="202"/>
                    </a:cubicBezTo>
                    <a:cubicBezTo>
                      <a:pt x="0" y="203"/>
                      <a:pt x="3" y="202"/>
                      <a:pt x="3" y="203"/>
                    </a:cubicBezTo>
                    <a:cubicBezTo>
                      <a:pt x="3" y="206"/>
                      <a:pt x="1" y="207"/>
                      <a:pt x="1" y="210"/>
                    </a:cubicBezTo>
                    <a:cubicBezTo>
                      <a:pt x="1" y="212"/>
                      <a:pt x="1" y="215"/>
                      <a:pt x="3" y="217"/>
                    </a:cubicBezTo>
                    <a:cubicBezTo>
                      <a:pt x="5" y="219"/>
                      <a:pt x="10" y="217"/>
                      <a:pt x="11" y="219"/>
                    </a:cubicBezTo>
                    <a:cubicBezTo>
                      <a:pt x="12" y="221"/>
                      <a:pt x="15" y="224"/>
                      <a:pt x="19" y="228"/>
                    </a:cubicBezTo>
                    <a:lnTo>
                      <a:pt x="9" y="240"/>
                    </a:lnTo>
                    <a:lnTo>
                      <a:pt x="24" y="263"/>
                    </a:lnTo>
                    <a:lnTo>
                      <a:pt x="21" y="267"/>
                    </a:lnTo>
                    <a:cubicBezTo>
                      <a:pt x="20" y="269"/>
                      <a:pt x="18" y="271"/>
                      <a:pt x="18" y="274"/>
                    </a:cubicBezTo>
                    <a:cubicBezTo>
                      <a:pt x="18" y="276"/>
                      <a:pt x="22" y="274"/>
                      <a:pt x="22" y="276"/>
                    </a:cubicBezTo>
                    <a:cubicBezTo>
                      <a:pt x="23" y="277"/>
                      <a:pt x="20" y="278"/>
                      <a:pt x="20" y="280"/>
                    </a:cubicBezTo>
                    <a:cubicBezTo>
                      <a:pt x="19" y="282"/>
                      <a:pt x="19" y="285"/>
                      <a:pt x="20" y="287"/>
                    </a:cubicBezTo>
                    <a:cubicBezTo>
                      <a:pt x="21" y="288"/>
                      <a:pt x="23" y="286"/>
                      <a:pt x="24" y="287"/>
                    </a:cubicBezTo>
                    <a:cubicBezTo>
                      <a:pt x="25" y="289"/>
                      <a:pt x="23" y="291"/>
                      <a:pt x="24" y="293"/>
                    </a:cubicBezTo>
                    <a:cubicBezTo>
                      <a:pt x="25" y="295"/>
                      <a:pt x="27" y="295"/>
                      <a:pt x="28" y="296"/>
                    </a:cubicBezTo>
                    <a:cubicBezTo>
                      <a:pt x="29" y="297"/>
                      <a:pt x="30" y="299"/>
                      <a:pt x="30" y="301"/>
                    </a:cubicBezTo>
                    <a:cubicBezTo>
                      <a:pt x="29" y="303"/>
                      <a:pt x="25" y="305"/>
                      <a:pt x="26" y="307"/>
                    </a:cubicBezTo>
                    <a:cubicBezTo>
                      <a:pt x="28" y="310"/>
                      <a:pt x="32" y="312"/>
                      <a:pt x="35" y="315"/>
                    </a:cubicBezTo>
                    <a:cubicBezTo>
                      <a:pt x="37" y="318"/>
                      <a:pt x="42" y="320"/>
                      <a:pt x="42" y="324"/>
                    </a:cubicBezTo>
                    <a:cubicBezTo>
                      <a:pt x="42" y="328"/>
                      <a:pt x="37" y="330"/>
                      <a:pt x="35" y="333"/>
                    </a:cubicBezTo>
                    <a:cubicBezTo>
                      <a:pt x="32" y="337"/>
                      <a:pt x="30" y="342"/>
                      <a:pt x="27" y="347"/>
                    </a:cubicBezTo>
                    <a:cubicBezTo>
                      <a:pt x="25" y="351"/>
                      <a:pt x="23" y="355"/>
                      <a:pt x="20" y="358"/>
                    </a:cubicBezTo>
                    <a:cubicBezTo>
                      <a:pt x="17" y="361"/>
                      <a:pt x="12" y="362"/>
                      <a:pt x="9" y="365"/>
                    </a:cubicBezTo>
                    <a:cubicBezTo>
                      <a:pt x="7" y="367"/>
                      <a:pt x="7" y="370"/>
                      <a:pt x="5" y="373"/>
                    </a:cubicBezTo>
                    <a:cubicBezTo>
                      <a:pt x="8" y="372"/>
                      <a:pt x="11" y="368"/>
                      <a:pt x="13" y="369"/>
                    </a:cubicBezTo>
                    <a:cubicBezTo>
                      <a:pt x="15" y="370"/>
                      <a:pt x="14" y="374"/>
                      <a:pt x="15" y="375"/>
                    </a:cubicBezTo>
                    <a:cubicBezTo>
                      <a:pt x="16" y="377"/>
                      <a:pt x="18" y="379"/>
                      <a:pt x="20" y="379"/>
                    </a:cubicBezTo>
                    <a:cubicBezTo>
                      <a:pt x="22" y="380"/>
                      <a:pt x="25" y="378"/>
                      <a:pt x="27" y="378"/>
                    </a:cubicBezTo>
                    <a:cubicBezTo>
                      <a:pt x="29" y="379"/>
                      <a:pt x="30" y="381"/>
                      <a:pt x="31" y="382"/>
                    </a:cubicBezTo>
                    <a:cubicBezTo>
                      <a:pt x="32" y="384"/>
                      <a:pt x="37" y="384"/>
                      <a:pt x="35" y="385"/>
                    </a:cubicBezTo>
                    <a:cubicBezTo>
                      <a:pt x="33" y="387"/>
                      <a:pt x="30" y="386"/>
                      <a:pt x="27" y="386"/>
                    </a:cubicBezTo>
                    <a:cubicBezTo>
                      <a:pt x="25" y="386"/>
                      <a:pt x="23" y="385"/>
                      <a:pt x="21" y="386"/>
                    </a:cubicBezTo>
                    <a:cubicBezTo>
                      <a:pt x="20" y="386"/>
                      <a:pt x="20" y="388"/>
                      <a:pt x="18" y="388"/>
                    </a:cubicBezTo>
                    <a:cubicBezTo>
                      <a:pt x="17" y="388"/>
                      <a:pt x="16" y="386"/>
                      <a:pt x="14" y="386"/>
                    </a:cubicBezTo>
                    <a:cubicBezTo>
                      <a:pt x="13" y="386"/>
                      <a:pt x="11" y="387"/>
                      <a:pt x="10" y="387"/>
                    </a:cubicBezTo>
                    <a:cubicBezTo>
                      <a:pt x="9" y="387"/>
                      <a:pt x="7" y="387"/>
                      <a:pt x="7" y="388"/>
                    </a:cubicBezTo>
                    <a:cubicBezTo>
                      <a:pt x="7" y="390"/>
                      <a:pt x="8" y="391"/>
                      <a:pt x="8" y="393"/>
                    </a:cubicBezTo>
                    <a:cubicBezTo>
                      <a:pt x="8" y="394"/>
                      <a:pt x="7" y="396"/>
                      <a:pt x="7" y="398"/>
                    </a:cubicBezTo>
                    <a:cubicBezTo>
                      <a:pt x="6" y="399"/>
                      <a:pt x="6" y="400"/>
                      <a:pt x="6" y="401"/>
                    </a:cubicBezTo>
                    <a:cubicBezTo>
                      <a:pt x="6" y="404"/>
                      <a:pt x="7" y="408"/>
                      <a:pt x="7" y="410"/>
                    </a:cubicBezTo>
                    <a:cubicBezTo>
                      <a:pt x="7" y="413"/>
                      <a:pt x="4" y="415"/>
                      <a:pt x="5" y="417"/>
                    </a:cubicBezTo>
                    <a:cubicBezTo>
                      <a:pt x="6" y="419"/>
                      <a:pt x="11" y="419"/>
                      <a:pt x="13" y="421"/>
                    </a:cubicBezTo>
                    <a:cubicBezTo>
                      <a:pt x="13" y="423"/>
                      <a:pt x="12" y="425"/>
                      <a:pt x="10" y="425"/>
                    </a:cubicBezTo>
                    <a:cubicBezTo>
                      <a:pt x="8" y="425"/>
                      <a:pt x="6" y="422"/>
                      <a:pt x="3" y="421"/>
                    </a:cubicBezTo>
                    <a:cubicBezTo>
                      <a:pt x="3" y="421"/>
                      <a:pt x="3" y="422"/>
                      <a:pt x="2" y="423"/>
                    </a:cubicBezTo>
                    <a:cubicBezTo>
                      <a:pt x="2" y="424"/>
                      <a:pt x="1" y="424"/>
                      <a:pt x="1" y="425"/>
                    </a:cubicBezTo>
                    <a:cubicBezTo>
                      <a:pt x="2" y="426"/>
                      <a:pt x="3" y="428"/>
                      <a:pt x="5" y="429"/>
                    </a:cubicBezTo>
                    <a:cubicBezTo>
                      <a:pt x="6" y="431"/>
                      <a:pt x="8" y="431"/>
                      <a:pt x="8" y="433"/>
                    </a:cubicBezTo>
                    <a:cubicBezTo>
                      <a:pt x="9" y="435"/>
                      <a:pt x="8" y="438"/>
                      <a:pt x="8" y="440"/>
                    </a:cubicBezTo>
                    <a:cubicBezTo>
                      <a:pt x="10" y="444"/>
                      <a:pt x="13" y="446"/>
                      <a:pt x="14" y="450"/>
                    </a:cubicBezTo>
                    <a:cubicBezTo>
                      <a:pt x="14" y="451"/>
                      <a:pt x="13" y="453"/>
                      <a:pt x="13" y="454"/>
                    </a:cubicBezTo>
                    <a:cubicBezTo>
                      <a:pt x="15" y="454"/>
                      <a:pt x="17" y="453"/>
                      <a:pt x="19" y="454"/>
                    </a:cubicBezTo>
                    <a:cubicBezTo>
                      <a:pt x="20" y="454"/>
                      <a:pt x="20" y="457"/>
                      <a:pt x="21" y="457"/>
                    </a:cubicBezTo>
                    <a:cubicBezTo>
                      <a:pt x="23" y="458"/>
                      <a:pt x="25" y="456"/>
                      <a:pt x="27" y="457"/>
                    </a:cubicBezTo>
                    <a:cubicBezTo>
                      <a:pt x="28" y="458"/>
                      <a:pt x="26" y="461"/>
                      <a:pt x="28" y="462"/>
                    </a:cubicBezTo>
                    <a:cubicBezTo>
                      <a:pt x="30" y="463"/>
                      <a:pt x="33" y="460"/>
                      <a:pt x="36" y="460"/>
                    </a:cubicBezTo>
                    <a:cubicBezTo>
                      <a:pt x="40" y="461"/>
                      <a:pt x="46" y="461"/>
                      <a:pt x="48" y="464"/>
                    </a:cubicBezTo>
                    <a:cubicBezTo>
                      <a:pt x="50" y="468"/>
                      <a:pt x="46" y="473"/>
                      <a:pt x="47" y="478"/>
                    </a:cubicBezTo>
                    <a:cubicBezTo>
                      <a:pt x="47" y="480"/>
                      <a:pt x="49" y="480"/>
                      <a:pt x="50" y="482"/>
                    </a:cubicBezTo>
                    <a:cubicBezTo>
                      <a:pt x="51" y="483"/>
                      <a:pt x="50" y="485"/>
                      <a:pt x="51" y="486"/>
                    </a:cubicBezTo>
                    <a:cubicBezTo>
                      <a:pt x="53" y="488"/>
                      <a:pt x="57" y="488"/>
                      <a:pt x="59" y="491"/>
                    </a:cubicBezTo>
                    <a:cubicBezTo>
                      <a:pt x="60" y="493"/>
                      <a:pt x="57" y="496"/>
                      <a:pt x="59" y="497"/>
                    </a:cubicBezTo>
                    <a:cubicBezTo>
                      <a:pt x="60" y="499"/>
                      <a:pt x="63" y="497"/>
                      <a:pt x="65" y="499"/>
                    </a:cubicBezTo>
                    <a:cubicBezTo>
                      <a:pt x="67" y="500"/>
                      <a:pt x="70" y="502"/>
                      <a:pt x="70" y="505"/>
                    </a:cubicBezTo>
                    <a:cubicBezTo>
                      <a:pt x="70" y="508"/>
                      <a:pt x="67" y="508"/>
                      <a:pt x="64" y="509"/>
                    </a:cubicBezTo>
                    <a:cubicBezTo>
                      <a:pt x="63" y="510"/>
                      <a:pt x="61" y="510"/>
                      <a:pt x="60" y="509"/>
                    </a:cubicBezTo>
                    <a:cubicBezTo>
                      <a:pt x="58" y="509"/>
                      <a:pt x="58" y="506"/>
                      <a:pt x="56" y="506"/>
                    </a:cubicBezTo>
                    <a:cubicBezTo>
                      <a:pt x="55" y="506"/>
                      <a:pt x="52" y="508"/>
                      <a:pt x="52" y="510"/>
                    </a:cubicBezTo>
                    <a:cubicBezTo>
                      <a:pt x="52" y="512"/>
                      <a:pt x="56" y="514"/>
                      <a:pt x="56" y="516"/>
                    </a:cubicBezTo>
                    <a:cubicBezTo>
                      <a:pt x="58" y="519"/>
                      <a:pt x="58" y="522"/>
                      <a:pt x="58" y="525"/>
                    </a:cubicBezTo>
                    <a:cubicBezTo>
                      <a:pt x="61" y="526"/>
                      <a:pt x="62" y="528"/>
                      <a:pt x="65" y="527"/>
                    </a:cubicBezTo>
                    <a:cubicBezTo>
                      <a:pt x="66" y="527"/>
                      <a:pt x="66" y="524"/>
                      <a:pt x="67" y="523"/>
                    </a:cubicBezTo>
                    <a:cubicBezTo>
                      <a:pt x="71" y="522"/>
                      <a:pt x="74" y="522"/>
                      <a:pt x="78" y="522"/>
                    </a:cubicBezTo>
                    <a:cubicBezTo>
                      <a:pt x="81" y="522"/>
                      <a:pt x="85" y="520"/>
                      <a:pt x="87" y="522"/>
                    </a:cubicBezTo>
                    <a:cubicBezTo>
                      <a:pt x="89" y="523"/>
                      <a:pt x="87" y="526"/>
                      <a:pt x="88" y="528"/>
                    </a:cubicBezTo>
                    <a:cubicBezTo>
                      <a:pt x="89" y="530"/>
                      <a:pt x="93" y="532"/>
                      <a:pt x="93" y="534"/>
                    </a:cubicBezTo>
                    <a:cubicBezTo>
                      <a:pt x="93" y="536"/>
                      <a:pt x="90" y="536"/>
                      <a:pt x="89" y="537"/>
                    </a:cubicBezTo>
                    <a:cubicBezTo>
                      <a:pt x="89" y="538"/>
                      <a:pt x="88" y="541"/>
                      <a:pt x="89" y="541"/>
                    </a:cubicBezTo>
                    <a:cubicBezTo>
                      <a:pt x="93" y="543"/>
                      <a:pt x="99" y="540"/>
                      <a:pt x="103" y="543"/>
                    </a:cubicBezTo>
                    <a:cubicBezTo>
                      <a:pt x="106" y="546"/>
                      <a:pt x="104" y="553"/>
                      <a:pt x="107" y="557"/>
                    </a:cubicBezTo>
                    <a:cubicBezTo>
                      <a:pt x="109" y="559"/>
                      <a:pt x="113" y="557"/>
                      <a:pt x="116" y="557"/>
                    </a:cubicBezTo>
                    <a:cubicBezTo>
                      <a:pt x="119" y="557"/>
                      <a:pt x="123" y="557"/>
                      <a:pt x="126" y="556"/>
                    </a:cubicBezTo>
                    <a:cubicBezTo>
                      <a:pt x="127" y="555"/>
                      <a:pt x="127" y="551"/>
                      <a:pt x="128" y="552"/>
                    </a:cubicBezTo>
                    <a:cubicBezTo>
                      <a:pt x="131" y="554"/>
                      <a:pt x="131" y="558"/>
                      <a:pt x="133" y="560"/>
                    </a:cubicBezTo>
                    <a:cubicBezTo>
                      <a:pt x="135" y="562"/>
                      <a:pt x="137" y="564"/>
                      <a:pt x="140" y="564"/>
                    </a:cubicBezTo>
                    <a:cubicBezTo>
                      <a:pt x="141" y="564"/>
                      <a:pt x="141" y="561"/>
                      <a:pt x="142" y="562"/>
                    </a:cubicBezTo>
                    <a:cubicBezTo>
                      <a:pt x="146" y="563"/>
                      <a:pt x="148" y="565"/>
                      <a:pt x="152" y="567"/>
                    </a:cubicBezTo>
                    <a:cubicBezTo>
                      <a:pt x="154" y="568"/>
                      <a:pt x="156" y="571"/>
                      <a:pt x="159" y="571"/>
                    </a:cubicBezTo>
                    <a:cubicBezTo>
                      <a:pt x="160" y="572"/>
                      <a:pt x="162" y="569"/>
                      <a:pt x="162" y="570"/>
                    </a:cubicBezTo>
                    <a:cubicBezTo>
                      <a:pt x="163" y="573"/>
                      <a:pt x="163" y="576"/>
                      <a:pt x="162" y="578"/>
                    </a:cubicBezTo>
                    <a:cubicBezTo>
                      <a:pt x="161" y="580"/>
                      <a:pt x="158" y="579"/>
                      <a:pt x="157" y="581"/>
                    </a:cubicBezTo>
                    <a:cubicBezTo>
                      <a:pt x="157" y="583"/>
                      <a:pt x="161" y="583"/>
                      <a:pt x="161" y="584"/>
                    </a:cubicBezTo>
                    <a:cubicBezTo>
                      <a:pt x="161" y="586"/>
                      <a:pt x="158" y="584"/>
                      <a:pt x="157" y="585"/>
                    </a:cubicBezTo>
                    <a:cubicBezTo>
                      <a:pt x="156" y="586"/>
                      <a:pt x="156" y="589"/>
                      <a:pt x="157" y="590"/>
                    </a:cubicBezTo>
                    <a:cubicBezTo>
                      <a:pt x="158" y="591"/>
                      <a:pt x="160" y="589"/>
                      <a:pt x="160" y="590"/>
                    </a:cubicBezTo>
                    <a:cubicBezTo>
                      <a:pt x="162" y="592"/>
                      <a:pt x="162" y="595"/>
                      <a:pt x="161" y="597"/>
                    </a:cubicBezTo>
                    <a:cubicBezTo>
                      <a:pt x="161" y="599"/>
                      <a:pt x="160" y="601"/>
                      <a:pt x="158" y="601"/>
                    </a:cubicBezTo>
                    <a:cubicBezTo>
                      <a:pt x="154" y="602"/>
                      <a:pt x="150" y="600"/>
                      <a:pt x="147" y="601"/>
                    </a:cubicBezTo>
                    <a:cubicBezTo>
                      <a:pt x="144" y="602"/>
                      <a:pt x="142" y="605"/>
                      <a:pt x="142" y="608"/>
                    </a:cubicBezTo>
                    <a:cubicBezTo>
                      <a:pt x="141" y="610"/>
                      <a:pt x="143" y="611"/>
                      <a:pt x="144" y="613"/>
                    </a:cubicBezTo>
                    <a:cubicBezTo>
                      <a:pt x="144" y="614"/>
                      <a:pt x="144" y="615"/>
                      <a:pt x="144" y="615"/>
                    </a:cubicBezTo>
                    <a:cubicBezTo>
                      <a:pt x="145" y="613"/>
                      <a:pt x="147" y="611"/>
                      <a:pt x="150" y="610"/>
                    </a:cubicBezTo>
                    <a:cubicBezTo>
                      <a:pt x="151" y="609"/>
                      <a:pt x="152" y="611"/>
                      <a:pt x="153" y="612"/>
                    </a:cubicBezTo>
                    <a:cubicBezTo>
                      <a:pt x="154" y="613"/>
                      <a:pt x="154" y="615"/>
                      <a:pt x="153" y="615"/>
                    </a:cubicBezTo>
                    <a:cubicBezTo>
                      <a:pt x="151" y="617"/>
                      <a:pt x="148" y="617"/>
                      <a:pt x="147" y="619"/>
                    </a:cubicBezTo>
                    <a:cubicBezTo>
                      <a:pt x="146" y="620"/>
                      <a:pt x="148" y="622"/>
                      <a:pt x="147" y="623"/>
                    </a:cubicBezTo>
                    <a:cubicBezTo>
                      <a:pt x="144" y="625"/>
                      <a:pt x="137" y="622"/>
                      <a:pt x="137" y="625"/>
                    </a:cubicBezTo>
                    <a:cubicBezTo>
                      <a:pt x="138" y="629"/>
                      <a:pt x="146" y="627"/>
                      <a:pt x="147" y="630"/>
                    </a:cubicBezTo>
                    <a:cubicBezTo>
                      <a:pt x="148" y="633"/>
                      <a:pt x="142" y="630"/>
                      <a:pt x="140" y="632"/>
                    </a:cubicBezTo>
                    <a:cubicBezTo>
                      <a:pt x="138" y="634"/>
                      <a:pt x="136" y="637"/>
                      <a:pt x="136" y="640"/>
                    </a:cubicBezTo>
                    <a:cubicBezTo>
                      <a:pt x="135" y="641"/>
                      <a:pt x="138" y="643"/>
                      <a:pt x="137" y="644"/>
                    </a:cubicBezTo>
                    <a:cubicBezTo>
                      <a:pt x="136" y="645"/>
                      <a:pt x="133" y="644"/>
                      <a:pt x="131" y="644"/>
                    </a:cubicBezTo>
                    <a:cubicBezTo>
                      <a:pt x="130" y="644"/>
                      <a:pt x="128" y="643"/>
                      <a:pt x="127" y="644"/>
                    </a:cubicBezTo>
                    <a:cubicBezTo>
                      <a:pt x="126" y="645"/>
                      <a:pt x="126" y="647"/>
                      <a:pt x="126" y="648"/>
                    </a:cubicBezTo>
                    <a:cubicBezTo>
                      <a:pt x="127" y="650"/>
                      <a:pt x="130" y="650"/>
                      <a:pt x="132" y="652"/>
                    </a:cubicBezTo>
                    <a:cubicBezTo>
                      <a:pt x="133" y="653"/>
                      <a:pt x="135" y="655"/>
                      <a:pt x="137" y="656"/>
                    </a:cubicBezTo>
                    <a:cubicBezTo>
                      <a:pt x="138" y="656"/>
                      <a:pt x="139" y="655"/>
                      <a:pt x="140" y="656"/>
                    </a:cubicBezTo>
                    <a:cubicBezTo>
                      <a:pt x="146" y="658"/>
                      <a:pt x="152" y="661"/>
                      <a:pt x="157" y="665"/>
                    </a:cubicBezTo>
                    <a:cubicBezTo>
                      <a:pt x="162" y="668"/>
                      <a:pt x="165" y="672"/>
                      <a:pt x="169" y="676"/>
                    </a:cubicBezTo>
                    <a:cubicBezTo>
                      <a:pt x="172" y="675"/>
                      <a:pt x="176" y="675"/>
                      <a:pt x="180" y="676"/>
                    </a:cubicBezTo>
                    <a:cubicBezTo>
                      <a:pt x="183" y="677"/>
                      <a:pt x="185" y="680"/>
                      <a:pt x="188" y="680"/>
                    </a:cubicBezTo>
                    <a:cubicBezTo>
                      <a:pt x="191" y="681"/>
                      <a:pt x="195" y="678"/>
                      <a:pt x="198" y="679"/>
                    </a:cubicBezTo>
                    <a:cubicBezTo>
                      <a:pt x="201" y="680"/>
                      <a:pt x="203" y="683"/>
                      <a:pt x="206" y="684"/>
                    </a:cubicBezTo>
                    <a:cubicBezTo>
                      <a:pt x="209" y="686"/>
                      <a:pt x="211" y="686"/>
                      <a:pt x="214" y="688"/>
                    </a:cubicBezTo>
                    <a:cubicBezTo>
                      <a:pt x="215" y="689"/>
                      <a:pt x="215" y="691"/>
                      <a:pt x="217" y="691"/>
                    </a:cubicBezTo>
                    <a:cubicBezTo>
                      <a:pt x="219" y="691"/>
                      <a:pt x="221" y="689"/>
                      <a:pt x="223" y="689"/>
                    </a:cubicBezTo>
                    <a:cubicBezTo>
                      <a:pt x="224" y="688"/>
                      <a:pt x="226" y="688"/>
                      <a:pt x="227" y="688"/>
                    </a:cubicBezTo>
                    <a:cubicBezTo>
                      <a:pt x="228" y="688"/>
                      <a:pt x="229" y="688"/>
                      <a:pt x="230" y="688"/>
                    </a:cubicBezTo>
                    <a:cubicBezTo>
                      <a:pt x="233" y="689"/>
                      <a:pt x="236" y="690"/>
                      <a:pt x="237" y="692"/>
                    </a:cubicBezTo>
                    <a:cubicBezTo>
                      <a:pt x="238" y="693"/>
                      <a:pt x="236" y="695"/>
                      <a:pt x="237" y="696"/>
                    </a:cubicBezTo>
                    <a:cubicBezTo>
                      <a:pt x="240" y="699"/>
                      <a:pt x="244" y="700"/>
                      <a:pt x="248" y="702"/>
                    </a:cubicBezTo>
                    <a:cubicBezTo>
                      <a:pt x="250" y="703"/>
                      <a:pt x="253" y="704"/>
                      <a:pt x="255" y="706"/>
                    </a:cubicBezTo>
                    <a:cubicBezTo>
                      <a:pt x="256" y="707"/>
                      <a:pt x="257" y="711"/>
                      <a:pt x="258" y="712"/>
                    </a:cubicBezTo>
                    <a:cubicBezTo>
                      <a:pt x="260" y="714"/>
                      <a:pt x="263" y="715"/>
                      <a:pt x="266" y="714"/>
                    </a:cubicBezTo>
                    <a:cubicBezTo>
                      <a:pt x="267" y="713"/>
                      <a:pt x="266" y="710"/>
                      <a:pt x="267" y="709"/>
                    </a:cubicBezTo>
                    <a:cubicBezTo>
                      <a:pt x="268" y="708"/>
                      <a:pt x="270" y="709"/>
                      <a:pt x="271" y="708"/>
                    </a:cubicBezTo>
                    <a:cubicBezTo>
                      <a:pt x="272" y="707"/>
                      <a:pt x="272" y="706"/>
                      <a:pt x="273" y="704"/>
                    </a:cubicBezTo>
                    <a:cubicBezTo>
                      <a:pt x="271" y="702"/>
                      <a:pt x="270" y="699"/>
                      <a:pt x="268" y="696"/>
                    </a:cubicBezTo>
                    <a:cubicBezTo>
                      <a:pt x="266" y="692"/>
                      <a:pt x="263" y="689"/>
                      <a:pt x="261" y="685"/>
                    </a:cubicBezTo>
                    <a:cubicBezTo>
                      <a:pt x="259" y="683"/>
                      <a:pt x="257" y="682"/>
                      <a:pt x="257" y="679"/>
                    </a:cubicBezTo>
                    <a:cubicBezTo>
                      <a:pt x="256" y="677"/>
                      <a:pt x="259" y="674"/>
                      <a:pt x="258" y="672"/>
                    </a:cubicBezTo>
                    <a:cubicBezTo>
                      <a:pt x="257" y="668"/>
                      <a:pt x="256" y="665"/>
                      <a:pt x="254" y="662"/>
                    </a:cubicBezTo>
                    <a:cubicBezTo>
                      <a:pt x="252" y="660"/>
                      <a:pt x="247" y="660"/>
                      <a:pt x="247" y="657"/>
                    </a:cubicBezTo>
                    <a:cubicBezTo>
                      <a:pt x="246" y="653"/>
                      <a:pt x="250" y="650"/>
                      <a:pt x="252" y="647"/>
                    </a:cubicBezTo>
                    <a:cubicBezTo>
                      <a:pt x="253" y="645"/>
                      <a:pt x="253" y="641"/>
                      <a:pt x="255" y="640"/>
                    </a:cubicBezTo>
                    <a:cubicBezTo>
                      <a:pt x="256" y="638"/>
                      <a:pt x="259" y="638"/>
                      <a:pt x="261" y="638"/>
                    </a:cubicBezTo>
                    <a:cubicBezTo>
                      <a:pt x="262" y="638"/>
                      <a:pt x="263" y="640"/>
                      <a:pt x="264" y="639"/>
                    </a:cubicBezTo>
                    <a:cubicBezTo>
                      <a:pt x="265" y="637"/>
                      <a:pt x="264" y="634"/>
                      <a:pt x="266" y="633"/>
                    </a:cubicBezTo>
                    <a:cubicBezTo>
                      <a:pt x="267" y="633"/>
                      <a:pt x="269" y="637"/>
                      <a:pt x="270" y="636"/>
                    </a:cubicBezTo>
                    <a:cubicBezTo>
                      <a:pt x="272" y="634"/>
                      <a:pt x="271" y="630"/>
                      <a:pt x="272" y="628"/>
                    </a:cubicBezTo>
                    <a:cubicBezTo>
                      <a:pt x="271" y="627"/>
                      <a:pt x="270" y="626"/>
                      <a:pt x="269" y="626"/>
                    </a:cubicBezTo>
                    <a:cubicBezTo>
                      <a:pt x="267" y="626"/>
                      <a:pt x="264" y="626"/>
                      <a:pt x="263" y="624"/>
                    </a:cubicBezTo>
                    <a:cubicBezTo>
                      <a:pt x="264" y="623"/>
                      <a:pt x="263" y="621"/>
                      <a:pt x="264" y="621"/>
                    </a:cubicBezTo>
                    <a:cubicBezTo>
                      <a:pt x="265" y="619"/>
                      <a:pt x="270" y="621"/>
                      <a:pt x="269" y="619"/>
                    </a:cubicBezTo>
                    <a:cubicBezTo>
                      <a:pt x="268" y="613"/>
                      <a:pt x="263" y="608"/>
                      <a:pt x="258" y="604"/>
                    </a:cubicBezTo>
                    <a:cubicBezTo>
                      <a:pt x="257" y="603"/>
                      <a:pt x="254" y="603"/>
                      <a:pt x="252" y="603"/>
                    </a:cubicBezTo>
                    <a:cubicBezTo>
                      <a:pt x="251" y="603"/>
                      <a:pt x="252" y="605"/>
                      <a:pt x="252" y="605"/>
                    </a:cubicBezTo>
                    <a:cubicBezTo>
                      <a:pt x="250" y="604"/>
                      <a:pt x="247" y="603"/>
                      <a:pt x="246" y="602"/>
                    </a:cubicBezTo>
                    <a:cubicBezTo>
                      <a:pt x="245" y="600"/>
                      <a:pt x="247" y="596"/>
                      <a:pt x="246" y="595"/>
                    </a:cubicBezTo>
                    <a:cubicBezTo>
                      <a:pt x="244" y="593"/>
                      <a:pt x="239" y="595"/>
                      <a:pt x="238" y="593"/>
                    </a:cubicBezTo>
                    <a:cubicBezTo>
                      <a:pt x="237" y="589"/>
                      <a:pt x="240" y="585"/>
                      <a:pt x="241" y="581"/>
                    </a:cubicBezTo>
                    <a:cubicBezTo>
                      <a:pt x="242" y="580"/>
                      <a:pt x="244" y="580"/>
                      <a:pt x="244" y="579"/>
                    </a:cubicBezTo>
                    <a:cubicBezTo>
                      <a:pt x="244" y="577"/>
                      <a:pt x="241" y="576"/>
                      <a:pt x="240" y="573"/>
                    </a:cubicBezTo>
                    <a:cubicBezTo>
                      <a:pt x="239" y="571"/>
                      <a:pt x="240" y="568"/>
                      <a:pt x="241" y="565"/>
                    </a:cubicBezTo>
                    <a:cubicBezTo>
                      <a:pt x="242" y="563"/>
                      <a:pt x="245" y="562"/>
                      <a:pt x="246" y="560"/>
                    </a:cubicBezTo>
                    <a:cubicBezTo>
                      <a:pt x="247" y="558"/>
                      <a:pt x="245" y="556"/>
                      <a:pt x="246" y="554"/>
                    </a:cubicBezTo>
                    <a:cubicBezTo>
                      <a:pt x="247" y="553"/>
                      <a:pt x="250" y="553"/>
                      <a:pt x="251" y="554"/>
                    </a:cubicBezTo>
                    <a:cubicBezTo>
                      <a:pt x="255" y="557"/>
                      <a:pt x="255" y="562"/>
                      <a:pt x="259" y="565"/>
                    </a:cubicBezTo>
                    <a:cubicBezTo>
                      <a:pt x="260" y="567"/>
                      <a:pt x="262" y="567"/>
                      <a:pt x="263" y="565"/>
                    </a:cubicBezTo>
                    <a:cubicBezTo>
                      <a:pt x="264" y="564"/>
                      <a:pt x="264" y="562"/>
                      <a:pt x="263" y="561"/>
                    </a:cubicBezTo>
                    <a:cubicBezTo>
                      <a:pt x="262" y="557"/>
                      <a:pt x="258" y="555"/>
                      <a:pt x="259" y="551"/>
                    </a:cubicBezTo>
                    <a:cubicBezTo>
                      <a:pt x="259" y="549"/>
                      <a:pt x="262" y="552"/>
                      <a:pt x="264" y="551"/>
                    </a:cubicBezTo>
                    <a:cubicBezTo>
                      <a:pt x="266" y="551"/>
                      <a:pt x="268" y="550"/>
                      <a:pt x="269" y="548"/>
                    </a:cubicBezTo>
                    <a:cubicBezTo>
                      <a:pt x="270" y="547"/>
                      <a:pt x="267" y="544"/>
                      <a:pt x="269" y="543"/>
                    </a:cubicBezTo>
                    <a:cubicBezTo>
                      <a:pt x="272" y="541"/>
                      <a:pt x="276" y="542"/>
                      <a:pt x="280" y="539"/>
                    </a:cubicBezTo>
                    <a:cubicBezTo>
                      <a:pt x="282" y="538"/>
                      <a:pt x="282" y="534"/>
                      <a:pt x="284" y="533"/>
                    </a:cubicBezTo>
                    <a:cubicBezTo>
                      <a:pt x="286" y="532"/>
                      <a:pt x="289" y="533"/>
                      <a:pt x="291" y="534"/>
                    </a:cubicBezTo>
                    <a:cubicBezTo>
                      <a:pt x="292" y="535"/>
                      <a:pt x="290" y="536"/>
                      <a:pt x="290" y="537"/>
                    </a:cubicBezTo>
                    <a:cubicBezTo>
                      <a:pt x="292" y="538"/>
                      <a:pt x="294" y="538"/>
                      <a:pt x="295" y="537"/>
                    </a:cubicBezTo>
                    <a:cubicBezTo>
                      <a:pt x="297" y="536"/>
                      <a:pt x="298" y="534"/>
                      <a:pt x="301" y="533"/>
                    </a:cubicBezTo>
                    <a:cubicBezTo>
                      <a:pt x="302" y="533"/>
                      <a:pt x="303" y="535"/>
                      <a:pt x="304" y="536"/>
                    </a:cubicBezTo>
                    <a:cubicBezTo>
                      <a:pt x="307" y="536"/>
                      <a:pt x="311" y="535"/>
                      <a:pt x="314" y="536"/>
                    </a:cubicBezTo>
                    <a:cubicBezTo>
                      <a:pt x="316" y="536"/>
                      <a:pt x="317" y="539"/>
                      <a:pt x="319" y="541"/>
                    </a:cubicBezTo>
                    <a:cubicBezTo>
                      <a:pt x="322" y="543"/>
                      <a:pt x="326" y="543"/>
                      <a:pt x="328" y="546"/>
                    </a:cubicBezTo>
                    <a:cubicBezTo>
                      <a:pt x="330" y="548"/>
                      <a:pt x="328" y="551"/>
                      <a:pt x="330" y="553"/>
                    </a:cubicBezTo>
                    <a:cubicBezTo>
                      <a:pt x="330" y="554"/>
                      <a:pt x="333" y="554"/>
                      <a:pt x="333" y="553"/>
                    </a:cubicBezTo>
                    <a:cubicBezTo>
                      <a:pt x="334" y="551"/>
                      <a:pt x="331" y="546"/>
                      <a:pt x="333" y="546"/>
                    </a:cubicBezTo>
                    <a:cubicBezTo>
                      <a:pt x="338" y="546"/>
                      <a:pt x="340" y="553"/>
                      <a:pt x="345" y="553"/>
                    </a:cubicBezTo>
                    <a:cubicBezTo>
                      <a:pt x="348" y="553"/>
                      <a:pt x="349" y="547"/>
                      <a:pt x="352" y="546"/>
                    </a:cubicBezTo>
                    <a:cubicBezTo>
                      <a:pt x="354" y="544"/>
                      <a:pt x="357" y="544"/>
                      <a:pt x="360" y="544"/>
                    </a:cubicBezTo>
                    <a:cubicBezTo>
                      <a:pt x="362" y="544"/>
                      <a:pt x="364" y="547"/>
                      <a:pt x="366" y="546"/>
                    </a:cubicBezTo>
                    <a:cubicBezTo>
                      <a:pt x="367" y="546"/>
                      <a:pt x="366" y="543"/>
                      <a:pt x="368" y="542"/>
                    </a:cubicBezTo>
                    <a:cubicBezTo>
                      <a:pt x="370" y="541"/>
                      <a:pt x="373" y="542"/>
                      <a:pt x="375" y="543"/>
                    </a:cubicBezTo>
                    <a:cubicBezTo>
                      <a:pt x="377" y="544"/>
                      <a:pt x="376" y="548"/>
                      <a:pt x="378" y="550"/>
                    </a:cubicBezTo>
                    <a:cubicBezTo>
                      <a:pt x="382" y="552"/>
                      <a:pt x="387" y="553"/>
                      <a:pt x="392" y="553"/>
                    </a:cubicBezTo>
                    <a:cubicBezTo>
                      <a:pt x="394" y="552"/>
                      <a:pt x="393" y="547"/>
                      <a:pt x="395" y="547"/>
                    </a:cubicBezTo>
                    <a:cubicBezTo>
                      <a:pt x="399" y="547"/>
                      <a:pt x="402" y="552"/>
                      <a:pt x="406" y="551"/>
                    </a:cubicBezTo>
                    <a:cubicBezTo>
                      <a:pt x="409" y="551"/>
                      <a:pt x="410" y="547"/>
                      <a:pt x="411" y="545"/>
                    </a:cubicBezTo>
                    <a:cubicBezTo>
                      <a:pt x="412" y="542"/>
                      <a:pt x="413" y="539"/>
                      <a:pt x="411" y="537"/>
                    </a:cubicBezTo>
                    <a:cubicBezTo>
                      <a:pt x="410" y="535"/>
                      <a:pt x="406" y="537"/>
                      <a:pt x="404" y="536"/>
                    </a:cubicBezTo>
                    <a:cubicBezTo>
                      <a:pt x="400" y="534"/>
                      <a:pt x="396" y="530"/>
                      <a:pt x="394" y="527"/>
                    </a:cubicBezTo>
                    <a:cubicBezTo>
                      <a:pt x="397" y="525"/>
                      <a:pt x="401" y="526"/>
                      <a:pt x="403" y="523"/>
                    </a:cubicBezTo>
                    <a:cubicBezTo>
                      <a:pt x="404" y="521"/>
                      <a:pt x="400" y="520"/>
                      <a:pt x="400" y="517"/>
                    </a:cubicBezTo>
                    <a:cubicBezTo>
                      <a:pt x="400" y="514"/>
                      <a:pt x="402" y="511"/>
                      <a:pt x="405" y="510"/>
                    </a:cubicBezTo>
                    <a:cubicBezTo>
                      <a:pt x="408" y="509"/>
                      <a:pt x="411" y="513"/>
                      <a:pt x="414" y="512"/>
                    </a:cubicBezTo>
                    <a:cubicBezTo>
                      <a:pt x="416" y="511"/>
                      <a:pt x="412" y="509"/>
                      <a:pt x="410" y="508"/>
                    </a:cubicBezTo>
                    <a:cubicBezTo>
                      <a:pt x="409" y="507"/>
                      <a:pt x="406" y="508"/>
                      <a:pt x="405" y="506"/>
                    </a:cubicBezTo>
                    <a:cubicBezTo>
                      <a:pt x="404" y="505"/>
                      <a:pt x="407" y="504"/>
                      <a:pt x="406" y="503"/>
                    </a:cubicBezTo>
                    <a:cubicBezTo>
                      <a:pt x="405" y="502"/>
                      <a:pt x="402" y="504"/>
                      <a:pt x="401" y="503"/>
                    </a:cubicBezTo>
                    <a:cubicBezTo>
                      <a:pt x="399" y="501"/>
                      <a:pt x="399" y="497"/>
                      <a:pt x="401" y="495"/>
                    </a:cubicBezTo>
                    <a:cubicBezTo>
                      <a:pt x="403" y="493"/>
                      <a:pt x="408" y="496"/>
                      <a:pt x="412" y="494"/>
                    </a:cubicBezTo>
                    <a:cubicBezTo>
                      <a:pt x="414" y="494"/>
                      <a:pt x="416" y="492"/>
                      <a:pt x="419" y="494"/>
                    </a:cubicBezTo>
                    <a:cubicBezTo>
                      <a:pt x="425" y="494"/>
                      <a:pt x="430" y="492"/>
                      <a:pt x="435" y="491"/>
                    </a:cubicBezTo>
                    <a:cubicBezTo>
                      <a:pt x="439" y="487"/>
                      <a:pt x="445" y="487"/>
                      <a:pt x="451" y="488"/>
                    </a:cubicBezTo>
                    <a:cubicBezTo>
                      <a:pt x="451" y="485"/>
                      <a:pt x="453" y="482"/>
                      <a:pt x="455" y="480"/>
                    </a:cubicBezTo>
                    <a:cubicBezTo>
                      <a:pt x="456" y="479"/>
                      <a:pt x="458" y="481"/>
                      <a:pt x="459" y="481"/>
                    </a:cubicBezTo>
                    <a:cubicBezTo>
                      <a:pt x="468" y="479"/>
                      <a:pt x="476" y="478"/>
                      <a:pt x="484" y="475"/>
                    </a:cubicBezTo>
                    <a:cubicBezTo>
                      <a:pt x="486" y="474"/>
                      <a:pt x="483" y="470"/>
                      <a:pt x="485" y="469"/>
                    </a:cubicBezTo>
                    <a:cubicBezTo>
                      <a:pt x="486" y="467"/>
                      <a:pt x="489" y="466"/>
                      <a:pt x="492" y="466"/>
                    </a:cubicBezTo>
                    <a:cubicBezTo>
                      <a:pt x="498" y="467"/>
                      <a:pt x="503" y="470"/>
                      <a:pt x="509" y="471"/>
                    </a:cubicBezTo>
                    <a:cubicBezTo>
                      <a:pt x="511" y="472"/>
                      <a:pt x="513" y="469"/>
                      <a:pt x="515" y="470"/>
                    </a:cubicBezTo>
                    <a:cubicBezTo>
                      <a:pt x="517" y="473"/>
                      <a:pt x="517" y="477"/>
                      <a:pt x="518" y="480"/>
                    </a:cubicBezTo>
                    <a:cubicBezTo>
                      <a:pt x="519" y="481"/>
                      <a:pt x="521" y="482"/>
                      <a:pt x="521" y="483"/>
                    </a:cubicBezTo>
                    <a:cubicBezTo>
                      <a:pt x="522" y="485"/>
                      <a:pt x="519" y="488"/>
                      <a:pt x="520" y="490"/>
                    </a:cubicBezTo>
                    <a:cubicBezTo>
                      <a:pt x="522" y="489"/>
                      <a:pt x="524" y="490"/>
                      <a:pt x="526" y="490"/>
                    </a:cubicBezTo>
                    <a:cubicBezTo>
                      <a:pt x="527" y="490"/>
                      <a:pt x="528" y="488"/>
                      <a:pt x="529" y="488"/>
                    </a:cubicBezTo>
                    <a:cubicBezTo>
                      <a:pt x="530" y="488"/>
                      <a:pt x="531" y="489"/>
                      <a:pt x="532" y="489"/>
                    </a:cubicBezTo>
                    <a:cubicBezTo>
                      <a:pt x="533" y="488"/>
                      <a:pt x="533" y="484"/>
                      <a:pt x="534" y="485"/>
                    </a:cubicBezTo>
                    <a:cubicBezTo>
                      <a:pt x="536" y="488"/>
                      <a:pt x="535" y="492"/>
                      <a:pt x="537" y="495"/>
                    </a:cubicBezTo>
                    <a:cubicBezTo>
                      <a:pt x="538" y="496"/>
                      <a:pt x="540" y="495"/>
                      <a:pt x="540" y="494"/>
                    </a:cubicBezTo>
                    <a:cubicBezTo>
                      <a:pt x="541" y="493"/>
                      <a:pt x="539" y="491"/>
                      <a:pt x="540" y="491"/>
                    </a:cubicBezTo>
                    <a:cubicBezTo>
                      <a:pt x="543" y="490"/>
                      <a:pt x="547" y="493"/>
                      <a:pt x="550" y="493"/>
                    </a:cubicBezTo>
                    <a:cubicBezTo>
                      <a:pt x="552" y="494"/>
                      <a:pt x="548" y="497"/>
                      <a:pt x="549" y="499"/>
                    </a:cubicBezTo>
                    <a:cubicBezTo>
                      <a:pt x="549" y="500"/>
                      <a:pt x="550" y="501"/>
                      <a:pt x="551" y="501"/>
                    </a:cubicBezTo>
                    <a:cubicBezTo>
                      <a:pt x="553" y="500"/>
                      <a:pt x="555" y="497"/>
                      <a:pt x="557" y="497"/>
                    </a:cubicBezTo>
                    <a:cubicBezTo>
                      <a:pt x="559" y="497"/>
                      <a:pt x="560" y="500"/>
                      <a:pt x="561" y="500"/>
                    </a:cubicBezTo>
                    <a:cubicBezTo>
                      <a:pt x="561" y="495"/>
                      <a:pt x="570" y="495"/>
                      <a:pt x="572" y="492"/>
                    </a:cubicBezTo>
                    <a:cubicBezTo>
                      <a:pt x="579" y="491"/>
                      <a:pt x="581" y="486"/>
                      <a:pt x="587" y="487"/>
                    </a:cubicBezTo>
                    <a:cubicBezTo>
                      <a:pt x="589" y="487"/>
                      <a:pt x="584" y="491"/>
                      <a:pt x="585" y="493"/>
                    </a:cubicBezTo>
                    <a:cubicBezTo>
                      <a:pt x="586" y="495"/>
                      <a:pt x="588" y="497"/>
                      <a:pt x="591" y="499"/>
                    </a:cubicBezTo>
                    <a:cubicBezTo>
                      <a:pt x="594" y="501"/>
                      <a:pt x="598" y="501"/>
                      <a:pt x="600" y="504"/>
                    </a:cubicBezTo>
                    <a:cubicBezTo>
                      <a:pt x="613" y="519"/>
                      <a:pt x="622" y="536"/>
                      <a:pt x="635" y="550"/>
                    </a:cubicBezTo>
                    <a:cubicBezTo>
                      <a:pt x="636" y="552"/>
                      <a:pt x="638" y="548"/>
                      <a:pt x="639" y="546"/>
                    </a:cubicBezTo>
                    <a:cubicBezTo>
                      <a:pt x="639" y="545"/>
                      <a:pt x="637" y="544"/>
                      <a:pt x="638" y="543"/>
                    </a:cubicBezTo>
                    <a:cubicBezTo>
                      <a:pt x="640" y="542"/>
                      <a:pt x="642" y="542"/>
                      <a:pt x="643" y="543"/>
                    </a:cubicBezTo>
                    <a:cubicBezTo>
                      <a:pt x="645" y="543"/>
                      <a:pt x="647" y="545"/>
                      <a:pt x="648" y="547"/>
                    </a:cubicBezTo>
                    <a:cubicBezTo>
                      <a:pt x="649" y="548"/>
                      <a:pt x="646" y="549"/>
                      <a:pt x="647" y="550"/>
                    </a:cubicBezTo>
                    <a:cubicBezTo>
                      <a:pt x="648" y="550"/>
                      <a:pt x="650" y="549"/>
                      <a:pt x="651" y="550"/>
                    </a:cubicBezTo>
                    <a:cubicBezTo>
                      <a:pt x="652" y="550"/>
                      <a:pt x="651" y="552"/>
                      <a:pt x="651" y="552"/>
                    </a:cubicBezTo>
                    <a:cubicBezTo>
                      <a:pt x="656" y="553"/>
                      <a:pt x="661" y="552"/>
                      <a:pt x="666" y="552"/>
                    </a:cubicBezTo>
                    <a:cubicBezTo>
                      <a:pt x="669" y="551"/>
                      <a:pt x="669" y="546"/>
                      <a:pt x="672" y="546"/>
                    </a:cubicBezTo>
                    <a:cubicBezTo>
                      <a:pt x="677" y="547"/>
                      <a:pt x="681" y="551"/>
                      <a:pt x="684" y="555"/>
                    </a:cubicBezTo>
                    <a:cubicBezTo>
                      <a:pt x="686" y="557"/>
                      <a:pt x="685" y="561"/>
                      <a:pt x="687" y="562"/>
                    </a:cubicBezTo>
                    <a:cubicBezTo>
                      <a:pt x="689" y="564"/>
                      <a:pt x="693" y="561"/>
                      <a:pt x="696" y="562"/>
                    </a:cubicBezTo>
                    <a:cubicBezTo>
                      <a:pt x="697" y="562"/>
                      <a:pt x="697" y="565"/>
                      <a:pt x="698" y="566"/>
                    </a:cubicBezTo>
                    <a:cubicBezTo>
                      <a:pt x="699" y="568"/>
                      <a:pt x="701" y="570"/>
                      <a:pt x="704" y="571"/>
                    </a:cubicBezTo>
                    <a:cubicBezTo>
                      <a:pt x="707" y="570"/>
                      <a:pt x="709" y="573"/>
                      <a:pt x="712" y="572"/>
                    </a:cubicBezTo>
                    <a:cubicBezTo>
                      <a:pt x="714" y="571"/>
                      <a:pt x="714" y="567"/>
                      <a:pt x="716" y="567"/>
                    </a:cubicBezTo>
                    <a:cubicBezTo>
                      <a:pt x="718" y="567"/>
                      <a:pt x="715" y="570"/>
                      <a:pt x="715" y="572"/>
                    </a:cubicBezTo>
                    <a:cubicBezTo>
                      <a:pt x="718" y="575"/>
                      <a:pt x="722" y="577"/>
                      <a:pt x="725" y="580"/>
                    </a:cubicBezTo>
                    <a:cubicBezTo>
                      <a:pt x="727" y="580"/>
                      <a:pt x="730" y="580"/>
                      <a:pt x="733" y="580"/>
                    </a:cubicBezTo>
                    <a:cubicBezTo>
                      <a:pt x="735" y="578"/>
                      <a:pt x="738" y="575"/>
                      <a:pt x="740" y="574"/>
                    </a:cubicBezTo>
                    <a:cubicBezTo>
                      <a:pt x="743" y="572"/>
                      <a:pt x="747" y="573"/>
                      <a:pt x="750" y="571"/>
                    </a:cubicBezTo>
                    <a:cubicBezTo>
                      <a:pt x="752" y="570"/>
                      <a:pt x="754" y="567"/>
                      <a:pt x="756" y="565"/>
                    </a:cubicBezTo>
                    <a:cubicBezTo>
                      <a:pt x="759" y="562"/>
                      <a:pt x="762" y="559"/>
                      <a:pt x="765" y="557"/>
                    </a:cubicBezTo>
                    <a:cubicBezTo>
                      <a:pt x="767" y="556"/>
                      <a:pt x="769" y="558"/>
                      <a:pt x="771" y="557"/>
                    </a:cubicBezTo>
                    <a:cubicBezTo>
                      <a:pt x="772" y="556"/>
                      <a:pt x="772" y="554"/>
                      <a:pt x="774" y="553"/>
                    </a:cubicBezTo>
                    <a:cubicBezTo>
                      <a:pt x="775" y="552"/>
                      <a:pt x="777" y="554"/>
                      <a:pt x="779" y="553"/>
                    </a:cubicBezTo>
                    <a:cubicBezTo>
                      <a:pt x="780" y="553"/>
                      <a:pt x="781" y="551"/>
                      <a:pt x="782" y="551"/>
                    </a:cubicBezTo>
                    <a:cubicBezTo>
                      <a:pt x="783" y="551"/>
                      <a:pt x="784" y="552"/>
                      <a:pt x="785" y="552"/>
                    </a:cubicBezTo>
                    <a:cubicBezTo>
                      <a:pt x="786" y="552"/>
                      <a:pt x="787" y="550"/>
                      <a:pt x="788" y="550"/>
                    </a:cubicBezTo>
                    <a:cubicBezTo>
                      <a:pt x="790" y="551"/>
                      <a:pt x="790" y="553"/>
                      <a:pt x="792" y="553"/>
                    </a:cubicBezTo>
                    <a:cubicBezTo>
                      <a:pt x="796" y="554"/>
                      <a:pt x="801" y="553"/>
                      <a:pt x="806" y="555"/>
                    </a:cubicBezTo>
                    <a:cubicBezTo>
                      <a:pt x="807" y="555"/>
                      <a:pt x="806" y="557"/>
                      <a:pt x="806" y="558"/>
                    </a:cubicBezTo>
                    <a:cubicBezTo>
                      <a:pt x="807" y="560"/>
                      <a:pt x="808" y="562"/>
                      <a:pt x="810" y="563"/>
                    </a:cubicBezTo>
                    <a:cubicBezTo>
                      <a:pt x="813" y="565"/>
                      <a:pt x="817" y="566"/>
                      <a:pt x="820" y="567"/>
                    </a:cubicBezTo>
                    <a:cubicBezTo>
                      <a:pt x="823" y="567"/>
                      <a:pt x="826" y="566"/>
                      <a:pt x="828" y="566"/>
                    </a:cubicBezTo>
                    <a:cubicBezTo>
                      <a:pt x="832" y="566"/>
                      <a:pt x="835" y="566"/>
                      <a:pt x="839" y="566"/>
                    </a:cubicBezTo>
                    <a:cubicBezTo>
                      <a:pt x="841" y="567"/>
                      <a:pt x="843" y="568"/>
                      <a:pt x="845" y="568"/>
                    </a:cubicBezTo>
                    <a:cubicBezTo>
                      <a:pt x="847" y="568"/>
                      <a:pt x="849" y="567"/>
                      <a:pt x="850" y="565"/>
                    </a:cubicBezTo>
                    <a:cubicBezTo>
                      <a:pt x="852" y="564"/>
                      <a:pt x="854" y="561"/>
                      <a:pt x="853" y="559"/>
                    </a:cubicBezTo>
                    <a:cubicBezTo>
                      <a:pt x="853" y="556"/>
                      <a:pt x="850" y="555"/>
                      <a:pt x="849" y="553"/>
                    </a:cubicBezTo>
                    <a:cubicBezTo>
                      <a:pt x="848" y="550"/>
                      <a:pt x="847" y="547"/>
                      <a:pt x="846" y="545"/>
                    </a:cubicBezTo>
                    <a:cubicBezTo>
                      <a:pt x="846" y="542"/>
                      <a:pt x="847" y="539"/>
                      <a:pt x="848" y="537"/>
                    </a:cubicBezTo>
                    <a:cubicBezTo>
                      <a:pt x="848" y="536"/>
                      <a:pt x="850" y="537"/>
                      <a:pt x="851" y="536"/>
                    </a:cubicBezTo>
                    <a:cubicBezTo>
                      <a:pt x="852" y="533"/>
                      <a:pt x="850" y="527"/>
                      <a:pt x="853" y="526"/>
                    </a:cubicBezTo>
                    <a:cubicBezTo>
                      <a:pt x="857" y="525"/>
                      <a:pt x="860" y="532"/>
                      <a:pt x="864" y="533"/>
                    </a:cubicBezTo>
                    <a:cubicBezTo>
                      <a:pt x="868" y="534"/>
                      <a:pt x="872" y="530"/>
                      <a:pt x="876" y="531"/>
                    </a:cubicBezTo>
                    <a:cubicBezTo>
                      <a:pt x="879" y="531"/>
                      <a:pt x="881" y="535"/>
                      <a:pt x="883" y="536"/>
                    </a:cubicBezTo>
                    <a:cubicBezTo>
                      <a:pt x="886" y="537"/>
                      <a:pt x="890" y="535"/>
                      <a:pt x="892" y="537"/>
                    </a:cubicBezTo>
                    <a:cubicBezTo>
                      <a:pt x="895" y="538"/>
                      <a:pt x="898" y="540"/>
                      <a:pt x="899" y="543"/>
                    </a:cubicBezTo>
                    <a:cubicBezTo>
                      <a:pt x="900" y="546"/>
                      <a:pt x="898" y="551"/>
                      <a:pt x="900" y="554"/>
                    </a:cubicBezTo>
                    <a:cubicBezTo>
                      <a:pt x="902" y="557"/>
                      <a:pt x="905" y="560"/>
                      <a:pt x="908" y="561"/>
                    </a:cubicBezTo>
                    <a:cubicBezTo>
                      <a:pt x="910" y="562"/>
                      <a:pt x="912" y="559"/>
                      <a:pt x="914" y="559"/>
                    </a:cubicBezTo>
                    <a:cubicBezTo>
                      <a:pt x="914" y="559"/>
                      <a:pt x="913" y="561"/>
                      <a:pt x="914" y="561"/>
                    </a:cubicBezTo>
                    <a:cubicBezTo>
                      <a:pt x="916" y="562"/>
                      <a:pt x="918" y="562"/>
                      <a:pt x="920" y="562"/>
                    </a:cubicBezTo>
                    <a:cubicBezTo>
                      <a:pt x="925" y="562"/>
                      <a:pt x="929" y="562"/>
                      <a:pt x="934" y="561"/>
                    </a:cubicBezTo>
                    <a:cubicBezTo>
                      <a:pt x="935" y="561"/>
                      <a:pt x="935" y="560"/>
                      <a:pt x="936" y="560"/>
                    </a:cubicBezTo>
                    <a:cubicBezTo>
                      <a:pt x="942" y="560"/>
                      <a:pt x="948" y="559"/>
                      <a:pt x="953" y="560"/>
                    </a:cubicBezTo>
                    <a:cubicBezTo>
                      <a:pt x="956" y="560"/>
                      <a:pt x="959" y="562"/>
                      <a:pt x="962" y="563"/>
                    </a:cubicBezTo>
                    <a:cubicBezTo>
                      <a:pt x="965" y="564"/>
                      <a:pt x="969" y="563"/>
                      <a:pt x="972" y="565"/>
                    </a:cubicBezTo>
                    <a:cubicBezTo>
                      <a:pt x="973" y="567"/>
                      <a:pt x="971" y="570"/>
                      <a:pt x="972" y="571"/>
                    </a:cubicBezTo>
                    <a:cubicBezTo>
                      <a:pt x="973" y="574"/>
                      <a:pt x="975" y="576"/>
                      <a:pt x="978" y="577"/>
                    </a:cubicBezTo>
                    <a:cubicBezTo>
                      <a:pt x="985" y="579"/>
                      <a:pt x="992" y="577"/>
                      <a:pt x="1000" y="578"/>
                    </a:cubicBezTo>
                    <a:cubicBezTo>
                      <a:pt x="1001" y="578"/>
                      <a:pt x="1003" y="580"/>
                      <a:pt x="1005" y="579"/>
                    </a:cubicBezTo>
                    <a:cubicBezTo>
                      <a:pt x="1008" y="578"/>
                      <a:pt x="1009" y="575"/>
                      <a:pt x="1011" y="575"/>
                    </a:cubicBezTo>
                    <a:cubicBezTo>
                      <a:pt x="1015" y="574"/>
                      <a:pt x="1019" y="575"/>
                      <a:pt x="1023" y="574"/>
                    </a:cubicBezTo>
                    <a:cubicBezTo>
                      <a:pt x="1025" y="574"/>
                      <a:pt x="1027" y="572"/>
                      <a:pt x="1029" y="571"/>
                    </a:cubicBezTo>
                    <a:cubicBezTo>
                      <a:pt x="1031" y="569"/>
                      <a:pt x="1032" y="568"/>
                      <a:pt x="1033" y="567"/>
                    </a:cubicBezTo>
                    <a:cubicBezTo>
                      <a:pt x="1036" y="565"/>
                      <a:pt x="1039" y="564"/>
                      <a:pt x="1042" y="563"/>
                    </a:cubicBezTo>
                    <a:cubicBezTo>
                      <a:pt x="1044" y="562"/>
                      <a:pt x="1047" y="560"/>
                      <a:pt x="1049" y="561"/>
                    </a:cubicBezTo>
                    <a:cubicBezTo>
                      <a:pt x="1052" y="561"/>
                      <a:pt x="1054" y="564"/>
                      <a:pt x="1057" y="565"/>
                    </a:cubicBezTo>
                    <a:cubicBezTo>
                      <a:pt x="1059" y="566"/>
                      <a:pt x="1061" y="567"/>
                      <a:pt x="1064" y="567"/>
                    </a:cubicBezTo>
                    <a:cubicBezTo>
                      <a:pt x="1066" y="567"/>
                      <a:pt x="1069" y="566"/>
                      <a:pt x="1071" y="566"/>
                    </a:cubicBezTo>
                    <a:cubicBezTo>
                      <a:pt x="1073" y="566"/>
                      <a:pt x="1074" y="568"/>
                      <a:pt x="1075" y="568"/>
                    </a:cubicBezTo>
                    <a:cubicBezTo>
                      <a:pt x="1080" y="570"/>
                      <a:pt x="1086" y="571"/>
                      <a:pt x="1091" y="572"/>
                    </a:cubicBezTo>
                    <a:cubicBezTo>
                      <a:pt x="1095" y="569"/>
                      <a:pt x="1101" y="567"/>
                      <a:pt x="1104" y="564"/>
                    </a:cubicBezTo>
                    <a:cubicBezTo>
                      <a:pt x="1105" y="563"/>
                      <a:pt x="1103" y="561"/>
                      <a:pt x="1103" y="560"/>
                    </a:cubicBezTo>
                    <a:cubicBezTo>
                      <a:pt x="1104" y="558"/>
                      <a:pt x="1106" y="556"/>
                      <a:pt x="1107" y="553"/>
                    </a:cubicBezTo>
                    <a:cubicBezTo>
                      <a:pt x="1107" y="549"/>
                      <a:pt x="1105" y="545"/>
                      <a:pt x="1107" y="540"/>
                    </a:cubicBezTo>
                    <a:cubicBezTo>
                      <a:pt x="1108" y="537"/>
                      <a:pt x="1112" y="536"/>
                      <a:pt x="1113" y="532"/>
                    </a:cubicBezTo>
                    <a:cubicBezTo>
                      <a:pt x="1114" y="528"/>
                      <a:pt x="1114" y="523"/>
                      <a:pt x="1112" y="520"/>
                    </a:cubicBezTo>
                    <a:cubicBezTo>
                      <a:pt x="1110" y="518"/>
                      <a:pt x="1108" y="523"/>
                      <a:pt x="1106" y="523"/>
                    </a:cubicBezTo>
                    <a:cubicBezTo>
                      <a:pt x="1104" y="522"/>
                      <a:pt x="1102" y="520"/>
                      <a:pt x="1103" y="519"/>
                    </a:cubicBezTo>
                    <a:cubicBezTo>
                      <a:pt x="1104" y="515"/>
                      <a:pt x="1107" y="512"/>
                      <a:pt x="1110" y="511"/>
                    </a:cubicBezTo>
                    <a:cubicBezTo>
                      <a:pt x="1112" y="509"/>
                      <a:pt x="1115" y="511"/>
                      <a:pt x="1117" y="511"/>
                    </a:cubicBezTo>
                    <a:cubicBezTo>
                      <a:pt x="1119" y="510"/>
                      <a:pt x="1121" y="508"/>
                      <a:pt x="1124" y="507"/>
                    </a:cubicBezTo>
                    <a:cubicBezTo>
                      <a:pt x="1129" y="506"/>
                      <a:pt x="1135" y="505"/>
                      <a:pt x="1141" y="505"/>
                    </a:cubicBezTo>
                    <a:cubicBezTo>
                      <a:pt x="1145" y="505"/>
                      <a:pt x="1148" y="507"/>
                      <a:pt x="1152" y="508"/>
                    </a:cubicBezTo>
                    <a:cubicBezTo>
                      <a:pt x="1153" y="509"/>
                      <a:pt x="1155" y="509"/>
                      <a:pt x="1156" y="509"/>
                    </a:cubicBezTo>
                    <a:cubicBezTo>
                      <a:pt x="1158" y="509"/>
                      <a:pt x="1159" y="508"/>
                      <a:pt x="1160" y="508"/>
                    </a:cubicBezTo>
                    <a:cubicBezTo>
                      <a:pt x="1164" y="510"/>
                      <a:pt x="1169" y="513"/>
                      <a:pt x="1173" y="516"/>
                    </a:cubicBezTo>
                    <a:cubicBezTo>
                      <a:pt x="1175" y="518"/>
                      <a:pt x="1175" y="522"/>
                      <a:pt x="1177" y="524"/>
                    </a:cubicBezTo>
                    <a:cubicBezTo>
                      <a:pt x="1177" y="525"/>
                      <a:pt x="1179" y="525"/>
                      <a:pt x="1179" y="526"/>
                    </a:cubicBezTo>
                    <a:cubicBezTo>
                      <a:pt x="1179" y="527"/>
                      <a:pt x="1177" y="528"/>
                      <a:pt x="1178" y="529"/>
                    </a:cubicBezTo>
                    <a:cubicBezTo>
                      <a:pt x="1180" y="533"/>
                      <a:pt x="1184" y="536"/>
                      <a:pt x="1187" y="540"/>
                    </a:cubicBezTo>
                    <a:cubicBezTo>
                      <a:pt x="1188" y="541"/>
                      <a:pt x="1187" y="543"/>
                      <a:pt x="1188" y="544"/>
                    </a:cubicBezTo>
                    <a:cubicBezTo>
                      <a:pt x="1189" y="546"/>
                      <a:pt x="1191" y="547"/>
                      <a:pt x="1192" y="548"/>
                    </a:cubicBezTo>
                    <a:cubicBezTo>
                      <a:pt x="1194" y="552"/>
                      <a:pt x="1196" y="555"/>
                      <a:pt x="1197" y="559"/>
                    </a:cubicBezTo>
                    <a:cubicBezTo>
                      <a:pt x="1198" y="561"/>
                      <a:pt x="1201" y="560"/>
                      <a:pt x="1202" y="561"/>
                    </a:cubicBezTo>
                    <a:cubicBezTo>
                      <a:pt x="1202" y="562"/>
                      <a:pt x="1200" y="563"/>
                      <a:pt x="1201" y="564"/>
                    </a:cubicBezTo>
                    <a:cubicBezTo>
                      <a:pt x="1201" y="566"/>
                      <a:pt x="1202" y="569"/>
                      <a:pt x="1204" y="570"/>
                    </a:cubicBezTo>
                    <a:cubicBezTo>
                      <a:pt x="1207" y="571"/>
                      <a:pt x="1211" y="570"/>
                      <a:pt x="1214" y="572"/>
                    </a:cubicBezTo>
                    <a:cubicBezTo>
                      <a:pt x="1217" y="572"/>
                      <a:pt x="1219" y="575"/>
                      <a:pt x="1222" y="575"/>
                    </a:cubicBezTo>
                    <a:cubicBezTo>
                      <a:pt x="1224" y="575"/>
                      <a:pt x="1225" y="572"/>
                      <a:pt x="1227" y="573"/>
                    </a:cubicBezTo>
                    <a:cubicBezTo>
                      <a:pt x="1231" y="575"/>
                      <a:pt x="1233" y="580"/>
                      <a:pt x="1237" y="583"/>
                    </a:cubicBezTo>
                    <a:cubicBezTo>
                      <a:pt x="1238" y="584"/>
                      <a:pt x="1241" y="583"/>
                      <a:pt x="1243" y="584"/>
                    </a:cubicBezTo>
                    <a:cubicBezTo>
                      <a:pt x="1244" y="586"/>
                      <a:pt x="1244" y="589"/>
                      <a:pt x="1245" y="592"/>
                    </a:cubicBezTo>
                    <a:cubicBezTo>
                      <a:pt x="1245" y="593"/>
                      <a:pt x="1244" y="595"/>
                      <a:pt x="1245" y="597"/>
                    </a:cubicBezTo>
                    <a:cubicBezTo>
                      <a:pt x="1246" y="600"/>
                      <a:pt x="1248" y="605"/>
                      <a:pt x="1251" y="605"/>
                    </a:cubicBezTo>
                    <a:cubicBezTo>
                      <a:pt x="1257" y="606"/>
                      <a:pt x="1264" y="605"/>
                      <a:pt x="1270" y="605"/>
                    </a:cubicBezTo>
                    <a:cubicBezTo>
                      <a:pt x="1272" y="605"/>
                      <a:pt x="1272" y="600"/>
                      <a:pt x="1274" y="599"/>
                    </a:cubicBezTo>
                    <a:cubicBezTo>
                      <a:pt x="1281" y="597"/>
                      <a:pt x="1287" y="594"/>
                      <a:pt x="1294" y="593"/>
                    </a:cubicBezTo>
                    <a:cubicBezTo>
                      <a:pt x="1296" y="593"/>
                      <a:pt x="1294" y="597"/>
                      <a:pt x="1295" y="598"/>
                    </a:cubicBezTo>
                    <a:cubicBezTo>
                      <a:pt x="1296" y="601"/>
                      <a:pt x="1298" y="604"/>
                      <a:pt x="1298" y="607"/>
                    </a:cubicBezTo>
                    <a:cubicBezTo>
                      <a:pt x="1298" y="610"/>
                      <a:pt x="1294" y="612"/>
                      <a:pt x="1294" y="614"/>
                    </a:cubicBezTo>
                    <a:cubicBezTo>
                      <a:pt x="1293" y="618"/>
                      <a:pt x="1294" y="622"/>
                      <a:pt x="1294" y="626"/>
                    </a:cubicBezTo>
                    <a:cubicBezTo>
                      <a:pt x="1294" y="629"/>
                      <a:pt x="1294" y="631"/>
                      <a:pt x="1293" y="634"/>
                    </a:cubicBezTo>
                    <a:cubicBezTo>
                      <a:pt x="1293" y="636"/>
                      <a:pt x="1293" y="639"/>
                      <a:pt x="1292" y="641"/>
                    </a:cubicBezTo>
                    <a:cubicBezTo>
                      <a:pt x="1292" y="642"/>
                      <a:pt x="1290" y="642"/>
                      <a:pt x="1289" y="644"/>
                    </a:cubicBezTo>
                    <a:cubicBezTo>
                      <a:pt x="1289" y="645"/>
                      <a:pt x="1290" y="648"/>
                      <a:pt x="1288" y="649"/>
                    </a:cubicBezTo>
                    <a:cubicBezTo>
                      <a:pt x="1287" y="650"/>
                      <a:pt x="1285" y="650"/>
                      <a:pt x="1284" y="650"/>
                    </a:cubicBezTo>
                    <a:cubicBezTo>
                      <a:pt x="1280" y="649"/>
                      <a:pt x="1277" y="646"/>
                      <a:pt x="1274" y="646"/>
                    </a:cubicBezTo>
                    <a:cubicBezTo>
                      <a:pt x="1272" y="647"/>
                      <a:pt x="1272" y="650"/>
                      <a:pt x="1271" y="652"/>
                    </a:cubicBezTo>
                    <a:cubicBezTo>
                      <a:pt x="1269" y="653"/>
                      <a:pt x="1266" y="653"/>
                      <a:pt x="1265" y="655"/>
                    </a:cubicBezTo>
                    <a:cubicBezTo>
                      <a:pt x="1264" y="655"/>
                      <a:pt x="1265" y="657"/>
                      <a:pt x="1266" y="657"/>
                    </a:cubicBezTo>
                    <a:cubicBezTo>
                      <a:pt x="1267" y="661"/>
                      <a:pt x="1271" y="665"/>
                      <a:pt x="1271" y="669"/>
                    </a:cubicBezTo>
                    <a:cubicBezTo>
                      <a:pt x="1273" y="674"/>
                      <a:pt x="1272" y="680"/>
                      <a:pt x="1271" y="686"/>
                    </a:cubicBezTo>
                    <a:cubicBezTo>
                      <a:pt x="1271" y="688"/>
                      <a:pt x="1268" y="687"/>
                      <a:pt x="1267" y="689"/>
                    </a:cubicBezTo>
                    <a:cubicBezTo>
                      <a:pt x="1266" y="690"/>
                      <a:pt x="1266" y="692"/>
                      <a:pt x="1266" y="69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6" name="Freeform 2887"/>
              <p:cNvSpPr>
                <a:spLocks noChangeAspect="1"/>
              </p:cNvSpPr>
              <p:nvPr/>
            </p:nvSpPr>
            <p:spPr bwMode="auto">
              <a:xfrm>
                <a:off x="7786861" y="2687786"/>
                <a:ext cx="139026" cy="131555"/>
              </a:xfrm>
              <a:custGeom>
                <a:avLst/>
                <a:gdLst>
                  <a:gd name="T0" fmla="*/ 18 w 71"/>
                  <a:gd name="T1" fmla="*/ 1 h 68"/>
                  <a:gd name="T2" fmla="*/ 42 w 71"/>
                  <a:gd name="T3" fmla="*/ 23 h 68"/>
                  <a:gd name="T4" fmla="*/ 57 w 71"/>
                  <a:gd name="T5" fmla="*/ 29 h 68"/>
                  <a:gd name="T6" fmla="*/ 66 w 71"/>
                  <a:gd name="T7" fmla="*/ 31 h 68"/>
                  <a:gd name="T8" fmla="*/ 72 w 71"/>
                  <a:gd name="T9" fmla="*/ 25 h 68"/>
                  <a:gd name="T10" fmla="*/ 71 w 71"/>
                  <a:gd name="T11" fmla="*/ 35 h 68"/>
                  <a:gd name="T12" fmla="*/ 75 w 71"/>
                  <a:gd name="T13" fmla="*/ 45 h 68"/>
                  <a:gd name="T14" fmla="*/ 84 w 71"/>
                  <a:gd name="T15" fmla="*/ 43 h 68"/>
                  <a:gd name="T16" fmla="*/ 73 w 71"/>
                  <a:gd name="T17" fmla="*/ 51 h 68"/>
                  <a:gd name="T18" fmla="*/ 67 w 71"/>
                  <a:gd name="T19" fmla="*/ 52 h 68"/>
                  <a:gd name="T20" fmla="*/ 61 w 71"/>
                  <a:gd name="T21" fmla="*/ 52 h 68"/>
                  <a:gd name="T22" fmla="*/ 54 w 71"/>
                  <a:gd name="T23" fmla="*/ 63 h 68"/>
                  <a:gd name="T24" fmla="*/ 51 w 71"/>
                  <a:gd name="T25" fmla="*/ 73 h 68"/>
                  <a:gd name="T26" fmla="*/ 26 w 71"/>
                  <a:gd name="T27" fmla="*/ 58 h 68"/>
                  <a:gd name="T28" fmla="*/ 19 w 71"/>
                  <a:gd name="T29" fmla="*/ 64 h 68"/>
                  <a:gd name="T30" fmla="*/ 10 w 71"/>
                  <a:gd name="T31" fmla="*/ 60 h 68"/>
                  <a:gd name="T32" fmla="*/ 10 w 71"/>
                  <a:gd name="T33" fmla="*/ 63 h 68"/>
                  <a:gd name="T34" fmla="*/ 18 w 71"/>
                  <a:gd name="T35" fmla="*/ 71 h 68"/>
                  <a:gd name="T36" fmla="*/ 23 w 71"/>
                  <a:gd name="T37" fmla="*/ 75 h 68"/>
                  <a:gd name="T38" fmla="*/ 14 w 71"/>
                  <a:gd name="T39" fmla="*/ 75 h 68"/>
                  <a:gd name="T40" fmla="*/ 11 w 71"/>
                  <a:gd name="T41" fmla="*/ 81 h 68"/>
                  <a:gd name="T42" fmla="*/ 8 w 71"/>
                  <a:gd name="T43" fmla="*/ 77 h 68"/>
                  <a:gd name="T44" fmla="*/ 8 w 71"/>
                  <a:gd name="T45" fmla="*/ 71 h 68"/>
                  <a:gd name="T46" fmla="*/ 2 w 71"/>
                  <a:gd name="T47" fmla="*/ 68 h 68"/>
                  <a:gd name="T48" fmla="*/ 1 w 71"/>
                  <a:gd name="T49" fmla="*/ 58 h 68"/>
                  <a:gd name="T50" fmla="*/ 7 w 71"/>
                  <a:gd name="T51" fmla="*/ 52 h 68"/>
                  <a:gd name="T52" fmla="*/ 2 w 71"/>
                  <a:gd name="T53" fmla="*/ 46 h 68"/>
                  <a:gd name="T54" fmla="*/ 5 w 71"/>
                  <a:gd name="T55" fmla="*/ 44 h 68"/>
                  <a:gd name="T56" fmla="*/ 17 w 71"/>
                  <a:gd name="T57" fmla="*/ 46 h 68"/>
                  <a:gd name="T58" fmla="*/ 14 w 71"/>
                  <a:gd name="T59" fmla="*/ 38 h 68"/>
                  <a:gd name="T60" fmla="*/ 20 w 71"/>
                  <a:gd name="T61" fmla="*/ 30 h 68"/>
                  <a:gd name="T62" fmla="*/ 18 w 71"/>
                  <a:gd name="T63" fmla="*/ 21 h 68"/>
                  <a:gd name="T64" fmla="*/ 18 w 71"/>
                  <a:gd name="T65" fmla="*/ 13 h 68"/>
                  <a:gd name="T66" fmla="*/ 12 w 71"/>
                  <a:gd name="T67" fmla="*/ 6 h 68"/>
                  <a:gd name="T68" fmla="*/ 18 w 71"/>
                  <a:gd name="T69" fmla="*/ 1 h 6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1"/>
                  <a:gd name="T106" fmla="*/ 0 h 68"/>
                  <a:gd name="T107" fmla="*/ 71 w 71"/>
                  <a:gd name="T108" fmla="*/ 68 h 6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1" h="68">
                    <a:moveTo>
                      <a:pt x="15" y="1"/>
                    </a:moveTo>
                    <a:cubicBezTo>
                      <a:pt x="23" y="6"/>
                      <a:pt x="28" y="14"/>
                      <a:pt x="35" y="19"/>
                    </a:cubicBezTo>
                    <a:cubicBezTo>
                      <a:pt x="39" y="22"/>
                      <a:pt x="44" y="23"/>
                      <a:pt x="48" y="24"/>
                    </a:cubicBezTo>
                    <a:cubicBezTo>
                      <a:pt x="50" y="25"/>
                      <a:pt x="52" y="27"/>
                      <a:pt x="55" y="26"/>
                    </a:cubicBezTo>
                    <a:cubicBezTo>
                      <a:pt x="57" y="26"/>
                      <a:pt x="58" y="20"/>
                      <a:pt x="60" y="21"/>
                    </a:cubicBezTo>
                    <a:cubicBezTo>
                      <a:pt x="62" y="23"/>
                      <a:pt x="59" y="27"/>
                      <a:pt x="59" y="29"/>
                    </a:cubicBezTo>
                    <a:cubicBezTo>
                      <a:pt x="60" y="32"/>
                      <a:pt x="61" y="36"/>
                      <a:pt x="63" y="38"/>
                    </a:cubicBezTo>
                    <a:cubicBezTo>
                      <a:pt x="65" y="39"/>
                      <a:pt x="71" y="34"/>
                      <a:pt x="70" y="36"/>
                    </a:cubicBezTo>
                    <a:cubicBezTo>
                      <a:pt x="68" y="39"/>
                      <a:pt x="64" y="41"/>
                      <a:pt x="61" y="43"/>
                    </a:cubicBezTo>
                    <a:cubicBezTo>
                      <a:pt x="59" y="43"/>
                      <a:pt x="57" y="43"/>
                      <a:pt x="56" y="44"/>
                    </a:cubicBezTo>
                    <a:cubicBezTo>
                      <a:pt x="54" y="44"/>
                      <a:pt x="52" y="43"/>
                      <a:pt x="51" y="44"/>
                    </a:cubicBezTo>
                    <a:cubicBezTo>
                      <a:pt x="48" y="46"/>
                      <a:pt x="46" y="50"/>
                      <a:pt x="45" y="53"/>
                    </a:cubicBezTo>
                    <a:cubicBezTo>
                      <a:pt x="44" y="56"/>
                      <a:pt x="46" y="61"/>
                      <a:pt x="43" y="61"/>
                    </a:cubicBezTo>
                    <a:cubicBezTo>
                      <a:pt x="35" y="59"/>
                      <a:pt x="30" y="51"/>
                      <a:pt x="22" y="49"/>
                    </a:cubicBezTo>
                    <a:cubicBezTo>
                      <a:pt x="19" y="49"/>
                      <a:pt x="18" y="54"/>
                      <a:pt x="16" y="54"/>
                    </a:cubicBezTo>
                    <a:cubicBezTo>
                      <a:pt x="13" y="54"/>
                      <a:pt x="11" y="51"/>
                      <a:pt x="8" y="50"/>
                    </a:cubicBezTo>
                    <a:cubicBezTo>
                      <a:pt x="7" y="50"/>
                      <a:pt x="7" y="52"/>
                      <a:pt x="8" y="53"/>
                    </a:cubicBezTo>
                    <a:cubicBezTo>
                      <a:pt x="10" y="56"/>
                      <a:pt x="13" y="58"/>
                      <a:pt x="15" y="60"/>
                    </a:cubicBezTo>
                    <a:cubicBezTo>
                      <a:pt x="17" y="61"/>
                      <a:pt x="20" y="62"/>
                      <a:pt x="19" y="63"/>
                    </a:cubicBezTo>
                    <a:cubicBezTo>
                      <a:pt x="17" y="65"/>
                      <a:pt x="14" y="62"/>
                      <a:pt x="12" y="63"/>
                    </a:cubicBezTo>
                    <a:cubicBezTo>
                      <a:pt x="10" y="64"/>
                      <a:pt x="11" y="67"/>
                      <a:pt x="9" y="68"/>
                    </a:cubicBezTo>
                    <a:cubicBezTo>
                      <a:pt x="8" y="68"/>
                      <a:pt x="7" y="66"/>
                      <a:pt x="7" y="65"/>
                    </a:cubicBezTo>
                    <a:cubicBezTo>
                      <a:pt x="6" y="63"/>
                      <a:pt x="7" y="61"/>
                      <a:pt x="7" y="60"/>
                    </a:cubicBezTo>
                    <a:cubicBezTo>
                      <a:pt x="6" y="58"/>
                      <a:pt x="3" y="58"/>
                      <a:pt x="2" y="57"/>
                    </a:cubicBezTo>
                    <a:cubicBezTo>
                      <a:pt x="0" y="54"/>
                      <a:pt x="0" y="51"/>
                      <a:pt x="1" y="49"/>
                    </a:cubicBezTo>
                    <a:cubicBezTo>
                      <a:pt x="1" y="46"/>
                      <a:pt x="5" y="46"/>
                      <a:pt x="6" y="44"/>
                    </a:cubicBezTo>
                    <a:cubicBezTo>
                      <a:pt x="6" y="42"/>
                      <a:pt x="3" y="41"/>
                      <a:pt x="2" y="39"/>
                    </a:cubicBezTo>
                    <a:cubicBezTo>
                      <a:pt x="2" y="38"/>
                      <a:pt x="3" y="37"/>
                      <a:pt x="4" y="37"/>
                    </a:cubicBezTo>
                    <a:cubicBezTo>
                      <a:pt x="7" y="37"/>
                      <a:pt x="11" y="41"/>
                      <a:pt x="14" y="39"/>
                    </a:cubicBezTo>
                    <a:cubicBezTo>
                      <a:pt x="16" y="38"/>
                      <a:pt x="11" y="34"/>
                      <a:pt x="12" y="32"/>
                    </a:cubicBezTo>
                    <a:cubicBezTo>
                      <a:pt x="12" y="29"/>
                      <a:pt x="16" y="28"/>
                      <a:pt x="17" y="25"/>
                    </a:cubicBezTo>
                    <a:cubicBezTo>
                      <a:pt x="17" y="23"/>
                      <a:pt x="15" y="20"/>
                      <a:pt x="15" y="18"/>
                    </a:cubicBezTo>
                    <a:cubicBezTo>
                      <a:pt x="14" y="16"/>
                      <a:pt x="15" y="13"/>
                      <a:pt x="15" y="11"/>
                    </a:cubicBezTo>
                    <a:cubicBezTo>
                      <a:pt x="14" y="9"/>
                      <a:pt x="10" y="8"/>
                      <a:pt x="10" y="5"/>
                    </a:cubicBezTo>
                    <a:cubicBezTo>
                      <a:pt x="10" y="3"/>
                      <a:pt x="13" y="0"/>
                      <a:pt x="1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7" name="Freeform 2888"/>
              <p:cNvSpPr>
                <a:spLocks noChangeAspect="1"/>
              </p:cNvSpPr>
              <p:nvPr/>
            </p:nvSpPr>
            <p:spPr bwMode="auto">
              <a:xfrm>
                <a:off x="7621666" y="2817717"/>
                <a:ext cx="242067" cy="258237"/>
              </a:xfrm>
              <a:custGeom>
                <a:avLst/>
                <a:gdLst>
                  <a:gd name="T0" fmla="*/ 123 w 123"/>
                  <a:gd name="T1" fmla="*/ 6 h 132"/>
                  <a:gd name="T2" fmla="*/ 130 w 123"/>
                  <a:gd name="T3" fmla="*/ 14 h 132"/>
                  <a:gd name="T4" fmla="*/ 119 w 123"/>
                  <a:gd name="T5" fmla="*/ 7 h 132"/>
                  <a:gd name="T6" fmla="*/ 116 w 123"/>
                  <a:gd name="T7" fmla="*/ 14 h 132"/>
                  <a:gd name="T8" fmla="*/ 113 w 123"/>
                  <a:gd name="T9" fmla="*/ 28 h 132"/>
                  <a:gd name="T10" fmla="*/ 117 w 123"/>
                  <a:gd name="T11" fmla="*/ 31 h 132"/>
                  <a:gd name="T12" fmla="*/ 116 w 123"/>
                  <a:gd name="T13" fmla="*/ 60 h 132"/>
                  <a:gd name="T14" fmla="*/ 106 w 123"/>
                  <a:gd name="T15" fmla="*/ 76 h 132"/>
                  <a:gd name="T16" fmla="*/ 87 w 123"/>
                  <a:gd name="T17" fmla="*/ 94 h 132"/>
                  <a:gd name="T18" fmla="*/ 85 w 123"/>
                  <a:gd name="T19" fmla="*/ 83 h 132"/>
                  <a:gd name="T20" fmla="*/ 78 w 123"/>
                  <a:gd name="T21" fmla="*/ 87 h 132"/>
                  <a:gd name="T22" fmla="*/ 73 w 123"/>
                  <a:gd name="T23" fmla="*/ 107 h 132"/>
                  <a:gd name="T24" fmla="*/ 66 w 123"/>
                  <a:gd name="T25" fmla="*/ 117 h 132"/>
                  <a:gd name="T26" fmla="*/ 30 w 123"/>
                  <a:gd name="T27" fmla="*/ 119 h 132"/>
                  <a:gd name="T28" fmla="*/ 23 w 123"/>
                  <a:gd name="T29" fmla="*/ 120 h 132"/>
                  <a:gd name="T30" fmla="*/ 12 w 123"/>
                  <a:gd name="T31" fmla="*/ 135 h 132"/>
                  <a:gd name="T32" fmla="*/ 1 w 123"/>
                  <a:gd name="T33" fmla="*/ 145 h 132"/>
                  <a:gd name="T34" fmla="*/ 10 w 123"/>
                  <a:gd name="T35" fmla="*/ 148 h 132"/>
                  <a:gd name="T36" fmla="*/ 22 w 123"/>
                  <a:gd name="T37" fmla="*/ 151 h 132"/>
                  <a:gd name="T38" fmla="*/ 26 w 123"/>
                  <a:gd name="T39" fmla="*/ 145 h 132"/>
                  <a:gd name="T40" fmla="*/ 41 w 123"/>
                  <a:gd name="T41" fmla="*/ 139 h 132"/>
                  <a:gd name="T42" fmla="*/ 47 w 123"/>
                  <a:gd name="T43" fmla="*/ 135 h 132"/>
                  <a:gd name="T44" fmla="*/ 66 w 123"/>
                  <a:gd name="T45" fmla="*/ 134 h 132"/>
                  <a:gd name="T46" fmla="*/ 63 w 123"/>
                  <a:gd name="T47" fmla="*/ 143 h 132"/>
                  <a:gd name="T48" fmla="*/ 73 w 123"/>
                  <a:gd name="T49" fmla="*/ 158 h 132"/>
                  <a:gd name="T50" fmla="*/ 81 w 123"/>
                  <a:gd name="T51" fmla="*/ 143 h 132"/>
                  <a:gd name="T52" fmla="*/ 84 w 123"/>
                  <a:gd name="T53" fmla="*/ 136 h 132"/>
                  <a:gd name="T54" fmla="*/ 87 w 123"/>
                  <a:gd name="T55" fmla="*/ 129 h 132"/>
                  <a:gd name="T56" fmla="*/ 90 w 123"/>
                  <a:gd name="T57" fmla="*/ 132 h 132"/>
                  <a:gd name="T58" fmla="*/ 93 w 123"/>
                  <a:gd name="T59" fmla="*/ 136 h 132"/>
                  <a:gd name="T60" fmla="*/ 103 w 123"/>
                  <a:gd name="T61" fmla="*/ 136 h 132"/>
                  <a:gd name="T62" fmla="*/ 111 w 123"/>
                  <a:gd name="T63" fmla="*/ 128 h 132"/>
                  <a:gd name="T64" fmla="*/ 116 w 123"/>
                  <a:gd name="T65" fmla="*/ 135 h 132"/>
                  <a:gd name="T66" fmla="*/ 123 w 123"/>
                  <a:gd name="T67" fmla="*/ 125 h 132"/>
                  <a:gd name="T68" fmla="*/ 124 w 123"/>
                  <a:gd name="T69" fmla="*/ 118 h 132"/>
                  <a:gd name="T70" fmla="*/ 132 w 123"/>
                  <a:gd name="T71" fmla="*/ 118 h 132"/>
                  <a:gd name="T72" fmla="*/ 131 w 123"/>
                  <a:gd name="T73" fmla="*/ 128 h 132"/>
                  <a:gd name="T74" fmla="*/ 140 w 123"/>
                  <a:gd name="T75" fmla="*/ 126 h 132"/>
                  <a:gd name="T76" fmla="*/ 144 w 123"/>
                  <a:gd name="T77" fmla="*/ 114 h 132"/>
                  <a:gd name="T78" fmla="*/ 138 w 123"/>
                  <a:gd name="T79" fmla="*/ 95 h 132"/>
                  <a:gd name="T80" fmla="*/ 141 w 123"/>
                  <a:gd name="T81" fmla="*/ 82 h 132"/>
                  <a:gd name="T82" fmla="*/ 140 w 123"/>
                  <a:gd name="T83" fmla="*/ 61 h 132"/>
                  <a:gd name="T84" fmla="*/ 144 w 123"/>
                  <a:gd name="T85" fmla="*/ 57 h 132"/>
                  <a:gd name="T86" fmla="*/ 147 w 123"/>
                  <a:gd name="T87" fmla="*/ 42 h 132"/>
                  <a:gd name="T88" fmla="*/ 140 w 123"/>
                  <a:gd name="T89" fmla="*/ 28 h 132"/>
                  <a:gd name="T90" fmla="*/ 134 w 123"/>
                  <a:gd name="T91" fmla="*/ 14 h 132"/>
                  <a:gd name="T92" fmla="*/ 123 w 123"/>
                  <a:gd name="T93" fmla="*/ 1 h 13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3"/>
                  <a:gd name="T142" fmla="*/ 0 h 132"/>
                  <a:gd name="T143" fmla="*/ 123 w 123"/>
                  <a:gd name="T144" fmla="*/ 132 h 13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3" h="132">
                    <a:moveTo>
                      <a:pt x="102" y="1"/>
                    </a:moveTo>
                    <a:cubicBezTo>
                      <a:pt x="101" y="2"/>
                      <a:pt x="100" y="4"/>
                      <a:pt x="102" y="5"/>
                    </a:cubicBezTo>
                    <a:cubicBezTo>
                      <a:pt x="103" y="6"/>
                      <a:pt x="106" y="3"/>
                      <a:pt x="107" y="4"/>
                    </a:cubicBezTo>
                    <a:cubicBezTo>
                      <a:pt x="109" y="6"/>
                      <a:pt x="108" y="9"/>
                      <a:pt x="108" y="12"/>
                    </a:cubicBezTo>
                    <a:cubicBezTo>
                      <a:pt x="106" y="13"/>
                      <a:pt x="103" y="12"/>
                      <a:pt x="101" y="12"/>
                    </a:cubicBezTo>
                    <a:cubicBezTo>
                      <a:pt x="99" y="11"/>
                      <a:pt x="100" y="7"/>
                      <a:pt x="99" y="6"/>
                    </a:cubicBezTo>
                    <a:cubicBezTo>
                      <a:pt x="98" y="5"/>
                      <a:pt x="96" y="5"/>
                      <a:pt x="95" y="6"/>
                    </a:cubicBezTo>
                    <a:cubicBezTo>
                      <a:pt x="94" y="8"/>
                      <a:pt x="96" y="10"/>
                      <a:pt x="96" y="12"/>
                    </a:cubicBezTo>
                    <a:cubicBezTo>
                      <a:pt x="95" y="13"/>
                      <a:pt x="93" y="13"/>
                      <a:pt x="93" y="14"/>
                    </a:cubicBezTo>
                    <a:cubicBezTo>
                      <a:pt x="92" y="17"/>
                      <a:pt x="94" y="20"/>
                      <a:pt x="94" y="23"/>
                    </a:cubicBezTo>
                    <a:cubicBezTo>
                      <a:pt x="94" y="25"/>
                      <a:pt x="91" y="27"/>
                      <a:pt x="92" y="29"/>
                    </a:cubicBezTo>
                    <a:cubicBezTo>
                      <a:pt x="93" y="30"/>
                      <a:pt x="96" y="24"/>
                      <a:pt x="97" y="26"/>
                    </a:cubicBezTo>
                    <a:cubicBezTo>
                      <a:pt x="99" y="30"/>
                      <a:pt x="99" y="35"/>
                      <a:pt x="99" y="40"/>
                    </a:cubicBezTo>
                    <a:cubicBezTo>
                      <a:pt x="99" y="44"/>
                      <a:pt x="97" y="47"/>
                      <a:pt x="96" y="50"/>
                    </a:cubicBezTo>
                    <a:cubicBezTo>
                      <a:pt x="95" y="54"/>
                      <a:pt x="94" y="57"/>
                      <a:pt x="92" y="60"/>
                    </a:cubicBezTo>
                    <a:cubicBezTo>
                      <a:pt x="92" y="62"/>
                      <a:pt x="89" y="62"/>
                      <a:pt x="88" y="63"/>
                    </a:cubicBezTo>
                    <a:cubicBezTo>
                      <a:pt x="86" y="66"/>
                      <a:pt x="86" y="69"/>
                      <a:pt x="83" y="72"/>
                    </a:cubicBezTo>
                    <a:cubicBezTo>
                      <a:pt x="80" y="75"/>
                      <a:pt x="76" y="78"/>
                      <a:pt x="72" y="78"/>
                    </a:cubicBezTo>
                    <a:cubicBezTo>
                      <a:pt x="69" y="79"/>
                      <a:pt x="67" y="76"/>
                      <a:pt x="67" y="74"/>
                    </a:cubicBezTo>
                    <a:cubicBezTo>
                      <a:pt x="66" y="72"/>
                      <a:pt x="70" y="71"/>
                      <a:pt x="71" y="69"/>
                    </a:cubicBezTo>
                    <a:cubicBezTo>
                      <a:pt x="71" y="68"/>
                      <a:pt x="70" y="67"/>
                      <a:pt x="69" y="67"/>
                    </a:cubicBezTo>
                    <a:cubicBezTo>
                      <a:pt x="67" y="68"/>
                      <a:pt x="65" y="70"/>
                      <a:pt x="65" y="72"/>
                    </a:cubicBezTo>
                    <a:cubicBezTo>
                      <a:pt x="64" y="75"/>
                      <a:pt x="66" y="78"/>
                      <a:pt x="65" y="81"/>
                    </a:cubicBezTo>
                    <a:cubicBezTo>
                      <a:pt x="64" y="84"/>
                      <a:pt x="62" y="86"/>
                      <a:pt x="61" y="89"/>
                    </a:cubicBezTo>
                    <a:cubicBezTo>
                      <a:pt x="60" y="91"/>
                      <a:pt x="61" y="94"/>
                      <a:pt x="60" y="95"/>
                    </a:cubicBezTo>
                    <a:cubicBezTo>
                      <a:pt x="59" y="97"/>
                      <a:pt x="57" y="97"/>
                      <a:pt x="55" y="97"/>
                    </a:cubicBezTo>
                    <a:cubicBezTo>
                      <a:pt x="49" y="98"/>
                      <a:pt x="42" y="97"/>
                      <a:pt x="35" y="98"/>
                    </a:cubicBezTo>
                    <a:cubicBezTo>
                      <a:pt x="32" y="98"/>
                      <a:pt x="29" y="99"/>
                      <a:pt x="25" y="99"/>
                    </a:cubicBezTo>
                    <a:cubicBezTo>
                      <a:pt x="25" y="99"/>
                      <a:pt x="26" y="97"/>
                      <a:pt x="26" y="97"/>
                    </a:cubicBezTo>
                    <a:cubicBezTo>
                      <a:pt x="23" y="97"/>
                      <a:pt x="21" y="98"/>
                      <a:pt x="19" y="100"/>
                    </a:cubicBezTo>
                    <a:cubicBezTo>
                      <a:pt x="18" y="100"/>
                      <a:pt x="20" y="102"/>
                      <a:pt x="19" y="103"/>
                    </a:cubicBezTo>
                    <a:cubicBezTo>
                      <a:pt x="16" y="106"/>
                      <a:pt x="13" y="108"/>
                      <a:pt x="10" y="112"/>
                    </a:cubicBezTo>
                    <a:cubicBezTo>
                      <a:pt x="8" y="113"/>
                      <a:pt x="7" y="116"/>
                      <a:pt x="5" y="117"/>
                    </a:cubicBezTo>
                    <a:cubicBezTo>
                      <a:pt x="4" y="118"/>
                      <a:pt x="1" y="118"/>
                      <a:pt x="1" y="120"/>
                    </a:cubicBezTo>
                    <a:cubicBezTo>
                      <a:pt x="0" y="122"/>
                      <a:pt x="1" y="124"/>
                      <a:pt x="3" y="125"/>
                    </a:cubicBezTo>
                    <a:cubicBezTo>
                      <a:pt x="4" y="123"/>
                      <a:pt x="6" y="123"/>
                      <a:pt x="8" y="123"/>
                    </a:cubicBezTo>
                    <a:cubicBezTo>
                      <a:pt x="9" y="123"/>
                      <a:pt x="11" y="123"/>
                      <a:pt x="12" y="123"/>
                    </a:cubicBezTo>
                    <a:cubicBezTo>
                      <a:pt x="14" y="123"/>
                      <a:pt x="16" y="126"/>
                      <a:pt x="18" y="125"/>
                    </a:cubicBezTo>
                    <a:cubicBezTo>
                      <a:pt x="19" y="124"/>
                      <a:pt x="17" y="121"/>
                      <a:pt x="18" y="120"/>
                    </a:cubicBezTo>
                    <a:cubicBezTo>
                      <a:pt x="18" y="118"/>
                      <a:pt x="20" y="120"/>
                      <a:pt x="22" y="120"/>
                    </a:cubicBezTo>
                    <a:cubicBezTo>
                      <a:pt x="24" y="119"/>
                      <a:pt x="26" y="119"/>
                      <a:pt x="28" y="118"/>
                    </a:cubicBezTo>
                    <a:cubicBezTo>
                      <a:pt x="30" y="117"/>
                      <a:pt x="32" y="115"/>
                      <a:pt x="34" y="115"/>
                    </a:cubicBezTo>
                    <a:cubicBezTo>
                      <a:pt x="35" y="115"/>
                      <a:pt x="36" y="116"/>
                      <a:pt x="37" y="116"/>
                    </a:cubicBezTo>
                    <a:cubicBezTo>
                      <a:pt x="38" y="115"/>
                      <a:pt x="38" y="113"/>
                      <a:pt x="39" y="112"/>
                    </a:cubicBezTo>
                    <a:cubicBezTo>
                      <a:pt x="41" y="111"/>
                      <a:pt x="44" y="111"/>
                      <a:pt x="47" y="111"/>
                    </a:cubicBezTo>
                    <a:cubicBezTo>
                      <a:pt x="50" y="110"/>
                      <a:pt x="53" y="109"/>
                      <a:pt x="55" y="111"/>
                    </a:cubicBezTo>
                    <a:cubicBezTo>
                      <a:pt x="57" y="112"/>
                      <a:pt x="55" y="114"/>
                      <a:pt x="54" y="116"/>
                    </a:cubicBezTo>
                    <a:cubicBezTo>
                      <a:pt x="54" y="117"/>
                      <a:pt x="52" y="118"/>
                      <a:pt x="52" y="119"/>
                    </a:cubicBezTo>
                    <a:cubicBezTo>
                      <a:pt x="54" y="120"/>
                      <a:pt x="53" y="125"/>
                      <a:pt x="55" y="127"/>
                    </a:cubicBezTo>
                    <a:cubicBezTo>
                      <a:pt x="56" y="129"/>
                      <a:pt x="58" y="132"/>
                      <a:pt x="61" y="131"/>
                    </a:cubicBezTo>
                    <a:cubicBezTo>
                      <a:pt x="63" y="131"/>
                      <a:pt x="64" y="128"/>
                      <a:pt x="65" y="126"/>
                    </a:cubicBezTo>
                    <a:cubicBezTo>
                      <a:pt x="66" y="123"/>
                      <a:pt x="65" y="120"/>
                      <a:pt x="67" y="119"/>
                    </a:cubicBezTo>
                    <a:cubicBezTo>
                      <a:pt x="69" y="117"/>
                      <a:pt x="73" y="119"/>
                      <a:pt x="74" y="117"/>
                    </a:cubicBezTo>
                    <a:cubicBezTo>
                      <a:pt x="75" y="116"/>
                      <a:pt x="71" y="115"/>
                      <a:pt x="70" y="113"/>
                    </a:cubicBezTo>
                    <a:cubicBezTo>
                      <a:pt x="69" y="111"/>
                      <a:pt x="69" y="108"/>
                      <a:pt x="69" y="105"/>
                    </a:cubicBezTo>
                    <a:cubicBezTo>
                      <a:pt x="70" y="104"/>
                      <a:pt x="71" y="106"/>
                      <a:pt x="72" y="107"/>
                    </a:cubicBezTo>
                    <a:cubicBezTo>
                      <a:pt x="72" y="108"/>
                      <a:pt x="72" y="110"/>
                      <a:pt x="73" y="111"/>
                    </a:cubicBezTo>
                    <a:cubicBezTo>
                      <a:pt x="74" y="112"/>
                      <a:pt x="75" y="110"/>
                      <a:pt x="75" y="110"/>
                    </a:cubicBezTo>
                    <a:cubicBezTo>
                      <a:pt x="77" y="110"/>
                      <a:pt x="79" y="110"/>
                      <a:pt x="79" y="111"/>
                    </a:cubicBezTo>
                    <a:cubicBezTo>
                      <a:pt x="80" y="112"/>
                      <a:pt x="77" y="112"/>
                      <a:pt x="77" y="113"/>
                    </a:cubicBezTo>
                    <a:cubicBezTo>
                      <a:pt x="78" y="114"/>
                      <a:pt x="80" y="113"/>
                      <a:pt x="82" y="113"/>
                    </a:cubicBezTo>
                    <a:cubicBezTo>
                      <a:pt x="83" y="113"/>
                      <a:pt x="85" y="113"/>
                      <a:pt x="86" y="113"/>
                    </a:cubicBezTo>
                    <a:cubicBezTo>
                      <a:pt x="88" y="113"/>
                      <a:pt x="89" y="114"/>
                      <a:pt x="90" y="113"/>
                    </a:cubicBezTo>
                    <a:cubicBezTo>
                      <a:pt x="92" y="111"/>
                      <a:pt x="91" y="108"/>
                      <a:pt x="92" y="106"/>
                    </a:cubicBezTo>
                    <a:cubicBezTo>
                      <a:pt x="94" y="105"/>
                      <a:pt x="97" y="105"/>
                      <a:pt x="97" y="106"/>
                    </a:cubicBezTo>
                    <a:cubicBezTo>
                      <a:pt x="99" y="108"/>
                      <a:pt x="95" y="110"/>
                      <a:pt x="96" y="112"/>
                    </a:cubicBezTo>
                    <a:cubicBezTo>
                      <a:pt x="96" y="114"/>
                      <a:pt x="99" y="114"/>
                      <a:pt x="100" y="113"/>
                    </a:cubicBezTo>
                    <a:cubicBezTo>
                      <a:pt x="101" y="111"/>
                      <a:pt x="100" y="107"/>
                      <a:pt x="102" y="104"/>
                    </a:cubicBezTo>
                    <a:cubicBezTo>
                      <a:pt x="102" y="103"/>
                      <a:pt x="104" y="105"/>
                      <a:pt x="105" y="104"/>
                    </a:cubicBezTo>
                    <a:cubicBezTo>
                      <a:pt x="105" y="102"/>
                      <a:pt x="103" y="100"/>
                      <a:pt x="103" y="98"/>
                    </a:cubicBezTo>
                    <a:cubicBezTo>
                      <a:pt x="104" y="96"/>
                      <a:pt x="105" y="95"/>
                      <a:pt x="106" y="95"/>
                    </a:cubicBezTo>
                    <a:cubicBezTo>
                      <a:pt x="108" y="95"/>
                      <a:pt x="110" y="96"/>
                      <a:pt x="110" y="98"/>
                    </a:cubicBezTo>
                    <a:cubicBezTo>
                      <a:pt x="111" y="99"/>
                      <a:pt x="108" y="100"/>
                      <a:pt x="108" y="102"/>
                    </a:cubicBezTo>
                    <a:cubicBezTo>
                      <a:pt x="107" y="103"/>
                      <a:pt x="108" y="105"/>
                      <a:pt x="109" y="106"/>
                    </a:cubicBezTo>
                    <a:cubicBezTo>
                      <a:pt x="109" y="107"/>
                      <a:pt x="108" y="109"/>
                      <a:pt x="109" y="109"/>
                    </a:cubicBezTo>
                    <a:cubicBezTo>
                      <a:pt x="111" y="108"/>
                      <a:pt x="114" y="106"/>
                      <a:pt x="116" y="105"/>
                    </a:cubicBezTo>
                    <a:cubicBezTo>
                      <a:pt x="118" y="103"/>
                      <a:pt x="115" y="100"/>
                      <a:pt x="116" y="97"/>
                    </a:cubicBezTo>
                    <a:cubicBezTo>
                      <a:pt x="117" y="96"/>
                      <a:pt x="120" y="96"/>
                      <a:pt x="120" y="95"/>
                    </a:cubicBezTo>
                    <a:cubicBezTo>
                      <a:pt x="120" y="92"/>
                      <a:pt x="117" y="91"/>
                      <a:pt x="116" y="89"/>
                    </a:cubicBezTo>
                    <a:cubicBezTo>
                      <a:pt x="115" y="86"/>
                      <a:pt x="115" y="82"/>
                      <a:pt x="115" y="79"/>
                    </a:cubicBezTo>
                    <a:cubicBezTo>
                      <a:pt x="115" y="78"/>
                      <a:pt x="116" y="77"/>
                      <a:pt x="117" y="76"/>
                    </a:cubicBezTo>
                    <a:cubicBezTo>
                      <a:pt x="117" y="73"/>
                      <a:pt x="117" y="70"/>
                      <a:pt x="117" y="68"/>
                    </a:cubicBezTo>
                    <a:cubicBezTo>
                      <a:pt x="116" y="65"/>
                      <a:pt x="113" y="63"/>
                      <a:pt x="113" y="60"/>
                    </a:cubicBezTo>
                    <a:cubicBezTo>
                      <a:pt x="113" y="57"/>
                      <a:pt x="114" y="53"/>
                      <a:pt x="116" y="51"/>
                    </a:cubicBezTo>
                    <a:cubicBezTo>
                      <a:pt x="117" y="50"/>
                      <a:pt x="120" y="52"/>
                      <a:pt x="121" y="51"/>
                    </a:cubicBezTo>
                    <a:cubicBezTo>
                      <a:pt x="122" y="50"/>
                      <a:pt x="119" y="48"/>
                      <a:pt x="120" y="47"/>
                    </a:cubicBezTo>
                    <a:cubicBezTo>
                      <a:pt x="120" y="45"/>
                      <a:pt x="122" y="44"/>
                      <a:pt x="123" y="42"/>
                    </a:cubicBezTo>
                    <a:cubicBezTo>
                      <a:pt x="123" y="40"/>
                      <a:pt x="122" y="38"/>
                      <a:pt x="122" y="35"/>
                    </a:cubicBezTo>
                    <a:cubicBezTo>
                      <a:pt x="121" y="32"/>
                      <a:pt x="120" y="29"/>
                      <a:pt x="119" y="27"/>
                    </a:cubicBezTo>
                    <a:cubicBezTo>
                      <a:pt x="118" y="25"/>
                      <a:pt x="116" y="24"/>
                      <a:pt x="116" y="23"/>
                    </a:cubicBezTo>
                    <a:cubicBezTo>
                      <a:pt x="115" y="21"/>
                      <a:pt x="114" y="18"/>
                      <a:pt x="113" y="16"/>
                    </a:cubicBezTo>
                    <a:cubicBezTo>
                      <a:pt x="113" y="15"/>
                      <a:pt x="111" y="13"/>
                      <a:pt x="111" y="12"/>
                    </a:cubicBezTo>
                    <a:cubicBezTo>
                      <a:pt x="110" y="8"/>
                      <a:pt x="111" y="3"/>
                      <a:pt x="109" y="1"/>
                    </a:cubicBezTo>
                    <a:cubicBezTo>
                      <a:pt x="107" y="1"/>
                      <a:pt x="104" y="0"/>
                      <a:pt x="10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8" name="Freeform 2889"/>
              <p:cNvSpPr>
                <a:spLocks noChangeAspect="1"/>
              </p:cNvSpPr>
              <p:nvPr/>
            </p:nvSpPr>
            <p:spPr bwMode="auto">
              <a:xfrm>
                <a:off x="7662556" y="3048343"/>
                <a:ext cx="55610" cy="48724"/>
              </a:xfrm>
              <a:custGeom>
                <a:avLst/>
                <a:gdLst>
                  <a:gd name="T0" fmla="*/ 0 w 28"/>
                  <a:gd name="T1" fmla="*/ 16 h 25"/>
                  <a:gd name="T2" fmla="*/ 2 w 28"/>
                  <a:gd name="T3" fmla="*/ 26 h 25"/>
                  <a:gd name="T4" fmla="*/ 10 w 28"/>
                  <a:gd name="T5" fmla="*/ 29 h 25"/>
                  <a:gd name="T6" fmla="*/ 13 w 28"/>
                  <a:gd name="T7" fmla="*/ 29 h 25"/>
                  <a:gd name="T8" fmla="*/ 13 w 28"/>
                  <a:gd name="T9" fmla="*/ 24 h 25"/>
                  <a:gd name="T10" fmla="*/ 17 w 28"/>
                  <a:gd name="T11" fmla="*/ 17 h 25"/>
                  <a:gd name="T12" fmla="*/ 23 w 28"/>
                  <a:gd name="T13" fmla="*/ 18 h 25"/>
                  <a:gd name="T14" fmla="*/ 27 w 28"/>
                  <a:gd name="T15" fmla="*/ 20 h 25"/>
                  <a:gd name="T16" fmla="*/ 29 w 28"/>
                  <a:gd name="T17" fmla="*/ 13 h 25"/>
                  <a:gd name="T18" fmla="*/ 33 w 28"/>
                  <a:gd name="T19" fmla="*/ 8 h 25"/>
                  <a:gd name="T20" fmla="*/ 32 w 28"/>
                  <a:gd name="T21" fmla="*/ 6 h 25"/>
                  <a:gd name="T22" fmla="*/ 30 w 28"/>
                  <a:gd name="T23" fmla="*/ 1 h 25"/>
                  <a:gd name="T24" fmla="*/ 23 w 28"/>
                  <a:gd name="T25" fmla="*/ 1 h 25"/>
                  <a:gd name="T26" fmla="*/ 19 w 28"/>
                  <a:gd name="T27" fmla="*/ 1 h 25"/>
                  <a:gd name="T28" fmla="*/ 16 w 28"/>
                  <a:gd name="T29" fmla="*/ 8 h 25"/>
                  <a:gd name="T30" fmla="*/ 11 w 28"/>
                  <a:gd name="T31" fmla="*/ 8 h 25"/>
                  <a:gd name="T32" fmla="*/ 7 w 28"/>
                  <a:gd name="T33" fmla="*/ 6 h 25"/>
                  <a:gd name="T34" fmla="*/ 4 w 28"/>
                  <a:gd name="T35" fmla="*/ 10 h 25"/>
                  <a:gd name="T36" fmla="*/ 0 w 28"/>
                  <a:gd name="T37" fmla="*/ 16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8"/>
                  <a:gd name="T58" fmla="*/ 0 h 25"/>
                  <a:gd name="T59" fmla="*/ 28 w 28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8" h="25">
                    <a:moveTo>
                      <a:pt x="0" y="13"/>
                    </a:moveTo>
                    <a:cubicBezTo>
                      <a:pt x="0" y="16"/>
                      <a:pt x="0" y="19"/>
                      <a:pt x="2" y="22"/>
                    </a:cubicBezTo>
                    <a:cubicBezTo>
                      <a:pt x="3" y="23"/>
                      <a:pt x="6" y="24"/>
                      <a:pt x="8" y="24"/>
                    </a:cubicBezTo>
                    <a:cubicBezTo>
                      <a:pt x="9" y="25"/>
                      <a:pt x="10" y="25"/>
                      <a:pt x="11" y="24"/>
                    </a:cubicBezTo>
                    <a:cubicBezTo>
                      <a:pt x="12" y="23"/>
                      <a:pt x="11" y="22"/>
                      <a:pt x="11" y="20"/>
                    </a:cubicBezTo>
                    <a:cubicBezTo>
                      <a:pt x="12" y="18"/>
                      <a:pt x="12" y="16"/>
                      <a:pt x="14" y="14"/>
                    </a:cubicBezTo>
                    <a:cubicBezTo>
                      <a:pt x="15" y="13"/>
                      <a:pt x="17" y="15"/>
                      <a:pt x="19" y="15"/>
                    </a:cubicBezTo>
                    <a:cubicBezTo>
                      <a:pt x="20" y="15"/>
                      <a:pt x="21" y="18"/>
                      <a:pt x="22" y="17"/>
                    </a:cubicBezTo>
                    <a:cubicBezTo>
                      <a:pt x="24" y="16"/>
                      <a:pt x="23" y="13"/>
                      <a:pt x="24" y="11"/>
                    </a:cubicBezTo>
                    <a:cubicBezTo>
                      <a:pt x="25" y="9"/>
                      <a:pt x="27" y="9"/>
                      <a:pt x="27" y="7"/>
                    </a:cubicBezTo>
                    <a:cubicBezTo>
                      <a:pt x="28" y="6"/>
                      <a:pt x="27" y="6"/>
                      <a:pt x="26" y="5"/>
                    </a:cubicBezTo>
                    <a:cubicBezTo>
                      <a:pt x="26" y="4"/>
                      <a:pt x="26" y="2"/>
                      <a:pt x="25" y="1"/>
                    </a:cubicBezTo>
                    <a:cubicBezTo>
                      <a:pt x="23" y="0"/>
                      <a:pt x="21" y="1"/>
                      <a:pt x="19" y="1"/>
                    </a:cubicBezTo>
                    <a:cubicBezTo>
                      <a:pt x="18" y="1"/>
                      <a:pt x="16" y="1"/>
                      <a:pt x="16" y="1"/>
                    </a:cubicBezTo>
                    <a:cubicBezTo>
                      <a:pt x="14" y="3"/>
                      <a:pt x="14" y="5"/>
                      <a:pt x="13" y="7"/>
                    </a:cubicBezTo>
                    <a:cubicBezTo>
                      <a:pt x="12" y="7"/>
                      <a:pt x="10" y="7"/>
                      <a:pt x="9" y="7"/>
                    </a:cubicBezTo>
                    <a:cubicBezTo>
                      <a:pt x="8" y="6"/>
                      <a:pt x="8" y="4"/>
                      <a:pt x="6" y="5"/>
                    </a:cubicBezTo>
                    <a:cubicBezTo>
                      <a:pt x="5" y="5"/>
                      <a:pt x="4" y="7"/>
                      <a:pt x="3" y="8"/>
                    </a:cubicBezTo>
                    <a:cubicBezTo>
                      <a:pt x="2" y="10"/>
                      <a:pt x="0" y="11"/>
                      <a:pt x="0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79" name="Freeform 2890"/>
              <p:cNvSpPr>
                <a:spLocks noChangeAspect="1"/>
              </p:cNvSpPr>
              <p:nvPr/>
            </p:nvSpPr>
            <p:spPr bwMode="auto">
              <a:xfrm>
                <a:off x="7714895" y="3038599"/>
                <a:ext cx="4907" cy="9745"/>
              </a:xfrm>
              <a:custGeom>
                <a:avLst/>
                <a:gdLst>
                  <a:gd name="T0" fmla="*/ 0 w 3"/>
                  <a:gd name="T1" fmla="*/ 4 h 5"/>
                  <a:gd name="T2" fmla="*/ 2 w 3"/>
                  <a:gd name="T3" fmla="*/ 1 h 5"/>
                  <a:gd name="T4" fmla="*/ 2 w 3"/>
                  <a:gd name="T5" fmla="*/ 6 h 5"/>
                  <a:gd name="T6" fmla="*/ 0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2" y="0"/>
                      <a:pt x="2" y="1"/>
                    </a:cubicBezTo>
                    <a:cubicBezTo>
                      <a:pt x="3" y="2"/>
                      <a:pt x="2" y="4"/>
                      <a:pt x="2" y="5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0" name="Freeform 2891"/>
              <p:cNvSpPr>
                <a:spLocks noChangeAspect="1"/>
              </p:cNvSpPr>
              <p:nvPr/>
            </p:nvSpPr>
            <p:spPr bwMode="auto">
              <a:xfrm>
                <a:off x="7669098" y="2988250"/>
                <a:ext cx="6542" cy="4873"/>
              </a:xfrm>
              <a:custGeom>
                <a:avLst/>
                <a:gdLst>
                  <a:gd name="T0" fmla="*/ 0 w 3"/>
                  <a:gd name="T1" fmla="*/ 2 h 3"/>
                  <a:gd name="T2" fmla="*/ 3 w 3"/>
                  <a:gd name="T3" fmla="*/ 1 h 3"/>
                  <a:gd name="T4" fmla="*/ 3 w 3"/>
                  <a:gd name="T5" fmla="*/ 3 h 3"/>
                  <a:gd name="T6" fmla="*/ 0 w 3"/>
                  <a:gd name="T7" fmla="*/ 2 h 3"/>
                  <a:gd name="T8" fmla="*/ 0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0" y="2"/>
                    </a:move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3"/>
                    </a:cubicBezTo>
                    <a:cubicBezTo>
                      <a:pt x="1" y="3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1" name="Freeform 2892"/>
              <p:cNvSpPr>
                <a:spLocks noChangeAspect="1"/>
              </p:cNvSpPr>
              <p:nvPr/>
            </p:nvSpPr>
            <p:spPr bwMode="auto">
              <a:xfrm>
                <a:off x="7592225" y="3061337"/>
                <a:ext cx="6542" cy="6497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1 h 3"/>
                  <a:gd name="T4" fmla="*/ 3 w 3"/>
                  <a:gd name="T5" fmla="*/ 4 h 3"/>
                  <a:gd name="T6" fmla="*/ 0 w 3"/>
                  <a:gd name="T7" fmla="*/ 3 h 3"/>
                  <a:gd name="T8" fmla="*/ 1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3" y="2"/>
                      <a:pt x="2" y="3"/>
                    </a:cubicBezTo>
                    <a:cubicBezTo>
                      <a:pt x="2" y="3"/>
                      <a:pt x="1" y="2"/>
                      <a:pt x="0" y="2"/>
                    </a:cubicBezTo>
                    <a:cubicBezTo>
                      <a:pt x="0" y="2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2" name="Freeform 2893"/>
              <p:cNvSpPr>
                <a:spLocks noChangeAspect="1"/>
              </p:cNvSpPr>
              <p:nvPr/>
            </p:nvSpPr>
            <p:spPr bwMode="auto">
              <a:xfrm>
                <a:off x="7629844" y="3166905"/>
                <a:ext cx="6542" cy="9745"/>
              </a:xfrm>
              <a:custGeom>
                <a:avLst/>
                <a:gdLst>
                  <a:gd name="T0" fmla="*/ 0 w 3"/>
                  <a:gd name="T1" fmla="*/ 4 h 5"/>
                  <a:gd name="T2" fmla="*/ 3 w 3"/>
                  <a:gd name="T3" fmla="*/ 1 h 5"/>
                  <a:gd name="T4" fmla="*/ 3 w 3"/>
                  <a:gd name="T5" fmla="*/ 5 h 5"/>
                  <a:gd name="T6" fmla="*/ 0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2" y="0"/>
                      <a:pt x="2" y="1"/>
                    </a:cubicBezTo>
                    <a:cubicBezTo>
                      <a:pt x="3" y="2"/>
                      <a:pt x="2" y="3"/>
                      <a:pt x="2" y="4"/>
                    </a:cubicBezTo>
                    <a:cubicBezTo>
                      <a:pt x="1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3" name="Freeform 2894"/>
              <p:cNvSpPr>
                <a:spLocks noChangeAspect="1"/>
              </p:cNvSpPr>
              <p:nvPr/>
            </p:nvSpPr>
            <p:spPr bwMode="auto">
              <a:xfrm>
                <a:off x="7574234" y="3093819"/>
                <a:ext cx="8178" cy="9745"/>
              </a:xfrm>
              <a:custGeom>
                <a:avLst/>
                <a:gdLst>
                  <a:gd name="T0" fmla="*/ 0 w 4"/>
                  <a:gd name="T1" fmla="*/ 2 h 5"/>
                  <a:gd name="T2" fmla="*/ 4 w 4"/>
                  <a:gd name="T3" fmla="*/ 1 h 5"/>
                  <a:gd name="T4" fmla="*/ 3 w 4"/>
                  <a:gd name="T5" fmla="*/ 5 h 5"/>
                  <a:gd name="T6" fmla="*/ 0 w 4"/>
                  <a:gd name="T7" fmla="*/ 5 h 5"/>
                  <a:gd name="T8" fmla="*/ 0 w 4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0" y="2"/>
                    </a:moveTo>
                    <a:cubicBezTo>
                      <a:pt x="1" y="2"/>
                      <a:pt x="2" y="0"/>
                      <a:pt x="3" y="1"/>
                    </a:cubicBezTo>
                    <a:cubicBezTo>
                      <a:pt x="4" y="2"/>
                      <a:pt x="3" y="3"/>
                      <a:pt x="2" y="4"/>
                    </a:cubicBezTo>
                    <a:cubicBezTo>
                      <a:pt x="2" y="5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4" name="Freeform 2895"/>
              <p:cNvSpPr>
                <a:spLocks noChangeAspect="1"/>
              </p:cNvSpPr>
              <p:nvPr/>
            </p:nvSpPr>
            <p:spPr bwMode="auto">
              <a:xfrm>
                <a:off x="7582412" y="3085698"/>
                <a:ext cx="6542" cy="9745"/>
              </a:xfrm>
              <a:custGeom>
                <a:avLst/>
                <a:gdLst>
                  <a:gd name="T0" fmla="*/ 0 w 3"/>
                  <a:gd name="T1" fmla="*/ 4 h 5"/>
                  <a:gd name="T2" fmla="*/ 3 w 3"/>
                  <a:gd name="T3" fmla="*/ 1 h 5"/>
                  <a:gd name="T4" fmla="*/ 3 w 3"/>
                  <a:gd name="T5" fmla="*/ 6 h 5"/>
                  <a:gd name="T6" fmla="*/ 1 w 3"/>
                  <a:gd name="T7" fmla="*/ 5 h 5"/>
                  <a:gd name="T8" fmla="*/ 0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0" y="3"/>
                    </a:moveTo>
                    <a:cubicBezTo>
                      <a:pt x="1" y="2"/>
                      <a:pt x="1" y="0"/>
                      <a:pt x="2" y="1"/>
                    </a:cubicBezTo>
                    <a:cubicBezTo>
                      <a:pt x="3" y="2"/>
                      <a:pt x="2" y="4"/>
                      <a:pt x="2" y="5"/>
                    </a:cubicBezTo>
                    <a:cubicBezTo>
                      <a:pt x="2" y="5"/>
                      <a:pt x="1" y="5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5" name="Freeform 2896"/>
              <p:cNvSpPr>
                <a:spLocks noChangeAspect="1"/>
              </p:cNvSpPr>
              <p:nvPr/>
            </p:nvSpPr>
            <p:spPr bwMode="auto">
              <a:xfrm>
                <a:off x="7597133" y="3064585"/>
                <a:ext cx="60517" cy="84455"/>
              </a:xfrm>
              <a:custGeom>
                <a:avLst/>
                <a:gdLst>
                  <a:gd name="T0" fmla="*/ 32 w 31"/>
                  <a:gd name="T1" fmla="*/ 45 h 44"/>
                  <a:gd name="T2" fmla="*/ 33 w 31"/>
                  <a:gd name="T3" fmla="*/ 38 h 44"/>
                  <a:gd name="T4" fmla="*/ 31 w 31"/>
                  <a:gd name="T5" fmla="*/ 33 h 44"/>
                  <a:gd name="T6" fmla="*/ 33 w 31"/>
                  <a:gd name="T7" fmla="*/ 26 h 44"/>
                  <a:gd name="T8" fmla="*/ 37 w 31"/>
                  <a:gd name="T9" fmla="*/ 20 h 44"/>
                  <a:gd name="T10" fmla="*/ 37 w 31"/>
                  <a:gd name="T11" fmla="*/ 14 h 44"/>
                  <a:gd name="T12" fmla="*/ 33 w 31"/>
                  <a:gd name="T13" fmla="*/ 12 h 44"/>
                  <a:gd name="T14" fmla="*/ 30 w 31"/>
                  <a:gd name="T15" fmla="*/ 12 h 44"/>
                  <a:gd name="T16" fmla="*/ 31 w 31"/>
                  <a:gd name="T17" fmla="*/ 9 h 44"/>
                  <a:gd name="T18" fmla="*/ 32 w 31"/>
                  <a:gd name="T19" fmla="*/ 6 h 44"/>
                  <a:gd name="T20" fmla="*/ 29 w 31"/>
                  <a:gd name="T21" fmla="*/ 5 h 44"/>
                  <a:gd name="T22" fmla="*/ 26 w 31"/>
                  <a:gd name="T23" fmla="*/ 7 h 44"/>
                  <a:gd name="T24" fmla="*/ 21 w 31"/>
                  <a:gd name="T25" fmla="*/ 5 h 44"/>
                  <a:gd name="T26" fmla="*/ 20 w 31"/>
                  <a:gd name="T27" fmla="*/ 1 h 44"/>
                  <a:gd name="T28" fmla="*/ 16 w 31"/>
                  <a:gd name="T29" fmla="*/ 1 h 44"/>
                  <a:gd name="T30" fmla="*/ 13 w 31"/>
                  <a:gd name="T31" fmla="*/ 1 h 44"/>
                  <a:gd name="T32" fmla="*/ 11 w 31"/>
                  <a:gd name="T33" fmla="*/ 6 h 44"/>
                  <a:gd name="T34" fmla="*/ 7 w 31"/>
                  <a:gd name="T35" fmla="*/ 7 h 44"/>
                  <a:gd name="T36" fmla="*/ 5 w 31"/>
                  <a:gd name="T37" fmla="*/ 5 h 44"/>
                  <a:gd name="T38" fmla="*/ 0 w 31"/>
                  <a:gd name="T39" fmla="*/ 8 h 44"/>
                  <a:gd name="T40" fmla="*/ 1 w 31"/>
                  <a:gd name="T41" fmla="*/ 12 h 44"/>
                  <a:gd name="T42" fmla="*/ 7 w 31"/>
                  <a:gd name="T43" fmla="*/ 15 h 44"/>
                  <a:gd name="T44" fmla="*/ 7 w 31"/>
                  <a:gd name="T45" fmla="*/ 18 h 44"/>
                  <a:gd name="T46" fmla="*/ 2 w 31"/>
                  <a:gd name="T47" fmla="*/ 15 h 44"/>
                  <a:gd name="T48" fmla="*/ 4 w 31"/>
                  <a:gd name="T49" fmla="*/ 20 h 44"/>
                  <a:gd name="T50" fmla="*/ 6 w 31"/>
                  <a:gd name="T51" fmla="*/ 22 h 44"/>
                  <a:gd name="T52" fmla="*/ 8 w 31"/>
                  <a:gd name="T53" fmla="*/ 21 h 44"/>
                  <a:gd name="T54" fmla="*/ 12 w 31"/>
                  <a:gd name="T55" fmla="*/ 22 h 44"/>
                  <a:gd name="T56" fmla="*/ 10 w 31"/>
                  <a:gd name="T57" fmla="*/ 28 h 44"/>
                  <a:gd name="T58" fmla="*/ 13 w 31"/>
                  <a:gd name="T59" fmla="*/ 26 h 44"/>
                  <a:gd name="T60" fmla="*/ 13 w 31"/>
                  <a:gd name="T61" fmla="*/ 21 h 44"/>
                  <a:gd name="T62" fmla="*/ 11 w 31"/>
                  <a:gd name="T63" fmla="*/ 20 h 44"/>
                  <a:gd name="T64" fmla="*/ 11 w 31"/>
                  <a:gd name="T65" fmla="*/ 18 h 44"/>
                  <a:gd name="T66" fmla="*/ 10 w 31"/>
                  <a:gd name="T67" fmla="*/ 13 h 44"/>
                  <a:gd name="T68" fmla="*/ 14 w 31"/>
                  <a:gd name="T69" fmla="*/ 15 h 44"/>
                  <a:gd name="T70" fmla="*/ 17 w 31"/>
                  <a:gd name="T71" fmla="*/ 22 h 44"/>
                  <a:gd name="T72" fmla="*/ 18 w 31"/>
                  <a:gd name="T73" fmla="*/ 25 h 44"/>
                  <a:gd name="T74" fmla="*/ 14 w 31"/>
                  <a:gd name="T75" fmla="*/ 32 h 44"/>
                  <a:gd name="T76" fmla="*/ 13 w 31"/>
                  <a:gd name="T77" fmla="*/ 39 h 44"/>
                  <a:gd name="T78" fmla="*/ 17 w 31"/>
                  <a:gd name="T79" fmla="*/ 44 h 44"/>
                  <a:gd name="T80" fmla="*/ 16 w 31"/>
                  <a:gd name="T81" fmla="*/ 47 h 44"/>
                  <a:gd name="T82" fmla="*/ 21 w 31"/>
                  <a:gd name="T83" fmla="*/ 48 h 44"/>
                  <a:gd name="T84" fmla="*/ 19 w 31"/>
                  <a:gd name="T85" fmla="*/ 41 h 44"/>
                  <a:gd name="T86" fmla="*/ 24 w 31"/>
                  <a:gd name="T87" fmla="*/ 43 h 44"/>
                  <a:gd name="T88" fmla="*/ 23 w 31"/>
                  <a:gd name="T89" fmla="*/ 48 h 44"/>
                  <a:gd name="T90" fmla="*/ 23 w 31"/>
                  <a:gd name="T91" fmla="*/ 52 h 44"/>
                  <a:gd name="T92" fmla="*/ 29 w 31"/>
                  <a:gd name="T93" fmla="*/ 50 h 44"/>
                  <a:gd name="T94" fmla="*/ 29 w 31"/>
                  <a:gd name="T95" fmla="*/ 45 h 44"/>
                  <a:gd name="T96" fmla="*/ 32 w 31"/>
                  <a:gd name="T97" fmla="*/ 45 h 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1"/>
                  <a:gd name="T148" fmla="*/ 0 h 44"/>
                  <a:gd name="T149" fmla="*/ 31 w 31"/>
                  <a:gd name="T150" fmla="*/ 44 h 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1" h="44">
                    <a:moveTo>
                      <a:pt x="27" y="38"/>
                    </a:moveTo>
                    <a:cubicBezTo>
                      <a:pt x="28" y="36"/>
                      <a:pt x="28" y="34"/>
                      <a:pt x="28" y="32"/>
                    </a:cubicBezTo>
                    <a:cubicBezTo>
                      <a:pt x="27" y="31"/>
                      <a:pt x="26" y="29"/>
                      <a:pt x="26" y="28"/>
                    </a:cubicBezTo>
                    <a:cubicBezTo>
                      <a:pt x="27" y="26"/>
                      <a:pt x="27" y="24"/>
                      <a:pt x="28" y="22"/>
                    </a:cubicBezTo>
                    <a:cubicBezTo>
                      <a:pt x="29" y="20"/>
                      <a:pt x="30" y="18"/>
                      <a:pt x="31" y="17"/>
                    </a:cubicBezTo>
                    <a:cubicBezTo>
                      <a:pt x="31" y="15"/>
                      <a:pt x="31" y="13"/>
                      <a:pt x="31" y="12"/>
                    </a:cubicBezTo>
                    <a:cubicBezTo>
                      <a:pt x="30" y="11"/>
                      <a:pt x="29" y="10"/>
                      <a:pt x="28" y="10"/>
                    </a:cubicBezTo>
                    <a:cubicBezTo>
                      <a:pt x="27" y="10"/>
                      <a:pt x="25" y="11"/>
                      <a:pt x="25" y="10"/>
                    </a:cubicBezTo>
                    <a:cubicBezTo>
                      <a:pt x="24" y="9"/>
                      <a:pt x="26" y="9"/>
                      <a:pt x="26" y="8"/>
                    </a:cubicBezTo>
                    <a:cubicBezTo>
                      <a:pt x="27" y="7"/>
                      <a:pt x="27" y="5"/>
                      <a:pt x="27" y="5"/>
                    </a:cubicBezTo>
                    <a:cubicBezTo>
                      <a:pt x="26" y="4"/>
                      <a:pt x="25" y="3"/>
                      <a:pt x="24" y="4"/>
                    </a:cubicBezTo>
                    <a:cubicBezTo>
                      <a:pt x="23" y="4"/>
                      <a:pt x="23" y="6"/>
                      <a:pt x="22" y="6"/>
                    </a:cubicBezTo>
                    <a:cubicBezTo>
                      <a:pt x="21" y="6"/>
                      <a:pt x="19" y="5"/>
                      <a:pt x="18" y="4"/>
                    </a:cubicBezTo>
                    <a:cubicBezTo>
                      <a:pt x="17" y="3"/>
                      <a:pt x="17" y="1"/>
                      <a:pt x="17" y="1"/>
                    </a:cubicBezTo>
                    <a:cubicBezTo>
                      <a:pt x="15" y="0"/>
                      <a:pt x="14" y="1"/>
                      <a:pt x="13" y="1"/>
                    </a:cubicBezTo>
                    <a:cubicBezTo>
                      <a:pt x="12" y="1"/>
                      <a:pt x="11" y="0"/>
                      <a:pt x="11" y="1"/>
                    </a:cubicBezTo>
                    <a:cubicBezTo>
                      <a:pt x="10" y="2"/>
                      <a:pt x="10" y="4"/>
                      <a:pt x="9" y="5"/>
                    </a:cubicBezTo>
                    <a:cubicBezTo>
                      <a:pt x="9" y="6"/>
                      <a:pt x="7" y="6"/>
                      <a:pt x="6" y="6"/>
                    </a:cubicBezTo>
                    <a:cubicBezTo>
                      <a:pt x="5" y="5"/>
                      <a:pt x="4" y="4"/>
                      <a:pt x="4" y="4"/>
                    </a:cubicBezTo>
                    <a:cubicBezTo>
                      <a:pt x="2" y="5"/>
                      <a:pt x="1" y="6"/>
                      <a:pt x="0" y="7"/>
                    </a:cubicBezTo>
                    <a:cubicBezTo>
                      <a:pt x="0" y="8"/>
                      <a:pt x="0" y="9"/>
                      <a:pt x="1" y="10"/>
                    </a:cubicBezTo>
                    <a:cubicBezTo>
                      <a:pt x="2" y="11"/>
                      <a:pt x="5" y="11"/>
                      <a:pt x="6" y="13"/>
                    </a:cubicBezTo>
                    <a:cubicBezTo>
                      <a:pt x="7" y="13"/>
                      <a:pt x="7" y="15"/>
                      <a:pt x="6" y="15"/>
                    </a:cubicBezTo>
                    <a:cubicBezTo>
                      <a:pt x="4" y="15"/>
                      <a:pt x="3" y="12"/>
                      <a:pt x="2" y="13"/>
                    </a:cubicBezTo>
                    <a:cubicBezTo>
                      <a:pt x="1" y="13"/>
                      <a:pt x="2" y="16"/>
                      <a:pt x="3" y="17"/>
                    </a:cubicBezTo>
                    <a:cubicBezTo>
                      <a:pt x="3" y="18"/>
                      <a:pt x="4" y="19"/>
                      <a:pt x="5" y="19"/>
                    </a:cubicBezTo>
                    <a:cubicBezTo>
                      <a:pt x="6" y="19"/>
                      <a:pt x="7" y="18"/>
                      <a:pt x="7" y="18"/>
                    </a:cubicBezTo>
                    <a:cubicBezTo>
                      <a:pt x="8" y="18"/>
                      <a:pt x="9" y="18"/>
                      <a:pt x="10" y="19"/>
                    </a:cubicBezTo>
                    <a:cubicBezTo>
                      <a:pt x="10" y="20"/>
                      <a:pt x="7" y="22"/>
                      <a:pt x="8" y="24"/>
                    </a:cubicBezTo>
                    <a:cubicBezTo>
                      <a:pt x="8" y="25"/>
                      <a:pt x="10" y="23"/>
                      <a:pt x="11" y="22"/>
                    </a:cubicBezTo>
                    <a:cubicBezTo>
                      <a:pt x="12" y="21"/>
                      <a:pt x="12" y="20"/>
                      <a:pt x="11" y="18"/>
                    </a:cubicBezTo>
                    <a:cubicBezTo>
                      <a:pt x="11" y="18"/>
                      <a:pt x="9" y="18"/>
                      <a:pt x="9" y="17"/>
                    </a:cubicBezTo>
                    <a:cubicBezTo>
                      <a:pt x="9" y="16"/>
                      <a:pt x="9" y="16"/>
                      <a:pt x="9" y="15"/>
                    </a:cubicBezTo>
                    <a:cubicBezTo>
                      <a:pt x="9" y="13"/>
                      <a:pt x="7" y="12"/>
                      <a:pt x="8" y="11"/>
                    </a:cubicBezTo>
                    <a:cubicBezTo>
                      <a:pt x="9" y="10"/>
                      <a:pt x="11" y="12"/>
                      <a:pt x="12" y="13"/>
                    </a:cubicBezTo>
                    <a:cubicBezTo>
                      <a:pt x="14" y="15"/>
                      <a:pt x="14" y="17"/>
                      <a:pt x="14" y="19"/>
                    </a:cubicBezTo>
                    <a:cubicBezTo>
                      <a:pt x="15" y="19"/>
                      <a:pt x="15" y="20"/>
                      <a:pt x="15" y="21"/>
                    </a:cubicBezTo>
                    <a:cubicBezTo>
                      <a:pt x="14" y="23"/>
                      <a:pt x="13" y="25"/>
                      <a:pt x="12" y="27"/>
                    </a:cubicBezTo>
                    <a:cubicBezTo>
                      <a:pt x="12" y="29"/>
                      <a:pt x="11" y="31"/>
                      <a:pt x="11" y="33"/>
                    </a:cubicBezTo>
                    <a:cubicBezTo>
                      <a:pt x="12" y="34"/>
                      <a:pt x="14" y="35"/>
                      <a:pt x="14" y="37"/>
                    </a:cubicBezTo>
                    <a:cubicBezTo>
                      <a:pt x="14" y="38"/>
                      <a:pt x="12" y="39"/>
                      <a:pt x="13" y="40"/>
                    </a:cubicBezTo>
                    <a:cubicBezTo>
                      <a:pt x="14" y="42"/>
                      <a:pt x="17" y="43"/>
                      <a:pt x="18" y="41"/>
                    </a:cubicBezTo>
                    <a:cubicBezTo>
                      <a:pt x="19" y="40"/>
                      <a:pt x="16" y="37"/>
                      <a:pt x="16" y="35"/>
                    </a:cubicBezTo>
                    <a:cubicBezTo>
                      <a:pt x="17" y="34"/>
                      <a:pt x="19" y="35"/>
                      <a:pt x="20" y="36"/>
                    </a:cubicBezTo>
                    <a:cubicBezTo>
                      <a:pt x="20" y="37"/>
                      <a:pt x="19" y="39"/>
                      <a:pt x="19" y="41"/>
                    </a:cubicBezTo>
                    <a:cubicBezTo>
                      <a:pt x="19" y="42"/>
                      <a:pt x="18" y="44"/>
                      <a:pt x="19" y="44"/>
                    </a:cubicBezTo>
                    <a:cubicBezTo>
                      <a:pt x="21" y="44"/>
                      <a:pt x="23" y="43"/>
                      <a:pt x="24" y="42"/>
                    </a:cubicBezTo>
                    <a:cubicBezTo>
                      <a:pt x="25" y="41"/>
                      <a:pt x="23" y="39"/>
                      <a:pt x="24" y="38"/>
                    </a:cubicBezTo>
                    <a:cubicBezTo>
                      <a:pt x="24" y="37"/>
                      <a:pt x="26" y="39"/>
                      <a:pt x="27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6" name="Freeform 2897"/>
              <p:cNvSpPr>
                <a:spLocks noChangeAspect="1"/>
              </p:cNvSpPr>
              <p:nvPr/>
            </p:nvSpPr>
            <p:spPr bwMode="auto">
              <a:xfrm>
                <a:off x="7639658" y="3155536"/>
                <a:ext cx="8178" cy="16241"/>
              </a:xfrm>
              <a:custGeom>
                <a:avLst/>
                <a:gdLst>
                  <a:gd name="T0" fmla="*/ 4 w 4"/>
                  <a:gd name="T1" fmla="*/ 0 h 8"/>
                  <a:gd name="T2" fmla="*/ 3 w 4"/>
                  <a:gd name="T3" fmla="*/ 10 h 8"/>
                  <a:gd name="T4" fmla="*/ 0 w 4"/>
                  <a:gd name="T5" fmla="*/ 9 h 8"/>
                  <a:gd name="T6" fmla="*/ 1 w 4"/>
                  <a:gd name="T7" fmla="*/ 1 h 8"/>
                  <a:gd name="T8" fmla="*/ 4 w 4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8"/>
                  <a:gd name="T17" fmla="*/ 4 w 4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8">
                    <a:moveTo>
                      <a:pt x="3" y="0"/>
                    </a:moveTo>
                    <a:cubicBezTo>
                      <a:pt x="4" y="3"/>
                      <a:pt x="3" y="5"/>
                      <a:pt x="2" y="8"/>
                    </a:cubicBezTo>
                    <a:cubicBezTo>
                      <a:pt x="2" y="8"/>
                      <a:pt x="1" y="8"/>
                      <a:pt x="0" y="7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1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7" name="Freeform 2898"/>
              <p:cNvSpPr>
                <a:spLocks noChangeAspect="1"/>
              </p:cNvSpPr>
              <p:nvPr/>
            </p:nvSpPr>
            <p:spPr bwMode="auto">
              <a:xfrm>
                <a:off x="7580777" y="3035350"/>
                <a:ext cx="6542" cy="11369"/>
              </a:xfrm>
              <a:custGeom>
                <a:avLst/>
                <a:gdLst>
                  <a:gd name="T0" fmla="*/ 4 w 3"/>
                  <a:gd name="T1" fmla="*/ 0 h 6"/>
                  <a:gd name="T2" fmla="*/ 3 w 3"/>
                  <a:gd name="T3" fmla="*/ 7 h 6"/>
                  <a:gd name="T4" fmla="*/ 0 w 3"/>
                  <a:gd name="T5" fmla="*/ 7 h 6"/>
                  <a:gd name="T6" fmla="*/ 1 w 3"/>
                  <a:gd name="T7" fmla="*/ 1 h 6"/>
                  <a:gd name="T8" fmla="*/ 4 w 3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3" y="0"/>
                    </a:moveTo>
                    <a:cubicBezTo>
                      <a:pt x="3" y="2"/>
                      <a:pt x="3" y="4"/>
                      <a:pt x="2" y="6"/>
                    </a:cubicBezTo>
                    <a:cubicBezTo>
                      <a:pt x="2" y="6"/>
                      <a:pt x="0" y="6"/>
                      <a:pt x="0" y="6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8" name="Freeform 2899"/>
              <p:cNvSpPr>
                <a:spLocks noChangeAspect="1"/>
              </p:cNvSpPr>
              <p:nvPr/>
            </p:nvSpPr>
            <p:spPr bwMode="auto">
              <a:xfrm>
                <a:off x="7780318" y="2924910"/>
                <a:ext cx="9814" cy="16241"/>
              </a:xfrm>
              <a:custGeom>
                <a:avLst/>
                <a:gdLst>
                  <a:gd name="T0" fmla="*/ 2 w 5"/>
                  <a:gd name="T1" fmla="*/ 1 h 8"/>
                  <a:gd name="T2" fmla="*/ 0 w 5"/>
                  <a:gd name="T3" fmla="*/ 6 h 8"/>
                  <a:gd name="T4" fmla="*/ 2 w 5"/>
                  <a:gd name="T5" fmla="*/ 6 h 8"/>
                  <a:gd name="T6" fmla="*/ 2 w 5"/>
                  <a:gd name="T7" fmla="*/ 10 h 8"/>
                  <a:gd name="T8" fmla="*/ 6 w 5"/>
                  <a:gd name="T9" fmla="*/ 5 h 8"/>
                  <a:gd name="T10" fmla="*/ 4 w 5"/>
                  <a:gd name="T11" fmla="*/ 5 h 8"/>
                  <a:gd name="T12" fmla="*/ 2 w 5"/>
                  <a:gd name="T13" fmla="*/ 1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8"/>
                  <a:gd name="T23" fmla="*/ 5 w 5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8">
                    <a:moveTo>
                      <a:pt x="2" y="1"/>
                    </a:moveTo>
                    <a:cubicBezTo>
                      <a:pt x="0" y="1"/>
                      <a:pt x="0" y="4"/>
                      <a:pt x="0" y="5"/>
                    </a:cubicBezTo>
                    <a:cubicBezTo>
                      <a:pt x="0" y="6"/>
                      <a:pt x="1" y="5"/>
                      <a:pt x="2" y="5"/>
                    </a:cubicBezTo>
                    <a:cubicBezTo>
                      <a:pt x="2" y="6"/>
                      <a:pt x="1" y="8"/>
                      <a:pt x="2" y="8"/>
                    </a:cubicBezTo>
                    <a:cubicBezTo>
                      <a:pt x="3" y="8"/>
                      <a:pt x="4" y="6"/>
                      <a:pt x="5" y="4"/>
                    </a:cubicBezTo>
                    <a:cubicBezTo>
                      <a:pt x="5" y="4"/>
                      <a:pt x="4" y="4"/>
                      <a:pt x="3" y="4"/>
                    </a:cubicBezTo>
                    <a:cubicBezTo>
                      <a:pt x="3" y="3"/>
                      <a:pt x="3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89" name="Freeform 2900"/>
              <p:cNvSpPr>
                <a:spLocks noChangeAspect="1"/>
              </p:cNvSpPr>
              <p:nvPr/>
            </p:nvSpPr>
            <p:spPr bwMode="auto">
              <a:xfrm>
                <a:off x="6430958" y="3762961"/>
                <a:ext cx="60517" cy="107193"/>
              </a:xfrm>
              <a:custGeom>
                <a:avLst/>
                <a:gdLst>
                  <a:gd name="T0" fmla="*/ 12 w 31"/>
                  <a:gd name="T1" fmla="*/ 1 h 55"/>
                  <a:gd name="T2" fmla="*/ 26 w 31"/>
                  <a:gd name="T3" fmla="*/ 24 h 55"/>
                  <a:gd name="T4" fmla="*/ 36 w 31"/>
                  <a:gd name="T5" fmla="*/ 44 h 55"/>
                  <a:gd name="T6" fmla="*/ 32 w 31"/>
                  <a:gd name="T7" fmla="*/ 59 h 55"/>
                  <a:gd name="T8" fmla="*/ 23 w 31"/>
                  <a:gd name="T9" fmla="*/ 64 h 55"/>
                  <a:gd name="T10" fmla="*/ 17 w 31"/>
                  <a:gd name="T11" fmla="*/ 66 h 55"/>
                  <a:gd name="T12" fmla="*/ 7 w 31"/>
                  <a:gd name="T13" fmla="*/ 56 h 55"/>
                  <a:gd name="T14" fmla="*/ 6 w 31"/>
                  <a:gd name="T15" fmla="*/ 47 h 55"/>
                  <a:gd name="T16" fmla="*/ 4 w 31"/>
                  <a:gd name="T17" fmla="*/ 37 h 55"/>
                  <a:gd name="T18" fmla="*/ 2 w 31"/>
                  <a:gd name="T19" fmla="*/ 31 h 55"/>
                  <a:gd name="T20" fmla="*/ 1 w 31"/>
                  <a:gd name="T21" fmla="*/ 24 h 55"/>
                  <a:gd name="T22" fmla="*/ 5 w 31"/>
                  <a:gd name="T23" fmla="*/ 31 h 55"/>
                  <a:gd name="T24" fmla="*/ 6 w 31"/>
                  <a:gd name="T25" fmla="*/ 19 h 55"/>
                  <a:gd name="T26" fmla="*/ 7 w 31"/>
                  <a:gd name="T27" fmla="*/ 10 h 55"/>
                  <a:gd name="T28" fmla="*/ 8 w 31"/>
                  <a:gd name="T29" fmla="*/ 6 h 55"/>
                  <a:gd name="T30" fmla="*/ 13 w 31"/>
                  <a:gd name="T31" fmla="*/ 8 h 55"/>
                  <a:gd name="T32" fmla="*/ 11 w 31"/>
                  <a:gd name="T33" fmla="*/ 4 h 55"/>
                  <a:gd name="T34" fmla="*/ 5 w 31"/>
                  <a:gd name="T35" fmla="*/ 1 h 55"/>
                  <a:gd name="T36" fmla="*/ 12 w 31"/>
                  <a:gd name="T37" fmla="*/ 1 h 5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1"/>
                  <a:gd name="T58" fmla="*/ 0 h 55"/>
                  <a:gd name="T59" fmla="*/ 31 w 31"/>
                  <a:gd name="T60" fmla="*/ 55 h 5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1" h="55">
                    <a:moveTo>
                      <a:pt x="10" y="1"/>
                    </a:moveTo>
                    <a:cubicBezTo>
                      <a:pt x="15" y="7"/>
                      <a:pt x="18" y="13"/>
                      <a:pt x="22" y="20"/>
                    </a:cubicBezTo>
                    <a:cubicBezTo>
                      <a:pt x="25" y="25"/>
                      <a:pt x="29" y="31"/>
                      <a:pt x="30" y="37"/>
                    </a:cubicBezTo>
                    <a:cubicBezTo>
                      <a:pt x="31" y="41"/>
                      <a:pt x="29" y="46"/>
                      <a:pt x="27" y="49"/>
                    </a:cubicBezTo>
                    <a:cubicBezTo>
                      <a:pt x="25" y="51"/>
                      <a:pt x="22" y="52"/>
                      <a:pt x="19" y="53"/>
                    </a:cubicBezTo>
                    <a:cubicBezTo>
                      <a:pt x="17" y="54"/>
                      <a:pt x="15" y="55"/>
                      <a:pt x="14" y="55"/>
                    </a:cubicBezTo>
                    <a:cubicBezTo>
                      <a:pt x="10" y="54"/>
                      <a:pt x="8" y="50"/>
                      <a:pt x="6" y="47"/>
                    </a:cubicBezTo>
                    <a:cubicBezTo>
                      <a:pt x="5" y="45"/>
                      <a:pt x="6" y="41"/>
                      <a:pt x="5" y="39"/>
                    </a:cubicBezTo>
                    <a:cubicBezTo>
                      <a:pt x="5" y="36"/>
                      <a:pt x="4" y="34"/>
                      <a:pt x="3" y="31"/>
                    </a:cubicBezTo>
                    <a:cubicBezTo>
                      <a:pt x="3" y="30"/>
                      <a:pt x="2" y="28"/>
                      <a:pt x="2" y="26"/>
                    </a:cubicBezTo>
                    <a:cubicBezTo>
                      <a:pt x="2" y="24"/>
                      <a:pt x="0" y="22"/>
                      <a:pt x="1" y="20"/>
                    </a:cubicBezTo>
                    <a:cubicBezTo>
                      <a:pt x="3" y="22"/>
                      <a:pt x="2" y="27"/>
                      <a:pt x="4" y="26"/>
                    </a:cubicBezTo>
                    <a:cubicBezTo>
                      <a:pt x="4" y="22"/>
                      <a:pt x="4" y="19"/>
                      <a:pt x="5" y="16"/>
                    </a:cubicBezTo>
                    <a:cubicBezTo>
                      <a:pt x="5" y="14"/>
                      <a:pt x="6" y="11"/>
                      <a:pt x="6" y="8"/>
                    </a:cubicBezTo>
                    <a:cubicBezTo>
                      <a:pt x="7" y="7"/>
                      <a:pt x="7" y="6"/>
                      <a:pt x="7" y="5"/>
                    </a:cubicBezTo>
                    <a:cubicBezTo>
                      <a:pt x="9" y="5"/>
                      <a:pt x="11" y="8"/>
                      <a:pt x="11" y="7"/>
                    </a:cubicBezTo>
                    <a:cubicBezTo>
                      <a:pt x="12" y="5"/>
                      <a:pt x="10" y="4"/>
                      <a:pt x="9" y="3"/>
                    </a:cubicBezTo>
                    <a:cubicBezTo>
                      <a:pt x="7" y="2"/>
                      <a:pt x="6" y="2"/>
                      <a:pt x="4" y="1"/>
                    </a:cubicBezTo>
                    <a:cubicBezTo>
                      <a:pt x="7" y="0"/>
                      <a:pt x="9" y="0"/>
                      <a:pt x="1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0" name="Freeform 2901"/>
              <p:cNvSpPr>
                <a:spLocks noChangeAspect="1"/>
              </p:cNvSpPr>
              <p:nvPr/>
            </p:nvSpPr>
            <p:spPr bwMode="auto">
              <a:xfrm>
                <a:off x="6779338" y="3837671"/>
                <a:ext cx="9814" cy="16241"/>
              </a:xfrm>
              <a:custGeom>
                <a:avLst/>
                <a:gdLst>
                  <a:gd name="T0" fmla="*/ 0 w 5"/>
                  <a:gd name="T1" fmla="*/ 1 h 8"/>
                  <a:gd name="T2" fmla="*/ 4 w 5"/>
                  <a:gd name="T3" fmla="*/ 1 h 8"/>
                  <a:gd name="T4" fmla="*/ 5 w 5"/>
                  <a:gd name="T5" fmla="*/ 9 h 8"/>
                  <a:gd name="T6" fmla="*/ 0 w 5"/>
                  <a:gd name="T7" fmla="*/ 6 h 8"/>
                  <a:gd name="T8" fmla="*/ 0 w 5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8"/>
                  <a:gd name="T17" fmla="*/ 5 w 5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8">
                    <a:moveTo>
                      <a:pt x="0" y="1"/>
                    </a:moveTo>
                    <a:cubicBezTo>
                      <a:pt x="1" y="0"/>
                      <a:pt x="3" y="0"/>
                      <a:pt x="3" y="1"/>
                    </a:cubicBezTo>
                    <a:cubicBezTo>
                      <a:pt x="4" y="2"/>
                      <a:pt x="5" y="5"/>
                      <a:pt x="4" y="7"/>
                    </a:cubicBezTo>
                    <a:cubicBezTo>
                      <a:pt x="3" y="8"/>
                      <a:pt x="1" y="6"/>
                      <a:pt x="0" y="5"/>
                    </a:cubicBezTo>
                    <a:cubicBezTo>
                      <a:pt x="0" y="4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1" name="Freeform 2902"/>
              <p:cNvSpPr>
                <a:spLocks noChangeAspect="1"/>
              </p:cNvSpPr>
              <p:nvPr/>
            </p:nvSpPr>
            <p:spPr bwMode="auto">
              <a:xfrm>
                <a:off x="6818593" y="3876650"/>
                <a:ext cx="281321" cy="328075"/>
              </a:xfrm>
              <a:custGeom>
                <a:avLst/>
                <a:gdLst>
                  <a:gd name="T0" fmla="*/ 11 w 143"/>
                  <a:gd name="T1" fmla="*/ 1 h 168"/>
                  <a:gd name="T2" fmla="*/ 37 w 143"/>
                  <a:gd name="T3" fmla="*/ 11 h 168"/>
                  <a:gd name="T4" fmla="*/ 45 w 143"/>
                  <a:gd name="T5" fmla="*/ 22 h 168"/>
                  <a:gd name="T6" fmla="*/ 48 w 143"/>
                  <a:gd name="T7" fmla="*/ 29 h 168"/>
                  <a:gd name="T8" fmla="*/ 59 w 143"/>
                  <a:gd name="T9" fmla="*/ 36 h 168"/>
                  <a:gd name="T10" fmla="*/ 79 w 143"/>
                  <a:gd name="T11" fmla="*/ 55 h 168"/>
                  <a:gd name="T12" fmla="*/ 88 w 143"/>
                  <a:gd name="T13" fmla="*/ 61 h 168"/>
                  <a:gd name="T14" fmla="*/ 90 w 143"/>
                  <a:gd name="T15" fmla="*/ 59 h 168"/>
                  <a:gd name="T16" fmla="*/ 100 w 143"/>
                  <a:gd name="T17" fmla="*/ 65 h 168"/>
                  <a:gd name="T18" fmla="*/ 107 w 143"/>
                  <a:gd name="T19" fmla="*/ 72 h 168"/>
                  <a:gd name="T20" fmla="*/ 113 w 143"/>
                  <a:gd name="T21" fmla="*/ 82 h 168"/>
                  <a:gd name="T22" fmla="*/ 124 w 143"/>
                  <a:gd name="T23" fmla="*/ 90 h 168"/>
                  <a:gd name="T24" fmla="*/ 137 w 143"/>
                  <a:gd name="T25" fmla="*/ 97 h 168"/>
                  <a:gd name="T26" fmla="*/ 136 w 143"/>
                  <a:gd name="T27" fmla="*/ 103 h 168"/>
                  <a:gd name="T28" fmla="*/ 136 w 143"/>
                  <a:gd name="T29" fmla="*/ 115 h 168"/>
                  <a:gd name="T30" fmla="*/ 148 w 143"/>
                  <a:gd name="T31" fmla="*/ 130 h 168"/>
                  <a:gd name="T32" fmla="*/ 150 w 143"/>
                  <a:gd name="T33" fmla="*/ 139 h 168"/>
                  <a:gd name="T34" fmla="*/ 171 w 143"/>
                  <a:gd name="T35" fmla="*/ 151 h 168"/>
                  <a:gd name="T36" fmla="*/ 166 w 143"/>
                  <a:gd name="T37" fmla="*/ 185 h 168"/>
                  <a:gd name="T38" fmla="*/ 158 w 143"/>
                  <a:gd name="T39" fmla="*/ 192 h 168"/>
                  <a:gd name="T40" fmla="*/ 148 w 143"/>
                  <a:gd name="T41" fmla="*/ 194 h 168"/>
                  <a:gd name="T42" fmla="*/ 141 w 143"/>
                  <a:gd name="T43" fmla="*/ 194 h 168"/>
                  <a:gd name="T44" fmla="*/ 109 w 143"/>
                  <a:gd name="T45" fmla="*/ 160 h 168"/>
                  <a:gd name="T46" fmla="*/ 96 w 143"/>
                  <a:gd name="T47" fmla="*/ 144 h 168"/>
                  <a:gd name="T48" fmla="*/ 90 w 143"/>
                  <a:gd name="T49" fmla="*/ 131 h 168"/>
                  <a:gd name="T50" fmla="*/ 78 w 143"/>
                  <a:gd name="T51" fmla="*/ 106 h 168"/>
                  <a:gd name="T52" fmla="*/ 75 w 143"/>
                  <a:gd name="T53" fmla="*/ 99 h 168"/>
                  <a:gd name="T54" fmla="*/ 65 w 143"/>
                  <a:gd name="T55" fmla="*/ 95 h 168"/>
                  <a:gd name="T56" fmla="*/ 58 w 143"/>
                  <a:gd name="T57" fmla="*/ 72 h 168"/>
                  <a:gd name="T58" fmla="*/ 55 w 143"/>
                  <a:gd name="T59" fmla="*/ 67 h 168"/>
                  <a:gd name="T60" fmla="*/ 43 w 143"/>
                  <a:gd name="T61" fmla="*/ 59 h 168"/>
                  <a:gd name="T62" fmla="*/ 30 w 143"/>
                  <a:gd name="T63" fmla="*/ 36 h 168"/>
                  <a:gd name="T64" fmla="*/ 7 w 143"/>
                  <a:gd name="T65" fmla="*/ 18 h 168"/>
                  <a:gd name="T66" fmla="*/ 1 w 143"/>
                  <a:gd name="T67" fmla="*/ 1 h 16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3"/>
                  <a:gd name="T103" fmla="*/ 0 h 168"/>
                  <a:gd name="T104" fmla="*/ 143 w 143"/>
                  <a:gd name="T105" fmla="*/ 168 h 16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3" h="168">
                    <a:moveTo>
                      <a:pt x="1" y="1"/>
                    </a:moveTo>
                    <a:cubicBezTo>
                      <a:pt x="3" y="0"/>
                      <a:pt x="6" y="0"/>
                      <a:pt x="9" y="1"/>
                    </a:cubicBezTo>
                    <a:cubicBezTo>
                      <a:pt x="11" y="2"/>
                      <a:pt x="11" y="6"/>
                      <a:pt x="13" y="7"/>
                    </a:cubicBezTo>
                    <a:cubicBezTo>
                      <a:pt x="19" y="9"/>
                      <a:pt x="26" y="7"/>
                      <a:pt x="31" y="9"/>
                    </a:cubicBezTo>
                    <a:cubicBezTo>
                      <a:pt x="34" y="10"/>
                      <a:pt x="36" y="12"/>
                      <a:pt x="37" y="15"/>
                    </a:cubicBezTo>
                    <a:cubicBezTo>
                      <a:pt x="38" y="16"/>
                      <a:pt x="36" y="17"/>
                      <a:pt x="37" y="18"/>
                    </a:cubicBezTo>
                    <a:cubicBezTo>
                      <a:pt x="38" y="20"/>
                      <a:pt x="41" y="20"/>
                      <a:pt x="42" y="21"/>
                    </a:cubicBezTo>
                    <a:cubicBezTo>
                      <a:pt x="42" y="22"/>
                      <a:pt x="39" y="23"/>
                      <a:pt x="40" y="24"/>
                    </a:cubicBezTo>
                    <a:cubicBezTo>
                      <a:pt x="42" y="25"/>
                      <a:pt x="46" y="24"/>
                      <a:pt x="48" y="26"/>
                    </a:cubicBezTo>
                    <a:cubicBezTo>
                      <a:pt x="49" y="27"/>
                      <a:pt x="48" y="29"/>
                      <a:pt x="49" y="30"/>
                    </a:cubicBezTo>
                    <a:cubicBezTo>
                      <a:pt x="52" y="33"/>
                      <a:pt x="56" y="34"/>
                      <a:pt x="59" y="36"/>
                    </a:cubicBezTo>
                    <a:cubicBezTo>
                      <a:pt x="62" y="39"/>
                      <a:pt x="63" y="44"/>
                      <a:pt x="66" y="46"/>
                    </a:cubicBezTo>
                    <a:cubicBezTo>
                      <a:pt x="67" y="47"/>
                      <a:pt x="67" y="43"/>
                      <a:pt x="68" y="44"/>
                    </a:cubicBezTo>
                    <a:cubicBezTo>
                      <a:pt x="70" y="45"/>
                      <a:pt x="71" y="49"/>
                      <a:pt x="73" y="51"/>
                    </a:cubicBezTo>
                    <a:cubicBezTo>
                      <a:pt x="73" y="52"/>
                      <a:pt x="75" y="54"/>
                      <a:pt x="76" y="54"/>
                    </a:cubicBezTo>
                    <a:cubicBezTo>
                      <a:pt x="77" y="53"/>
                      <a:pt x="74" y="50"/>
                      <a:pt x="75" y="49"/>
                    </a:cubicBezTo>
                    <a:cubicBezTo>
                      <a:pt x="75" y="48"/>
                      <a:pt x="77" y="47"/>
                      <a:pt x="79" y="48"/>
                    </a:cubicBezTo>
                    <a:cubicBezTo>
                      <a:pt x="81" y="49"/>
                      <a:pt x="82" y="52"/>
                      <a:pt x="83" y="54"/>
                    </a:cubicBezTo>
                    <a:cubicBezTo>
                      <a:pt x="84" y="55"/>
                      <a:pt x="82" y="58"/>
                      <a:pt x="83" y="59"/>
                    </a:cubicBezTo>
                    <a:cubicBezTo>
                      <a:pt x="85" y="60"/>
                      <a:pt x="87" y="59"/>
                      <a:pt x="89" y="60"/>
                    </a:cubicBezTo>
                    <a:cubicBezTo>
                      <a:pt x="90" y="60"/>
                      <a:pt x="91" y="61"/>
                      <a:pt x="91" y="61"/>
                    </a:cubicBezTo>
                    <a:cubicBezTo>
                      <a:pt x="93" y="64"/>
                      <a:pt x="92" y="67"/>
                      <a:pt x="94" y="68"/>
                    </a:cubicBezTo>
                    <a:cubicBezTo>
                      <a:pt x="96" y="70"/>
                      <a:pt x="100" y="70"/>
                      <a:pt x="102" y="71"/>
                    </a:cubicBezTo>
                    <a:cubicBezTo>
                      <a:pt x="103" y="72"/>
                      <a:pt x="102" y="74"/>
                      <a:pt x="103" y="75"/>
                    </a:cubicBezTo>
                    <a:cubicBezTo>
                      <a:pt x="104" y="76"/>
                      <a:pt x="106" y="74"/>
                      <a:pt x="108" y="75"/>
                    </a:cubicBezTo>
                    <a:cubicBezTo>
                      <a:pt x="110" y="77"/>
                      <a:pt x="114" y="78"/>
                      <a:pt x="114" y="81"/>
                    </a:cubicBezTo>
                    <a:cubicBezTo>
                      <a:pt x="115" y="83"/>
                      <a:pt x="111" y="82"/>
                      <a:pt x="110" y="84"/>
                    </a:cubicBezTo>
                    <a:cubicBezTo>
                      <a:pt x="109" y="85"/>
                      <a:pt x="113" y="85"/>
                      <a:pt x="113" y="86"/>
                    </a:cubicBezTo>
                    <a:cubicBezTo>
                      <a:pt x="112" y="89"/>
                      <a:pt x="108" y="90"/>
                      <a:pt x="108" y="93"/>
                    </a:cubicBezTo>
                    <a:cubicBezTo>
                      <a:pt x="108" y="95"/>
                      <a:pt x="111" y="95"/>
                      <a:pt x="113" y="96"/>
                    </a:cubicBezTo>
                    <a:cubicBezTo>
                      <a:pt x="115" y="97"/>
                      <a:pt x="118" y="96"/>
                      <a:pt x="120" y="98"/>
                    </a:cubicBezTo>
                    <a:cubicBezTo>
                      <a:pt x="122" y="101"/>
                      <a:pt x="121" y="105"/>
                      <a:pt x="123" y="108"/>
                    </a:cubicBezTo>
                    <a:cubicBezTo>
                      <a:pt x="124" y="110"/>
                      <a:pt x="127" y="110"/>
                      <a:pt x="128" y="112"/>
                    </a:cubicBezTo>
                    <a:cubicBezTo>
                      <a:pt x="128" y="114"/>
                      <a:pt x="124" y="115"/>
                      <a:pt x="125" y="116"/>
                    </a:cubicBezTo>
                    <a:cubicBezTo>
                      <a:pt x="128" y="118"/>
                      <a:pt x="133" y="116"/>
                      <a:pt x="136" y="118"/>
                    </a:cubicBezTo>
                    <a:cubicBezTo>
                      <a:pt x="139" y="119"/>
                      <a:pt x="141" y="123"/>
                      <a:pt x="142" y="126"/>
                    </a:cubicBezTo>
                    <a:cubicBezTo>
                      <a:pt x="143" y="129"/>
                      <a:pt x="140" y="131"/>
                      <a:pt x="139" y="134"/>
                    </a:cubicBezTo>
                    <a:cubicBezTo>
                      <a:pt x="138" y="141"/>
                      <a:pt x="139" y="148"/>
                      <a:pt x="138" y="154"/>
                    </a:cubicBezTo>
                    <a:cubicBezTo>
                      <a:pt x="137" y="158"/>
                      <a:pt x="138" y="162"/>
                      <a:pt x="136" y="165"/>
                    </a:cubicBezTo>
                    <a:cubicBezTo>
                      <a:pt x="134" y="166"/>
                      <a:pt x="133" y="160"/>
                      <a:pt x="131" y="160"/>
                    </a:cubicBezTo>
                    <a:cubicBezTo>
                      <a:pt x="129" y="159"/>
                      <a:pt x="131" y="164"/>
                      <a:pt x="130" y="164"/>
                    </a:cubicBezTo>
                    <a:cubicBezTo>
                      <a:pt x="128" y="165"/>
                      <a:pt x="125" y="160"/>
                      <a:pt x="123" y="161"/>
                    </a:cubicBezTo>
                    <a:cubicBezTo>
                      <a:pt x="121" y="162"/>
                      <a:pt x="125" y="168"/>
                      <a:pt x="123" y="168"/>
                    </a:cubicBezTo>
                    <a:cubicBezTo>
                      <a:pt x="120" y="167"/>
                      <a:pt x="119" y="163"/>
                      <a:pt x="117" y="161"/>
                    </a:cubicBezTo>
                    <a:cubicBezTo>
                      <a:pt x="112" y="156"/>
                      <a:pt x="107" y="153"/>
                      <a:pt x="102" y="148"/>
                    </a:cubicBezTo>
                    <a:cubicBezTo>
                      <a:pt x="98" y="143"/>
                      <a:pt x="95" y="138"/>
                      <a:pt x="91" y="133"/>
                    </a:cubicBezTo>
                    <a:cubicBezTo>
                      <a:pt x="90" y="132"/>
                      <a:pt x="87" y="132"/>
                      <a:pt x="86" y="131"/>
                    </a:cubicBezTo>
                    <a:cubicBezTo>
                      <a:pt x="84" y="127"/>
                      <a:pt x="83" y="123"/>
                      <a:pt x="80" y="120"/>
                    </a:cubicBezTo>
                    <a:cubicBezTo>
                      <a:pt x="79" y="117"/>
                      <a:pt x="76" y="115"/>
                      <a:pt x="75" y="113"/>
                    </a:cubicBezTo>
                    <a:cubicBezTo>
                      <a:pt x="74" y="112"/>
                      <a:pt x="75" y="110"/>
                      <a:pt x="75" y="109"/>
                    </a:cubicBezTo>
                    <a:cubicBezTo>
                      <a:pt x="74" y="106"/>
                      <a:pt x="73" y="103"/>
                      <a:pt x="71" y="99"/>
                    </a:cubicBezTo>
                    <a:cubicBezTo>
                      <a:pt x="69" y="95"/>
                      <a:pt x="68" y="91"/>
                      <a:pt x="65" y="88"/>
                    </a:cubicBezTo>
                    <a:cubicBezTo>
                      <a:pt x="64" y="87"/>
                      <a:pt x="62" y="88"/>
                      <a:pt x="62" y="87"/>
                    </a:cubicBezTo>
                    <a:cubicBezTo>
                      <a:pt x="61" y="86"/>
                      <a:pt x="62" y="83"/>
                      <a:pt x="62" y="82"/>
                    </a:cubicBezTo>
                    <a:cubicBezTo>
                      <a:pt x="61" y="80"/>
                      <a:pt x="59" y="79"/>
                      <a:pt x="57" y="78"/>
                    </a:cubicBezTo>
                    <a:cubicBezTo>
                      <a:pt x="56" y="78"/>
                      <a:pt x="55" y="80"/>
                      <a:pt x="54" y="79"/>
                    </a:cubicBezTo>
                    <a:cubicBezTo>
                      <a:pt x="53" y="78"/>
                      <a:pt x="54" y="75"/>
                      <a:pt x="54" y="74"/>
                    </a:cubicBezTo>
                    <a:cubicBezTo>
                      <a:pt x="52" y="69"/>
                      <a:pt x="50" y="65"/>
                      <a:pt x="48" y="60"/>
                    </a:cubicBezTo>
                    <a:cubicBezTo>
                      <a:pt x="48" y="59"/>
                      <a:pt x="50" y="58"/>
                      <a:pt x="49" y="57"/>
                    </a:cubicBezTo>
                    <a:cubicBezTo>
                      <a:pt x="49" y="56"/>
                      <a:pt x="47" y="57"/>
                      <a:pt x="46" y="56"/>
                    </a:cubicBezTo>
                    <a:cubicBezTo>
                      <a:pt x="44" y="54"/>
                      <a:pt x="42" y="52"/>
                      <a:pt x="40" y="50"/>
                    </a:cubicBezTo>
                    <a:cubicBezTo>
                      <a:pt x="39" y="50"/>
                      <a:pt x="37" y="51"/>
                      <a:pt x="36" y="49"/>
                    </a:cubicBezTo>
                    <a:cubicBezTo>
                      <a:pt x="35" y="48"/>
                      <a:pt x="36" y="45"/>
                      <a:pt x="35" y="43"/>
                    </a:cubicBezTo>
                    <a:cubicBezTo>
                      <a:pt x="33" y="38"/>
                      <a:pt x="29" y="34"/>
                      <a:pt x="25" y="30"/>
                    </a:cubicBezTo>
                    <a:cubicBezTo>
                      <a:pt x="23" y="28"/>
                      <a:pt x="20" y="28"/>
                      <a:pt x="18" y="27"/>
                    </a:cubicBezTo>
                    <a:cubicBezTo>
                      <a:pt x="13" y="23"/>
                      <a:pt x="9" y="20"/>
                      <a:pt x="6" y="15"/>
                    </a:cubicBezTo>
                    <a:cubicBezTo>
                      <a:pt x="4" y="12"/>
                      <a:pt x="3" y="9"/>
                      <a:pt x="2" y="5"/>
                    </a:cubicBezTo>
                    <a:cubicBezTo>
                      <a:pt x="1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2" name="Freeform 2903"/>
              <p:cNvSpPr>
                <a:spLocks noChangeAspect="1"/>
              </p:cNvSpPr>
              <p:nvPr/>
            </p:nvSpPr>
            <p:spPr bwMode="auto">
              <a:xfrm>
                <a:off x="6991965" y="3985467"/>
                <a:ext cx="32712" cy="25986"/>
              </a:xfrm>
              <a:custGeom>
                <a:avLst/>
                <a:gdLst>
                  <a:gd name="T0" fmla="*/ 2 w 17"/>
                  <a:gd name="T1" fmla="*/ 1 h 13"/>
                  <a:gd name="T2" fmla="*/ 13 w 17"/>
                  <a:gd name="T3" fmla="*/ 5 h 13"/>
                  <a:gd name="T4" fmla="*/ 13 w 17"/>
                  <a:gd name="T5" fmla="*/ 11 h 13"/>
                  <a:gd name="T6" fmla="*/ 20 w 17"/>
                  <a:gd name="T7" fmla="*/ 14 h 13"/>
                  <a:gd name="T8" fmla="*/ 18 w 17"/>
                  <a:gd name="T9" fmla="*/ 16 h 13"/>
                  <a:gd name="T10" fmla="*/ 8 w 17"/>
                  <a:gd name="T11" fmla="*/ 14 h 13"/>
                  <a:gd name="T12" fmla="*/ 7 w 17"/>
                  <a:gd name="T13" fmla="*/ 6 h 13"/>
                  <a:gd name="T14" fmla="*/ 2 w 17"/>
                  <a:gd name="T15" fmla="*/ 1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3"/>
                  <a:gd name="T26" fmla="*/ 17 w 17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3">
                    <a:moveTo>
                      <a:pt x="2" y="1"/>
                    </a:moveTo>
                    <a:cubicBezTo>
                      <a:pt x="5" y="0"/>
                      <a:pt x="8" y="2"/>
                      <a:pt x="11" y="4"/>
                    </a:cubicBezTo>
                    <a:cubicBezTo>
                      <a:pt x="12" y="5"/>
                      <a:pt x="10" y="8"/>
                      <a:pt x="11" y="9"/>
                    </a:cubicBezTo>
                    <a:cubicBezTo>
                      <a:pt x="12" y="10"/>
                      <a:pt x="15" y="9"/>
                      <a:pt x="17" y="11"/>
                    </a:cubicBezTo>
                    <a:cubicBezTo>
                      <a:pt x="17" y="11"/>
                      <a:pt x="16" y="13"/>
                      <a:pt x="15" y="13"/>
                    </a:cubicBezTo>
                    <a:cubicBezTo>
                      <a:pt x="12" y="13"/>
                      <a:pt x="9" y="12"/>
                      <a:pt x="7" y="11"/>
                    </a:cubicBezTo>
                    <a:cubicBezTo>
                      <a:pt x="6" y="9"/>
                      <a:pt x="7" y="6"/>
                      <a:pt x="6" y="5"/>
                    </a:cubicBezTo>
                    <a:cubicBezTo>
                      <a:pt x="5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3" name="Freeform 2904"/>
              <p:cNvSpPr>
                <a:spLocks noChangeAspect="1"/>
              </p:cNvSpPr>
              <p:nvPr/>
            </p:nvSpPr>
            <p:spPr bwMode="auto">
              <a:xfrm>
                <a:off x="6983786" y="3977347"/>
                <a:ext cx="8178" cy="12993"/>
              </a:xfrm>
              <a:custGeom>
                <a:avLst/>
                <a:gdLst>
                  <a:gd name="T0" fmla="*/ 3 w 4"/>
                  <a:gd name="T1" fmla="*/ 0 h 6"/>
                  <a:gd name="T2" fmla="*/ 5 w 4"/>
                  <a:gd name="T3" fmla="*/ 3 h 6"/>
                  <a:gd name="T4" fmla="*/ 3 w 4"/>
                  <a:gd name="T5" fmla="*/ 7 h 6"/>
                  <a:gd name="T6" fmla="*/ 0 w 4"/>
                  <a:gd name="T7" fmla="*/ 4 h 6"/>
                  <a:gd name="T8" fmla="*/ 3 w 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2" y="0"/>
                    </a:moveTo>
                    <a:cubicBezTo>
                      <a:pt x="3" y="0"/>
                      <a:pt x="4" y="1"/>
                      <a:pt x="4" y="2"/>
                    </a:cubicBezTo>
                    <a:cubicBezTo>
                      <a:pt x="4" y="3"/>
                      <a:pt x="3" y="5"/>
                      <a:pt x="2" y="5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4" name="Freeform 2905"/>
              <p:cNvSpPr>
                <a:spLocks noChangeAspect="1"/>
              </p:cNvSpPr>
              <p:nvPr/>
            </p:nvSpPr>
            <p:spPr bwMode="auto">
              <a:xfrm>
                <a:off x="7073744" y="4074794"/>
                <a:ext cx="45796" cy="47100"/>
              </a:xfrm>
              <a:custGeom>
                <a:avLst/>
                <a:gdLst>
                  <a:gd name="T0" fmla="*/ 13 w 23"/>
                  <a:gd name="T1" fmla="*/ 1 h 24"/>
                  <a:gd name="T2" fmla="*/ 18 w 23"/>
                  <a:gd name="T3" fmla="*/ 17 h 24"/>
                  <a:gd name="T4" fmla="*/ 24 w 23"/>
                  <a:gd name="T5" fmla="*/ 21 h 24"/>
                  <a:gd name="T6" fmla="*/ 26 w 23"/>
                  <a:gd name="T7" fmla="*/ 29 h 24"/>
                  <a:gd name="T8" fmla="*/ 12 w 23"/>
                  <a:gd name="T9" fmla="*/ 21 h 24"/>
                  <a:gd name="T10" fmla="*/ 10 w 23"/>
                  <a:gd name="T11" fmla="*/ 12 h 24"/>
                  <a:gd name="T12" fmla="*/ 0 w 23"/>
                  <a:gd name="T13" fmla="*/ 11 h 24"/>
                  <a:gd name="T14" fmla="*/ 6 w 23"/>
                  <a:gd name="T15" fmla="*/ 4 h 24"/>
                  <a:gd name="T16" fmla="*/ 11 w 23"/>
                  <a:gd name="T17" fmla="*/ 4 h 24"/>
                  <a:gd name="T18" fmla="*/ 13 w 23"/>
                  <a:gd name="T19" fmla="*/ 1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24"/>
                  <a:gd name="T32" fmla="*/ 23 w 23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24">
                    <a:moveTo>
                      <a:pt x="11" y="1"/>
                    </a:moveTo>
                    <a:cubicBezTo>
                      <a:pt x="13" y="5"/>
                      <a:pt x="13" y="10"/>
                      <a:pt x="15" y="14"/>
                    </a:cubicBezTo>
                    <a:cubicBezTo>
                      <a:pt x="16" y="16"/>
                      <a:pt x="20" y="15"/>
                      <a:pt x="20" y="17"/>
                    </a:cubicBezTo>
                    <a:cubicBezTo>
                      <a:pt x="22" y="19"/>
                      <a:pt x="23" y="24"/>
                      <a:pt x="21" y="24"/>
                    </a:cubicBezTo>
                    <a:cubicBezTo>
                      <a:pt x="17" y="24"/>
                      <a:pt x="13" y="20"/>
                      <a:pt x="10" y="17"/>
                    </a:cubicBezTo>
                    <a:cubicBezTo>
                      <a:pt x="9" y="16"/>
                      <a:pt x="10" y="12"/>
                      <a:pt x="8" y="10"/>
                    </a:cubicBezTo>
                    <a:cubicBezTo>
                      <a:pt x="6" y="8"/>
                      <a:pt x="1" y="11"/>
                      <a:pt x="0" y="9"/>
                    </a:cubicBezTo>
                    <a:cubicBezTo>
                      <a:pt x="0" y="6"/>
                      <a:pt x="3" y="4"/>
                      <a:pt x="5" y="3"/>
                    </a:cubicBezTo>
                    <a:cubicBezTo>
                      <a:pt x="6" y="2"/>
                      <a:pt x="8" y="4"/>
                      <a:pt x="9" y="3"/>
                    </a:cubicBezTo>
                    <a:cubicBezTo>
                      <a:pt x="10" y="3"/>
                      <a:pt x="11" y="0"/>
                      <a:pt x="1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5" name="Freeform 2906"/>
              <p:cNvSpPr>
                <a:spLocks noChangeAspect="1"/>
              </p:cNvSpPr>
              <p:nvPr/>
            </p:nvSpPr>
            <p:spPr bwMode="auto">
              <a:xfrm>
                <a:off x="7135897" y="4102404"/>
                <a:ext cx="21263" cy="25986"/>
              </a:xfrm>
              <a:custGeom>
                <a:avLst/>
                <a:gdLst>
                  <a:gd name="T0" fmla="*/ 4 w 11"/>
                  <a:gd name="T1" fmla="*/ 2 h 13"/>
                  <a:gd name="T2" fmla="*/ 12 w 11"/>
                  <a:gd name="T3" fmla="*/ 7 h 13"/>
                  <a:gd name="T4" fmla="*/ 6 w 11"/>
                  <a:gd name="T5" fmla="*/ 15 h 13"/>
                  <a:gd name="T6" fmla="*/ 5 w 11"/>
                  <a:gd name="T7" fmla="*/ 11 h 13"/>
                  <a:gd name="T8" fmla="*/ 1 w 11"/>
                  <a:gd name="T9" fmla="*/ 15 h 13"/>
                  <a:gd name="T10" fmla="*/ 4 w 11"/>
                  <a:gd name="T11" fmla="*/ 2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3"/>
                  <a:gd name="T20" fmla="*/ 11 w 11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3">
                    <a:moveTo>
                      <a:pt x="3" y="2"/>
                    </a:moveTo>
                    <a:cubicBezTo>
                      <a:pt x="5" y="0"/>
                      <a:pt x="9" y="3"/>
                      <a:pt x="10" y="6"/>
                    </a:cubicBezTo>
                    <a:cubicBezTo>
                      <a:pt x="11" y="9"/>
                      <a:pt x="8" y="11"/>
                      <a:pt x="5" y="12"/>
                    </a:cubicBezTo>
                    <a:cubicBezTo>
                      <a:pt x="4" y="13"/>
                      <a:pt x="5" y="10"/>
                      <a:pt x="4" y="9"/>
                    </a:cubicBezTo>
                    <a:cubicBezTo>
                      <a:pt x="3" y="9"/>
                      <a:pt x="1" y="13"/>
                      <a:pt x="1" y="12"/>
                    </a:cubicBezTo>
                    <a:cubicBezTo>
                      <a:pt x="0" y="8"/>
                      <a:pt x="0" y="3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6" name="Freeform 2907"/>
              <p:cNvSpPr>
                <a:spLocks noChangeAspect="1"/>
              </p:cNvSpPr>
              <p:nvPr/>
            </p:nvSpPr>
            <p:spPr bwMode="auto">
              <a:xfrm>
                <a:off x="6833312" y="3954609"/>
                <a:ext cx="24534" cy="17866"/>
              </a:xfrm>
              <a:custGeom>
                <a:avLst/>
                <a:gdLst>
                  <a:gd name="T0" fmla="*/ 5 w 13"/>
                  <a:gd name="T1" fmla="*/ 0 h 9"/>
                  <a:gd name="T2" fmla="*/ 10 w 13"/>
                  <a:gd name="T3" fmla="*/ 6 h 9"/>
                  <a:gd name="T4" fmla="*/ 15 w 13"/>
                  <a:gd name="T5" fmla="*/ 7 h 9"/>
                  <a:gd name="T6" fmla="*/ 12 w 13"/>
                  <a:gd name="T7" fmla="*/ 11 h 9"/>
                  <a:gd name="T8" fmla="*/ 7 w 13"/>
                  <a:gd name="T9" fmla="*/ 7 h 9"/>
                  <a:gd name="T10" fmla="*/ 0 w 13"/>
                  <a:gd name="T11" fmla="*/ 5 h 9"/>
                  <a:gd name="T12" fmla="*/ 5 w 13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9"/>
                  <a:gd name="T23" fmla="*/ 13 w 13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9">
                    <a:moveTo>
                      <a:pt x="4" y="0"/>
                    </a:moveTo>
                    <a:cubicBezTo>
                      <a:pt x="6" y="0"/>
                      <a:pt x="7" y="4"/>
                      <a:pt x="9" y="5"/>
                    </a:cubicBezTo>
                    <a:cubicBezTo>
                      <a:pt x="10" y="6"/>
                      <a:pt x="12" y="5"/>
                      <a:pt x="13" y="6"/>
                    </a:cubicBezTo>
                    <a:cubicBezTo>
                      <a:pt x="13" y="7"/>
                      <a:pt x="12" y="9"/>
                      <a:pt x="10" y="9"/>
                    </a:cubicBezTo>
                    <a:cubicBezTo>
                      <a:pt x="9" y="9"/>
                      <a:pt x="8" y="6"/>
                      <a:pt x="6" y="6"/>
                    </a:cubicBezTo>
                    <a:cubicBezTo>
                      <a:pt x="4" y="5"/>
                      <a:pt x="1" y="6"/>
                      <a:pt x="0" y="4"/>
                    </a:cubicBezTo>
                    <a:cubicBezTo>
                      <a:pt x="0" y="3"/>
                      <a:pt x="2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7" name="Freeform 2908"/>
              <p:cNvSpPr>
                <a:spLocks noChangeAspect="1"/>
              </p:cNvSpPr>
              <p:nvPr/>
            </p:nvSpPr>
            <p:spPr bwMode="auto">
              <a:xfrm>
                <a:off x="6869295" y="3991963"/>
                <a:ext cx="26169" cy="32483"/>
              </a:xfrm>
              <a:custGeom>
                <a:avLst/>
                <a:gdLst>
                  <a:gd name="T0" fmla="*/ 7 w 13"/>
                  <a:gd name="T1" fmla="*/ 1 h 17"/>
                  <a:gd name="T2" fmla="*/ 14 w 13"/>
                  <a:gd name="T3" fmla="*/ 9 h 17"/>
                  <a:gd name="T4" fmla="*/ 12 w 13"/>
                  <a:gd name="T5" fmla="*/ 19 h 17"/>
                  <a:gd name="T6" fmla="*/ 7 w 13"/>
                  <a:gd name="T7" fmla="*/ 12 h 17"/>
                  <a:gd name="T8" fmla="*/ 0 w 13"/>
                  <a:gd name="T9" fmla="*/ 2 h 17"/>
                  <a:gd name="T10" fmla="*/ 6 w 13"/>
                  <a:gd name="T11" fmla="*/ 2 h 17"/>
                  <a:gd name="T12" fmla="*/ 7 w 13"/>
                  <a:gd name="T13" fmla="*/ 1 h 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7"/>
                  <a:gd name="T23" fmla="*/ 13 w 13"/>
                  <a:gd name="T24" fmla="*/ 17 h 1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7">
                    <a:moveTo>
                      <a:pt x="6" y="1"/>
                    </a:moveTo>
                    <a:cubicBezTo>
                      <a:pt x="9" y="2"/>
                      <a:pt x="11" y="5"/>
                      <a:pt x="11" y="8"/>
                    </a:cubicBezTo>
                    <a:cubicBezTo>
                      <a:pt x="12" y="10"/>
                      <a:pt x="13" y="15"/>
                      <a:pt x="10" y="16"/>
                    </a:cubicBezTo>
                    <a:cubicBezTo>
                      <a:pt x="8" y="17"/>
                      <a:pt x="7" y="12"/>
                      <a:pt x="6" y="10"/>
                    </a:cubicBezTo>
                    <a:cubicBezTo>
                      <a:pt x="4" y="7"/>
                      <a:pt x="1" y="5"/>
                      <a:pt x="0" y="2"/>
                    </a:cubicBezTo>
                    <a:cubicBezTo>
                      <a:pt x="0" y="1"/>
                      <a:pt x="3" y="2"/>
                      <a:pt x="5" y="2"/>
                    </a:cubicBezTo>
                    <a:cubicBezTo>
                      <a:pt x="5" y="2"/>
                      <a:pt x="6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8" name="Freeform 2909"/>
              <p:cNvSpPr>
                <a:spLocks noChangeAspect="1"/>
              </p:cNvSpPr>
              <p:nvPr/>
            </p:nvSpPr>
            <p:spPr bwMode="auto">
              <a:xfrm>
                <a:off x="6911821" y="4061801"/>
                <a:ext cx="16356" cy="25986"/>
              </a:xfrm>
              <a:custGeom>
                <a:avLst/>
                <a:gdLst>
                  <a:gd name="T0" fmla="*/ 1 w 9"/>
                  <a:gd name="T1" fmla="*/ 1 h 13"/>
                  <a:gd name="T2" fmla="*/ 9 w 9"/>
                  <a:gd name="T3" fmla="*/ 12 h 13"/>
                  <a:gd name="T4" fmla="*/ 8 w 9"/>
                  <a:gd name="T5" fmla="*/ 15 h 13"/>
                  <a:gd name="T6" fmla="*/ 2 w 9"/>
                  <a:gd name="T7" fmla="*/ 10 h 13"/>
                  <a:gd name="T8" fmla="*/ 1 w 9"/>
                  <a:gd name="T9" fmla="*/ 4 h 13"/>
                  <a:gd name="T10" fmla="*/ 1 w 9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13"/>
                  <a:gd name="T20" fmla="*/ 9 w 9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13">
                    <a:moveTo>
                      <a:pt x="1" y="1"/>
                    </a:moveTo>
                    <a:cubicBezTo>
                      <a:pt x="4" y="3"/>
                      <a:pt x="6" y="7"/>
                      <a:pt x="8" y="10"/>
                    </a:cubicBezTo>
                    <a:cubicBezTo>
                      <a:pt x="9" y="11"/>
                      <a:pt x="8" y="13"/>
                      <a:pt x="7" y="12"/>
                    </a:cubicBezTo>
                    <a:cubicBezTo>
                      <a:pt x="5" y="12"/>
                      <a:pt x="4" y="10"/>
                      <a:pt x="2" y="8"/>
                    </a:cubicBezTo>
                    <a:cubicBezTo>
                      <a:pt x="1" y="7"/>
                      <a:pt x="1" y="5"/>
                      <a:pt x="1" y="3"/>
                    </a:cubicBezTo>
                    <a:cubicBezTo>
                      <a:pt x="0" y="2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599" name="Oval 2910"/>
              <p:cNvSpPr>
                <a:spLocks noChangeAspect="1" noChangeArrowheads="1"/>
              </p:cNvSpPr>
              <p:nvPr/>
            </p:nvSpPr>
            <p:spPr bwMode="auto">
              <a:xfrm>
                <a:off x="7054117" y="4045560"/>
                <a:ext cx="8178" cy="8121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0" name="Freeform 2911"/>
              <p:cNvSpPr>
                <a:spLocks noChangeAspect="1"/>
              </p:cNvSpPr>
              <p:nvPr/>
            </p:nvSpPr>
            <p:spPr bwMode="auto">
              <a:xfrm>
                <a:off x="6951075" y="4117022"/>
                <a:ext cx="9814" cy="12993"/>
              </a:xfrm>
              <a:custGeom>
                <a:avLst/>
                <a:gdLst>
                  <a:gd name="T0" fmla="*/ 5 w 5"/>
                  <a:gd name="T1" fmla="*/ 3 h 7"/>
                  <a:gd name="T2" fmla="*/ 5 w 5"/>
                  <a:gd name="T3" fmla="*/ 7 h 7"/>
                  <a:gd name="T4" fmla="*/ 1 w 5"/>
                  <a:gd name="T5" fmla="*/ 5 h 7"/>
                  <a:gd name="T6" fmla="*/ 1 w 5"/>
                  <a:gd name="T7" fmla="*/ 0 h 7"/>
                  <a:gd name="T8" fmla="*/ 5 w 5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4" y="3"/>
                    </a:moveTo>
                    <a:cubicBezTo>
                      <a:pt x="4" y="4"/>
                      <a:pt x="5" y="6"/>
                      <a:pt x="4" y="6"/>
                    </a:cubicBezTo>
                    <a:cubicBezTo>
                      <a:pt x="3" y="7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1" name="Freeform 2912"/>
              <p:cNvSpPr>
                <a:spLocks noChangeAspect="1"/>
              </p:cNvSpPr>
              <p:nvPr/>
            </p:nvSpPr>
            <p:spPr bwMode="auto">
              <a:xfrm>
                <a:off x="6941261" y="4102404"/>
                <a:ext cx="9814" cy="11369"/>
              </a:xfrm>
              <a:custGeom>
                <a:avLst/>
                <a:gdLst>
                  <a:gd name="T0" fmla="*/ 5 w 5"/>
                  <a:gd name="T1" fmla="*/ 4 h 6"/>
                  <a:gd name="T2" fmla="*/ 5 w 5"/>
                  <a:gd name="T3" fmla="*/ 7 h 6"/>
                  <a:gd name="T4" fmla="*/ 2 w 5"/>
                  <a:gd name="T5" fmla="*/ 5 h 6"/>
                  <a:gd name="T6" fmla="*/ 1 w 5"/>
                  <a:gd name="T7" fmla="*/ 1 h 6"/>
                  <a:gd name="T8" fmla="*/ 5 w 5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4" y="3"/>
                    </a:moveTo>
                    <a:cubicBezTo>
                      <a:pt x="4" y="4"/>
                      <a:pt x="5" y="5"/>
                      <a:pt x="4" y="6"/>
                    </a:cubicBezTo>
                    <a:cubicBezTo>
                      <a:pt x="3" y="6"/>
                      <a:pt x="2" y="5"/>
                      <a:pt x="2" y="4"/>
                    </a:cubicBezTo>
                    <a:cubicBezTo>
                      <a:pt x="1" y="3"/>
                      <a:pt x="0" y="1"/>
                      <a:pt x="1" y="1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2" name="Freeform 2913"/>
              <p:cNvSpPr>
                <a:spLocks noChangeAspect="1"/>
              </p:cNvSpPr>
              <p:nvPr/>
            </p:nvSpPr>
            <p:spPr bwMode="auto">
              <a:xfrm>
                <a:off x="6933084" y="4094284"/>
                <a:ext cx="8178" cy="8121"/>
              </a:xfrm>
              <a:custGeom>
                <a:avLst/>
                <a:gdLst>
                  <a:gd name="T0" fmla="*/ 4 w 4"/>
                  <a:gd name="T1" fmla="*/ 3 h 4"/>
                  <a:gd name="T2" fmla="*/ 4 w 4"/>
                  <a:gd name="T3" fmla="*/ 5 h 4"/>
                  <a:gd name="T4" fmla="*/ 1 w 4"/>
                  <a:gd name="T5" fmla="*/ 4 h 4"/>
                  <a:gd name="T6" fmla="*/ 1 w 4"/>
                  <a:gd name="T7" fmla="*/ 0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3"/>
                      <a:pt x="4" y="4"/>
                      <a:pt x="3" y="4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2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3" name="Freeform 2914"/>
              <p:cNvSpPr>
                <a:spLocks noChangeAspect="1"/>
              </p:cNvSpPr>
              <p:nvPr/>
            </p:nvSpPr>
            <p:spPr bwMode="auto">
              <a:xfrm>
                <a:off x="6875838" y="3972474"/>
                <a:ext cx="6542" cy="4873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3 h 3"/>
                  <a:gd name="T4" fmla="*/ 1 w 3"/>
                  <a:gd name="T5" fmla="*/ 2 h 3"/>
                  <a:gd name="T6" fmla="*/ 0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4" name="Freeform 2915"/>
              <p:cNvSpPr>
                <a:spLocks noChangeAspect="1"/>
              </p:cNvSpPr>
              <p:nvPr/>
            </p:nvSpPr>
            <p:spPr bwMode="auto">
              <a:xfrm>
                <a:off x="7062295" y="4034191"/>
                <a:ext cx="1636" cy="6497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1 w 1"/>
                  <a:gd name="T7" fmla="*/ 1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5" name="Freeform 2916"/>
              <p:cNvSpPr>
                <a:spLocks noChangeAspect="1"/>
              </p:cNvSpPr>
              <p:nvPr/>
            </p:nvSpPr>
            <p:spPr bwMode="auto">
              <a:xfrm>
                <a:off x="7060660" y="4004956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6" name="Freeform 2917"/>
              <p:cNvSpPr>
                <a:spLocks noChangeAspect="1"/>
              </p:cNvSpPr>
              <p:nvPr/>
            </p:nvSpPr>
            <p:spPr bwMode="auto">
              <a:xfrm>
                <a:off x="7050846" y="4001708"/>
                <a:ext cx="4907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2 h 2"/>
                  <a:gd name="T4" fmla="*/ 1 w 3"/>
                  <a:gd name="T5" fmla="*/ 1 h 2"/>
                  <a:gd name="T6" fmla="*/ 2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7" name="Freeform 2918"/>
              <p:cNvSpPr>
                <a:spLocks noChangeAspect="1"/>
              </p:cNvSpPr>
              <p:nvPr/>
            </p:nvSpPr>
            <p:spPr bwMode="auto">
              <a:xfrm>
                <a:off x="7049210" y="4009829"/>
                <a:ext cx="4907" cy="3248"/>
              </a:xfrm>
              <a:custGeom>
                <a:avLst/>
                <a:gdLst>
                  <a:gd name="T0" fmla="*/ 2 w 3"/>
                  <a:gd name="T1" fmla="*/ 2 h 2"/>
                  <a:gd name="T2" fmla="*/ 1 w 3"/>
                  <a:gd name="T3" fmla="*/ 2 h 2"/>
                  <a:gd name="T4" fmla="*/ 1 w 3"/>
                  <a:gd name="T5" fmla="*/ 1 h 2"/>
                  <a:gd name="T6" fmla="*/ 3 w 3"/>
                  <a:gd name="T7" fmla="*/ 1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8" name="Freeform 2919"/>
              <p:cNvSpPr>
                <a:spLocks noChangeAspect="1"/>
              </p:cNvSpPr>
              <p:nvPr/>
            </p:nvSpPr>
            <p:spPr bwMode="auto">
              <a:xfrm>
                <a:off x="6905278" y="3987091"/>
                <a:ext cx="3271" cy="6497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4 h 3"/>
                  <a:gd name="T4" fmla="*/ 1 w 2"/>
                  <a:gd name="T5" fmla="*/ 3 h 3"/>
                  <a:gd name="T6" fmla="*/ 0 w 2"/>
                  <a:gd name="T7" fmla="*/ 1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09" name="Freeform 2920"/>
              <p:cNvSpPr>
                <a:spLocks noChangeAspect="1"/>
              </p:cNvSpPr>
              <p:nvPr/>
            </p:nvSpPr>
            <p:spPr bwMode="auto">
              <a:xfrm>
                <a:off x="6872566" y="3974098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1 w 1"/>
                  <a:gd name="T3" fmla="*/ 2 h 2"/>
                  <a:gd name="T4" fmla="*/ 0 w 1"/>
                  <a:gd name="T5" fmla="*/ 2 h 2"/>
                  <a:gd name="T6" fmla="*/ 0 w 1"/>
                  <a:gd name="T7" fmla="*/ 1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0" name="Freeform 2921"/>
              <p:cNvSpPr>
                <a:spLocks noChangeAspect="1"/>
              </p:cNvSpPr>
              <p:nvPr/>
            </p:nvSpPr>
            <p:spPr bwMode="auto">
              <a:xfrm>
                <a:off x="6857847" y="3975722"/>
                <a:ext cx="4907" cy="4873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3 h 2"/>
                  <a:gd name="T4" fmla="*/ 0 w 2"/>
                  <a:gd name="T5" fmla="*/ 3 h 2"/>
                  <a:gd name="T6" fmla="*/ 0 w 2"/>
                  <a:gd name="T7" fmla="*/ 2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1"/>
                      <a:pt x="2" y="2"/>
                      <a:pt x="1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1" name="Freeform 2922"/>
              <p:cNvSpPr>
                <a:spLocks noChangeAspect="1"/>
              </p:cNvSpPr>
              <p:nvPr/>
            </p:nvSpPr>
            <p:spPr bwMode="auto">
              <a:xfrm>
                <a:off x="6905278" y="4045560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2" name="Freeform 2923"/>
              <p:cNvSpPr>
                <a:spLocks noChangeAspect="1"/>
              </p:cNvSpPr>
              <p:nvPr/>
            </p:nvSpPr>
            <p:spPr bwMode="auto">
              <a:xfrm>
                <a:off x="6906914" y="4039064"/>
                <a:ext cx="6542" cy="4873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0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3" name="Freeform 2924"/>
              <p:cNvSpPr>
                <a:spLocks noChangeAspect="1"/>
              </p:cNvSpPr>
              <p:nvPr/>
            </p:nvSpPr>
            <p:spPr bwMode="auto">
              <a:xfrm>
                <a:off x="6906914" y="4030942"/>
                <a:ext cx="8178" cy="3248"/>
              </a:xfrm>
              <a:custGeom>
                <a:avLst/>
                <a:gdLst>
                  <a:gd name="T0" fmla="*/ 4 w 4"/>
                  <a:gd name="T1" fmla="*/ 1 h 2"/>
                  <a:gd name="T2" fmla="*/ 5 w 4"/>
                  <a:gd name="T3" fmla="*/ 1 h 2"/>
                  <a:gd name="T4" fmla="*/ 3 w 4"/>
                  <a:gd name="T5" fmla="*/ 2 h 2"/>
                  <a:gd name="T6" fmla="*/ 1 w 4"/>
                  <a:gd name="T7" fmla="*/ 1 h 2"/>
                  <a:gd name="T8" fmla="*/ 4 w 4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3" y="1"/>
                    </a:moveTo>
                    <a:cubicBezTo>
                      <a:pt x="3" y="1"/>
                      <a:pt x="4" y="1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2" y="2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4" name="Freeform 2925"/>
              <p:cNvSpPr>
                <a:spLocks noChangeAspect="1"/>
              </p:cNvSpPr>
              <p:nvPr/>
            </p:nvSpPr>
            <p:spPr bwMode="auto">
              <a:xfrm>
                <a:off x="7034490" y="3991963"/>
                <a:ext cx="16356" cy="8121"/>
              </a:xfrm>
              <a:custGeom>
                <a:avLst/>
                <a:gdLst>
                  <a:gd name="T0" fmla="*/ 5 w 8"/>
                  <a:gd name="T1" fmla="*/ 5 h 4"/>
                  <a:gd name="T2" fmla="*/ 0 w 8"/>
                  <a:gd name="T3" fmla="*/ 3 h 4"/>
                  <a:gd name="T4" fmla="*/ 6 w 8"/>
                  <a:gd name="T5" fmla="*/ 0 h 4"/>
                  <a:gd name="T6" fmla="*/ 10 w 8"/>
                  <a:gd name="T7" fmla="*/ 3 h 4"/>
                  <a:gd name="T8" fmla="*/ 5 w 8"/>
                  <a:gd name="T9" fmla="*/ 5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4" y="4"/>
                    </a:moveTo>
                    <a:cubicBezTo>
                      <a:pt x="3" y="3"/>
                      <a:pt x="1" y="3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6" y="1"/>
                      <a:pt x="8" y="2"/>
                    </a:cubicBezTo>
                    <a:cubicBezTo>
                      <a:pt x="6" y="4"/>
                      <a:pt x="5" y="4"/>
                      <a:pt x="4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5" name="Freeform 2926"/>
              <p:cNvSpPr>
                <a:spLocks noChangeAspect="1"/>
              </p:cNvSpPr>
              <p:nvPr/>
            </p:nvSpPr>
            <p:spPr bwMode="auto">
              <a:xfrm>
                <a:off x="7073744" y="4199852"/>
                <a:ext cx="233890" cy="84455"/>
              </a:xfrm>
              <a:custGeom>
                <a:avLst/>
                <a:gdLst>
                  <a:gd name="T0" fmla="*/ 11 w 119"/>
                  <a:gd name="T1" fmla="*/ 2 h 43"/>
                  <a:gd name="T2" fmla="*/ 25 w 119"/>
                  <a:gd name="T3" fmla="*/ 4 h 43"/>
                  <a:gd name="T4" fmla="*/ 25 w 119"/>
                  <a:gd name="T5" fmla="*/ 1 h 43"/>
                  <a:gd name="T6" fmla="*/ 32 w 119"/>
                  <a:gd name="T7" fmla="*/ 2 h 43"/>
                  <a:gd name="T8" fmla="*/ 38 w 119"/>
                  <a:gd name="T9" fmla="*/ 7 h 43"/>
                  <a:gd name="T10" fmla="*/ 48 w 119"/>
                  <a:gd name="T11" fmla="*/ 8 h 43"/>
                  <a:gd name="T12" fmla="*/ 53 w 119"/>
                  <a:gd name="T13" fmla="*/ 17 h 43"/>
                  <a:gd name="T14" fmla="*/ 83 w 119"/>
                  <a:gd name="T15" fmla="*/ 19 h 43"/>
                  <a:gd name="T16" fmla="*/ 85 w 119"/>
                  <a:gd name="T17" fmla="*/ 12 h 43"/>
                  <a:gd name="T18" fmla="*/ 97 w 119"/>
                  <a:gd name="T19" fmla="*/ 16 h 43"/>
                  <a:gd name="T20" fmla="*/ 111 w 119"/>
                  <a:gd name="T21" fmla="*/ 21 h 43"/>
                  <a:gd name="T22" fmla="*/ 113 w 119"/>
                  <a:gd name="T23" fmla="*/ 30 h 43"/>
                  <a:gd name="T24" fmla="*/ 126 w 119"/>
                  <a:gd name="T25" fmla="*/ 34 h 43"/>
                  <a:gd name="T26" fmla="*/ 137 w 119"/>
                  <a:gd name="T27" fmla="*/ 34 h 43"/>
                  <a:gd name="T28" fmla="*/ 137 w 119"/>
                  <a:gd name="T29" fmla="*/ 46 h 43"/>
                  <a:gd name="T30" fmla="*/ 141 w 119"/>
                  <a:gd name="T31" fmla="*/ 52 h 43"/>
                  <a:gd name="T32" fmla="*/ 120 w 119"/>
                  <a:gd name="T33" fmla="*/ 46 h 43"/>
                  <a:gd name="T34" fmla="*/ 113 w 119"/>
                  <a:gd name="T35" fmla="*/ 47 h 43"/>
                  <a:gd name="T36" fmla="*/ 94 w 119"/>
                  <a:gd name="T37" fmla="*/ 44 h 43"/>
                  <a:gd name="T38" fmla="*/ 89 w 119"/>
                  <a:gd name="T39" fmla="*/ 45 h 43"/>
                  <a:gd name="T40" fmla="*/ 71 w 119"/>
                  <a:gd name="T41" fmla="*/ 36 h 43"/>
                  <a:gd name="T42" fmla="*/ 56 w 119"/>
                  <a:gd name="T43" fmla="*/ 34 h 43"/>
                  <a:gd name="T44" fmla="*/ 42 w 119"/>
                  <a:gd name="T45" fmla="*/ 35 h 43"/>
                  <a:gd name="T46" fmla="*/ 28 w 119"/>
                  <a:gd name="T47" fmla="*/ 28 h 43"/>
                  <a:gd name="T48" fmla="*/ 17 w 119"/>
                  <a:gd name="T49" fmla="*/ 27 h 43"/>
                  <a:gd name="T50" fmla="*/ 17 w 119"/>
                  <a:gd name="T51" fmla="*/ 21 h 43"/>
                  <a:gd name="T52" fmla="*/ 1 w 119"/>
                  <a:gd name="T53" fmla="*/ 15 h 43"/>
                  <a:gd name="T54" fmla="*/ 10 w 119"/>
                  <a:gd name="T55" fmla="*/ 6 h 43"/>
                  <a:gd name="T56" fmla="*/ 11 w 119"/>
                  <a:gd name="T57" fmla="*/ 2 h 4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19"/>
                  <a:gd name="T88" fmla="*/ 0 h 43"/>
                  <a:gd name="T89" fmla="*/ 119 w 119"/>
                  <a:gd name="T90" fmla="*/ 43 h 4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19" h="43">
                    <a:moveTo>
                      <a:pt x="9" y="2"/>
                    </a:moveTo>
                    <a:cubicBezTo>
                      <a:pt x="13" y="1"/>
                      <a:pt x="17" y="4"/>
                      <a:pt x="21" y="3"/>
                    </a:cubicBezTo>
                    <a:cubicBezTo>
                      <a:pt x="22" y="3"/>
                      <a:pt x="21" y="1"/>
                      <a:pt x="21" y="1"/>
                    </a:cubicBezTo>
                    <a:cubicBezTo>
                      <a:pt x="23" y="0"/>
                      <a:pt x="25" y="1"/>
                      <a:pt x="27" y="2"/>
                    </a:cubicBezTo>
                    <a:cubicBezTo>
                      <a:pt x="29" y="3"/>
                      <a:pt x="30" y="6"/>
                      <a:pt x="32" y="6"/>
                    </a:cubicBezTo>
                    <a:cubicBezTo>
                      <a:pt x="35" y="7"/>
                      <a:pt x="38" y="6"/>
                      <a:pt x="40" y="7"/>
                    </a:cubicBezTo>
                    <a:cubicBezTo>
                      <a:pt x="42" y="9"/>
                      <a:pt x="41" y="14"/>
                      <a:pt x="44" y="14"/>
                    </a:cubicBezTo>
                    <a:cubicBezTo>
                      <a:pt x="52" y="17"/>
                      <a:pt x="61" y="17"/>
                      <a:pt x="69" y="16"/>
                    </a:cubicBezTo>
                    <a:cubicBezTo>
                      <a:pt x="71" y="15"/>
                      <a:pt x="68" y="10"/>
                      <a:pt x="71" y="10"/>
                    </a:cubicBezTo>
                    <a:cubicBezTo>
                      <a:pt x="74" y="9"/>
                      <a:pt x="78" y="11"/>
                      <a:pt x="81" y="13"/>
                    </a:cubicBezTo>
                    <a:cubicBezTo>
                      <a:pt x="85" y="14"/>
                      <a:pt x="89" y="15"/>
                      <a:pt x="92" y="17"/>
                    </a:cubicBezTo>
                    <a:cubicBezTo>
                      <a:pt x="94" y="19"/>
                      <a:pt x="92" y="23"/>
                      <a:pt x="94" y="25"/>
                    </a:cubicBezTo>
                    <a:cubicBezTo>
                      <a:pt x="97" y="27"/>
                      <a:pt x="101" y="28"/>
                      <a:pt x="105" y="28"/>
                    </a:cubicBezTo>
                    <a:cubicBezTo>
                      <a:pt x="108" y="29"/>
                      <a:pt x="112" y="26"/>
                      <a:pt x="114" y="28"/>
                    </a:cubicBezTo>
                    <a:cubicBezTo>
                      <a:pt x="116" y="31"/>
                      <a:pt x="114" y="35"/>
                      <a:pt x="114" y="38"/>
                    </a:cubicBezTo>
                    <a:cubicBezTo>
                      <a:pt x="115" y="40"/>
                      <a:pt x="119" y="43"/>
                      <a:pt x="117" y="43"/>
                    </a:cubicBezTo>
                    <a:cubicBezTo>
                      <a:pt x="111" y="43"/>
                      <a:pt x="106" y="39"/>
                      <a:pt x="100" y="38"/>
                    </a:cubicBezTo>
                    <a:cubicBezTo>
                      <a:pt x="98" y="38"/>
                      <a:pt x="96" y="39"/>
                      <a:pt x="94" y="39"/>
                    </a:cubicBezTo>
                    <a:cubicBezTo>
                      <a:pt x="88" y="39"/>
                      <a:pt x="84" y="37"/>
                      <a:pt x="78" y="36"/>
                    </a:cubicBezTo>
                    <a:cubicBezTo>
                      <a:pt x="77" y="36"/>
                      <a:pt x="75" y="38"/>
                      <a:pt x="74" y="37"/>
                    </a:cubicBezTo>
                    <a:cubicBezTo>
                      <a:pt x="69" y="36"/>
                      <a:pt x="64" y="32"/>
                      <a:pt x="59" y="30"/>
                    </a:cubicBezTo>
                    <a:cubicBezTo>
                      <a:pt x="55" y="29"/>
                      <a:pt x="51" y="28"/>
                      <a:pt x="47" y="28"/>
                    </a:cubicBezTo>
                    <a:cubicBezTo>
                      <a:pt x="43" y="28"/>
                      <a:pt x="39" y="30"/>
                      <a:pt x="35" y="29"/>
                    </a:cubicBezTo>
                    <a:cubicBezTo>
                      <a:pt x="31" y="28"/>
                      <a:pt x="27" y="25"/>
                      <a:pt x="23" y="23"/>
                    </a:cubicBezTo>
                    <a:cubicBezTo>
                      <a:pt x="20" y="22"/>
                      <a:pt x="17" y="23"/>
                      <a:pt x="14" y="22"/>
                    </a:cubicBezTo>
                    <a:cubicBezTo>
                      <a:pt x="13" y="21"/>
                      <a:pt x="16" y="18"/>
                      <a:pt x="14" y="17"/>
                    </a:cubicBezTo>
                    <a:cubicBezTo>
                      <a:pt x="11" y="14"/>
                      <a:pt x="4" y="16"/>
                      <a:pt x="1" y="12"/>
                    </a:cubicBezTo>
                    <a:cubicBezTo>
                      <a:pt x="0" y="9"/>
                      <a:pt x="6" y="8"/>
                      <a:pt x="8" y="5"/>
                    </a:cubicBezTo>
                    <a:cubicBezTo>
                      <a:pt x="9" y="4"/>
                      <a:pt x="7" y="2"/>
                      <a:pt x="9" y="2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6" name="Freeform 2927"/>
              <p:cNvSpPr>
                <a:spLocks noChangeAspect="1"/>
              </p:cNvSpPr>
              <p:nvPr/>
            </p:nvSpPr>
            <p:spPr bwMode="auto">
              <a:xfrm>
                <a:off x="7165337" y="3915630"/>
                <a:ext cx="260059" cy="237123"/>
              </a:xfrm>
              <a:custGeom>
                <a:avLst/>
                <a:gdLst>
                  <a:gd name="T0" fmla="*/ 136 w 133"/>
                  <a:gd name="T1" fmla="*/ 11 h 122"/>
                  <a:gd name="T2" fmla="*/ 135 w 133"/>
                  <a:gd name="T3" fmla="*/ 19 h 122"/>
                  <a:gd name="T4" fmla="*/ 134 w 133"/>
                  <a:gd name="T5" fmla="*/ 36 h 122"/>
                  <a:gd name="T6" fmla="*/ 153 w 133"/>
                  <a:gd name="T7" fmla="*/ 54 h 122"/>
                  <a:gd name="T8" fmla="*/ 151 w 133"/>
                  <a:gd name="T9" fmla="*/ 60 h 122"/>
                  <a:gd name="T10" fmla="*/ 140 w 133"/>
                  <a:gd name="T11" fmla="*/ 61 h 122"/>
                  <a:gd name="T12" fmla="*/ 133 w 133"/>
                  <a:gd name="T13" fmla="*/ 69 h 122"/>
                  <a:gd name="T14" fmla="*/ 132 w 133"/>
                  <a:gd name="T15" fmla="*/ 87 h 122"/>
                  <a:gd name="T16" fmla="*/ 115 w 133"/>
                  <a:gd name="T17" fmla="*/ 102 h 122"/>
                  <a:gd name="T18" fmla="*/ 118 w 133"/>
                  <a:gd name="T19" fmla="*/ 118 h 122"/>
                  <a:gd name="T20" fmla="*/ 115 w 133"/>
                  <a:gd name="T21" fmla="*/ 126 h 122"/>
                  <a:gd name="T22" fmla="*/ 106 w 133"/>
                  <a:gd name="T23" fmla="*/ 136 h 122"/>
                  <a:gd name="T24" fmla="*/ 87 w 133"/>
                  <a:gd name="T25" fmla="*/ 134 h 122"/>
                  <a:gd name="T26" fmla="*/ 74 w 133"/>
                  <a:gd name="T27" fmla="*/ 134 h 122"/>
                  <a:gd name="T28" fmla="*/ 69 w 133"/>
                  <a:gd name="T29" fmla="*/ 132 h 122"/>
                  <a:gd name="T30" fmla="*/ 63 w 133"/>
                  <a:gd name="T31" fmla="*/ 132 h 122"/>
                  <a:gd name="T32" fmla="*/ 45 w 133"/>
                  <a:gd name="T33" fmla="*/ 135 h 122"/>
                  <a:gd name="T34" fmla="*/ 45 w 133"/>
                  <a:gd name="T35" fmla="*/ 123 h 122"/>
                  <a:gd name="T36" fmla="*/ 29 w 133"/>
                  <a:gd name="T37" fmla="*/ 124 h 122"/>
                  <a:gd name="T38" fmla="*/ 22 w 133"/>
                  <a:gd name="T39" fmla="*/ 112 h 122"/>
                  <a:gd name="T40" fmla="*/ 18 w 133"/>
                  <a:gd name="T41" fmla="*/ 96 h 122"/>
                  <a:gd name="T42" fmla="*/ 12 w 133"/>
                  <a:gd name="T43" fmla="*/ 87 h 122"/>
                  <a:gd name="T44" fmla="*/ 7 w 133"/>
                  <a:gd name="T45" fmla="*/ 79 h 122"/>
                  <a:gd name="T46" fmla="*/ 1 w 133"/>
                  <a:gd name="T47" fmla="*/ 66 h 122"/>
                  <a:gd name="T48" fmla="*/ 10 w 133"/>
                  <a:gd name="T49" fmla="*/ 38 h 122"/>
                  <a:gd name="T50" fmla="*/ 17 w 133"/>
                  <a:gd name="T51" fmla="*/ 48 h 122"/>
                  <a:gd name="T52" fmla="*/ 30 w 133"/>
                  <a:gd name="T53" fmla="*/ 59 h 122"/>
                  <a:gd name="T54" fmla="*/ 48 w 133"/>
                  <a:gd name="T55" fmla="*/ 57 h 122"/>
                  <a:gd name="T56" fmla="*/ 54 w 133"/>
                  <a:gd name="T57" fmla="*/ 49 h 122"/>
                  <a:gd name="T58" fmla="*/ 63 w 133"/>
                  <a:gd name="T59" fmla="*/ 50 h 122"/>
                  <a:gd name="T60" fmla="*/ 74 w 133"/>
                  <a:gd name="T61" fmla="*/ 54 h 122"/>
                  <a:gd name="T62" fmla="*/ 88 w 133"/>
                  <a:gd name="T63" fmla="*/ 49 h 122"/>
                  <a:gd name="T64" fmla="*/ 97 w 133"/>
                  <a:gd name="T65" fmla="*/ 29 h 122"/>
                  <a:gd name="T66" fmla="*/ 104 w 133"/>
                  <a:gd name="T67" fmla="*/ 5 h 122"/>
                  <a:gd name="T68" fmla="*/ 121 w 133"/>
                  <a:gd name="T69" fmla="*/ 5 h 122"/>
                  <a:gd name="T70" fmla="*/ 137 w 133"/>
                  <a:gd name="T71" fmla="*/ 6 h 1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33"/>
                  <a:gd name="T109" fmla="*/ 0 h 122"/>
                  <a:gd name="T110" fmla="*/ 133 w 133"/>
                  <a:gd name="T111" fmla="*/ 122 h 1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33" h="122">
                    <a:moveTo>
                      <a:pt x="115" y="5"/>
                    </a:moveTo>
                    <a:cubicBezTo>
                      <a:pt x="115" y="6"/>
                      <a:pt x="115" y="8"/>
                      <a:pt x="114" y="9"/>
                    </a:cubicBezTo>
                    <a:cubicBezTo>
                      <a:pt x="112" y="11"/>
                      <a:pt x="108" y="8"/>
                      <a:pt x="107" y="10"/>
                    </a:cubicBezTo>
                    <a:cubicBezTo>
                      <a:pt x="107" y="13"/>
                      <a:pt x="111" y="14"/>
                      <a:pt x="113" y="16"/>
                    </a:cubicBezTo>
                    <a:cubicBezTo>
                      <a:pt x="115" y="21"/>
                      <a:pt x="119" y="25"/>
                      <a:pt x="118" y="29"/>
                    </a:cubicBezTo>
                    <a:cubicBezTo>
                      <a:pt x="118" y="31"/>
                      <a:pt x="112" y="28"/>
                      <a:pt x="112" y="30"/>
                    </a:cubicBezTo>
                    <a:cubicBezTo>
                      <a:pt x="112" y="33"/>
                      <a:pt x="115" y="35"/>
                      <a:pt x="118" y="37"/>
                    </a:cubicBezTo>
                    <a:cubicBezTo>
                      <a:pt x="121" y="40"/>
                      <a:pt x="125" y="43"/>
                      <a:pt x="128" y="45"/>
                    </a:cubicBezTo>
                    <a:cubicBezTo>
                      <a:pt x="130" y="46"/>
                      <a:pt x="133" y="44"/>
                      <a:pt x="133" y="46"/>
                    </a:cubicBezTo>
                    <a:cubicBezTo>
                      <a:pt x="132" y="48"/>
                      <a:pt x="129" y="50"/>
                      <a:pt x="126" y="50"/>
                    </a:cubicBezTo>
                    <a:cubicBezTo>
                      <a:pt x="123" y="50"/>
                      <a:pt x="120" y="46"/>
                      <a:pt x="116" y="47"/>
                    </a:cubicBezTo>
                    <a:cubicBezTo>
                      <a:pt x="115" y="47"/>
                      <a:pt x="117" y="50"/>
                      <a:pt x="117" y="51"/>
                    </a:cubicBezTo>
                    <a:cubicBezTo>
                      <a:pt x="116" y="52"/>
                      <a:pt x="114" y="50"/>
                      <a:pt x="113" y="51"/>
                    </a:cubicBezTo>
                    <a:cubicBezTo>
                      <a:pt x="112" y="53"/>
                      <a:pt x="111" y="56"/>
                      <a:pt x="111" y="58"/>
                    </a:cubicBezTo>
                    <a:cubicBezTo>
                      <a:pt x="110" y="61"/>
                      <a:pt x="110" y="64"/>
                      <a:pt x="110" y="66"/>
                    </a:cubicBezTo>
                    <a:cubicBezTo>
                      <a:pt x="110" y="69"/>
                      <a:pt x="112" y="71"/>
                      <a:pt x="110" y="73"/>
                    </a:cubicBezTo>
                    <a:cubicBezTo>
                      <a:pt x="108" y="76"/>
                      <a:pt x="105" y="76"/>
                      <a:pt x="102" y="78"/>
                    </a:cubicBezTo>
                    <a:cubicBezTo>
                      <a:pt x="100" y="80"/>
                      <a:pt x="97" y="82"/>
                      <a:pt x="96" y="85"/>
                    </a:cubicBezTo>
                    <a:cubicBezTo>
                      <a:pt x="96" y="88"/>
                      <a:pt x="98" y="91"/>
                      <a:pt x="99" y="93"/>
                    </a:cubicBezTo>
                    <a:cubicBezTo>
                      <a:pt x="99" y="95"/>
                      <a:pt x="100" y="97"/>
                      <a:pt x="99" y="99"/>
                    </a:cubicBezTo>
                    <a:cubicBezTo>
                      <a:pt x="99" y="100"/>
                      <a:pt x="97" y="98"/>
                      <a:pt x="96" y="99"/>
                    </a:cubicBezTo>
                    <a:cubicBezTo>
                      <a:pt x="95" y="101"/>
                      <a:pt x="97" y="103"/>
                      <a:pt x="96" y="105"/>
                    </a:cubicBezTo>
                    <a:cubicBezTo>
                      <a:pt x="96" y="106"/>
                      <a:pt x="93" y="104"/>
                      <a:pt x="92" y="105"/>
                    </a:cubicBezTo>
                    <a:cubicBezTo>
                      <a:pt x="91" y="108"/>
                      <a:pt x="92" y="112"/>
                      <a:pt x="89" y="114"/>
                    </a:cubicBezTo>
                    <a:cubicBezTo>
                      <a:pt x="85" y="118"/>
                      <a:pt x="80" y="122"/>
                      <a:pt x="75" y="121"/>
                    </a:cubicBezTo>
                    <a:cubicBezTo>
                      <a:pt x="72" y="121"/>
                      <a:pt x="75" y="114"/>
                      <a:pt x="73" y="112"/>
                    </a:cubicBezTo>
                    <a:cubicBezTo>
                      <a:pt x="72" y="110"/>
                      <a:pt x="69" y="110"/>
                      <a:pt x="67" y="110"/>
                    </a:cubicBezTo>
                    <a:cubicBezTo>
                      <a:pt x="65" y="110"/>
                      <a:pt x="64" y="113"/>
                      <a:pt x="62" y="112"/>
                    </a:cubicBezTo>
                    <a:cubicBezTo>
                      <a:pt x="61" y="112"/>
                      <a:pt x="62" y="110"/>
                      <a:pt x="61" y="109"/>
                    </a:cubicBezTo>
                    <a:cubicBezTo>
                      <a:pt x="60" y="108"/>
                      <a:pt x="59" y="110"/>
                      <a:pt x="58" y="110"/>
                    </a:cubicBezTo>
                    <a:cubicBezTo>
                      <a:pt x="57" y="109"/>
                      <a:pt x="57" y="106"/>
                      <a:pt x="56" y="106"/>
                    </a:cubicBezTo>
                    <a:cubicBezTo>
                      <a:pt x="54" y="106"/>
                      <a:pt x="55" y="109"/>
                      <a:pt x="53" y="110"/>
                    </a:cubicBezTo>
                    <a:cubicBezTo>
                      <a:pt x="51" y="111"/>
                      <a:pt x="48" y="112"/>
                      <a:pt x="46" y="112"/>
                    </a:cubicBezTo>
                    <a:cubicBezTo>
                      <a:pt x="43" y="113"/>
                      <a:pt x="41" y="113"/>
                      <a:pt x="38" y="113"/>
                    </a:cubicBezTo>
                    <a:cubicBezTo>
                      <a:pt x="38" y="112"/>
                      <a:pt x="38" y="111"/>
                      <a:pt x="38" y="110"/>
                    </a:cubicBezTo>
                    <a:cubicBezTo>
                      <a:pt x="38" y="107"/>
                      <a:pt x="40" y="104"/>
                      <a:pt x="38" y="103"/>
                    </a:cubicBezTo>
                    <a:cubicBezTo>
                      <a:pt x="36" y="101"/>
                      <a:pt x="33" y="105"/>
                      <a:pt x="31" y="105"/>
                    </a:cubicBezTo>
                    <a:cubicBezTo>
                      <a:pt x="29" y="105"/>
                      <a:pt x="26" y="104"/>
                      <a:pt x="24" y="104"/>
                    </a:cubicBezTo>
                    <a:cubicBezTo>
                      <a:pt x="23" y="103"/>
                      <a:pt x="21" y="105"/>
                      <a:pt x="20" y="104"/>
                    </a:cubicBezTo>
                    <a:cubicBezTo>
                      <a:pt x="18" y="101"/>
                      <a:pt x="18" y="97"/>
                      <a:pt x="18" y="94"/>
                    </a:cubicBezTo>
                    <a:cubicBezTo>
                      <a:pt x="17" y="92"/>
                      <a:pt x="18" y="89"/>
                      <a:pt x="17" y="86"/>
                    </a:cubicBezTo>
                    <a:cubicBezTo>
                      <a:pt x="17" y="84"/>
                      <a:pt x="16" y="82"/>
                      <a:pt x="15" y="80"/>
                    </a:cubicBezTo>
                    <a:cubicBezTo>
                      <a:pt x="14" y="79"/>
                      <a:pt x="11" y="80"/>
                      <a:pt x="10" y="78"/>
                    </a:cubicBezTo>
                    <a:cubicBezTo>
                      <a:pt x="9" y="77"/>
                      <a:pt x="11" y="75"/>
                      <a:pt x="10" y="73"/>
                    </a:cubicBezTo>
                    <a:cubicBezTo>
                      <a:pt x="9" y="72"/>
                      <a:pt x="6" y="75"/>
                      <a:pt x="6" y="73"/>
                    </a:cubicBezTo>
                    <a:cubicBezTo>
                      <a:pt x="4" y="71"/>
                      <a:pt x="5" y="68"/>
                      <a:pt x="6" y="66"/>
                    </a:cubicBezTo>
                    <a:cubicBezTo>
                      <a:pt x="6" y="64"/>
                      <a:pt x="8" y="62"/>
                      <a:pt x="8" y="60"/>
                    </a:cubicBezTo>
                    <a:cubicBezTo>
                      <a:pt x="7" y="57"/>
                      <a:pt x="2" y="58"/>
                      <a:pt x="1" y="55"/>
                    </a:cubicBezTo>
                    <a:cubicBezTo>
                      <a:pt x="0" y="51"/>
                      <a:pt x="1" y="46"/>
                      <a:pt x="2" y="41"/>
                    </a:cubicBezTo>
                    <a:cubicBezTo>
                      <a:pt x="3" y="38"/>
                      <a:pt x="6" y="35"/>
                      <a:pt x="8" y="32"/>
                    </a:cubicBezTo>
                    <a:cubicBezTo>
                      <a:pt x="9" y="32"/>
                      <a:pt x="11" y="32"/>
                      <a:pt x="12" y="32"/>
                    </a:cubicBezTo>
                    <a:cubicBezTo>
                      <a:pt x="13" y="35"/>
                      <a:pt x="12" y="38"/>
                      <a:pt x="14" y="40"/>
                    </a:cubicBezTo>
                    <a:cubicBezTo>
                      <a:pt x="16" y="43"/>
                      <a:pt x="20" y="44"/>
                      <a:pt x="23" y="46"/>
                    </a:cubicBezTo>
                    <a:cubicBezTo>
                      <a:pt x="24" y="47"/>
                      <a:pt x="24" y="49"/>
                      <a:pt x="25" y="49"/>
                    </a:cubicBezTo>
                    <a:cubicBezTo>
                      <a:pt x="27" y="49"/>
                      <a:pt x="29" y="47"/>
                      <a:pt x="31" y="46"/>
                    </a:cubicBezTo>
                    <a:cubicBezTo>
                      <a:pt x="34" y="46"/>
                      <a:pt x="37" y="48"/>
                      <a:pt x="40" y="48"/>
                    </a:cubicBezTo>
                    <a:cubicBezTo>
                      <a:pt x="42" y="47"/>
                      <a:pt x="44" y="46"/>
                      <a:pt x="45" y="45"/>
                    </a:cubicBezTo>
                    <a:cubicBezTo>
                      <a:pt x="46" y="44"/>
                      <a:pt x="44" y="41"/>
                      <a:pt x="45" y="41"/>
                    </a:cubicBezTo>
                    <a:cubicBezTo>
                      <a:pt x="48" y="39"/>
                      <a:pt x="51" y="40"/>
                      <a:pt x="54" y="40"/>
                    </a:cubicBezTo>
                    <a:cubicBezTo>
                      <a:pt x="54" y="40"/>
                      <a:pt x="53" y="42"/>
                      <a:pt x="53" y="42"/>
                    </a:cubicBezTo>
                    <a:cubicBezTo>
                      <a:pt x="54" y="43"/>
                      <a:pt x="55" y="41"/>
                      <a:pt x="57" y="41"/>
                    </a:cubicBezTo>
                    <a:cubicBezTo>
                      <a:pt x="59" y="42"/>
                      <a:pt x="60" y="45"/>
                      <a:pt x="62" y="45"/>
                    </a:cubicBezTo>
                    <a:cubicBezTo>
                      <a:pt x="64" y="44"/>
                      <a:pt x="64" y="41"/>
                      <a:pt x="66" y="41"/>
                    </a:cubicBezTo>
                    <a:cubicBezTo>
                      <a:pt x="69" y="40"/>
                      <a:pt x="72" y="42"/>
                      <a:pt x="74" y="41"/>
                    </a:cubicBezTo>
                    <a:cubicBezTo>
                      <a:pt x="75" y="40"/>
                      <a:pt x="73" y="38"/>
                      <a:pt x="74" y="36"/>
                    </a:cubicBezTo>
                    <a:cubicBezTo>
                      <a:pt x="76" y="32"/>
                      <a:pt x="79" y="28"/>
                      <a:pt x="81" y="24"/>
                    </a:cubicBezTo>
                    <a:cubicBezTo>
                      <a:pt x="83" y="21"/>
                      <a:pt x="86" y="18"/>
                      <a:pt x="87" y="15"/>
                    </a:cubicBezTo>
                    <a:cubicBezTo>
                      <a:pt x="88" y="11"/>
                      <a:pt x="85" y="7"/>
                      <a:pt x="87" y="4"/>
                    </a:cubicBezTo>
                    <a:cubicBezTo>
                      <a:pt x="89" y="1"/>
                      <a:pt x="93" y="1"/>
                      <a:pt x="96" y="1"/>
                    </a:cubicBezTo>
                    <a:cubicBezTo>
                      <a:pt x="98" y="0"/>
                      <a:pt x="99" y="3"/>
                      <a:pt x="101" y="4"/>
                    </a:cubicBezTo>
                    <a:cubicBezTo>
                      <a:pt x="103" y="4"/>
                      <a:pt x="106" y="2"/>
                      <a:pt x="108" y="2"/>
                    </a:cubicBezTo>
                    <a:cubicBezTo>
                      <a:pt x="111" y="3"/>
                      <a:pt x="113" y="4"/>
                      <a:pt x="115" y="5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7" name="Freeform 2928"/>
              <p:cNvSpPr>
                <a:spLocks noChangeAspect="1"/>
              </p:cNvSpPr>
              <p:nvPr/>
            </p:nvSpPr>
            <p:spPr bwMode="auto">
              <a:xfrm>
                <a:off x="7263473" y="4229086"/>
                <a:ext cx="31077" cy="12993"/>
              </a:xfrm>
              <a:custGeom>
                <a:avLst/>
                <a:gdLst>
                  <a:gd name="T0" fmla="*/ 1 w 16"/>
                  <a:gd name="T1" fmla="*/ 1 h 6"/>
                  <a:gd name="T2" fmla="*/ 18 w 16"/>
                  <a:gd name="T3" fmla="*/ 1 h 6"/>
                  <a:gd name="T4" fmla="*/ 14 w 16"/>
                  <a:gd name="T5" fmla="*/ 5 h 6"/>
                  <a:gd name="T6" fmla="*/ 4 w 16"/>
                  <a:gd name="T7" fmla="*/ 7 h 6"/>
                  <a:gd name="T8" fmla="*/ 1 w 1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6"/>
                  <a:gd name="T17" fmla="*/ 16 w 1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6">
                    <a:moveTo>
                      <a:pt x="1" y="1"/>
                    </a:moveTo>
                    <a:cubicBezTo>
                      <a:pt x="5" y="0"/>
                      <a:pt x="10" y="0"/>
                      <a:pt x="15" y="1"/>
                    </a:cubicBezTo>
                    <a:cubicBezTo>
                      <a:pt x="16" y="1"/>
                      <a:pt x="13" y="4"/>
                      <a:pt x="12" y="4"/>
                    </a:cubicBezTo>
                    <a:cubicBezTo>
                      <a:pt x="9" y="5"/>
                      <a:pt x="6" y="6"/>
                      <a:pt x="3" y="5"/>
                    </a:cubicBezTo>
                    <a:cubicBezTo>
                      <a:pt x="1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18" name="Freeform 2929"/>
              <p:cNvSpPr>
                <a:spLocks noChangeAspect="1"/>
              </p:cNvSpPr>
              <p:nvPr/>
            </p:nvSpPr>
            <p:spPr bwMode="auto">
              <a:xfrm>
                <a:off x="7410675" y="3990340"/>
                <a:ext cx="166830" cy="206265"/>
              </a:xfrm>
              <a:custGeom>
                <a:avLst/>
                <a:gdLst>
                  <a:gd name="T0" fmla="*/ 97 w 85"/>
                  <a:gd name="T1" fmla="*/ 4 h 106"/>
                  <a:gd name="T2" fmla="*/ 89 w 85"/>
                  <a:gd name="T3" fmla="*/ 17 h 106"/>
                  <a:gd name="T4" fmla="*/ 72 w 85"/>
                  <a:gd name="T5" fmla="*/ 24 h 106"/>
                  <a:gd name="T6" fmla="*/ 48 w 85"/>
                  <a:gd name="T7" fmla="*/ 22 h 106"/>
                  <a:gd name="T8" fmla="*/ 35 w 85"/>
                  <a:gd name="T9" fmla="*/ 23 h 106"/>
                  <a:gd name="T10" fmla="*/ 23 w 85"/>
                  <a:gd name="T11" fmla="*/ 23 h 106"/>
                  <a:gd name="T12" fmla="*/ 31 w 85"/>
                  <a:gd name="T13" fmla="*/ 54 h 106"/>
                  <a:gd name="T14" fmla="*/ 44 w 85"/>
                  <a:gd name="T15" fmla="*/ 43 h 106"/>
                  <a:gd name="T16" fmla="*/ 64 w 85"/>
                  <a:gd name="T17" fmla="*/ 40 h 106"/>
                  <a:gd name="T18" fmla="*/ 70 w 85"/>
                  <a:gd name="T19" fmla="*/ 46 h 106"/>
                  <a:gd name="T20" fmla="*/ 55 w 85"/>
                  <a:gd name="T21" fmla="*/ 55 h 106"/>
                  <a:gd name="T22" fmla="*/ 40 w 85"/>
                  <a:gd name="T23" fmla="*/ 60 h 106"/>
                  <a:gd name="T24" fmla="*/ 54 w 85"/>
                  <a:gd name="T25" fmla="*/ 79 h 106"/>
                  <a:gd name="T26" fmla="*/ 56 w 85"/>
                  <a:gd name="T27" fmla="*/ 95 h 106"/>
                  <a:gd name="T28" fmla="*/ 50 w 85"/>
                  <a:gd name="T29" fmla="*/ 104 h 106"/>
                  <a:gd name="T30" fmla="*/ 41 w 85"/>
                  <a:gd name="T31" fmla="*/ 113 h 106"/>
                  <a:gd name="T32" fmla="*/ 35 w 85"/>
                  <a:gd name="T33" fmla="*/ 93 h 106"/>
                  <a:gd name="T34" fmla="*/ 37 w 85"/>
                  <a:gd name="T35" fmla="*/ 79 h 106"/>
                  <a:gd name="T36" fmla="*/ 23 w 85"/>
                  <a:gd name="T37" fmla="*/ 79 h 106"/>
                  <a:gd name="T38" fmla="*/ 24 w 85"/>
                  <a:gd name="T39" fmla="*/ 98 h 106"/>
                  <a:gd name="T40" fmla="*/ 22 w 85"/>
                  <a:gd name="T41" fmla="*/ 113 h 106"/>
                  <a:gd name="T42" fmla="*/ 22 w 85"/>
                  <a:gd name="T43" fmla="*/ 127 h 106"/>
                  <a:gd name="T44" fmla="*/ 7 w 85"/>
                  <a:gd name="T45" fmla="*/ 120 h 106"/>
                  <a:gd name="T46" fmla="*/ 11 w 85"/>
                  <a:gd name="T47" fmla="*/ 87 h 106"/>
                  <a:gd name="T48" fmla="*/ 2 w 85"/>
                  <a:gd name="T49" fmla="*/ 86 h 106"/>
                  <a:gd name="T50" fmla="*/ 10 w 85"/>
                  <a:gd name="T51" fmla="*/ 67 h 106"/>
                  <a:gd name="T52" fmla="*/ 14 w 85"/>
                  <a:gd name="T53" fmla="*/ 41 h 106"/>
                  <a:gd name="T54" fmla="*/ 17 w 85"/>
                  <a:gd name="T55" fmla="*/ 30 h 106"/>
                  <a:gd name="T56" fmla="*/ 24 w 85"/>
                  <a:gd name="T57" fmla="*/ 12 h 106"/>
                  <a:gd name="T58" fmla="*/ 30 w 85"/>
                  <a:gd name="T59" fmla="*/ 6 h 106"/>
                  <a:gd name="T60" fmla="*/ 43 w 85"/>
                  <a:gd name="T61" fmla="*/ 10 h 106"/>
                  <a:gd name="T62" fmla="*/ 62 w 85"/>
                  <a:gd name="T63" fmla="*/ 13 h 106"/>
                  <a:gd name="T64" fmla="*/ 84 w 85"/>
                  <a:gd name="T65" fmla="*/ 11 h 106"/>
                  <a:gd name="T66" fmla="*/ 96 w 85"/>
                  <a:gd name="T67" fmla="*/ 1 h 10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85"/>
                  <a:gd name="T103" fmla="*/ 0 h 106"/>
                  <a:gd name="T104" fmla="*/ 85 w 85"/>
                  <a:gd name="T105" fmla="*/ 106 h 10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85" h="106">
                    <a:moveTo>
                      <a:pt x="84" y="1"/>
                    </a:moveTo>
                    <a:cubicBezTo>
                      <a:pt x="85" y="2"/>
                      <a:pt x="82" y="2"/>
                      <a:pt x="81" y="3"/>
                    </a:cubicBezTo>
                    <a:cubicBezTo>
                      <a:pt x="80" y="5"/>
                      <a:pt x="81" y="8"/>
                      <a:pt x="80" y="9"/>
                    </a:cubicBezTo>
                    <a:cubicBezTo>
                      <a:pt x="79" y="11"/>
                      <a:pt x="75" y="12"/>
                      <a:pt x="74" y="14"/>
                    </a:cubicBezTo>
                    <a:cubicBezTo>
                      <a:pt x="73" y="15"/>
                      <a:pt x="75" y="18"/>
                      <a:pt x="74" y="19"/>
                    </a:cubicBezTo>
                    <a:cubicBezTo>
                      <a:pt x="69" y="21"/>
                      <a:pt x="64" y="20"/>
                      <a:pt x="60" y="20"/>
                    </a:cubicBezTo>
                    <a:cubicBezTo>
                      <a:pt x="57" y="20"/>
                      <a:pt x="55" y="18"/>
                      <a:pt x="53" y="17"/>
                    </a:cubicBezTo>
                    <a:cubicBezTo>
                      <a:pt x="49" y="17"/>
                      <a:pt x="45" y="18"/>
                      <a:pt x="40" y="18"/>
                    </a:cubicBezTo>
                    <a:cubicBezTo>
                      <a:pt x="39" y="18"/>
                      <a:pt x="38" y="16"/>
                      <a:pt x="36" y="16"/>
                    </a:cubicBezTo>
                    <a:cubicBezTo>
                      <a:pt x="34" y="16"/>
                      <a:pt x="32" y="18"/>
                      <a:pt x="29" y="19"/>
                    </a:cubicBezTo>
                    <a:cubicBezTo>
                      <a:pt x="27" y="19"/>
                      <a:pt x="25" y="17"/>
                      <a:pt x="22" y="17"/>
                    </a:cubicBezTo>
                    <a:cubicBezTo>
                      <a:pt x="21" y="17"/>
                      <a:pt x="19" y="18"/>
                      <a:pt x="19" y="19"/>
                    </a:cubicBezTo>
                    <a:cubicBezTo>
                      <a:pt x="18" y="24"/>
                      <a:pt x="18" y="29"/>
                      <a:pt x="19" y="34"/>
                    </a:cubicBezTo>
                    <a:cubicBezTo>
                      <a:pt x="20" y="38"/>
                      <a:pt x="22" y="43"/>
                      <a:pt x="26" y="45"/>
                    </a:cubicBezTo>
                    <a:cubicBezTo>
                      <a:pt x="28" y="46"/>
                      <a:pt x="30" y="44"/>
                      <a:pt x="32" y="43"/>
                    </a:cubicBezTo>
                    <a:cubicBezTo>
                      <a:pt x="34" y="41"/>
                      <a:pt x="35" y="38"/>
                      <a:pt x="37" y="36"/>
                    </a:cubicBezTo>
                    <a:cubicBezTo>
                      <a:pt x="39" y="35"/>
                      <a:pt x="42" y="36"/>
                      <a:pt x="45" y="36"/>
                    </a:cubicBezTo>
                    <a:cubicBezTo>
                      <a:pt x="47" y="35"/>
                      <a:pt x="50" y="33"/>
                      <a:pt x="53" y="33"/>
                    </a:cubicBezTo>
                    <a:cubicBezTo>
                      <a:pt x="55" y="32"/>
                      <a:pt x="58" y="31"/>
                      <a:pt x="60" y="33"/>
                    </a:cubicBezTo>
                    <a:cubicBezTo>
                      <a:pt x="61" y="34"/>
                      <a:pt x="60" y="37"/>
                      <a:pt x="58" y="38"/>
                    </a:cubicBezTo>
                    <a:cubicBezTo>
                      <a:pt x="56" y="40"/>
                      <a:pt x="53" y="37"/>
                      <a:pt x="51" y="38"/>
                    </a:cubicBezTo>
                    <a:cubicBezTo>
                      <a:pt x="49" y="40"/>
                      <a:pt x="48" y="44"/>
                      <a:pt x="46" y="46"/>
                    </a:cubicBezTo>
                    <a:cubicBezTo>
                      <a:pt x="43" y="49"/>
                      <a:pt x="41" y="51"/>
                      <a:pt x="37" y="52"/>
                    </a:cubicBezTo>
                    <a:cubicBezTo>
                      <a:pt x="36" y="52"/>
                      <a:pt x="34" y="49"/>
                      <a:pt x="33" y="50"/>
                    </a:cubicBezTo>
                    <a:cubicBezTo>
                      <a:pt x="32" y="50"/>
                      <a:pt x="33" y="52"/>
                      <a:pt x="34" y="52"/>
                    </a:cubicBezTo>
                    <a:cubicBezTo>
                      <a:pt x="37" y="57"/>
                      <a:pt x="41" y="61"/>
                      <a:pt x="45" y="66"/>
                    </a:cubicBezTo>
                    <a:cubicBezTo>
                      <a:pt x="46" y="68"/>
                      <a:pt x="48" y="69"/>
                      <a:pt x="49" y="71"/>
                    </a:cubicBezTo>
                    <a:cubicBezTo>
                      <a:pt x="49" y="74"/>
                      <a:pt x="46" y="76"/>
                      <a:pt x="47" y="79"/>
                    </a:cubicBezTo>
                    <a:cubicBezTo>
                      <a:pt x="48" y="82"/>
                      <a:pt x="54" y="84"/>
                      <a:pt x="52" y="86"/>
                    </a:cubicBezTo>
                    <a:cubicBezTo>
                      <a:pt x="51" y="89"/>
                      <a:pt x="45" y="85"/>
                      <a:pt x="42" y="87"/>
                    </a:cubicBezTo>
                    <a:cubicBezTo>
                      <a:pt x="40" y="89"/>
                      <a:pt x="43" y="94"/>
                      <a:pt x="41" y="96"/>
                    </a:cubicBezTo>
                    <a:cubicBezTo>
                      <a:pt x="39" y="97"/>
                      <a:pt x="35" y="96"/>
                      <a:pt x="34" y="94"/>
                    </a:cubicBezTo>
                    <a:cubicBezTo>
                      <a:pt x="33" y="90"/>
                      <a:pt x="38" y="86"/>
                      <a:pt x="37" y="82"/>
                    </a:cubicBezTo>
                    <a:cubicBezTo>
                      <a:pt x="36" y="79"/>
                      <a:pt x="32" y="80"/>
                      <a:pt x="29" y="78"/>
                    </a:cubicBezTo>
                    <a:cubicBezTo>
                      <a:pt x="28" y="77"/>
                      <a:pt x="26" y="76"/>
                      <a:pt x="26" y="74"/>
                    </a:cubicBezTo>
                    <a:cubicBezTo>
                      <a:pt x="27" y="71"/>
                      <a:pt x="31" y="69"/>
                      <a:pt x="31" y="66"/>
                    </a:cubicBezTo>
                    <a:cubicBezTo>
                      <a:pt x="32" y="65"/>
                      <a:pt x="29" y="62"/>
                      <a:pt x="28" y="62"/>
                    </a:cubicBezTo>
                    <a:cubicBezTo>
                      <a:pt x="24" y="62"/>
                      <a:pt x="21" y="64"/>
                      <a:pt x="19" y="66"/>
                    </a:cubicBezTo>
                    <a:cubicBezTo>
                      <a:pt x="18" y="68"/>
                      <a:pt x="21" y="70"/>
                      <a:pt x="21" y="72"/>
                    </a:cubicBezTo>
                    <a:cubicBezTo>
                      <a:pt x="21" y="75"/>
                      <a:pt x="20" y="78"/>
                      <a:pt x="20" y="82"/>
                    </a:cubicBezTo>
                    <a:cubicBezTo>
                      <a:pt x="20" y="84"/>
                      <a:pt x="22" y="87"/>
                      <a:pt x="21" y="89"/>
                    </a:cubicBezTo>
                    <a:cubicBezTo>
                      <a:pt x="21" y="91"/>
                      <a:pt x="19" y="92"/>
                      <a:pt x="18" y="94"/>
                    </a:cubicBezTo>
                    <a:cubicBezTo>
                      <a:pt x="18" y="98"/>
                      <a:pt x="21" y="101"/>
                      <a:pt x="21" y="105"/>
                    </a:cubicBezTo>
                    <a:cubicBezTo>
                      <a:pt x="21" y="106"/>
                      <a:pt x="19" y="106"/>
                      <a:pt x="18" y="106"/>
                    </a:cubicBezTo>
                    <a:cubicBezTo>
                      <a:pt x="15" y="106"/>
                      <a:pt x="11" y="106"/>
                      <a:pt x="8" y="105"/>
                    </a:cubicBezTo>
                    <a:cubicBezTo>
                      <a:pt x="7" y="104"/>
                      <a:pt x="6" y="102"/>
                      <a:pt x="6" y="100"/>
                    </a:cubicBezTo>
                    <a:cubicBezTo>
                      <a:pt x="7" y="95"/>
                      <a:pt x="11" y="90"/>
                      <a:pt x="11" y="84"/>
                    </a:cubicBezTo>
                    <a:cubicBezTo>
                      <a:pt x="12" y="80"/>
                      <a:pt x="11" y="76"/>
                      <a:pt x="9" y="73"/>
                    </a:cubicBezTo>
                    <a:cubicBezTo>
                      <a:pt x="8" y="71"/>
                      <a:pt x="6" y="74"/>
                      <a:pt x="4" y="74"/>
                    </a:cubicBezTo>
                    <a:cubicBezTo>
                      <a:pt x="3" y="74"/>
                      <a:pt x="2" y="73"/>
                      <a:pt x="2" y="72"/>
                    </a:cubicBezTo>
                    <a:cubicBezTo>
                      <a:pt x="1" y="68"/>
                      <a:pt x="0" y="65"/>
                      <a:pt x="1" y="62"/>
                    </a:cubicBezTo>
                    <a:cubicBezTo>
                      <a:pt x="2" y="59"/>
                      <a:pt x="7" y="59"/>
                      <a:pt x="8" y="56"/>
                    </a:cubicBezTo>
                    <a:cubicBezTo>
                      <a:pt x="9" y="52"/>
                      <a:pt x="8" y="46"/>
                      <a:pt x="9" y="42"/>
                    </a:cubicBezTo>
                    <a:cubicBezTo>
                      <a:pt x="9" y="39"/>
                      <a:pt x="10" y="36"/>
                      <a:pt x="12" y="34"/>
                    </a:cubicBezTo>
                    <a:cubicBezTo>
                      <a:pt x="14" y="33"/>
                      <a:pt x="16" y="37"/>
                      <a:pt x="16" y="36"/>
                    </a:cubicBezTo>
                    <a:cubicBezTo>
                      <a:pt x="17" y="32"/>
                      <a:pt x="15" y="28"/>
                      <a:pt x="14" y="25"/>
                    </a:cubicBezTo>
                    <a:cubicBezTo>
                      <a:pt x="14" y="22"/>
                      <a:pt x="12" y="20"/>
                      <a:pt x="13" y="18"/>
                    </a:cubicBezTo>
                    <a:cubicBezTo>
                      <a:pt x="14" y="15"/>
                      <a:pt x="17" y="11"/>
                      <a:pt x="20" y="10"/>
                    </a:cubicBezTo>
                    <a:cubicBezTo>
                      <a:pt x="22" y="9"/>
                      <a:pt x="24" y="14"/>
                      <a:pt x="25" y="13"/>
                    </a:cubicBezTo>
                    <a:cubicBezTo>
                      <a:pt x="27" y="11"/>
                      <a:pt x="23" y="6"/>
                      <a:pt x="25" y="5"/>
                    </a:cubicBezTo>
                    <a:cubicBezTo>
                      <a:pt x="27" y="3"/>
                      <a:pt x="32" y="4"/>
                      <a:pt x="35" y="5"/>
                    </a:cubicBezTo>
                    <a:cubicBezTo>
                      <a:pt x="36" y="5"/>
                      <a:pt x="35" y="8"/>
                      <a:pt x="36" y="8"/>
                    </a:cubicBezTo>
                    <a:cubicBezTo>
                      <a:pt x="40" y="9"/>
                      <a:pt x="44" y="8"/>
                      <a:pt x="48" y="8"/>
                    </a:cubicBezTo>
                    <a:cubicBezTo>
                      <a:pt x="49" y="9"/>
                      <a:pt x="51" y="11"/>
                      <a:pt x="52" y="11"/>
                    </a:cubicBezTo>
                    <a:cubicBezTo>
                      <a:pt x="54" y="12"/>
                      <a:pt x="55" y="9"/>
                      <a:pt x="57" y="9"/>
                    </a:cubicBezTo>
                    <a:cubicBezTo>
                      <a:pt x="61" y="9"/>
                      <a:pt x="66" y="11"/>
                      <a:pt x="70" y="9"/>
                    </a:cubicBezTo>
                    <a:cubicBezTo>
                      <a:pt x="72" y="8"/>
                      <a:pt x="73" y="5"/>
                      <a:pt x="74" y="3"/>
                    </a:cubicBezTo>
                    <a:cubicBezTo>
                      <a:pt x="76" y="2"/>
                      <a:pt x="78" y="1"/>
                      <a:pt x="80" y="1"/>
                    </a:cubicBezTo>
                    <a:cubicBezTo>
                      <a:pt x="81" y="1"/>
                      <a:pt x="84" y="0"/>
                      <a:pt x="84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619" name="Freeform 2930"/>
              <p:cNvSpPr>
                <a:spLocks noChangeAspect="1"/>
              </p:cNvSpPr>
              <p:nvPr/>
            </p:nvSpPr>
            <p:spPr bwMode="auto">
              <a:xfrm>
                <a:off x="7343616" y="4130015"/>
                <a:ext cx="9814" cy="21114"/>
              </a:xfrm>
              <a:custGeom>
                <a:avLst/>
                <a:gdLst>
                  <a:gd name="T0" fmla="*/ 5 w 5"/>
                  <a:gd name="T1" fmla="*/ 0 h 11"/>
                  <a:gd name="T2" fmla="*/ 6 w 5"/>
                  <a:gd name="T3" fmla="*/ 2 h 11"/>
                  <a:gd name="T4" fmla="*/ 5 w 5"/>
                  <a:gd name="T5" fmla="*/ 12 h 11"/>
                  <a:gd name="T6" fmla="*/ 1 w 5"/>
                  <a:gd name="T7" fmla="*/ 12 h 11"/>
                  <a:gd name="T8" fmla="*/ 2 w 5"/>
                  <a:gd name="T9" fmla="*/ 2 h 11"/>
                  <a:gd name="T10" fmla="*/ 5 w 5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1"/>
                  <a:gd name="T20" fmla="*/ 5 w 5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1">
                    <a:moveTo>
                      <a:pt x="4" y="0"/>
                    </a:moveTo>
                    <a:cubicBezTo>
                      <a:pt x="5" y="0"/>
                      <a:pt x="5" y="1"/>
                      <a:pt x="5" y="2"/>
                    </a:cubicBezTo>
                    <a:cubicBezTo>
                      <a:pt x="5" y="5"/>
                      <a:pt x="5" y="7"/>
                      <a:pt x="4" y="10"/>
                    </a:cubicBezTo>
                    <a:cubicBezTo>
                      <a:pt x="3" y="10"/>
                      <a:pt x="1" y="11"/>
                      <a:pt x="1" y="10"/>
                    </a:cubicBezTo>
                    <a:cubicBezTo>
                      <a:pt x="0" y="7"/>
                      <a:pt x="1" y="5"/>
                      <a:pt x="2" y="2"/>
                    </a:cubicBezTo>
                    <a:cubicBezTo>
                      <a:pt x="2" y="1"/>
                      <a:pt x="3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0" name="Freeform 2931"/>
              <p:cNvSpPr>
                <a:spLocks noChangeAspect="1"/>
              </p:cNvSpPr>
              <p:nvPr/>
            </p:nvSpPr>
            <p:spPr bwMode="auto">
              <a:xfrm>
                <a:off x="7302727" y="4264817"/>
                <a:ext cx="31077" cy="22738"/>
              </a:xfrm>
              <a:custGeom>
                <a:avLst/>
                <a:gdLst>
                  <a:gd name="T0" fmla="*/ 1 w 16"/>
                  <a:gd name="T1" fmla="*/ 1 h 12"/>
                  <a:gd name="T2" fmla="*/ 8 w 16"/>
                  <a:gd name="T3" fmla="*/ 2 h 12"/>
                  <a:gd name="T4" fmla="*/ 14 w 16"/>
                  <a:gd name="T5" fmla="*/ 2 h 12"/>
                  <a:gd name="T6" fmla="*/ 19 w 16"/>
                  <a:gd name="T7" fmla="*/ 6 h 12"/>
                  <a:gd name="T8" fmla="*/ 11 w 16"/>
                  <a:gd name="T9" fmla="*/ 11 h 12"/>
                  <a:gd name="T10" fmla="*/ 10 w 16"/>
                  <a:gd name="T11" fmla="*/ 14 h 12"/>
                  <a:gd name="T12" fmla="*/ 7 w 16"/>
                  <a:gd name="T13" fmla="*/ 7 h 12"/>
                  <a:gd name="T14" fmla="*/ 1 w 16"/>
                  <a:gd name="T15" fmla="*/ 6 h 12"/>
                  <a:gd name="T16" fmla="*/ 1 w 16"/>
                  <a:gd name="T17" fmla="*/ 1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12"/>
                  <a:gd name="T29" fmla="*/ 16 w 16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12">
                    <a:moveTo>
                      <a:pt x="1" y="1"/>
                    </a:moveTo>
                    <a:cubicBezTo>
                      <a:pt x="3" y="0"/>
                      <a:pt x="5" y="1"/>
                      <a:pt x="7" y="2"/>
                    </a:cubicBezTo>
                    <a:cubicBezTo>
                      <a:pt x="9" y="2"/>
                      <a:pt x="10" y="1"/>
                      <a:pt x="12" y="2"/>
                    </a:cubicBezTo>
                    <a:cubicBezTo>
                      <a:pt x="13" y="2"/>
                      <a:pt x="16" y="4"/>
                      <a:pt x="16" y="5"/>
                    </a:cubicBezTo>
                    <a:cubicBezTo>
                      <a:pt x="15" y="8"/>
                      <a:pt x="11" y="7"/>
                      <a:pt x="9" y="9"/>
                    </a:cubicBezTo>
                    <a:cubicBezTo>
                      <a:pt x="9" y="10"/>
                      <a:pt x="9" y="12"/>
                      <a:pt x="8" y="12"/>
                    </a:cubicBezTo>
                    <a:cubicBezTo>
                      <a:pt x="7" y="11"/>
                      <a:pt x="7" y="8"/>
                      <a:pt x="6" y="6"/>
                    </a:cubicBezTo>
                    <a:cubicBezTo>
                      <a:pt x="5" y="5"/>
                      <a:pt x="2" y="6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1" name="Freeform 2932"/>
              <p:cNvSpPr>
                <a:spLocks noChangeAspect="1"/>
              </p:cNvSpPr>
              <p:nvPr/>
            </p:nvSpPr>
            <p:spPr bwMode="auto">
              <a:xfrm>
                <a:off x="7328896" y="4268066"/>
                <a:ext cx="27806" cy="22738"/>
              </a:xfrm>
              <a:custGeom>
                <a:avLst/>
                <a:gdLst>
                  <a:gd name="T0" fmla="*/ 10 w 14"/>
                  <a:gd name="T1" fmla="*/ 0 h 11"/>
                  <a:gd name="T2" fmla="*/ 16 w 14"/>
                  <a:gd name="T3" fmla="*/ 4 h 11"/>
                  <a:gd name="T4" fmla="*/ 13 w 14"/>
                  <a:gd name="T5" fmla="*/ 14 h 11"/>
                  <a:gd name="T6" fmla="*/ 1 w 14"/>
                  <a:gd name="T7" fmla="*/ 10 h 11"/>
                  <a:gd name="T8" fmla="*/ 6 w 14"/>
                  <a:gd name="T9" fmla="*/ 9 h 11"/>
                  <a:gd name="T10" fmla="*/ 6 w 14"/>
                  <a:gd name="T11" fmla="*/ 4 h 11"/>
                  <a:gd name="T12" fmla="*/ 10 w 14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1"/>
                  <a:gd name="T23" fmla="*/ 14 w 14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1">
                    <a:moveTo>
                      <a:pt x="8" y="0"/>
                    </a:moveTo>
                    <a:cubicBezTo>
                      <a:pt x="10" y="0"/>
                      <a:pt x="13" y="1"/>
                      <a:pt x="13" y="3"/>
                    </a:cubicBezTo>
                    <a:cubicBezTo>
                      <a:pt x="14" y="5"/>
                      <a:pt x="12" y="8"/>
                      <a:pt x="11" y="11"/>
                    </a:cubicBezTo>
                    <a:cubicBezTo>
                      <a:pt x="8" y="10"/>
                      <a:pt x="4" y="10"/>
                      <a:pt x="1" y="8"/>
                    </a:cubicBezTo>
                    <a:cubicBezTo>
                      <a:pt x="0" y="8"/>
                      <a:pt x="4" y="8"/>
                      <a:pt x="5" y="7"/>
                    </a:cubicBezTo>
                    <a:cubicBezTo>
                      <a:pt x="5" y="5"/>
                      <a:pt x="5" y="4"/>
                      <a:pt x="5" y="3"/>
                    </a:cubicBezTo>
                    <a:cubicBezTo>
                      <a:pt x="6" y="1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2" name="Freeform 2933"/>
              <p:cNvSpPr>
                <a:spLocks noChangeAspect="1"/>
              </p:cNvSpPr>
              <p:nvPr/>
            </p:nvSpPr>
            <p:spPr bwMode="auto">
              <a:xfrm>
                <a:off x="7355065" y="4264817"/>
                <a:ext cx="62152" cy="29234"/>
              </a:xfrm>
              <a:custGeom>
                <a:avLst/>
                <a:gdLst>
                  <a:gd name="T0" fmla="*/ 2 w 32"/>
                  <a:gd name="T1" fmla="*/ 8 h 15"/>
                  <a:gd name="T2" fmla="*/ 1 w 32"/>
                  <a:gd name="T3" fmla="*/ 17 h 15"/>
                  <a:gd name="T4" fmla="*/ 7 w 32"/>
                  <a:gd name="T5" fmla="*/ 17 h 15"/>
                  <a:gd name="T6" fmla="*/ 19 w 32"/>
                  <a:gd name="T7" fmla="*/ 14 h 15"/>
                  <a:gd name="T8" fmla="*/ 28 w 32"/>
                  <a:gd name="T9" fmla="*/ 13 h 15"/>
                  <a:gd name="T10" fmla="*/ 36 w 32"/>
                  <a:gd name="T11" fmla="*/ 11 h 15"/>
                  <a:gd name="T12" fmla="*/ 38 w 32"/>
                  <a:gd name="T13" fmla="*/ 11 h 15"/>
                  <a:gd name="T14" fmla="*/ 34 w 32"/>
                  <a:gd name="T15" fmla="*/ 4 h 15"/>
                  <a:gd name="T16" fmla="*/ 26 w 32"/>
                  <a:gd name="T17" fmla="*/ 4 h 15"/>
                  <a:gd name="T18" fmla="*/ 21 w 32"/>
                  <a:gd name="T19" fmla="*/ 0 h 15"/>
                  <a:gd name="T20" fmla="*/ 17 w 32"/>
                  <a:gd name="T21" fmla="*/ 1 h 15"/>
                  <a:gd name="T22" fmla="*/ 19 w 32"/>
                  <a:gd name="T23" fmla="*/ 6 h 15"/>
                  <a:gd name="T24" fmla="*/ 23 w 32"/>
                  <a:gd name="T25" fmla="*/ 8 h 15"/>
                  <a:gd name="T26" fmla="*/ 18 w 32"/>
                  <a:gd name="T27" fmla="*/ 10 h 15"/>
                  <a:gd name="T28" fmla="*/ 12 w 32"/>
                  <a:gd name="T29" fmla="*/ 6 h 15"/>
                  <a:gd name="T30" fmla="*/ 7 w 32"/>
                  <a:gd name="T31" fmla="*/ 6 h 15"/>
                  <a:gd name="T32" fmla="*/ 2 w 32"/>
                  <a:gd name="T33" fmla="*/ 8 h 1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2"/>
                  <a:gd name="T52" fmla="*/ 0 h 15"/>
                  <a:gd name="T53" fmla="*/ 32 w 32"/>
                  <a:gd name="T54" fmla="*/ 15 h 1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2" h="15">
                    <a:moveTo>
                      <a:pt x="2" y="7"/>
                    </a:moveTo>
                    <a:cubicBezTo>
                      <a:pt x="1" y="9"/>
                      <a:pt x="0" y="12"/>
                      <a:pt x="1" y="14"/>
                    </a:cubicBezTo>
                    <a:cubicBezTo>
                      <a:pt x="2" y="15"/>
                      <a:pt x="5" y="15"/>
                      <a:pt x="6" y="14"/>
                    </a:cubicBezTo>
                    <a:cubicBezTo>
                      <a:pt x="10" y="14"/>
                      <a:pt x="13" y="13"/>
                      <a:pt x="16" y="12"/>
                    </a:cubicBezTo>
                    <a:cubicBezTo>
                      <a:pt x="19" y="12"/>
                      <a:pt x="21" y="11"/>
                      <a:pt x="24" y="11"/>
                    </a:cubicBezTo>
                    <a:cubicBezTo>
                      <a:pt x="26" y="10"/>
                      <a:pt x="28" y="9"/>
                      <a:pt x="30" y="9"/>
                    </a:cubicBezTo>
                    <a:cubicBezTo>
                      <a:pt x="30" y="9"/>
                      <a:pt x="32" y="9"/>
                      <a:pt x="32" y="9"/>
                    </a:cubicBezTo>
                    <a:cubicBezTo>
                      <a:pt x="31" y="7"/>
                      <a:pt x="30" y="5"/>
                      <a:pt x="29" y="3"/>
                    </a:cubicBezTo>
                    <a:cubicBezTo>
                      <a:pt x="27" y="2"/>
                      <a:pt x="24" y="3"/>
                      <a:pt x="22" y="3"/>
                    </a:cubicBezTo>
                    <a:cubicBezTo>
                      <a:pt x="20" y="2"/>
                      <a:pt x="19" y="1"/>
                      <a:pt x="18" y="0"/>
                    </a:cubicBezTo>
                    <a:cubicBezTo>
                      <a:pt x="16" y="0"/>
                      <a:pt x="14" y="0"/>
                      <a:pt x="14" y="1"/>
                    </a:cubicBezTo>
                    <a:cubicBezTo>
                      <a:pt x="13" y="2"/>
                      <a:pt x="15" y="4"/>
                      <a:pt x="16" y="5"/>
                    </a:cubicBezTo>
                    <a:cubicBezTo>
                      <a:pt x="17" y="6"/>
                      <a:pt x="20" y="6"/>
                      <a:pt x="19" y="7"/>
                    </a:cubicBezTo>
                    <a:cubicBezTo>
                      <a:pt x="19" y="9"/>
                      <a:pt x="16" y="9"/>
                      <a:pt x="15" y="8"/>
                    </a:cubicBezTo>
                    <a:cubicBezTo>
                      <a:pt x="13" y="8"/>
                      <a:pt x="12" y="5"/>
                      <a:pt x="10" y="5"/>
                    </a:cubicBezTo>
                    <a:cubicBezTo>
                      <a:pt x="9" y="4"/>
                      <a:pt x="7" y="5"/>
                      <a:pt x="6" y="5"/>
                    </a:cubicBezTo>
                    <a:cubicBezTo>
                      <a:pt x="4" y="6"/>
                      <a:pt x="2" y="5"/>
                      <a:pt x="2" y="7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623" name="Freeform 2934"/>
              <p:cNvSpPr>
                <a:spLocks noChangeAspect="1"/>
              </p:cNvSpPr>
              <p:nvPr/>
            </p:nvSpPr>
            <p:spPr bwMode="auto">
              <a:xfrm>
                <a:off x="7405768" y="4300548"/>
                <a:ext cx="53975" cy="30859"/>
              </a:xfrm>
              <a:custGeom>
                <a:avLst/>
                <a:gdLst>
                  <a:gd name="T0" fmla="*/ 4 w 27"/>
                  <a:gd name="T1" fmla="*/ 2 h 16"/>
                  <a:gd name="T2" fmla="*/ 16 w 27"/>
                  <a:gd name="T3" fmla="*/ 1 h 16"/>
                  <a:gd name="T4" fmla="*/ 26 w 27"/>
                  <a:gd name="T5" fmla="*/ 7 h 16"/>
                  <a:gd name="T6" fmla="*/ 33 w 27"/>
                  <a:gd name="T7" fmla="*/ 14 h 16"/>
                  <a:gd name="T8" fmla="*/ 27 w 27"/>
                  <a:gd name="T9" fmla="*/ 19 h 16"/>
                  <a:gd name="T10" fmla="*/ 18 w 27"/>
                  <a:gd name="T11" fmla="*/ 14 h 16"/>
                  <a:gd name="T12" fmla="*/ 9 w 27"/>
                  <a:gd name="T13" fmla="*/ 10 h 16"/>
                  <a:gd name="T14" fmla="*/ 1 w 27"/>
                  <a:gd name="T15" fmla="*/ 7 h 16"/>
                  <a:gd name="T16" fmla="*/ 4 w 27"/>
                  <a:gd name="T17" fmla="*/ 2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16"/>
                  <a:gd name="T29" fmla="*/ 27 w 27"/>
                  <a:gd name="T30" fmla="*/ 16 h 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16">
                    <a:moveTo>
                      <a:pt x="3" y="2"/>
                    </a:moveTo>
                    <a:cubicBezTo>
                      <a:pt x="6" y="1"/>
                      <a:pt x="10" y="0"/>
                      <a:pt x="13" y="1"/>
                    </a:cubicBezTo>
                    <a:cubicBezTo>
                      <a:pt x="16" y="2"/>
                      <a:pt x="19" y="4"/>
                      <a:pt x="21" y="6"/>
                    </a:cubicBezTo>
                    <a:cubicBezTo>
                      <a:pt x="23" y="7"/>
                      <a:pt x="26" y="9"/>
                      <a:pt x="27" y="12"/>
                    </a:cubicBezTo>
                    <a:cubicBezTo>
                      <a:pt x="27" y="14"/>
                      <a:pt x="24" y="16"/>
                      <a:pt x="22" y="16"/>
                    </a:cubicBezTo>
                    <a:cubicBezTo>
                      <a:pt x="19" y="16"/>
                      <a:pt x="17" y="13"/>
                      <a:pt x="15" y="12"/>
                    </a:cubicBezTo>
                    <a:cubicBezTo>
                      <a:pt x="12" y="11"/>
                      <a:pt x="10" y="9"/>
                      <a:pt x="7" y="8"/>
                    </a:cubicBezTo>
                    <a:cubicBezTo>
                      <a:pt x="5" y="7"/>
                      <a:pt x="2" y="8"/>
                      <a:pt x="1" y="6"/>
                    </a:cubicBezTo>
                    <a:cubicBezTo>
                      <a:pt x="0" y="5"/>
                      <a:pt x="2" y="3"/>
                      <a:pt x="3" y="2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624" name="Freeform 2935"/>
              <p:cNvSpPr>
                <a:spLocks noChangeAspect="1"/>
              </p:cNvSpPr>
              <p:nvPr/>
            </p:nvSpPr>
            <p:spPr bwMode="auto">
              <a:xfrm>
                <a:off x="7430303" y="4268066"/>
                <a:ext cx="91593" cy="24362"/>
              </a:xfrm>
              <a:custGeom>
                <a:avLst/>
                <a:gdLst>
                  <a:gd name="T0" fmla="*/ 12 w 47"/>
                  <a:gd name="T1" fmla="*/ 0 h 12"/>
                  <a:gd name="T2" fmla="*/ 23 w 47"/>
                  <a:gd name="T3" fmla="*/ 4 h 12"/>
                  <a:gd name="T4" fmla="*/ 27 w 47"/>
                  <a:gd name="T5" fmla="*/ 8 h 12"/>
                  <a:gd name="T6" fmla="*/ 33 w 47"/>
                  <a:gd name="T7" fmla="*/ 4 h 12"/>
                  <a:gd name="T8" fmla="*/ 41 w 47"/>
                  <a:gd name="T9" fmla="*/ 8 h 12"/>
                  <a:gd name="T10" fmla="*/ 45 w 47"/>
                  <a:gd name="T11" fmla="*/ 4 h 12"/>
                  <a:gd name="T12" fmla="*/ 50 w 47"/>
                  <a:gd name="T13" fmla="*/ 1 h 12"/>
                  <a:gd name="T14" fmla="*/ 52 w 47"/>
                  <a:gd name="T15" fmla="*/ 3 h 12"/>
                  <a:gd name="T16" fmla="*/ 56 w 47"/>
                  <a:gd name="T17" fmla="*/ 1 h 12"/>
                  <a:gd name="T18" fmla="*/ 51 w 47"/>
                  <a:gd name="T19" fmla="*/ 5 h 12"/>
                  <a:gd name="T20" fmla="*/ 46 w 47"/>
                  <a:gd name="T21" fmla="*/ 6 h 12"/>
                  <a:gd name="T22" fmla="*/ 42 w 47"/>
                  <a:gd name="T23" fmla="*/ 9 h 12"/>
                  <a:gd name="T24" fmla="*/ 32 w 47"/>
                  <a:gd name="T25" fmla="*/ 11 h 12"/>
                  <a:gd name="T26" fmla="*/ 27 w 47"/>
                  <a:gd name="T27" fmla="*/ 11 h 12"/>
                  <a:gd name="T28" fmla="*/ 19 w 47"/>
                  <a:gd name="T29" fmla="*/ 15 h 12"/>
                  <a:gd name="T30" fmla="*/ 1 w 47"/>
                  <a:gd name="T31" fmla="*/ 9 h 12"/>
                  <a:gd name="T32" fmla="*/ 5 w 47"/>
                  <a:gd name="T33" fmla="*/ 4 h 12"/>
                  <a:gd name="T34" fmla="*/ 12 w 47"/>
                  <a:gd name="T35" fmla="*/ 0 h 1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7"/>
                  <a:gd name="T55" fmla="*/ 0 h 12"/>
                  <a:gd name="T56" fmla="*/ 47 w 47"/>
                  <a:gd name="T57" fmla="*/ 12 h 1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7" h="12">
                    <a:moveTo>
                      <a:pt x="10" y="0"/>
                    </a:moveTo>
                    <a:cubicBezTo>
                      <a:pt x="13" y="1"/>
                      <a:pt x="16" y="2"/>
                      <a:pt x="19" y="3"/>
                    </a:cubicBezTo>
                    <a:cubicBezTo>
                      <a:pt x="20" y="4"/>
                      <a:pt x="21" y="6"/>
                      <a:pt x="23" y="6"/>
                    </a:cubicBezTo>
                    <a:cubicBezTo>
                      <a:pt x="25" y="6"/>
                      <a:pt x="26" y="3"/>
                      <a:pt x="28" y="3"/>
                    </a:cubicBezTo>
                    <a:cubicBezTo>
                      <a:pt x="30" y="3"/>
                      <a:pt x="32" y="6"/>
                      <a:pt x="34" y="6"/>
                    </a:cubicBezTo>
                    <a:cubicBezTo>
                      <a:pt x="36" y="6"/>
                      <a:pt x="37" y="4"/>
                      <a:pt x="38" y="3"/>
                    </a:cubicBezTo>
                    <a:cubicBezTo>
                      <a:pt x="39" y="2"/>
                      <a:pt x="40" y="1"/>
                      <a:pt x="42" y="1"/>
                    </a:cubicBezTo>
                    <a:cubicBezTo>
                      <a:pt x="42" y="1"/>
                      <a:pt x="43" y="2"/>
                      <a:pt x="44" y="2"/>
                    </a:cubicBezTo>
                    <a:cubicBezTo>
                      <a:pt x="45" y="2"/>
                      <a:pt x="47" y="0"/>
                      <a:pt x="47" y="1"/>
                    </a:cubicBezTo>
                    <a:cubicBezTo>
                      <a:pt x="46" y="2"/>
                      <a:pt x="45" y="3"/>
                      <a:pt x="43" y="4"/>
                    </a:cubicBezTo>
                    <a:cubicBezTo>
                      <a:pt x="42" y="4"/>
                      <a:pt x="40" y="5"/>
                      <a:pt x="39" y="5"/>
                    </a:cubicBezTo>
                    <a:cubicBezTo>
                      <a:pt x="38" y="6"/>
                      <a:pt x="37" y="7"/>
                      <a:pt x="35" y="7"/>
                    </a:cubicBezTo>
                    <a:cubicBezTo>
                      <a:pt x="32" y="8"/>
                      <a:pt x="30" y="9"/>
                      <a:pt x="27" y="9"/>
                    </a:cubicBezTo>
                    <a:cubicBezTo>
                      <a:pt x="25" y="10"/>
                      <a:pt x="24" y="9"/>
                      <a:pt x="23" y="9"/>
                    </a:cubicBezTo>
                    <a:cubicBezTo>
                      <a:pt x="20" y="10"/>
                      <a:pt x="18" y="12"/>
                      <a:pt x="16" y="12"/>
                    </a:cubicBezTo>
                    <a:cubicBezTo>
                      <a:pt x="11" y="11"/>
                      <a:pt x="5" y="10"/>
                      <a:pt x="1" y="7"/>
                    </a:cubicBezTo>
                    <a:cubicBezTo>
                      <a:pt x="0" y="6"/>
                      <a:pt x="2" y="4"/>
                      <a:pt x="4" y="3"/>
                    </a:cubicBezTo>
                    <a:cubicBezTo>
                      <a:pt x="5" y="1"/>
                      <a:pt x="8" y="0"/>
                      <a:pt x="10" y="0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625" name="Freeform 2936"/>
              <p:cNvSpPr>
                <a:spLocks noChangeAspect="1"/>
              </p:cNvSpPr>
              <p:nvPr/>
            </p:nvSpPr>
            <p:spPr bwMode="auto">
              <a:xfrm>
                <a:off x="7901352" y="4505189"/>
                <a:ext cx="9814" cy="9745"/>
              </a:xfrm>
              <a:custGeom>
                <a:avLst/>
                <a:gdLst>
                  <a:gd name="T0" fmla="*/ 5 w 5"/>
                  <a:gd name="T1" fmla="*/ 5 h 5"/>
                  <a:gd name="T2" fmla="*/ 1 w 5"/>
                  <a:gd name="T3" fmla="*/ 5 h 5"/>
                  <a:gd name="T4" fmla="*/ 0 w 5"/>
                  <a:gd name="T5" fmla="*/ 2 h 5"/>
                  <a:gd name="T6" fmla="*/ 4 w 5"/>
                  <a:gd name="T7" fmla="*/ 0 h 5"/>
                  <a:gd name="T8" fmla="*/ 5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4"/>
                    </a:moveTo>
                    <a:cubicBezTo>
                      <a:pt x="3" y="4"/>
                      <a:pt x="2" y="5"/>
                      <a:pt x="1" y="4"/>
                    </a:cubicBezTo>
                    <a:cubicBezTo>
                      <a:pt x="0" y="4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5" y="1"/>
                      <a:pt x="4" y="3"/>
                      <a:pt x="4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6" name="Freeform 2937"/>
              <p:cNvSpPr>
                <a:spLocks noChangeAspect="1"/>
              </p:cNvSpPr>
              <p:nvPr/>
            </p:nvSpPr>
            <p:spPr bwMode="auto">
              <a:xfrm>
                <a:off x="7227490" y="4769923"/>
                <a:ext cx="6542" cy="17866"/>
              </a:xfrm>
              <a:custGeom>
                <a:avLst/>
                <a:gdLst>
                  <a:gd name="T0" fmla="*/ 4 w 3"/>
                  <a:gd name="T1" fmla="*/ 6 h 9"/>
                  <a:gd name="T2" fmla="*/ 3 w 3"/>
                  <a:gd name="T3" fmla="*/ 11 h 9"/>
                  <a:gd name="T4" fmla="*/ 1 w 3"/>
                  <a:gd name="T5" fmla="*/ 6 h 9"/>
                  <a:gd name="T6" fmla="*/ 1 w 3"/>
                  <a:gd name="T7" fmla="*/ 0 h 9"/>
                  <a:gd name="T8" fmla="*/ 4 w 3"/>
                  <a:gd name="T9" fmla="*/ 6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9"/>
                  <a:gd name="T17" fmla="*/ 3 w 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9">
                    <a:moveTo>
                      <a:pt x="3" y="5"/>
                    </a:moveTo>
                    <a:cubicBezTo>
                      <a:pt x="3" y="7"/>
                      <a:pt x="3" y="9"/>
                      <a:pt x="2" y="9"/>
                    </a:cubicBezTo>
                    <a:cubicBezTo>
                      <a:pt x="2" y="9"/>
                      <a:pt x="1" y="6"/>
                      <a:pt x="1" y="5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2" y="0"/>
                      <a:pt x="2" y="3"/>
                      <a:pt x="3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7" name="Freeform 2938"/>
              <p:cNvSpPr>
                <a:spLocks noChangeAspect="1"/>
              </p:cNvSpPr>
              <p:nvPr/>
            </p:nvSpPr>
            <p:spPr bwMode="auto">
              <a:xfrm>
                <a:off x="7238938" y="4768298"/>
                <a:ext cx="6542" cy="19490"/>
              </a:xfrm>
              <a:custGeom>
                <a:avLst/>
                <a:gdLst>
                  <a:gd name="T0" fmla="*/ 4 w 3"/>
                  <a:gd name="T1" fmla="*/ 7 h 10"/>
                  <a:gd name="T2" fmla="*/ 4 w 3"/>
                  <a:gd name="T3" fmla="*/ 12 h 10"/>
                  <a:gd name="T4" fmla="*/ 1 w 3"/>
                  <a:gd name="T5" fmla="*/ 7 h 10"/>
                  <a:gd name="T6" fmla="*/ 1 w 3"/>
                  <a:gd name="T7" fmla="*/ 1 h 10"/>
                  <a:gd name="T8" fmla="*/ 4 w 3"/>
                  <a:gd name="T9" fmla="*/ 7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0"/>
                  <a:gd name="T17" fmla="*/ 3 w 3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0">
                    <a:moveTo>
                      <a:pt x="3" y="6"/>
                    </a:moveTo>
                    <a:cubicBezTo>
                      <a:pt x="3" y="7"/>
                      <a:pt x="3" y="10"/>
                      <a:pt x="3" y="10"/>
                    </a:cubicBezTo>
                    <a:cubicBezTo>
                      <a:pt x="2" y="9"/>
                      <a:pt x="1" y="7"/>
                      <a:pt x="1" y="6"/>
                    </a:cubicBezTo>
                    <a:cubicBezTo>
                      <a:pt x="1" y="4"/>
                      <a:pt x="0" y="0"/>
                      <a:pt x="1" y="1"/>
                    </a:cubicBezTo>
                    <a:cubicBezTo>
                      <a:pt x="2" y="1"/>
                      <a:pt x="2" y="4"/>
                      <a:pt x="3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8" name="Freeform 2939"/>
              <p:cNvSpPr>
                <a:spLocks noChangeAspect="1"/>
              </p:cNvSpPr>
              <p:nvPr/>
            </p:nvSpPr>
            <p:spPr bwMode="auto">
              <a:xfrm>
                <a:off x="8001122" y="5223055"/>
                <a:ext cx="9814" cy="4873"/>
              </a:xfrm>
              <a:custGeom>
                <a:avLst/>
                <a:gdLst>
                  <a:gd name="T0" fmla="*/ 2 w 5"/>
                  <a:gd name="T1" fmla="*/ 3 h 2"/>
                  <a:gd name="T2" fmla="*/ 1 w 5"/>
                  <a:gd name="T3" fmla="*/ 2 h 2"/>
                  <a:gd name="T4" fmla="*/ 4 w 5"/>
                  <a:gd name="T5" fmla="*/ 0 h 2"/>
                  <a:gd name="T6" fmla="*/ 6 w 5"/>
                  <a:gd name="T7" fmla="*/ 2 h 2"/>
                  <a:gd name="T8" fmla="*/ 2 w 5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0" y="2"/>
                      <a:pt x="1" y="1"/>
                    </a:cubicBezTo>
                    <a:cubicBezTo>
                      <a:pt x="1" y="1"/>
                      <a:pt x="2" y="1"/>
                      <a:pt x="3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5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29" name="Freeform 2940"/>
              <p:cNvSpPr>
                <a:spLocks noChangeAspect="1"/>
              </p:cNvSpPr>
              <p:nvPr/>
            </p:nvSpPr>
            <p:spPr bwMode="auto">
              <a:xfrm>
                <a:off x="7902987" y="5198693"/>
                <a:ext cx="11450" cy="17866"/>
              </a:xfrm>
              <a:custGeom>
                <a:avLst/>
                <a:gdLst>
                  <a:gd name="T0" fmla="*/ 5 w 6"/>
                  <a:gd name="T1" fmla="*/ 7 h 9"/>
                  <a:gd name="T2" fmla="*/ 1 w 6"/>
                  <a:gd name="T3" fmla="*/ 11 h 9"/>
                  <a:gd name="T4" fmla="*/ 1 w 6"/>
                  <a:gd name="T5" fmla="*/ 5 h 9"/>
                  <a:gd name="T6" fmla="*/ 5 w 6"/>
                  <a:gd name="T7" fmla="*/ 1 h 9"/>
                  <a:gd name="T8" fmla="*/ 5 w 6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9"/>
                  <a:gd name="T17" fmla="*/ 6 w 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9">
                    <a:moveTo>
                      <a:pt x="4" y="6"/>
                    </a:moveTo>
                    <a:cubicBezTo>
                      <a:pt x="3" y="7"/>
                      <a:pt x="2" y="9"/>
                      <a:pt x="1" y="9"/>
                    </a:cubicBezTo>
                    <a:cubicBezTo>
                      <a:pt x="0" y="8"/>
                      <a:pt x="1" y="6"/>
                      <a:pt x="1" y="4"/>
                    </a:cubicBezTo>
                    <a:cubicBezTo>
                      <a:pt x="2" y="3"/>
                      <a:pt x="3" y="0"/>
                      <a:pt x="4" y="1"/>
                    </a:cubicBezTo>
                    <a:cubicBezTo>
                      <a:pt x="6" y="2"/>
                      <a:pt x="4" y="4"/>
                      <a:pt x="4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0" name="Freeform 2941"/>
              <p:cNvSpPr>
                <a:spLocks noChangeAspect="1"/>
              </p:cNvSpPr>
              <p:nvPr/>
            </p:nvSpPr>
            <p:spPr bwMode="auto">
              <a:xfrm>
                <a:off x="8207206" y="4821895"/>
                <a:ext cx="4907" cy="11369"/>
              </a:xfrm>
              <a:custGeom>
                <a:avLst/>
                <a:gdLst>
                  <a:gd name="T0" fmla="*/ 2 w 3"/>
                  <a:gd name="T1" fmla="*/ 5 h 6"/>
                  <a:gd name="T2" fmla="*/ 1 w 3"/>
                  <a:gd name="T3" fmla="*/ 7 h 6"/>
                  <a:gd name="T4" fmla="*/ 1 w 3"/>
                  <a:gd name="T5" fmla="*/ 4 h 6"/>
                  <a:gd name="T6" fmla="*/ 2 w 3"/>
                  <a:gd name="T7" fmla="*/ 1 h 6"/>
                  <a:gd name="T8" fmla="*/ 2 w 3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2" y="4"/>
                    </a:moveTo>
                    <a:cubicBezTo>
                      <a:pt x="2" y="5"/>
                      <a:pt x="1" y="6"/>
                      <a:pt x="1" y="6"/>
                    </a:cubicBezTo>
                    <a:cubicBezTo>
                      <a:pt x="0" y="6"/>
                      <a:pt x="0" y="4"/>
                      <a:pt x="1" y="3"/>
                    </a:cubicBezTo>
                    <a:cubicBezTo>
                      <a:pt x="1" y="2"/>
                      <a:pt x="2" y="0"/>
                      <a:pt x="2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1" name="Freeform 2942"/>
              <p:cNvSpPr>
                <a:spLocks noChangeAspect="1"/>
              </p:cNvSpPr>
              <p:nvPr/>
            </p:nvSpPr>
            <p:spPr bwMode="auto">
              <a:xfrm>
                <a:off x="7842471" y="4354145"/>
                <a:ext cx="6542" cy="8121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3 w 4"/>
                  <a:gd name="T7" fmla="*/ 0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2" name="Freeform 2943"/>
              <p:cNvSpPr>
                <a:spLocks noChangeAspect="1"/>
              </p:cNvSpPr>
              <p:nvPr/>
            </p:nvSpPr>
            <p:spPr bwMode="auto">
              <a:xfrm>
                <a:off x="7832657" y="4363890"/>
                <a:ext cx="6542" cy="8121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3 w 4"/>
                  <a:gd name="T7" fmla="*/ 0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2" y="3"/>
                      <a:pt x="1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3" name="Freeform 2944"/>
              <p:cNvSpPr>
                <a:spLocks noChangeAspect="1"/>
              </p:cNvSpPr>
              <p:nvPr/>
            </p:nvSpPr>
            <p:spPr bwMode="auto">
              <a:xfrm>
                <a:off x="7814665" y="4372010"/>
                <a:ext cx="8178" cy="9745"/>
              </a:xfrm>
              <a:custGeom>
                <a:avLst/>
                <a:gdLst>
                  <a:gd name="T0" fmla="*/ 3 w 4"/>
                  <a:gd name="T1" fmla="*/ 5 h 5"/>
                  <a:gd name="T2" fmla="*/ 1 w 4"/>
                  <a:gd name="T3" fmla="*/ 5 h 5"/>
                  <a:gd name="T4" fmla="*/ 3 w 4"/>
                  <a:gd name="T5" fmla="*/ 2 h 5"/>
                  <a:gd name="T6" fmla="*/ 5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2" y="4"/>
                      <a:pt x="1" y="5"/>
                      <a:pt x="1" y="4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3" y="0"/>
                      <a:pt x="4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4" name="Freeform 2945"/>
              <p:cNvSpPr>
                <a:spLocks noChangeAspect="1"/>
              </p:cNvSpPr>
              <p:nvPr/>
            </p:nvSpPr>
            <p:spPr bwMode="auto">
              <a:xfrm>
                <a:off x="8558858" y="4618878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2 h 5"/>
                  <a:gd name="T6" fmla="*/ 2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1" y="4"/>
                      <a:pt x="1" y="5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2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5" name="Freeform 2946"/>
              <p:cNvSpPr>
                <a:spLocks noChangeAspect="1"/>
              </p:cNvSpPr>
              <p:nvPr/>
            </p:nvSpPr>
            <p:spPr bwMode="auto">
              <a:xfrm>
                <a:off x="8616103" y="4462961"/>
                <a:ext cx="3271" cy="16241"/>
              </a:xfrm>
              <a:custGeom>
                <a:avLst/>
                <a:gdLst>
                  <a:gd name="T0" fmla="*/ 2 w 2"/>
                  <a:gd name="T1" fmla="*/ 6 h 8"/>
                  <a:gd name="T2" fmla="*/ 1 w 2"/>
                  <a:gd name="T3" fmla="*/ 9 h 8"/>
                  <a:gd name="T4" fmla="*/ 0 w 2"/>
                  <a:gd name="T5" fmla="*/ 5 h 8"/>
                  <a:gd name="T6" fmla="*/ 1 w 2"/>
                  <a:gd name="T7" fmla="*/ 0 h 8"/>
                  <a:gd name="T8" fmla="*/ 2 w 2"/>
                  <a:gd name="T9" fmla="*/ 6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8"/>
                  <a:gd name="T17" fmla="*/ 2 w 2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8">
                    <a:moveTo>
                      <a:pt x="2" y="5"/>
                    </a:moveTo>
                    <a:cubicBezTo>
                      <a:pt x="2" y="6"/>
                      <a:pt x="1" y="8"/>
                      <a:pt x="1" y="7"/>
                    </a:cubicBezTo>
                    <a:cubicBezTo>
                      <a:pt x="0" y="7"/>
                      <a:pt x="0" y="5"/>
                      <a:pt x="0" y="4"/>
                    </a:cubicBezTo>
                    <a:cubicBezTo>
                      <a:pt x="0" y="3"/>
                      <a:pt x="0" y="0"/>
                      <a:pt x="1" y="0"/>
                    </a:cubicBezTo>
                    <a:cubicBezTo>
                      <a:pt x="2" y="1"/>
                      <a:pt x="2" y="3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6" name="Freeform 2947"/>
              <p:cNvSpPr>
                <a:spLocks noChangeAspect="1"/>
              </p:cNvSpPr>
              <p:nvPr/>
            </p:nvSpPr>
            <p:spPr bwMode="auto">
              <a:xfrm>
                <a:off x="8616103" y="4482451"/>
                <a:ext cx="3271" cy="12993"/>
              </a:xfrm>
              <a:custGeom>
                <a:avLst/>
                <a:gdLst>
                  <a:gd name="T0" fmla="*/ 2 w 2"/>
                  <a:gd name="T1" fmla="*/ 5 h 6"/>
                  <a:gd name="T2" fmla="*/ 1 w 2"/>
                  <a:gd name="T3" fmla="*/ 8 h 6"/>
                  <a:gd name="T4" fmla="*/ 0 w 2"/>
                  <a:gd name="T5" fmla="*/ 4 h 6"/>
                  <a:gd name="T6" fmla="*/ 1 w 2"/>
                  <a:gd name="T7" fmla="*/ 0 h 6"/>
                  <a:gd name="T8" fmla="*/ 2 w 2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6"/>
                  <a:gd name="T17" fmla="*/ 2 w 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6">
                    <a:moveTo>
                      <a:pt x="2" y="4"/>
                    </a:moveTo>
                    <a:cubicBezTo>
                      <a:pt x="2" y="4"/>
                      <a:pt x="1" y="6"/>
                      <a:pt x="1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7" name="Freeform 2948"/>
              <p:cNvSpPr>
                <a:spLocks noChangeAspect="1"/>
              </p:cNvSpPr>
              <p:nvPr/>
            </p:nvSpPr>
            <p:spPr bwMode="auto">
              <a:xfrm>
                <a:off x="8846722" y="4576650"/>
                <a:ext cx="8178" cy="9745"/>
              </a:xfrm>
              <a:custGeom>
                <a:avLst/>
                <a:gdLst>
                  <a:gd name="T0" fmla="*/ 3 w 4"/>
                  <a:gd name="T1" fmla="*/ 4 h 5"/>
                  <a:gd name="T2" fmla="*/ 1 w 4"/>
                  <a:gd name="T3" fmla="*/ 5 h 5"/>
                  <a:gd name="T4" fmla="*/ 3 w 4"/>
                  <a:gd name="T5" fmla="*/ 2 h 5"/>
                  <a:gd name="T6" fmla="*/ 5 w 4"/>
                  <a:gd name="T7" fmla="*/ 1 h 5"/>
                  <a:gd name="T8" fmla="*/ 3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3"/>
                    </a:moveTo>
                    <a:cubicBezTo>
                      <a:pt x="2" y="4"/>
                      <a:pt x="1" y="5"/>
                      <a:pt x="1" y="4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2" y="2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8" name="Freeform 2949"/>
              <p:cNvSpPr>
                <a:spLocks noChangeAspect="1"/>
              </p:cNvSpPr>
              <p:nvPr/>
            </p:nvSpPr>
            <p:spPr bwMode="auto">
              <a:xfrm>
                <a:off x="7572598" y="3746720"/>
                <a:ext cx="4907" cy="16241"/>
              </a:xfrm>
              <a:custGeom>
                <a:avLst/>
                <a:gdLst>
                  <a:gd name="T0" fmla="*/ 3 w 2"/>
                  <a:gd name="T1" fmla="*/ 7 h 9"/>
                  <a:gd name="T2" fmla="*/ 2 w 2"/>
                  <a:gd name="T3" fmla="*/ 10 h 9"/>
                  <a:gd name="T4" fmla="*/ 0 w 2"/>
                  <a:gd name="T5" fmla="*/ 6 h 9"/>
                  <a:gd name="T6" fmla="*/ 2 w 2"/>
                  <a:gd name="T7" fmla="*/ 1 h 9"/>
                  <a:gd name="T8" fmla="*/ 3 w 2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9"/>
                  <a:gd name="T17" fmla="*/ 2 w 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9">
                    <a:moveTo>
                      <a:pt x="2" y="6"/>
                    </a:moveTo>
                    <a:cubicBezTo>
                      <a:pt x="2" y="7"/>
                      <a:pt x="2" y="9"/>
                      <a:pt x="1" y="9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3"/>
                      <a:pt x="0" y="0"/>
                      <a:pt x="1" y="1"/>
                    </a:cubicBezTo>
                    <a:cubicBezTo>
                      <a:pt x="2" y="1"/>
                      <a:pt x="2" y="4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39" name="Freeform 2950"/>
              <p:cNvSpPr>
                <a:spLocks noChangeAspect="1"/>
              </p:cNvSpPr>
              <p:nvPr/>
            </p:nvSpPr>
            <p:spPr bwMode="auto">
              <a:xfrm>
                <a:off x="7502268" y="3672010"/>
                <a:ext cx="6542" cy="8121"/>
              </a:xfrm>
              <a:custGeom>
                <a:avLst/>
                <a:gdLst>
                  <a:gd name="T0" fmla="*/ 4 w 3"/>
                  <a:gd name="T1" fmla="*/ 3 h 4"/>
                  <a:gd name="T2" fmla="*/ 4 w 3"/>
                  <a:gd name="T3" fmla="*/ 5 h 4"/>
                  <a:gd name="T4" fmla="*/ 1 w 3"/>
                  <a:gd name="T5" fmla="*/ 3 h 4"/>
                  <a:gd name="T6" fmla="*/ 1 w 3"/>
                  <a:gd name="T7" fmla="*/ 0 h 4"/>
                  <a:gd name="T8" fmla="*/ 4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2"/>
                      <a:pt x="3" y="3"/>
                      <a:pt x="3" y="4"/>
                    </a:cubicBezTo>
                    <a:cubicBezTo>
                      <a:pt x="2" y="4"/>
                      <a:pt x="2" y="3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0" name="Freeform 2951"/>
              <p:cNvSpPr>
                <a:spLocks noChangeAspect="1"/>
              </p:cNvSpPr>
              <p:nvPr/>
            </p:nvSpPr>
            <p:spPr bwMode="auto">
              <a:xfrm>
                <a:off x="7479370" y="3688251"/>
                <a:ext cx="3271" cy="9745"/>
              </a:xfrm>
              <a:custGeom>
                <a:avLst/>
                <a:gdLst>
                  <a:gd name="T0" fmla="*/ 1 w 2"/>
                  <a:gd name="T1" fmla="*/ 5 h 5"/>
                  <a:gd name="T2" fmla="*/ 0 w 2"/>
                  <a:gd name="T3" fmla="*/ 6 h 5"/>
                  <a:gd name="T4" fmla="*/ 0 w 2"/>
                  <a:gd name="T5" fmla="*/ 4 h 5"/>
                  <a:gd name="T6" fmla="*/ 1 w 2"/>
                  <a:gd name="T7" fmla="*/ 1 h 5"/>
                  <a:gd name="T8" fmla="*/ 1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1" y="4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1" name="Freeform 2952"/>
              <p:cNvSpPr>
                <a:spLocks noChangeAspect="1"/>
              </p:cNvSpPr>
              <p:nvPr/>
            </p:nvSpPr>
            <p:spPr bwMode="auto">
              <a:xfrm>
                <a:off x="8239918" y="4290803"/>
                <a:ext cx="9814" cy="6497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3 h 4"/>
                  <a:gd name="T4" fmla="*/ 2 w 5"/>
                  <a:gd name="T5" fmla="*/ 2 h 4"/>
                  <a:gd name="T6" fmla="*/ 1 w 5"/>
                  <a:gd name="T7" fmla="*/ 0 h 4"/>
                  <a:gd name="T8" fmla="*/ 4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3" y="2"/>
                    </a:moveTo>
                    <a:cubicBezTo>
                      <a:pt x="4" y="2"/>
                      <a:pt x="5" y="3"/>
                      <a:pt x="4" y="3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2" name="Freeform 2953"/>
              <p:cNvSpPr>
                <a:spLocks noChangeAspect="1"/>
              </p:cNvSpPr>
              <p:nvPr/>
            </p:nvSpPr>
            <p:spPr bwMode="auto">
              <a:xfrm>
                <a:off x="8239918" y="4290803"/>
                <a:ext cx="9814" cy="6497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3 h 4"/>
                  <a:gd name="T4" fmla="*/ 2 w 5"/>
                  <a:gd name="T5" fmla="*/ 2 h 4"/>
                  <a:gd name="T6" fmla="*/ 1 w 5"/>
                  <a:gd name="T7" fmla="*/ 0 h 4"/>
                  <a:gd name="T8" fmla="*/ 4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3" y="2"/>
                    </a:moveTo>
                    <a:cubicBezTo>
                      <a:pt x="4" y="2"/>
                      <a:pt x="5" y="3"/>
                      <a:pt x="4" y="3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3" name="Freeform 2954"/>
              <p:cNvSpPr>
                <a:spLocks noChangeAspect="1"/>
              </p:cNvSpPr>
              <p:nvPr/>
            </p:nvSpPr>
            <p:spPr bwMode="auto">
              <a:xfrm>
                <a:off x="8259545" y="4360642"/>
                <a:ext cx="9814" cy="4873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3 h 3"/>
                  <a:gd name="T4" fmla="*/ 2 w 5"/>
                  <a:gd name="T5" fmla="*/ 2 h 3"/>
                  <a:gd name="T6" fmla="*/ 0 w 5"/>
                  <a:gd name="T7" fmla="*/ 1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4" y="1"/>
                      <a:pt x="5" y="2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4" name="Freeform 2955"/>
              <p:cNvSpPr>
                <a:spLocks noChangeAspect="1"/>
              </p:cNvSpPr>
              <p:nvPr/>
            </p:nvSpPr>
            <p:spPr bwMode="auto">
              <a:xfrm>
                <a:off x="8197393" y="4315166"/>
                <a:ext cx="8178" cy="8121"/>
              </a:xfrm>
              <a:custGeom>
                <a:avLst/>
                <a:gdLst>
                  <a:gd name="T0" fmla="*/ 4 w 4"/>
                  <a:gd name="T1" fmla="*/ 3 h 4"/>
                  <a:gd name="T2" fmla="*/ 5 w 4"/>
                  <a:gd name="T3" fmla="*/ 4 h 4"/>
                  <a:gd name="T4" fmla="*/ 1 w 4"/>
                  <a:gd name="T5" fmla="*/ 3 h 4"/>
                  <a:gd name="T6" fmla="*/ 0 w 4"/>
                  <a:gd name="T7" fmla="*/ 0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2"/>
                      <a:pt x="4" y="3"/>
                      <a:pt x="4" y="3"/>
                    </a:cubicBezTo>
                    <a:cubicBezTo>
                      <a:pt x="3" y="4"/>
                      <a:pt x="2" y="3"/>
                      <a:pt x="1" y="2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5" name="Freeform 2956"/>
              <p:cNvSpPr>
                <a:spLocks noChangeAspect="1"/>
              </p:cNvSpPr>
              <p:nvPr/>
            </p:nvSpPr>
            <p:spPr bwMode="auto">
              <a:xfrm>
                <a:off x="8298799" y="4178739"/>
                <a:ext cx="4907" cy="9745"/>
              </a:xfrm>
              <a:custGeom>
                <a:avLst/>
                <a:gdLst>
                  <a:gd name="T0" fmla="*/ 3 w 2"/>
                  <a:gd name="T1" fmla="*/ 5 h 5"/>
                  <a:gd name="T2" fmla="*/ 2 w 2"/>
                  <a:gd name="T3" fmla="*/ 6 h 5"/>
                  <a:gd name="T4" fmla="*/ 0 w 2"/>
                  <a:gd name="T5" fmla="*/ 4 h 5"/>
                  <a:gd name="T6" fmla="*/ 2 w 2"/>
                  <a:gd name="T7" fmla="*/ 1 h 5"/>
                  <a:gd name="T8" fmla="*/ 3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4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6" name="Freeform 2957"/>
              <p:cNvSpPr>
                <a:spLocks noChangeAspect="1"/>
              </p:cNvSpPr>
              <p:nvPr/>
            </p:nvSpPr>
            <p:spPr bwMode="auto">
              <a:xfrm>
                <a:off x="7706716" y="4266442"/>
                <a:ext cx="8178" cy="9745"/>
              </a:xfrm>
              <a:custGeom>
                <a:avLst/>
                <a:gdLst>
                  <a:gd name="T0" fmla="*/ 3 w 4"/>
                  <a:gd name="T1" fmla="*/ 5 h 5"/>
                  <a:gd name="T2" fmla="*/ 0 w 4"/>
                  <a:gd name="T3" fmla="*/ 5 h 5"/>
                  <a:gd name="T4" fmla="*/ 1 w 4"/>
                  <a:gd name="T5" fmla="*/ 2 h 5"/>
                  <a:gd name="T6" fmla="*/ 4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1" y="4"/>
                      <a:pt x="1" y="5"/>
                      <a:pt x="0" y="4"/>
                    </a:cubicBezTo>
                    <a:cubicBezTo>
                      <a:pt x="0" y="4"/>
                      <a:pt x="1" y="3"/>
                      <a:pt x="1" y="2"/>
                    </a:cubicBezTo>
                    <a:cubicBezTo>
                      <a:pt x="2" y="2"/>
                      <a:pt x="3" y="0"/>
                      <a:pt x="3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7" name="Freeform 2958"/>
              <p:cNvSpPr>
                <a:spLocks noChangeAspect="1"/>
              </p:cNvSpPr>
              <p:nvPr/>
            </p:nvSpPr>
            <p:spPr bwMode="auto">
              <a:xfrm>
                <a:off x="7763963" y="4185235"/>
                <a:ext cx="4907" cy="12993"/>
              </a:xfrm>
              <a:custGeom>
                <a:avLst/>
                <a:gdLst>
                  <a:gd name="T0" fmla="*/ 2 w 3"/>
                  <a:gd name="T1" fmla="*/ 6 h 7"/>
                  <a:gd name="T2" fmla="*/ 1 w 3"/>
                  <a:gd name="T3" fmla="*/ 8 h 7"/>
                  <a:gd name="T4" fmla="*/ 1 w 3"/>
                  <a:gd name="T5" fmla="*/ 5 h 7"/>
                  <a:gd name="T6" fmla="*/ 3 w 3"/>
                  <a:gd name="T7" fmla="*/ 1 h 7"/>
                  <a:gd name="T8" fmla="*/ 2 w 3"/>
                  <a:gd name="T9" fmla="*/ 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7"/>
                  <a:gd name="T17" fmla="*/ 3 w 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7">
                    <a:moveTo>
                      <a:pt x="2" y="5"/>
                    </a:moveTo>
                    <a:cubicBezTo>
                      <a:pt x="2" y="6"/>
                      <a:pt x="1" y="7"/>
                      <a:pt x="1" y="7"/>
                    </a:cubicBezTo>
                    <a:cubicBezTo>
                      <a:pt x="0" y="7"/>
                      <a:pt x="1" y="5"/>
                      <a:pt x="1" y="4"/>
                    </a:cubicBezTo>
                    <a:cubicBezTo>
                      <a:pt x="1" y="3"/>
                      <a:pt x="2" y="0"/>
                      <a:pt x="3" y="1"/>
                    </a:cubicBezTo>
                    <a:cubicBezTo>
                      <a:pt x="3" y="1"/>
                      <a:pt x="3" y="4"/>
                      <a:pt x="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8" name="Freeform 2959"/>
              <p:cNvSpPr>
                <a:spLocks noChangeAspect="1"/>
              </p:cNvSpPr>
              <p:nvPr/>
            </p:nvSpPr>
            <p:spPr bwMode="auto">
              <a:xfrm>
                <a:off x="7638022" y="4133263"/>
                <a:ext cx="8178" cy="8121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5 h 4"/>
                  <a:gd name="T4" fmla="*/ 1 w 4"/>
                  <a:gd name="T5" fmla="*/ 3 h 4"/>
                  <a:gd name="T6" fmla="*/ 5 w 4"/>
                  <a:gd name="T7" fmla="*/ 1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49" name="Freeform 2960"/>
              <p:cNvSpPr>
                <a:spLocks noChangeAspect="1"/>
              </p:cNvSpPr>
              <p:nvPr/>
            </p:nvSpPr>
            <p:spPr bwMode="auto">
              <a:xfrm>
                <a:off x="7672370" y="4035815"/>
                <a:ext cx="9814" cy="6497"/>
              </a:xfrm>
              <a:custGeom>
                <a:avLst/>
                <a:gdLst>
                  <a:gd name="T0" fmla="*/ 4 w 5"/>
                  <a:gd name="T1" fmla="*/ 1 h 3"/>
                  <a:gd name="T2" fmla="*/ 5 w 5"/>
                  <a:gd name="T3" fmla="*/ 4 h 3"/>
                  <a:gd name="T4" fmla="*/ 2 w 5"/>
                  <a:gd name="T5" fmla="*/ 3 h 3"/>
                  <a:gd name="T6" fmla="*/ 0 w 5"/>
                  <a:gd name="T7" fmla="*/ 0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4" y="2"/>
                      <a:pt x="5" y="2"/>
                      <a:pt x="4" y="3"/>
                    </a:cubicBezTo>
                    <a:cubicBezTo>
                      <a:pt x="4" y="3"/>
                      <a:pt x="3" y="3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0" name="Freeform 2961"/>
              <p:cNvSpPr>
                <a:spLocks noChangeAspect="1"/>
              </p:cNvSpPr>
              <p:nvPr/>
            </p:nvSpPr>
            <p:spPr bwMode="auto">
              <a:xfrm>
                <a:off x="7587319" y="4092659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6 h 5"/>
                  <a:gd name="T4" fmla="*/ 1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2" y="5"/>
                    </a:cubicBezTo>
                    <a:cubicBezTo>
                      <a:pt x="1" y="5"/>
                      <a:pt x="1" y="3"/>
                      <a:pt x="1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1" name="Freeform 2962"/>
              <p:cNvSpPr>
                <a:spLocks noChangeAspect="1"/>
              </p:cNvSpPr>
              <p:nvPr/>
            </p:nvSpPr>
            <p:spPr bwMode="auto">
              <a:xfrm>
                <a:off x="7510446" y="4339527"/>
                <a:ext cx="8178" cy="6497"/>
              </a:xfrm>
              <a:custGeom>
                <a:avLst/>
                <a:gdLst>
                  <a:gd name="T0" fmla="*/ 3 w 4"/>
                  <a:gd name="T1" fmla="*/ 3 h 4"/>
                  <a:gd name="T2" fmla="*/ 0 w 4"/>
                  <a:gd name="T3" fmla="*/ 4 h 4"/>
                  <a:gd name="T4" fmla="*/ 1 w 4"/>
                  <a:gd name="T5" fmla="*/ 2 h 4"/>
                  <a:gd name="T6" fmla="*/ 5 w 4"/>
                  <a:gd name="T7" fmla="*/ 0 h 4"/>
                  <a:gd name="T8" fmla="*/ 3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4" y="1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2" name="Freeform 2963"/>
              <p:cNvSpPr>
                <a:spLocks noChangeAspect="1"/>
              </p:cNvSpPr>
              <p:nvPr/>
            </p:nvSpPr>
            <p:spPr bwMode="auto">
              <a:xfrm>
                <a:off x="8607926" y="4497069"/>
                <a:ext cx="8178" cy="4873"/>
              </a:xfrm>
              <a:custGeom>
                <a:avLst/>
                <a:gdLst>
                  <a:gd name="T0" fmla="*/ 3 w 4"/>
                  <a:gd name="T1" fmla="*/ 3 h 3"/>
                  <a:gd name="T2" fmla="*/ 0 w 4"/>
                  <a:gd name="T3" fmla="*/ 2 h 3"/>
                  <a:gd name="T4" fmla="*/ 3 w 4"/>
                  <a:gd name="T5" fmla="*/ 1 h 3"/>
                  <a:gd name="T6" fmla="*/ 4 w 4"/>
                  <a:gd name="T7" fmla="*/ 1 h 3"/>
                  <a:gd name="T8" fmla="*/ 3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3"/>
                    </a:moveTo>
                    <a:cubicBezTo>
                      <a:pt x="1" y="3"/>
                      <a:pt x="1" y="3"/>
                      <a:pt x="0" y="2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2" y="1"/>
                      <a:pt x="3" y="0"/>
                      <a:pt x="3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3" name="Freeform 2964"/>
              <p:cNvSpPr>
                <a:spLocks noChangeAspect="1"/>
              </p:cNvSpPr>
              <p:nvPr/>
            </p:nvSpPr>
            <p:spPr bwMode="auto">
              <a:xfrm>
                <a:off x="8625917" y="4566906"/>
                <a:ext cx="6542" cy="8121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4 h 4"/>
                  <a:gd name="T4" fmla="*/ 1 w 4"/>
                  <a:gd name="T5" fmla="*/ 0 h 4"/>
                  <a:gd name="T6" fmla="*/ 3 w 4"/>
                  <a:gd name="T7" fmla="*/ 1 h 4"/>
                  <a:gd name="T8" fmla="*/ 2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" y="3"/>
                      <a:pt x="2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4" name="Freeform 2965"/>
              <p:cNvSpPr>
                <a:spLocks noChangeAspect="1"/>
              </p:cNvSpPr>
              <p:nvPr/>
            </p:nvSpPr>
            <p:spPr bwMode="auto">
              <a:xfrm>
                <a:off x="8612832" y="4510062"/>
                <a:ext cx="6542" cy="6497"/>
              </a:xfrm>
              <a:custGeom>
                <a:avLst/>
                <a:gdLst>
                  <a:gd name="T0" fmla="*/ 1 w 3"/>
                  <a:gd name="T1" fmla="*/ 4 h 3"/>
                  <a:gd name="T2" fmla="*/ 0 w 3"/>
                  <a:gd name="T3" fmla="*/ 3 h 3"/>
                  <a:gd name="T4" fmla="*/ 1 w 3"/>
                  <a:gd name="T5" fmla="*/ 1 h 3"/>
                  <a:gd name="T6" fmla="*/ 4 w 3"/>
                  <a:gd name="T7" fmla="*/ 1 h 3"/>
                  <a:gd name="T8" fmla="*/ 1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5" name="Freeform 2966"/>
              <p:cNvSpPr>
                <a:spLocks noChangeAspect="1"/>
              </p:cNvSpPr>
              <p:nvPr/>
            </p:nvSpPr>
            <p:spPr bwMode="auto">
              <a:xfrm>
                <a:off x="8612832" y="4539296"/>
                <a:ext cx="6542" cy="6497"/>
              </a:xfrm>
              <a:custGeom>
                <a:avLst/>
                <a:gdLst>
                  <a:gd name="T0" fmla="*/ 1 w 3"/>
                  <a:gd name="T1" fmla="*/ 3 h 3"/>
                  <a:gd name="T2" fmla="*/ 0 w 3"/>
                  <a:gd name="T3" fmla="*/ 3 h 3"/>
                  <a:gd name="T4" fmla="*/ 1 w 3"/>
                  <a:gd name="T5" fmla="*/ 0 h 3"/>
                  <a:gd name="T6" fmla="*/ 4 w 3"/>
                  <a:gd name="T7" fmla="*/ 1 h 3"/>
                  <a:gd name="T8" fmla="*/ 1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6" name="Freeform 2967"/>
              <p:cNvSpPr>
                <a:spLocks noChangeAspect="1"/>
              </p:cNvSpPr>
              <p:nvPr/>
            </p:nvSpPr>
            <p:spPr bwMode="auto">
              <a:xfrm>
                <a:off x="7459743" y="3504724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7" name="Freeform 2968"/>
              <p:cNvSpPr>
                <a:spLocks noChangeAspect="1"/>
              </p:cNvSpPr>
              <p:nvPr/>
            </p:nvSpPr>
            <p:spPr bwMode="auto">
              <a:xfrm>
                <a:off x="7521895" y="3779203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1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8" name="Freeform 2969"/>
              <p:cNvSpPr>
                <a:spLocks noChangeAspect="1"/>
              </p:cNvSpPr>
              <p:nvPr/>
            </p:nvSpPr>
            <p:spPr bwMode="auto">
              <a:xfrm>
                <a:off x="7474463" y="3662265"/>
                <a:ext cx="8178" cy="8121"/>
              </a:xfrm>
              <a:custGeom>
                <a:avLst/>
                <a:gdLst>
                  <a:gd name="T0" fmla="*/ 5 w 4"/>
                  <a:gd name="T1" fmla="*/ 3 h 4"/>
                  <a:gd name="T2" fmla="*/ 3 w 4"/>
                  <a:gd name="T3" fmla="*/ 5 h 4"/>
                  <a:gd name="T4" fmla="*/ 0 w 4"/>
                  <a:gd name="T5" fmla="*/ 3 h 4"/>
                  <a:gd name="T6" fmla="*/ 3 w 4"/>
                  <a:gd name="T7" fmla="*/ 0 h 4"/>
                  <a:gd name="T8" fmla="*/ 5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4" y="2"/>
                    </a:moveTo>
                    <a:cubicBezTo>
                      <a:pt x="4" y="3"/>
                      <a:pt x="3" y="4"/>
                      <a:pt x="2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4" y="1"/>
                      <a:pt x="4" y="2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59" name="Freeform 2970"/>
              <p:cNvSpPr>
                <a:spLocks noChangeAspect="1"/>
              </p:cNvSpPr>
              <p:nvPr/>
            </p:nvSpPr>
            <p:spPr bwMode="auto">
              <a:xfrm>
                <a:off x="8568672" y="4341152"/>
                <a:ext cx="8178" cy="4873"/>
              </a:xfrm>
              <a:custGeom>
                <a:avLst/>
                <a:gdLst>
                  <a:gd name="T0" fmla="*/ 3 w 4"/>
                  <a:gd name="T1" fmla="*/ 2 h 3"/>
                  <a:gd name="T2" fmla="*/ 1 w 4"/>
                  <a:gd name="T3" fmla="*/ 2 h 3"/>
                  <a:gd name="T4" fmla="*/ 1 w 4"/>
                  <a:gd name="T5" fmla="*/ 1 h 3"/>
                  <a:gd name="T6" fmla="*/ 4 w 4"/>
                  <a:gd name="T7" fmla="*/ 0 h 3"/>
                  <a:gd name="T8" fmla="*/ 3 w 4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4" y="1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0" name="Freeform 2971"/>
              <p:cNvSpPr>
                <a:spLocks noChangeAspect="1"/>
              </p:cNvSpPr>
              <p:nvPr/>
            </p:nvSpPr>
            <p:spPr bwMode="auto">
              <a:xfrm>
                <a:off x="8192487" y="4303796"/>
                <a:ext cx="6542" cy="8121"/>
              </a:xfrm>
              <a:custGeom>
                <a:avLst/>
                <a:gdLst>
                  <a:gd name="T0" fmla="*/ 3 w 3"/>
                  <a:gd name="T1" fmla="*/ 3 h 4"/>
                  <a:gd name="T2" fmla="*/ 4 w 3"/>
                  <a:gd name="T3" fmla="*/ 4 h 4"/>
                  <a:gd name="T4" fmla="*/ 1 w 3"/>
                  <a:gd name="T5" fmla="*/ 4 h 4"/>
                  <a:gd name="T6" fmla="*/ 0 w 3"/>
                  <a:gd name="T7" fmla="*/ 1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1" name="Freeform 2972"/>
              <p:cNvSpPr>
                <a:spLocks noChangeAspect="1"/>
              </p:cNvSpPr>
              <p:nvPr/>
            </p:nvSpPr>
            <p:spPr bwMode="auto">
              <a:xfrm>
                <a:off x="8185944" y="4102404"/>
                <a:ext cx="6542" cy="6497"/>
              </a:xfrm>
              <a:custGeom>
                <a:avLst/>
                <a:gdLst>
                  <a:gd name="T0" fmla="*/ 2 w 4"/>
                  <a:gd name="T1" fmla="*/ 3 h 3"/>
                  <a:gd name="T2" fmla="*/ 0 w 4"/>
                  <a:gd name="T3" fmla="*/ 3 h 3"/>
                  <a:gd name="T4" fmla="*/ 2 w 4"/>
                  <a:gd name="T5" fmla="*/ 0 h 3"/>
                  <a:gd name="T6" fmla="*/ 4 w 4"/>
                  <a:gd name="T7" fmla="*/ 1 h 3"/>
                  <a:gd name="T8" fmla="*/ 2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2" name="Oval 2973"/>
              <p:cNvSpPr>
                <a:spLocks noChangeAspect="1" noChangeArrowheads="1"/>
              </p:cNvSpPr>
              <p:nvPr/>
            </p:nvSpPr>
            <p:spPr bwMode="auto">
              <a:xfrm>
                <a:off x="7709988" y="4061801"/>
                <a:ext cx="6542" cy="9745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3" name="Freeform 2974"/>
              <p:cNvSpPr>
                <a:spLocks noChangeAspect="1"/>
              </p:cNvSpPr>
              <p:nvPr/>
            </p:nvSpPr>
            <p:spPr bwMode="auto">
              <a:xfrm>
                <a:off x="7515353" y="4149504"/>
                <a:ext cx="6542" cy="6497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4 h 3"/>
                  <a:gd name="T4" fmla="*/ 1 w 3"/>
                  <a:gd name="T5" fmla="*/ 3 h 3"/>
                  <a:gd name="T6" fmla="*/ 0 w 3"/>
                  <a:gd name="T7" fmla="*/ 0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4" name="Freeform 2975"/>
              <p:cNvSpPr>
                <a:spLocks noChangeAspect="1"/>
              </p:cNvSpPr>
              <p:nvPr/>
            </p:nvSpPr>
            <p:spPr bwMode="auto">
              <a:xfrm>
                <a:off x="7294548" y="4625374"/>
                <a:ext cx="3271" cy="8121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4 h 4"/>
                  <a:gd name="T4" fmla="*/ 0 w 2"/>
                  <a:gd name="T5" fmla="*/ 3 h 4"/>
                  <a:gd name="T6" fmla="*/ 2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5" name="Freeform 2976"/>
              <p:cNvSpPr>
                <a:spLocks noChangeAspect="1"/>
              </p:cNvSpPr>
              <p:nvPr/>
            </p:nvSpPr>
            <p:spPr bwMode="auto">
              <a:xfrm>
                <a:off x="7971682" y="5177579"/>
                <a:ext cx="1636" cy="487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2 h 3"/>
                  <a:gd name="T4" fmla="*/ 0 w 1"/>
                  <a:gd name="T5" fmla="*/ 1 h 3"/>
                  <a:gd name="T6" fmla="*/ 0 w 1"/>
                  <a:gd name="T7" fmla="*/ 0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6" name="Freeform 2977"/>
              <p:cNvSpPr>
                <a:spLocks noChangeAspect="1"/>
              </p:cNvSpPr>
              <p:nvPr/>
            </p:nvSpPr>
            <p:spPr bwMode="auto">
              <a:xfrm>
                <a:off x="7961868" y="5317254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7" name="Freeform 2978"/>
              <p:cNvSpPr>
                <a:spLocks noChangeAspect="1"/>
              </p:cNvSpPr>
              <p:nvPr/>
            </p:nvSpPr>
            <p:spPr bwMode="auto">
              <a:xfrm>
                <a:off x="7744335" y="4352520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8" name="Freeform 2979"/>
              <p:cNvSpPr>
                <a:spLocks noChangeAspect="1"/>
              </p:cNvSpPr>
              <p:nvPr/>
            </p:nvSpPr>
            <p:spPr bwMode="auto">
              <a:xfrm>
                <a:off x="8637367" y="4612381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69" name="Freeform 2980"/>
              <p:cNvSpPr>
                <a:spLocks noChangeAspect="1"/>
              </p:cNvSpPr>
              <p:nvPr/>
            </p:nvSpPr>
            <p:spPr bwMode="auto">
              <a:xfrm>
                <a:off x="8571943" y="4683843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0" name="Oval 2981"/>
              <p:cNvSpPr>
                <a:spLocks noChangeAspect="1" noChangeArrowheads="1"/>
              </p:cNvSpPr>
              <p:nvPr/>
            </p:nvSpPr>
            <p:spPr bwMode="auto">
              <a:xfrm>
                <a:off x="8601384" y="4430479"/>
                <a:ext cx="1636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1" name="Freeform 2982"/>
              <p:cNvSpPr>
                <a:spLocks noChangeAspect="1"/>
              </p:cNvSpPr>
              <p:nvPr/>
            </p:nvSpPr>
            <p:spPr bwMode="auto">
              <a:xfrm>
                <a:off x="8599748" y="4441848"/>
                <a:ext cx="1636" cy="6497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0 w 1"/>
                  <a:gd name="T7" fmla="*/ 0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2" name="Freeform 2983"/>
              <p:cNvSpPr>
                <a:spLocks noChangeAspect="1"/>
              </p:cNvSpPr>
              <p:nvPr/>
            </p:nvSpPr>
            <p:spPr bwMode="auto">
              <a:xfrm>
                <a:off x="8627553" y="4589644"/>
                <a:ext cx="4907" cy="8121"/>
              </a:xfrm>
              <a:custGeom>
                <a:avLst/>
                <a:gdLst>
                  <a:gd name="T0" fmla="*/ 2 w 3"/>
                  <a:gd name="T1" fmla="*/ 3 h 4"/>
                  <a:gd name="T2" fmla="*/ 1 w 3"/>
                  <a:gd name="T3" fmla="*/ 5 h 4"/>
                  <a:gd name="T4" fmla="*/ 0 w 3"/>
                  <a:gd name="T5" fmla="*/ 3 h 4"/>
                  <a:gd name="T6" fmla="*/ 1 w 3"/>
                  <a:gd name="T7" fmla="*/ 0 h 4"/>
                  <a:gd name="T8" fmla="*/ 2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2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3" name="Freeform 2984"/>
              <p:cNvSpPr>
                <a:spLocks noChangeAspect="1"/>
              </p:cNvSpPr>
              <p:nvPr/>
            </p:nvSpPr>
            <p:spPr bwMode="auto">
              <a:xfrm>
                <a:off x="8606290" y="4475954"/>
                <a:ext cx="3271" cy="487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2 h 3"/>
                  <a:gd name="T4" fmla="*/ 0 w 2"/>
                  <a:gd name="T5" fmla="*/ 1 h 3"/>
                  <a:gd name="T6" fmla="*/ 2 w 2"/>
                  <a:gd name="T7" fmla="*/ 1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4" name="Freeform 2985"/>
              <p:cNvSpPr>
                <a:spLocks noChangeAspect="1"/>
              </p:cNvSpPr>
              <p:nvPr/>
            </p:nvSpPr>
            <p:spPr bwMode="auto">
              <a:xfrm>
                <a:off x="8881069" y="4550664"/>
                <a:ext cx="1636" cy="4873"/>
              </a:xfrm>
              <a:custGeom>
                <a:avLst/>
                <a:gdLst>
                  <a:gd name="T0" fmla="*/ 0 w 1"/>
                  <a:gd name="T1" fmla="*/ 2 h 2"/>
                  <a:gd name="T2" fmla="*/ 0 w 1"/>
                  <a:gd name="T3" fmla="*/ 3 h 2"/>
                  <a:gd name="T4" fmla="*/ 1 w 1"/>
                  <a:gd name="T5" fmla="*/ 2 h 2"/>
                  <a:gd name="T6" fmla="*/ 0 w 1"/>
                  <a:gd name="T7" fmla="*/ 0 h 2"/>
                  <a:gd name="T8" fmla="*/ 0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0" y="1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5" name="Freeform 2986"/>
              <p:cNvSpPr>
                <a:spLocks noChangeAspect="1"/>
              </p:cNvSpPr>
              <p:nvPr/>
            </p:nvSpPr>
            <p:spPr bwMode="auto">
              <a:xfrm>
                <a:off x="8885976" y="4527927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6" name="Freeform 2987"/>
              <p:cNvSpPr>
                <a:spLocks noChangeAspect="1"/>
              </p:cNvSpPr>
              <p:nvPr/>
            </p:nvSpPr>
            <p:spPr bwMode="auto">
              <a:xfrm>
                <a:off x="8902332" y="4516558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1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7" name="Freeform 2988"/>
              <p:cNvSpPr>
                <a:spLocks noChangeAspect="1"/>
              </p:cNvSpPr>
              <p:nvPr/>
            </p:nvSpPr>
            <p:spPr bwMode="auto">
              <a:xfrm>
                <a:off x="8895789" y="4510062"/>
                <a:ext cx="4907" cy="6497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3 h 3"/>
                  <a:gd name="T4" fmla="*/ 0 w 2"/>
                  <a:gd name="T5" fmla="*/ 1 h 3"/>
                  <a:gd name="T6" fmla="*/ 3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8" name="Freeform 2989"/>
              <p:cNvSpPr>
                <a:spLocks noChangeAspect="1"/>
              </p:cNvSpPr>
              <p:nvPr/>
            </p:nvSpPr>
            <p:spPr bwMode="auto">
              <a:xfrm>
                <a:off x="7603675" y="3244863"/>
                <a:ext cx="3271" cy="6497"/>
              </a:xfrm>
              <a:custGeom>
                <a:avLst/>
                <a:gdLst>
                  <a:gd name="T0" fmla="*/ 2 w 1"/>
                  <a:gd name="T1" fmla="*/ 3 h 3"/>
                  <a:gd name="T2" fmla="*/ 0 w 1"/>
                  <a:gd name="T3" fmla="*/ 4 h 3"/>
                  <a:gd name="T4" fmla="*/ 0 w 1"/>
                  <a:gd name="T5" fmla="*/ 3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79" name="Freeform 2990"/>
              <p:cNvSpPr>
                <a:spLocks noChangeAspect="1"/>
              </p:cNvSpPr>
              <p:nvPr/>
            </p:nvSpPr>
            <p:spPr bwMode="auto">
              <a:xfrm>
                <a:off x="7446658" y="3490107"/>
                <a:ext cx="4907" cy="4873"/>
              </a:xfrm>
              <a:custGeom>
                <a:avLst/>
                <a:gdLst>
                  <a:gd name="T0" fmla="*/ 3 w 2"/>
                  <a:gd name="T1" fmla="*/ 3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3 w 2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2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0" name="Freeform 2991"/>
              <p:cNvSpPr>
                <a:spLocks noChangeAspect="1"/>
              </p:cNvSpPr>
              <p:nvPr/>
            </p:nvSpPr>
            <p:spPr bwMode="auto">
              <a:xfrm>
                <a:off x="7427031" y="3741847"/>
                <a:ext cx="4907" cy="6497"/>
              </a:xfrm>
              <a:custGeom>
                <a:avLst/>
                <a:gdLst>
                  <a:gd name="T0" fmla="*/ 2 w 2"/>
                  <a:gd name="T1" fmla="*/ 4 h 3"/>
                  <a:gd name="T2" fmla="*/ 0 w 2"/>
                  <a:gd name="T3" fmla="*/ 4 h 3"/>
                  <a:gd name="T4" fmla="*/ 0 w 2"/>
                  <a:gd name="T5" fmla="*/ 3 h 3"/>
                  <a:gd name="T6" fmla="*/ 3 w 2"/>
                  <a:gd name="T7" fmla="*/ 1 h 3"/>
                  <a:gd name="T8" fmla="*/ 2 w 2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1" name="Freeform 2992"/>
              <p:cNvSpPr>
                <a:spLocks noChangeAspect="1"/>
              </p:cNvSpPr>
              <p:nvPr/>
            </p:nvSpPr>
            <p:spPr bwMode="auto">
              <a:xfrm>
                <a:off x="7505540" y="3644399"/>
                <a:ext cx="6542" cy="4873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2" name="Freeform 2993"/>
              <p:cNvSpPr>
                <a:spLocks noChangeAspect="1"/>
              </p:cNvSpPr>
              <p:nvPr/>
            </p:nvSpPr>
            <p:spPr bwMode="auto">
              <a:xfrm>
                <a:off x="7582412" y="3761337"/>
                <a:ext cx="4907" cy="8121"/>
              </a:xfrm>
              <a:custGeom>
                <a:avLst/>
                <a:gdLst>
                  <a:gd name="T0" fmla="*/ 3 w 2"/>
                  <a:gd name="T1" fmla="*/ 3 h 4"/>
                  <a:gd name="T2" fmla="*/ 2 w 2"/>
                  <a:gd name="T3" fmla="*/ 4 h 4"/>
                  <a:gd name="T4" fmla="*/ 0 w 2"/>
                  <a:gd name="T5" fmla="*/ 3 h 4"/>
                  <a:gd name="T6" fmla="*/ 2 w 2"/>
                  <a:gd name="T7" fmla="*/ 1 h 4"/>
                  <a:gd name="T8" fmla="*/ 3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3" name="Freeform 2994"/>
              <p:cNvSpPr>
                <a:spLocks noChangeAspect="1"/>
              </p:cNvSpPr>
              <p:nvPr/>
            </p:nvSpPr>
            <p:spPr bwMode="auto">
              <a:xfrm>
                <a:off x="7515353" y="3683378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4 h 3"/>
                  <a:gd name="T4" fmla="*/ 1 w 3"/>
                  <a:gd name="T5" fmla="*/ 3 h 3"/>
                  <a:gd name="T6" fmla="*/ 1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3" y="3"/>
                      <a:pt x="2" y="3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4" name="Freeform 2995"/>
              <p:cNvSpPr>
                <a:spLocks noChangeAspect="1"/>
              </p:cNvSpPr>
              <p:nvPr/>
            </p:nvSpPr>
            <p:spPr bwMode="auto">
              <a:xfrm>
                <a:off x="7430303" y="3650896"/>
                <a:ext cx="4907" cy="4873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3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5" name="Freeform 2996"/>
              <p:cNvSpPr>
                <a:spLocks noChangeAspect="1"/>
              </p:cNvSpPr>
              <p:nvPr/>
            </p:nvSpPr>
            <p:spPr bwMode="auto">
              <a:xfrm>
                <a:off x="7544794" y="3779203"/>
                <a:ext cx="4907" cy="6497"/>
              </a:xfrm>
              <a:custGeom>
                <a:avLst/>
                <a:gdLst>
                  <a:gd name="T0" fmla="*/ 3 w 2"/>
                  <a:gd name="T1" fmla="*/ 1 h 3"/>
                  <a:gd name="T2" fmla="*/ 3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6" name="Freeform 2997"/>
              <p:cNvSpPr>
                <a:spLocks noChangeAspect="1"/>
              </p:cNvSpPr>
              <p:nvPr/>
            </p:nvSpPr>
            <p:spPr bwMode="auto">
              <a:xfrm>
                <a:off x="7422124" y="3712613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7" name="Freeform 2998"/>
              <p:cNvSpPr>
                <a:spLocks noChangeAspect="1"/>
              </p:cNvSpPr>
              <p:nvPr/>
            </p:nvSpPr>
            <p:spPr bwMode="auto">
              <a:xfrm>
                <a:off x="7454836" y="3733727"/>
                <a:ext cx="4907" cy="6497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8" name="Freeform 2999"/>
              <p:cNvSpPr>
                <a:spLocks noChangeAspect="1"/>
              </p:cNvSpPr>
              <p:nvPr/>
            </p:nvSpPr>
            <p:spPr bwMode="auto">
              <a:xfrm>
                <a:off x="8588299" y="4368762"/>
                <a:ext cx="4907" cy="4873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2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2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89" name="Freeform 3000"/>
              <p:cNvSpPr>
                <a:spLocks noChangeAspect="1"/>
              </p:cNvSpPr>
              <p:nvPr/>
            </p:nvSpPr>
            <p:spPr bwMode="auto">
              <a:xfrm>
                <a:off x="8581757" y="4355769"/>
                <a:ext cx="4907" cy="4873"/>
              </a:xfrm>
              <a:custGeom>
                <a:avLst/>
                <a:gdLst>
                  <a:gd name="T0" fmla="*/ 3 w 2"/>
                  <a:gd name="T1" fmla="*/ 2 h 2"/>
                  <a:gd name="T2" fmla="*/ 2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3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0" name="Freeform 3001"/>
              <p:cNvSpPr>
                <a:spLocks noChangeAspect="1"/>
              </p:cNvSpPr>
              <p:nvPr/>
            </p:nvSpPr>
            <p:spPr bwMode="auto">
              <a:xfrm>
                <a:off x="8463994" y="4310293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1" name="Freeform 3002"/>
              <p:cNvSpPr>
                <a:spLocks noChangeAspect="1"/>
              </p:cNvSpPr>
              <p:nvPr/>
            </p:nvSpPr>
            <p:spPr bwMode="auto">
              <a:xfrm>
                <a:off x="8375672" y="4277810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3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2" name="Freeform 3003"/>
              <p:cNvSpPr>
                <a:spLocks noChangeAspect="1"/>
              </p:cNvSpPr>
              <p:nvPr/>
            </p:nvSpPr>
            <p:spPr bwMode="auto">
              <a:xfrm>
                <a:off x="8356045" y="4281059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2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3" name="Freeform 3004"/>
              <p:cNvSpPr>
                <a:spLocks noChangeAspect="1"/>
              </p:cNvSpPr>
              <p:nvPr/>
            </p:nvSpPr>
            <p:spPr bwMode="auto">
              <a:xfrm>
                <a:off x="8333147" y="4227463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4" name="Freeform 3005"/>
              <p:cNvSpPr>
                <a:spLocks noChangeAspect="1"/>
              </p:cNvSpPr>
              <p:nvPr/>
            </p:nvSpPr>
            <p:spPr bwMode="auto">
              <a:xfrm>
                <a:off x="8320062" y="4235583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5" name="Freeform 3006"/>
              <p:cNvSpPr>
                <a:spLocks noChangeAspect="1"/>
              </p:cNvSpPr>
              <p:nvPr/>
            </p:nvSpPr>
            <p:spPr bwMode="auto">
              <a:xfrm>
                <a:off x="8414927" y="4277810"/>
                <a:ext cx="6542" cy="6497"/>
              </a:xfrm>
              <a:custGeom>
                <a:avLst/>
                <a:gdLst>
                  <a:gd name="T0" fmla="*/ 3 w 3"/>
                  <a:gd name="T1" fmla="*/ 1 h 3"/>
                  <a:gd name="T2" fmla="*/ 3 w 3"/>
                  <a:gd name="T3" fmla="*/ 3 h 3"/>
                  <a:gd name="T4" fmla="*/ 1 w 3"/>
                  <a:gd name="T5" fmla="*/ 3 h 3"/>
                  <a:gd name="T6" fmla="*/ 0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6" name="Freeform 3007"/>
              <p:cNvSpPr>
                <a:spLocks noChangeAspect="1"/>
              </p:cNvSpPr>
              <p:nvPr/>
            </p:nvSpPr>
            <p:spPr bwMode="auto">
              <a:xfrm>
                <a:off x="8364223" y="4282683"/>
                <a:ext cx="4907" cy="4873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2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3" y="2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2"/>
                      <a:pt x="1" y="1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7" name="Freeform 3008"/>
              <p:cNvSpPr>
                <a:spLocks noChangeAspect="1"/>
              </p:cNvSpPr>
              <p:nvPr/>
            </p:nvSpPr>
            <p:spPr bwMode="auto">
              <a:xfrm>
                <a:off x="8344596" y="4255073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0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8" name="Freeform 3009"/>
              <p:cNvSpPr>
                <a:spLocks noChangeAspect="1"/>
              </p:cNvSpPr>
              <p:nvPr/>
            </p:nvSpPr>
            <p:spPr bwMode="auto">
              <a:xfrm>
                <a:off x="8185944" y="4297300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699" name="Freeform 3010"/>
              <p:cNvSpPr>
                <a:spLocks noChangeAspect="1"/>
              </p:cNvSpPr>
              <p:nvPr/>
            </p:nvSpPr>
            <p:spPr bwMode="auto">
              <a:xfrm>
                <a:off x="8176131" y="4069922"/>
                <a:ext cx="4907" cy="1625"/>
              </a:xfrm>
              <a:custGeom>
                <a:avLst/>
                <a:gdLst>
                  <a:gd name="T0" fmla="*/ 1 w 3"/>
                  <a:gd name="T1" fmla="*/ 1 h 1"/>
                  <a:gd name="T2" fmla="*/ 0 w 3"/>
                  <a:gd name="T3" fmla="*/ 1 h 1"/>
                  <a:gd name="T4" fmla="*/ 1 w 3"/>
                  <a:gd name="T5" fmla="*/ 0 h 1"/>
                  <a:gd name="T6" fmla="*/ 3 w 3"/>
                  <a:gd name="T7" fmla="*/ 1 h 1"/>
                  <a:gd name="T8" fmla="*/ 1 w 3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1" y="1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0" name="Freeform 3011"/>
              <p:cNvSpPr>
                <a:spLocks noChangeAspect="1"/>
              </p:cNvSpPr>
              <p:nvPr/>
            </p:nvSpPr>
            <p:spPr bwMode="auto">
              <a:xfrm>
                <a:off x="8290622" y="4159249"/>
                <a:ext cx="3271" cy="3248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0 h 2"/>
                  <a:gd name="T4" fmla="*/ 2 w 1"/>
                  <a:gd name="T5" fmla="*/ 1 h 2"/>
                  <a:gd name="T6" fmla="*/ 2 w 1"/>
                  <a:gd name="T7" fmla="*/ 2 h 2"/>
                  <a:gd name="T8" fmla="*/ 0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1" name="Freeform 3012"/>
              <p:cNvSpPr>
                <a:spLocks noChangeAspect="1"/>
              </p:cNvSpPr>
              <p:nvPr/>
            </p:nvSpPr>
            <p:spPr bwMode="auto">
              <a:xfrm>
                <a:off x="7901352" y="4272938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1 h 2"/>
                  <a:gd name="T4" fmla="*/ 1 w 2"/>
                  <a:gd name="T5" fmla="*/ 0 h 2"/>
                  <a:gd name="T6" fmla="*/ 2 w 2"/>
                  <a:gd name="T7" fmla="*/ 1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2" name="Freeform 3013"/>
              <p:cNvSpPr>
                <a:spLocks noChangeAspect="1"/>
              </p:cNvSpPr>
              <p:nvPr/>
            </p:nvSpPr>
            <p:spPr bwMode="auto">
              <a:xfrm>
                <a:off x="7809759" y="4063425"/>
                <a:ext cx="4907" cy="6497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3" name="Freeform 3014"/>
              <p:cNvSpPr>
                <a:spLocks noChangeAspect="1"/>
              </p:cNvSpPr>
              <p:nvPr/>
            </p:nvSpPr>
            <p:spPr bwMode="auto">
              <a:xfrm>
                <a:off x="7773776" y="4156001"/>
                <a:ext cx="4907" cy="3248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1 h 2"/>
                  <a:gd name="T4" fmla="*/ 1 w 3"/>
                  <a:gd name="T5" fmla="*/ 2 h 2"/>
                  <a:gd name="T6" fmla="*/ 0 w 3"/>
                  <a:gd name="T7" fmla="*/ 0 h 2"/>
                  <a:gd name="T8" fmla="*/ 2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4" name="Oval 3015"/>
              <p:cNvSpPr>
                <a:spLocks noChangeAspect="1" noChangeArrowheads="1"/>
              </p:cNvSpPr>
              <p:nvPr/>
            </p:nvSpPr>
            <p:spPr bwMode="auto">
              <a:xfrm>
                <a:off x="7649471" y="4237208"/>
                <a:ext cx="3271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5" name="Freeform 3016"/>
              <p:cNvSpPr>
                <a:spLocks noChangeAspect="1"/>
              </p:cNvSpPr>
              <p:nvPr/>
            </p:nvSpPr>
            <p:spPr bwMode="auto">
              <a:xfrm>
                <a:off x="7616760" y="4264817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6" name="Freeform 3017"/>
              <p:cNvSpPr>
                <a:spLocks noChangeAspect="1"/>
              </p:cNvSpPr>
              <p:nvPr/>
            </p:nvSpPr>
            <p:spPr bwMode="auto">
              <a:xfrm>
                <a:off x="7677276" y="4258321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7" name="Freeform 3018"/>
              <p:cNvSpPr>
                <a:spLocks noChangeAspect="1"/>
              </p:cNvSpPr>
              <p:nvPr/>
            </p:nvSpPr>
            <p:spPr bwMode="auto">
              <a:xfrm>
                <a:off x="7678912" y="4264817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8" name="Freeform 3019"/>
              <p:cNvSpPr>
                <a:spLocks noChangeAspect="1"/>
              </p:cNvSpPr>
              <p:nvPr/>
            </p:nvSpPr>
            <p:spPr bwMode="auto">
              <a:xfrm>
                <a:off x="7633115" y="4117022"/>
                <a:ext cx="6542" cy="4873"/>
              </a:xfrm>
              <a:custGeom>
                <a:avLst/>
                <a:gdLst>
                  <a:gd name="T0" fmla="*/ 3 w 3"/>
                  <a:gd name="T1" fmla="*/ 2 h 3"/>
                  <a:gd name="T2" fmla="*/ 1 w 3"/>
                  <a:gd name="T3" fmla="*/ 3 h 3"/>
                  <a:gd name="T4" fmla="*/ 1 w 3"/>
                  <a:gd name="T5" fmla="*/ 1 h 3"/>
                  <a:gd name="T6" fmla="*/ 3 w 3"/>
                  <a:gd name="T7" fmla="*/ 1 h 3"/>
                  <a:gd name="T8" fmla="*/ 3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09" name="Freeform 3020"/>
              <p:cNvSpPr>
                <a:spLocks noChangeAspect="1"/>
              </p:cNvSpPr>
              <p:nvPr/>
            </p:nvSpPr>
            <p:spPr bwMode="auto">
              <a:xfrm>
                <a:off x="7687089" y="4045560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0" name="Freeform 3021"/>
              <p:cNvSpPr>
                <a:spLocks noChangeAspect="1"/>
              </p:cNvSpPr>
              <p:nvPr/>
            </p:nvSpPr>
            <p:spPr bwMode="auto">
              <a:xfrm>
                <a:off x="7538251" y="4199852"/>
                <a:ext cx="3271" cy="487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1" name="Freeform 3022"/>
              <p:cNvSpPr>
                <a:spLocks noChangeAspect="1"/>
              </p:cNvSpPr>
              <p:nvPr/>
            </p:nvSpPr>
            <p:spPr bwMode="auto">
              <a:xfrm>
                <a:off x="7530073" y="4186859"/>
                <a:ext cx="3271" cy="3248"/>
              </a:xfrm>
              <a:custGeom>
                <a:avLst/>
                <a:gdLst>
                  <a:gd name="T0" fmla="*/ 1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0 w 2"/>
                  <a:gd name="T7" fmla="*/ 0 h 2"/>
                  <a:gd name="T8" fmla="*/ 1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2" name="Freeform 3023"/>
              <p:cNvSpPr>
                <a:spLocks noChangeAspect="1"/>
              </p:cNvSpPr>
              <p:nvPr/>
            </p:nvSpPr>
            <p:spPr bwMode="auto">
              <a:xfrm>
                <a:off x="7621666" y="4021198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1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3" name="Freeform 3024"/>
              <p:cNvSpPr>
                <a:spLocks noChangeAspect="1"/>
              </p:cNvSpPr>
              <p:nvPr/>
            </p:nvSpPr>
            <p:spPr bwMode="auto">
              <a:xfrm>
                <a:off x="7620031" y="4013077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4" name="Freeform 3025"/>
              <p:cNvSpPr>
                <a:spLocks noChangeAspect="1"/>
              </p:cNvSpPr>
              <p:nvPr/>
            </p:nvSpPr>
            <p:spPr bwMode="auto">
              <a:xfrm>
                <a:off x="7626573" y="4034191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5" name="Freeform 3026"/>
              <p:cNvSpPr>
                <a:spLocks noChangeAspect="1"/>
              </p:cNvSpPr>
              <p:nvPr/>
            </p:nvSpPr>
            <p:spPr bwMode="auto">
              <a:xfrm>
                <a:off x="7518624" y="4084539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6" name="Freeform 3027"/>
              <p:cNvSpPr>
                <a:spLocks noChangeAspect="1"/>
              </p:cNvSpPr>
              <p:nvPr/>
            </p:nvSpPr>
            <p:spPr bwMode="auto">
              <a:xfrm>
                <a:off x="7533344" y="4087787"/>
                <a:ext cx="4907" cy="3248"/>
              </a:xfrm>
              <a:custGeom>
                <a:avLst/>
                <a:gdLst>
                  <a:gd name="T0" fmla="*/ 3 w 2"/>
                  <a:gd name="T1" fmla="*/ 1 h 2"/>
                  <a:gd name="T2" fmla="*/ 2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7" name="Freeform 3028"/>
              <p:cNvSpPr>
                <a:spLocks noChangeAspect="1"/>
              </p:cNvSpPr>
              <p:nvPr/>
            </p:nvSpPr>
            <p:spPr bwMode="auto">
              <a:xfrm>
                <a:off x="7621666" y="4043935"/>
                <a:ext cx="1636" cy="4873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3 h 2"/>
                  <a:gd name="T4" fmla="*/ 0 w 1"/>
                  <a:gd name="T5" fmla="*/ 2 h 2"/>
                  <a:gd name="T6" fmla="*/ 1 w 1"/>
                  <a:gd name="T7" fmla="*/ 0 h 2"/>
                  <a:gd name="T8" fmla="*/ 1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8" name="Freeform 3029"/>
              <p:cNvSpPr>
                <a:spLocks noChangeAspect="1"/>
              </p:cNvSpPr>
              <p:nvPr/>
            </p:nvSpPr>
            <p:spPr bwMode="auto">
              <a:xfrm>
                <a:off x="7620031" y="4053680"/>
                <a:ext cx="3271" cy="6497"/>
              </a:xfrm>
              <a:custGeom>
                <a:avLst/>
                <a:gdLst>
                  <a:gd name="T0" fmla="*/ 1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19" name="Oval 3030"/>
              <p:cNvSpPr>
                <a:spLocks noChangeAspect="1" noChangeArrowheads="1"/>
              </p:cNvSpPr>
              <p:nvPr/>
            </p:nvSpPr>
            <p:spPr bwMode="auto">
              <a:xfrm>
                <a:off x="7515353" y="4133263"/>
                <a:ext cx="4907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0" name="Freeform 3031"/>
              <p:cNvSpPr>
                <a:spLocks noChangeAspect="1"/>
              </p:cNvSpPr>
              <p:nvPr/>
            </p:nvSpPr>
            <p:spPr bwMode="auto">
              <a:xfrm>
                <a:off x="7538251" y="4272938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1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1" name="Freeform 3032"/>
              <p:cNvSpPr>
                <a:spLocks noChangeAspect="1"/>
              </p:cNvSpPr>
              <p:nvPr/>
            </p:nvSpPr>
            <p:spPr bwMode="auto">
              <a:xfrm>
                <a:off x="7479370" y="4333031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4 h 3"/>
                  <a:gd name="T4" fmla="*/ 0 w 2"/>
                  <a:gd name="T5" fmla="*/ 1 h 3"/>
                  <a:gd name="T6" fmla="*/ 2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2" name="Freeform 3033"/>
              <p:cNvSpPr>
                <a:spLocks noChangeAspect="1"/>
              </p:cNvSpPr>
              <p:nvPr/>
            </p:nvSpPr>
            <p:spPr bwMode="auto">
              <a:xfrm>
                <a:off x="7520259" y="4268066"/>
                <a:ext cx="13085" cy="12993"/>
              </a:xfrm>
              <a:custGeom>
                <a:avLst/>
                <a:gdLst>
                  <a:gd name="T0" fmla="*/ 7 w 7"/>
                  <a:gd name="T1" fmla="*/ 1 h 6"/>
                  <a:gd name="T2" fmla="*/ 5 w 7"/>
                  <a:gd name="T3" fmla="*/ 7 h 6"/>
                  <a:gd name="T4" fmla="*/ 1 w 7"/>
                  <a:gd name="T5" fmla="*/ 7 h 6"/>
                  <a:gd name="T6" fmla="*/ 3 w 7"/>
                  <a:gd name="T7" fmla="*/ 1 h 6"/>
                  <a:gd name="T8" fmla="*/ 7 w 7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1"/>
                    </a:moveTo>
                    <a:cubicBezTo>
                      <a:pt x="7" y="3"/>
                      <a:pt x="5" y="4"/>
                      <a:pt x="4" y="5"/>
                    </a:cubicBezTo>
                    <a:cubicBezTo>
                      <a:pt x="3" y="6"/>
                      <a:pt x="1" y="6"/>
                      <a:pt x="1" y="5"/>
                    </a:cubicBezTo>
                    <a:cubicBezTo>
                      <a:pt x="0" y="3"/>
                      <a:pt x="2" y="2"/>
                      <a:pt x="3" y="1"/>
                    </a:cubicBezTo>
                    <a:cubicBezTo>
                      <a:pt x="4" y="0"/>
                      <a:pt x="6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3" name="Freeform 3034"/>
              <p:cNvSpPr>
                <a:spLocks noChangeAspect="1"/>
              </p:cNvSpPr>
              <p:nvPr/>
            </p:nvSpPr>
            <p:spPr bwMode="auto">
              <a:xfrm>
                <a:off x="7548065" y="4266442"/>
                <a:ext cx="21263" cy="9745"/>
              </a:xfrm>
              <a:custGeom>
                <a:avLst/>
                <a:gdLst>
                  <a:gd name="T0" fmla="*/ 1 w 11"/>
                  <a:gd name="T1" fmla="*/ 1 h 5"/>
                  <a:gd name="T2" fmla="*/ 12 w 11"/>
                  <a:gd name="T3" fmla="*/ 1 h 5"/>
                  <a:gd name="T4" fmla="*/ 12 w 11"/>
                  <a:gd name="T5" fmla="*/ 5 h 5"/>
                  <a:gd name="T6" fmla="*/ 2 w 11"/>
                  <a:gd name="T7" fmla="*/ 4 h 5"/>
                  <a:gd name="T8" fmla="*/ 1 w 11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5"/>
                  <a:gd name="T17" fmla="*/ 11 w 1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5">
                    <a:moveTo>
                      <a:pt x="1" y="1"/>
                    </a:moveTo>
                    <a:cubicBezTo>
                      <a:pt x="4" y="0"/>
                      <a:pt x="7" y="0"/>
                      <a:pt x="10" y="1"/>
                    </a:cubicBezTo>
                    <a:cubicBezTo>
                      <a:pt x="11" y="2"/>
                      <a:pt x="11" y="4"/>
                      <a:pt x="10" y="4"/>
                    </a:cubicBezTo>
                    <a:cubicBezTo>
                      <a:pt x="7" y="5"/>
                      <a:pt x="4" y="4"/>
                      <a:pt x="2" y="3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4" name="Freeform 3035"/>
              <p:cNvSpPr>
                <a:spLocks noChangeAspect="1"/>
              </p:cNvSpPr>
              <p:nvPr/>
            </p:nvSpPr>
            <p:spPr bwMode="auto">
              <a:xfrm>
                <a:off x="7579141" y="4251824"/>
                <a:ext cx="29441" cy="12993"/>
              </a:xfrm>
              <a:custGeom>
                <a:avLst/>
                <a:gdLst>
                  <a:gd name="T0" fmla="*/ 4 w 15"/>
                  <a:gd name="T1" fmla="*/ 1 h 7"/>
                  <a:gd name="T2" fmla="*/ 1 w 15"/>
                  <a:gd name="T3" fmla="*/ 7 h 7"/>
                  <a:gd name="T4" fmla="*/ 6 w 15"/>
                  <a:gd name="T5" fmla="*/ 6 h 7"/>
                  <a:gd name="T6" fmla="*/ 13 w 15"/>
                  <a:gd name="T7" fmla="*/ 7 h 7"/>
                  <a:gd name="T8" fmla="*/ 18 w 15"/>
                  <a:gd name="T9" fmla="*/ 2 h 7"/>
                  <a:gd name="T10" fmla="*/ 13 w 15"/>
                  <a:gd name="T11" fmla="*/ 1 h 7"/>
                  <a:gd name="T12" fmla="*/ 7 w 15"/>
                  <a:gd name="T13" fmla="*/ 2 h 7"/>
                  <a:gd name="T14" fmla="*/ 4 w 15"/>
                  <a:gd name="T15" fmla="*/ 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7"/>
                  <a:gd name="T26" fmla="*/ 15 w 15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7">
                    <a:moveTo>
                      <a:pt x="3" y="1"/>
                    </a:moveTo>
                    <a:cubicBezTo>
                      <a:pt x="1" y="2"/>
                      <a:pt x="0" y="5"/>
                      <a:pt x="1" y="6"/>
                    </a:cubicBezTo>
                    <a:cubicBezTo>
                      <a:pt x="2" y="7"/>
                      <a:pt x="3" y="5"/>
                      <a:pt x="5" y="5"/>
                    </a:cubicBezTo>
                    <a:cubicBezTo>
                      <a:pt x="7" y="5"/>
                      <a:pt x="9" y="6"/>
                      <a:pt x="11" y="6"/>
                    </a:cubicBezTo>
                    <a:cubicBezTo>
                      <a:pt x="13" y="5"/>
                      <a:pt x="15" y="4"/>
                      <a:pt x="15" y="2"/>
                    </a:cubicBezTo>
                    <a:cubicBezTo>
                      <a:pt x="15" y="1"/>
                      <a:pt x="12" y="1"/>
                      <a:pt x="11" y="1"/>
                    </a:cubicBezTo>
                    <a:cubicBezTo>
                      <a:pt x="9" y="1"/>
                      <a:pt x="8" y="2"/>
                      <a:pt x="6" y="2"/>
                    </a:cubicBezTo>
                    <a:cubicBezTo>
                      <a:pt x="5" y="2"/>
                      <a:pt x="4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5" name="Freeform 3036"/>
              <p:cNvSpPr>
                <a:spLocks noChangeAspect="1"/>
              </p:cNvSpPr>
              <p:nvPr/>
            </p:nvSpPr>
            <p:spPr bwMode="auto">
              <a:xfrm>
                <a:off x="7495726" y="4165746"/>
                <a:ext cx="14721" cy="24362"/>
              </a:xfrm>
              <a:custGeom>
                <a:avLst/>
                <a:gdLst>
                  <a:gd name="T0" fmla="*/ 6 w 7"/>
                  <a:gd name="T1" fmla="*/ 1 h 13"/>
                  <a:gd name="T2" fmla="*/ 8 w 7"/>
                  <a:gd name="T3" fmla="*/ 6 h 13"/>
                  <a:gd name="T4" fmla="*/ 5 w 7"/>
                  <a:gd name="T5" fmla="*/ 14 h 13"/>
                  <a:gd name="T6" fmla="*/ 1 w 7"/>
                  <a:gd name="T7" fmla="*/ 13 h 13"/>
                  <a:gd name="T8" fmla="*/ 1 w 7"/>
                  <a:gd name="T9" fmla="*/ 5 h 13"/>
                  <a:gd name="T10" fmla="*/ 6 w 7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3"/>
                  <a:gd name="T20" fmla="*/ 7 w 7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3">
                    <a:moveTo>
                      <a:pt x="5" y="1"/>
                    </a:moveTo>
                    <a:cubicBezTo>
                      <a:pt x="7" y="1"/>
                      <a:pt x="6" y="4"/>
                      <a:pt x="6" y="5"/>
                    </a:cubicBezTo>
                    <a:cubicBezTo>
                      <a:pt x="5" y="8"/>
                      <a:pt x="5" y="10"/>
                      <a:pt x="4" y="12"/>
                    </a:cubicBezTo>
                    <a:cubicBezTo>
                      <a:pt x="3" y="13"/>
                      <a:pt x="1" y="12"/>
                      <a:pt x="1" y="11"/>
                    </a:cubicBezTo>
                    <a:cubicBezTo>
                      <a:pt x="0" y="9"/>
                      <a:pt x="0" y="6"/>
                      <a:pt x="1" y="4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6" name="Freeform 3037"/>
              <p:cNvSpPr>
                <a:spLocks noChangeAspect="1"/>
              </p:cNvSpPr>
              <p:nvPr/>
            </p:nvSpPr>
            <p:spPr bwMode="auto">
              <a:xfrm>
                <a:off x="7484276" y="4181987"/>
                <a:ext cx="9814" cy="8121"/>
              </a:xfrm>
              <a:custGeom>
                <a:avLst/>
                <a:gdLst>
                  <a:gd name="T0" fmla="*/ 4 w 5"/>
                  <a:gd name="T1" fmla="*/ 0 h 4"/>
                  <a:gd name="T2" fmla="*/ 5 w 5"/>
                  <a:gd name="T3" fmla="*/ 4 h 4"/>
                  <a:gd name="T4" fmla="*/ 1 w 5"/>
                  <a:gd name="T5" fmla="*/ 5 h 4"/>
                  <a:gd name="T6" fmla="*/ 4 w 5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4"/>
                  <a:gd name="T14" fmla="*/ 5 w 5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4">
                    <a:moveTo>
                      <a:pt x="3" y="0"/>
                    </a:moveTo>
                    <a:cubicBezTo>
                      <a:pt x="4" y="0"/>
                      <a:pt x="5" y="2"/>
                      <a:pt x="4" y="3"/>
                    </a:cubicBezTo>
                    <a:cubicBezTo>
                      <a:pt x="4" y="4"/>
                      <a:pt x="2" y="4"/>
                      <a:pt x="1" y="4"/>
                    </a:cubicBezTo>
                    <a:cubicBezTo>
                      <a:pt x="0" y="2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7" name="Freeform 3038"/>
              <p:cNvSpPr>
                <a:spLocks noChangeAspect="1"/>
              </p:cNvSpPr>
              <p:nvPr/>
            </p:nvSpPr>
            <p:spPr bwMode="auto">
              <a:xfrm>
                <a:off x="7505540" y="4159249"/>
                <a:ext cx="17992" cy="38979"/>
              </a:xfrm>
              <a:custGeom>
                <a:avLst/>
                <a:gdLst>
                  <a:gd name="T0" fmla="*/ 10 w 9"/>
                  <a:gd name="T1" fmla="*/ 1 h 20"/>
                  <a:gd name="T2" fmla="*/ 10 w 9"/>
                  <a:gd name="T3" fmla="*/ 5 h 20"/>
                  <a:gd name="T4" fmla="*/ 6 w 9"/>
                  <a:gd name="T5" fmla="*/ 5 h 20"/>
                  <a:gd name="T6" fmla="*/ 5 w 9"/>
                  <a:gd name="T7" fmla="*/ 14 h 20"/>
                  <a:gd name="T8" fmla="*/ 9 w 9"/>
                  <a:gd name="T9" fmla="*/ 16 h 20"/>
                  <a:gd name="T10" fmla="*/ 7 w 9"/>
                  <a:gd name="T11" fmla="*/ 19 h 20"/>
                  <a:gd name="T12" fmla="*/ 4 w 9"/>
                  <a:gd name="T13" fmla="*/ 19 h 20"/>
                  <a:gd name="T14" fmla="*/ 1 w 9"/>
                  <a:gd name="T15" fmla="*/ 23 h 20"/>
                  <a:gd name="T16" fmla="*/ 1 w 9"/>
                  <a:gd name="T17" fmla="*/ 17 h 20"/>
                  <a:gd name="T18" fmla="*/ 4 w 9"/>
                  <a:gd name="T19" fmla="*/ 6 h 20"/>
                  <a:gd name="T20" fmla="*/ 5 w 9"/>
                  <a:gd name="T21" fmla="*/ 1 h 20"/>
                  <a:gd name="T22" fmla="*/ 10 w 9"/>
                  <a:gd name="T23" fmla="*/ 1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20"/>
                  <a:gd name="T38" fmla="*/ 9 w 9"/>
                  <a:gd name="T39" fmla="*/ 20 h 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20">
                    <a:moveTo>
                      <a:pt x="8" y="1"/>
                    </a:moveTo>
                    <a:cubicBezTo>
                      <a:pt x="9" y="1"/>
                      <a:pt x="9" y="3"/>
                      <a:pt x="8" y="4"/>
                    </a:cubicBezTo>
                    <a:cubicBezTo>
                      <a:pt x="7" y="5"/>
                      <a:pt x="6" y="3"/>
                      <a:pt x="5" y="4"/>
                    </a:cubicBezTo>
                    <a:cubicBezTo>
                      <a:pt x="4" y="6"/>
                      <a:pt x="3" y="9"/>
                      <a:pt x="4" y="12"/>
                    </a:cubicBezTo>
                    <a:cubicBezTo>
                      <a:pt x="4" y="13"/>
                      <a:pt x="7" y="12"/>
                      <a:pt x="7" y="13"/>
                    </a:cubicBezTo>
                    <a:cubicBezTo>
                      <a:pt x="8" y="13"/>
                      <a:pt x="7" y="15"/>
                      <a:pt x="6" y="16"/>
                    </a:cubicBezTo>
                    <a:cubicBezTo>
                      <a:pt x="5" y="16"/>
                      <a:pt x="4" y="15"/>
                      <a:pt x="3" y="16"/>
                    </a:cubicBezTo>
                    <a:cubicBezTo>
                      <a:pt x="2" y="17"/>
                      <a:pt x="2" y="20"/>
                      <a:pt x="1" y="19"/>
                    </a:cubicBezTo>
                    <a:cubicBezTo>
                      <a:pt x="0" y="18"/>
                      <a:pt x="1" y="16"/>
                      <a:pt x="1" y="14"/>
                    </a:cubicBezTo>
                    <a:cubicBezTo>
                      <a:pt x="2" y="11"/>
                      <a:pt x="3" y="8"/>
                      <a:pt x="3" y="5"/>
                    </a:cubicBezTo>
                    <a:cubicBezTo>
                      <a:pt x="4" y="4"/>
                      <a:pt x="3" y="2"/>
                      <a:pt x="4" y="1"/>
                    </a:cubicBezTo>
                    <a:cubicBezTo>
                      <a:pt x="5" y="0"/>
                      <a:pt x="7" y="0"/>
                      <a:pt x="8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28" name="Freeform 3039"/>
              <p:cNvSpPr>
                <a:spLocks noChangeAspect="1"/>
              </p:cNvSpPr>
              <p:nvPr/>
            </p:nvSpPr>
            <p:spPr bwMode="auto">
              <a:xfrm>
                <a:off x="7559513" y="4272938"/>
                <a:ext cx="57246" cy="32483"/>
              </a:xfrm>
              <a:custGeom>
                <a:avLst/>
                <a:gdLst>
                  <a:gd name="T0" fmla="*/ 4 w 29"/>
                  <a:gd name="T1" fmla="*/ 20 h 17"/>
                  <a:gd name="T2" fmla="*/ 10 w 29"/>
                  <a:gd name="T3" fmla="*/ 18 h 17"/>
                  <a:gd name="T4" fmla="*/ 16 w 29"/>
                  <a:gd name="T5" fmla="*/ 14 h 17"/>
                  <a:gd name="T6" fmla="*/ 24 w 29"/>
                  <a:gd name="T7" fmla="*/ 11 h 17"/>
                  <a:gd name="T8" fmla="*/ 28 w 29"/>
                  <a:gd name="T9" fmla="*/ 8 h 17"/>
                  <a:gd name="T10" fmla="*/ 34 w 29"/>
                  <a:gd name="T11" fmla="*/ 4 h 17"/>
                  <a:gd name="T12" fmla="*/ 35 w 29"/>
                  <a:gd name="T13" fmla="*/ 1 h 17"/>
                  <a:gd name="T14" fmla="*/ 29 w 29"/>
                  <a:gd name="T15" fmla="*/ 1 h 17"/>
                  <a:gd name="T16" fmla="*/ 17 w 29"/>
                  <a:gd name="T17" fmla="*/ 2 h 17"/>
                  <a:gd name="T18" fmla="*/ 5 w 29"/>
                  <a:gd name="T19" fmla="*/ 5 h 17"/>
                  <a:gd name="T20" fmla="*/ 0 w 29"/>
                  <a:gd name="T21" fmla="*/ 11 h 17"/>
                  <a:gd name="T22" fmla="*/ 4 w 29"/>
                  <a:gd name="T23" fmla="*/ 14 h 17"/>
                  <a:gd name="T24" fmla="*/ 4 w 29"/>
                  <a:gd name="T25" fmla="*/ 20 h 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17"/>
                  <a:gd name="T41" fmla="*/ 29 w 29"/>
                  <a:gd name="T42" fmla="*/ 17 h 1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17">
                    <a:moveTo>
                      <a:pt x="3" y="17"/>
                    </a:moveTo>
                    <a:cubicBezTo>
                      <a:pt x="4" y="17"/>
                      <a:pt x="6" y="16"/>
                      <a:pt x="8" y="15"/>
                    </a:cubicBezTo>
                    <a:cubicBezTo>
                      <a:pt x="9" y="14"/>
                      <a:pt x="11" y="13"/>
                      <a:pt x="13" y="12"/>
                    </a:cubicBezTo>
                    <a:cubicBezTo>
                      <a:pt x="15" y="11"/>
                      <a:pt x="18" y="10"/>
                      <a:pt x="20" y="9"/>
                    </a:cubicBezTo>
                    <a:cubicBezTo>
                      <a:pt x="21" y="9"/>
                      <a:pt x="22" y="7"/>
                      <a:pt x="23" y="7"/>
                    </a:cubicBezTo>
                    <a:cubicBezTo>
                      <a:pt x="24" y="5"/>
                      <a:pt x="27" y="5"/>
                      <a:pt x="28" y="3"/>
                    </a:cubicBezTo>
                    <a:cubicBezTo>
                      <a:pt x="29" y="3"/>
                      <a:pt x="29" y="1"/>
                      <a:pt x="29" y="1"/>
                    </a:cubicBezTo>
                    <a:cubicBezTo>
                      <a:pt x="27" y="0"/>
                      <a:pt x="26" y="1"/>
                      <a:pt x="24" y="1"/>
                    </a:cubicBezTo>
                    <a:cubicBezTo>
                      <a:pt x="21" y="1"/>
                      <a:pt x="17" y="2"/>
                      <a:pt x="14" y="2"/>
                    </a:cubicBezTo>
                    <a:cubicBezTo>
                      <a:pt x="10" y="3"/>
                      <a:pt x="7" y="3"/>
                      <a:pt x="4" y="4"/>
                    </a:cubicBezTo>
                    <a:cubicBezTo>
                      <a:pt x="2" y="5"/>
                      <a:pt x="1" y="8"/>
                      <a:pt x="0" y="9"/>
                    </a:cubicBezTo>
                    <a:cubicBezTo>
                      <a:pt x="1" y="10"/>
                      <a:pt x="2" y="11"/>
                      <a:pt x="3" y="12"/>
                    </a:cubicBezTo>
                    <a:cubicBezTo>
                      <a:pt x="3" y="14"/>
                      <a:pt x="3" y="16"/>
                      <a:pt x="3" y="17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29" name="Freeform 3040"/>
              <p:cNvSpPr>
                <a:spLocks noChangeAspect="1"/>
              </p:cNvSpPr>
              <p:nvPr/>
            </p:nvSpPr>
            <p:spPr bwMode="auto">
              <a:xfrm>
                <a:off x="7549700" y="4081291"/>
                <a:ext cx="27806" cy="12993"/>
              </a:xfrm>
              <a:custGeom>
                <a:avLst/>
                <a:gdLst>
                  <a:gd name="T0" fmla="*/ 4 w 14"/>
                  <a:gd name="T1" fmla="*/ 1 h 7"/>
                  <a:gd name="T2" fmla="*/ 13 w 14"/>
                  <a:gd name="T3" fmla="*/ 1 h 7"/>
                  <a:gd name="T4" fmla="*/ 17 w 14"/>
                  <a:gd name="T5" fmla="*/ 3 h 7"/>
                  <a:gd name="T6" fmla="*/ 13 w 14"/>
                  <a:gd name="T7" fmla="*/ 6 h 7"/>
                  <a:gd name="T8" fmla="*/ 6 w 14"/>
                  <a:gd name="T9" fmla="*/ 6 h 7"/>
                  <a:gd name="T10" fmla="*/ 1 w 14"/>
                  <a:gd name="T11" fmla="*/ 7 h 7"/>
                  <a:gd name="T12" fmla="*/ 4 w 14"/>
                  <a:gd name="T13" fmla="*/ 1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7"/>
                  <a:gd name="T23" fmla="*/ 14 w 1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7">
                    <a:moveTo>
                      <a:pt x="3" y="1"/>
                    </a:moveTo>
                    <a:cubicBezTo>
                      <a:pt x="5" y="0"/>
                      <a:pt x="8" y="1"/>
                      <a:pt x="11" y="1"/>
                    </a:cubicBezTo>
                    <a:cubicBezTo>
                      <a:pt x="12" y="1"/>
                      <a:pt x="14" y="2"/>
                      <a:pt x="14" y="3"/>
                    </a:cubicBezTo>
                    <a:cubicBezTo>
                      <a:pt x="14" y="4"/>
                      <a:pt x="12" y="5"/>
                      <a:pt x="11" y="5"/>
                    </a:cubicBezTo>
                    <a:cubicBezTo>
                      <a:pt x="9" y="5"/>
                      <a:pt x="7" y="5"/>
                      <a:pt x="5" y="5"/>
                    </a:cubicBezTo>
                    <a:cubicBezTo>
                      <a:pt x="3" y="5"/>
                      <a:pt x="2" y="7"/>
                      <a:pt x="1" y="6"/>
                    </a:cubicBezTo>
                    <a:cubicBezTo>
                      <a:pt x="0" y="4"/>
                      <a:pt x="1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0" name="Freeform 3041"/>
              <p:cNvSpPr>
                <a:spLocks noChangeAspect="1"/>
              </p:cNvSpPr>
              <p:nvPr/>
            </p:nvSpPr>
            <p:spPr bwMode="auto">
              <a:xfrm>
                <a:off x="7512082" y="4068298"/>
                <a:ext cx="26169" cy="14618"/>
              </a:xfrm>
              <a:custGeom>
                <a:avLst/>
                <a:gdLst>
                  <a:gd name="T0" fmla="*/ 9 w 13"/>
                  <a:gd name="T1" fmla="*/ 3 h 8"/>
                  <a:gd name="T2" fmla="*/ 12 w 13"/>
                  <a:gd name="T3" fmla="*/ 1 h 8"/>
                  <a:gd name="T4" fmla="*/ 15 w 13"/>
                  <a:gd name="T5" fmla="*/ 7 h 8"/>
                  <a:gd name="T6" fmla="*/ 10 w 13"/>
                  <a:gd name="T7" fmla="*/ 6 h 8"/>
                  <a:gd name="T8" fmla="*/ 6 w 13"/>
                  <a:gd name="T9" fmla="*/ 7 h 8"/>
                  <a:gd name="T10" fmla="*/ 5 w 13"/>
                  <a:gd name="T11" fmla="*/ 6 h 8"/>
                  <a:gd name="T12" fmla="*/ 1 w 13"/>
                  <a:gd name="T13" fmla="*/ 7 h 8"/>
                  <a:gd name="T14" fmla="*/ 1 w 13"/>
                  <a:gd name="T15" fmla="*/ 2 h 8"/>
                  <a:gd name="T16" fmla="*/ 9 w 13"/>
                  <a:gd name="T17" fmla="*/ 3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8"/>
                  <a:gd name="T29" fmla="*/ 13 w 13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8">
                    <a:moveTo>
                      <a:pt x="7" y="3"/>
                    </a:moveTo>
                    <a:cubicBezTo>
                      <a:pt x="8" y="3"/>
                      <a:pt x="9" y="0"/>
                      <a:pt x="10" y="1"/>
                    </a:cubicBezTo>
                    <a:cubicBezTo>
                      <a:pt x="12" y="2"/>
                      <a:pt x="13" y="5"/>
                      <a:pt x="12" y="6"/>
                    </a:cubicBezTo>
                    <a:cubicBezTo>
                      <a:pt x="11" y="8"/>
                      <a:pt x="9" y="5"/>
                      <a:pt x="8" y="5"/>
                    </a:cubicBezTo>
                    <a:cubicBezTo>
                      <a:pt x="7" y="5"/>
                      <a:pt x="6" y="7"/>
                      <a:pt x="5" y="6"/>
                    </a:cubicBezTo>
                    <a:cubicBezTo>
                      <a:pt x="4" y="6"/>
                      <a:pt x="5" y="5"/>
                      <a:pt x="4" y="5"/>
                    </a:cubicBezTo>
                    <a:cubicBezTo>
                      <a:pt x="3" y="5"/>
                      <a:pt x="2" y="6"/>
                      <a:pt x="1" y="6"/>
                    </a:cubicBezTo>
                    <a:cubicBezTo>
                      <a:pt x="1" y="5"/>
                      <a:pt x="0" y="2"/>
                      <a:pt x="1" y="2"/>
                    </a:cubicBezTo>
                    <a:cubicBezTo>
                      <a:pt x="3" y="1"/>
                      <a:pt x="5" y="3"/>
                      <a:pt x="7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1" name="Freeform 3042"/>
              <p:cNvSpPr>
                <a:spLocks noChangeAspect="1"/>
              </p:cNvSpPr>
              <p:nvPr/>
            </p:nvSpPr>
            <p:spPr bwMode="auto">
              <a:xfrm>
                <a:off x="7579141" y="4084539"/>
                <a:ext cx="24534" cy="4873"/>
              </a:xfrm>
              <a:custGeom>
                <a:avLst/>
                <a:gdLst>
                  <a:gd name="T0" fmla="*/ 0 w 13"/>
                  <a:gd name="T1" fmla="*/ 0 h 2"/>
                  <a:gd name="T2" fmla="*/ 0 w 13"/>
                  <a:gd name="T3" fmla="*/ 3 h 2"/>
                  <a:gd name="T4" fmla="*/ 15 w 13"/>
                  <a:gd name="T5" fmla="*/ 2 h 2"/>
                  <a:gd name="T6" fmla="*/ 0 w 1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2"/>
                  <a:gd name="T14" fmla="*/ 13 w 1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2">
                    <a:moveTo>
                      <a:pt x="0" y="0"/>
                    </a:moveTo>
                    <a:cubicBezTo>
                      <a:pt x="0" y="0"/>
                      <a:pt x="0" y="2"/>
                      <a:pt x="0" y="2"/>
                    </a:cubicBezTo>
                    <a:cubicBezTo>
                      <a:pt x="4" y="2"/>
                      <a:pt x="9" y="2"/>
                      <a:pt x="13" y="1"/>
                    </a:cubicBezTo>
                    <a:cubicBezTo>
                      <a:pt x="9" y="0"/>
                      <a:pt x="4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2" name="Freeform 3043"/>
              <p:cNvSpPr>
                <a:spLocks noChangeAspect="1"/>
              </p:cNvSpPr>
              <p:nvPr/>
            </p:nvSpPr>
            <p:spPr bwMode="auto">
              <a:xfrm>
                <a:off x="7590590" y="4121894"/>
                <a:ext cx="32712" cy="24362"/>
              </a:xfrm>
              <a:custGeom>
                <a:avLst/>
                <a:gdLst>
                  <a:gd name="T0" fmla="*/ 2 w 17"/>
                  <a:gd name="T1" fmla="*/ 3 h 12"/>
                  <a:gd name="T2" fmla="*/ 13 w 17"/>
                  <a:gd name="T3" fmla="*/ 1 h 12"/>
                  <a:gd name="T4" fmla="*/ 18 w 17"/>
                  <a:gd name="T5" fmla="*/ 4 h 12"/>
                  <a:gd name="T6" fmla="*/ 15 w 17"/>
                  <a:gd name="T7" fmla="*/ 6 h 12"/>
                  <a:gd name="T8" fmla="*/ 19 w 17"/>
                  <a:gd name="T9" fmla="*/ 11 h 12"/>
                  <a:gd name="T10" fmla="*/ 12 w 17"/>
                  <a:gd name="T11" fmla="*/ 15 h 12"/>
                  <a:gd name="T12" fmla="*/ 1 w 17"/>
                  <a:gd name="T13" fmla="*/ 9 h 12"/>
                  <a:gd name="T14" fmla="*/ 2 w 17"/>
                  <a:gd name="T15" fmla="*/ 3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2"/>
                  <a:gd name="T26" fmla="*/ 17 w 17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2">
                    <a:moveTo>
                      <a:pt x="2" y="2"/>
                    </a:moveTo>
                    <a:cubicBezTo>
                      <a:pt x="5" y="0"/>
                      <a:pt x="8" y="0"/>
                      <a:pt x="11" y="1"/>
                    </a:cubicBezTo>
                    <a:cubicBezTo>
                      <a:pt x="13" y="1"/>
                      <a:pt x="14" y="1"/>
                      <a:pt x="15" y="3"/>
                    </a:cubicBezTo>
                    <a:cubicBezTo>
                      <a:pt x="16" y="4"/>
                      <a:pt x="13" y="4"/>
                      <a:pt x="13" y="5"/>
                    </a:cubicBezTo>
                    <a:cubicBezTo>
                      <a:pt x="14" y="6"/>
                      <a:pt x="17" y="7"/>
                      <a:pt x="16" y="9"/>
                    </a:cubicBezTo>
                    <a:cubicBezTo>
                      <a:pt x="15" y="11"/>
                      <a:pt x="12" y="10"/>
                      <a:pt x="10" y="12"/>
                    </a:cubicBezTo>
                    <a:cubicBezTo>
                      <a:pt x="6" y="11"/>
                      <a:pt x="3" y="10"/>
                      <a:pt x="1" y="7"/>
                    </a:cubicBezTo>
                    <a:cubicBezTo>
                      <a:pt x="0" y="6"/>
                      <a:pt x="1" y="3"/>
                      <a:pt x="2" y="2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33" name="Freeform 3044"/>
              <p:cNvSpPr>
                <a:spLocks noChangeAspect="1"/>
              </p:cNvSpPr>
              <p:nvPr/>
            </p:nvSpPr>
            <p:spPr bwMode="auto">
              <a:xfrm>
                <a:off x="7623302" y="4073170"/>
                <a:ext cx="22898" cy="11369"/>
              </a:xfrm>
              <a:custGeom>
                <a:avLst/>
                <a:gdLst>
                  <a:gd name="T0" fmla="*/ 6 w 11"/>
                  <a:gd name="T1" fmla="*/ 0 h 6"/>
                  <a:gd name="T2" fmla="*/ 14 w 11"/>
                  <a:gd name="T3" fmla="*/ 5 h 6"/>
                  <a:gd name="T4" fmla="*/ 11 w 11"/>
                  <a:gd name="T5" fmla="*/ 7 h 6"/>
                  <a:gd name="T6" fmla="*/ 5 w 11"/>
                  <a:gd name="T7" fmla="*/ 7 h 6"/>
                  <a:gd name="T8" fmla="*/ 0 w 11"/>
                  <a:gd name="T9" fmla="*/ 5 h 6"/>
                  <a:gd name="T10" fmla="*/ 6 w 11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6"/>
                  <a:gd name="T20" fmla="*/ 11 w 11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6">
                    <a:moveTo>
                      <a:pt x="5" y="0"/>
                    </a:moveTo>
                    <a:cubicBezTo>
                      <a:pt x="7" y="1"/>
                      <a:pt x="9" y="3"/>
                      <a:pt x="11" y="4"/>
                    </a:cubicBezTo>
                    <a:cubicBezTo>
                      <a:pt x="11" y="5"/>
                      <a:pt x="10" y="6"/>
                      <a:pt x="9" y="6"/>
                    </a:cubicBezTo>
                    <a:cubicBezTo>
                      <a:pt x="7" y="6"/>
                      <a:pt x="6" y="6"/>
                      <a:pt x="4" y="6"/>
                    </a:cubicBezTo>
                    <a:cubicBezTo>
                      <a:pt x="3" y="5"/>
                      <a:pt x="0" y="5"/>
                      <a:pt x="0" y="4"/>
                    </a:cubicBezTo>
                    <a:cubicBezTo>
                      <a:pt x="0" y="2"/>
                      <a:pt x="3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4" name="Freeform 3045"/>
              <p:cNvSpPr>
                <a:spLocks noChangeAspect="1"/>
              </p:cNvSpPr>
              <p:nvPr/>
            </p:nvSpPr>
            <p:spPr bwMode="auto">
              <a:xfrm>
                <a:off x="7626573" y="3974098"/>
                <a:ext cx="35983" cy="86079"/>
              </a:xfrm>
              <a:custGeom>
                <a:avLst/>
                <a:gdLst>
                  <a:gd name="T0" fmla="*/ 9 w 19"/>
                  <a:gd name="T1" fmla="*/ 1 h 44"/>
                  <a:gd name="T2" fmla="*/ 6 w 19"/>
                  <a:gd name="T3" fmla="*/ 6 h 44"/>
                  <a:gd name="T4" fmla="*/ 8 w 19"/>
                  <a:gd name="T5" fmla="*/ 13 h 44"/>
                  <a:gd name="T6" fmla="*/ 3 w 19"/>
                  <a:gd name="T7" fmla="*/ 22 h 44"/>
                  <a:gd name="T8" fmla="*/ 8 w 19"/>
                  <a:gd name="T9" fmla="*/ 24 h 44"/>
                  <a:gd name="T10" fmla="*/ 12 w 19"/>
                  <a:gd name="T11" fmla="*/ 17 h 44"/>
                  <a:gd name="T12" fmla="*/ 19 w 19"/>
                  <a:gd name="T13" fmla="*/ 12 h 44"/>
                  <a:gd name="T14" fmla="*/ 20 w 19"/>
                  <a:gd name="T15" fmla="*/ 20 h 44"/>
                  <a:gd name="T16" fmla="*/ 13 w 19"/>
                  <a:gd name="T17" fmla="*/ 23 h 44"/>
                  <a:gd name="T18" fmla="*/ 13 w 19"/>
                  <a:gd name="T19" fmla="*/ 25 h 44"/>
                  <a:gd name="T20" fmla="*/ 21 w 19"/>
                  <a:gd name="T21" fmla="*/ 31 h 44"/>
                  <a:gd name="T22" fmla="*/ 19 w 19"/>
                  <a:gd name="T23" fmla="*/ 31 h 44"/>
                  <a:gd name="T24" fmla="*/ 8 w 19"/>
                  <a:gd name="T25" fmla="*/ 30 h 44"/>
                  <a:gd name="T26" fmla="*/ 8 w 19"/>
                  <a:gd name="T27" fmla="*/ 35 h 44"/>
                  <a:gd name="T28" fmla="*/ 7 w 19"/>
                  <a:gd name="T29" fmla="*/ 42 h 44"/>
                  <a:gd name="T30" fmla="*/ 15 w 19"/>
                  <a:gd name="T31" fmla="*/ 53 h 44"/>
                  <a:gd name="T32" fmla="*/ 8 w 19"/>
                  <a:gd name="T33" fmla="*/ 51 h 44"/>
                  <a:gd name="T34" fmla="*/ 5 w 19"/>
                  <a:gd name="T35" fmla="*/ 40 h 44"/>
                  <a:gd name="T36" fmla="*/ 3 w 19"/>
                  <a:gd name="T37" fmla="*/ 33 h 44"/>
                  <a:gd name="T38" fmla="*/ 1 w 19"/>
                  <a:gd name="T39" fmla="*/ 23 h 44"/>
                  <a:gd name="T40" fmla="*/ 1 w 19"/>
                  <a:gd name="T41" fmla="*/ 8 h 44"/>
                  <a:gd name="T42" fmla="*/ 7 w 19"/>
                  <a:gd name="T43" fmla="*/ 0 h 44"/>
                  <a:gd name="T44" fmla="*/ 9 w 19"/>
                  <a:gd name="T45" fmla="*/ 1 h 4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9"/>
                  <a:gd name="T70" fmla="*/ 0 h 44"/>
                  <a:gd name="T71" fmla="*/ 19 w 19"/>
                  <a:gd name="T72" fmla="*/ 44 h 4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9" h="44">
                    <a:moveTo>
                      <a:pt x="8" y="1"/>
                    </a:moveTo>
                    <a:cubicBezTo>
                      <a:pt x="8" y="3"/>
                      <a:pt x="5" y="4"/>
                      <a:pt x="5" y="5"/>
                    </a:cubicBezTo>
                    <a:cubicBezTo>
                      <a:pt x="5" y="8"/>
                      <a:pt x="8" y="9"/>
                      <a:pt x="7" y="11"/>
                    </a:cubicBezTo>
                    <a:cubicBezTo>
                      <a:pt x="7" y="14"/>
                      <a:pt x="3" y="15"/>
                      <a:pt x="3" y="18"/>
                    </a:cubicBezTo>
                    <a:cubicBezTo>
                      <a:pt x="3" y="19"/>
                      <a:pt x="6" y="20"/>
                      <a:pt x="7" y="20"/>
                    </a:cubicBezTo>
                    <a:cubicBezTo>
                      <a:pt x="9" y="18"/>
                      <a:pt x="8" y="15"/>
                      <a:pt x="10" y="14"/>
                    </a:cubicBezTo>
                    <a:cubicBezTo>
                      <a:pt x="12" y="12"/>
                      <a:pt x="14" y="9"/>
                      <a:pt x="16" y="10"/>
                    </a:cubicBezTo>
                    <a:cubicBezTo>
                      <a:pt x="19" y="10"/>
                      <a:pt x="18" y="15"/>
                      <a:pt x="17" y="17"/>
                    </a:cubicBezTo>
                    <a:cubicBezTo>
                      <a:pt x="16" y="18"/>
                      <a:pt x="13" y="18"/>
                      <a:pt x="11" y="19"/>
                    </a:cubicBezTo>
                    <a:cubicBezTo>
                      <a:pt x="11" y="20"/>
                      <a:pt x="11" y="21"/>
                      <a:pt x="11" y="21"/>
                    </a:cubicBezTo>
                    <a:cubicBezTo>
                      <a:pt x="13" y="23"/>
                      <a:pt x="16" y="24"/>
                      <a:pt x="18" y="26"/>
                    </a:cubicBezTo>
                    <a:cubicBezTo>
                      <a:pt x="18" y="26"/>
                      <a:pt x="16" y="26"/>
                      <a:pt x="16" y="26"/>
                    </a:cubicBezTo>
                    <a:cubicBezTo>
                      <a:pt x="13" y="26"/>
                      <a:pt x="10" y="24"/>
                      <a:pt x="7" y="25"/>
                    </a:cubicBezTo>
                    <a:cubicBezTo>
                      <a:pt x="6" y="26"/>
                      <a:pt x="8" y="28"/>
                      <a:pt x="7" y="29"/>
                    </a:cubicBezTo>
                    <a:cubicBezTo>
                      <a:pt x="7" y="31"/>
                      <a:pt x="6" y="33"/>
                      <a:pt x="6" y="35"/>
                    </a:cubicBezTo>
                    <a:cubicBezTo>
                      <a:pt x="8" y="38"/>
                      <a:pt x="12" y="40"/>
                      <a:pt x="13" y="44"/>
                    </a:cubicBezTo>
                    <a:cubicBezTo>
                      <a:pt x="11" y="43"/>
                      <a:pt x="9" y="43"/>
                      <a:pt x="7" y="42"/>
                    </a:cubicBezTo>
                    <a:cubicBezTo>
                      <a:pt x="5" y="39"/>
                      <a:pt x="5" y="36"/>
                      <a:pt x="4" y="33"/>
                    </a:cubicBezTo>
                    <a:cubicBezTo>
                      <a:pt x="4" y="31"/>
                      <a:pt x="4" y="29"/>
                      <a:pt x="3" y="27"/>
                    </a:cubicBezTo>
                    <a:cubicBezTo>
                      <a:pt x="3" y="24"/>
                      <a:pt x="1" y="21"/>
                      <a:pt x="1" y="19"/>
                    </a:cubicBezTo>
                    <a:cubicBezTo>
                      <a:pt x="0" y="15"/>
                      <a:pt x="0" y="11"/>
                      <a:pt x="1" y="7"/>
                    </a:cubicBezTo>
                    <a:cubicBezTo>
                      <a:pt x="1" y="4"/>
                      <a:pt x="3" y="2"/>
                      <a:pt x="6" y="0"/>
                    </a:cubicBezTo>
                    <a:cubicBezTo>
                      <a:pt x="6" y="0"/>
                      <a:pt x="8" y="0"/>
                      <a:pt x="8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5" name="Freeform 3046"/>
              <p:cNvSpPr>
                <a:spLocks noChangeAspect="1"/>
              </p:cNvSpPr>
              <p:nvPr/>
            </p:nvSpPr>
            <p:spPr bwMode="auto">
              <a:xfrm>
                <a:off x="7646200" y="3962729"/>
                <a:ext cx="13085" cy="17866"/>
              </a:xfrm>
              <a:custGeom>
                <a:avLst/>
                <a:gdLst>
                  <a:gd name="T0" fmla="*/ 6 w 7"/>
                  <a:gd name="T1" fmla="*/ 1 h 9"/>
                  <a:gd name="T2" fmla="*/ 7 w 7"/>
                  <a:gd name="T3" fmla="*/ 9 h 9"/>
                  <a:gd name="T4" fmla="*/ 2 w 7"/>
                  <a:gd name="T5" fmla="*/ 10 h 9"/>
                  <a:gd name="T6" fmla="*/ 2 w 7"/>
                  <a:gd name="T7" fmla="*/ 4 h 9"/>
                  <a:gd name="T8" fmla="*/ 6 w 7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9"/>
                  <a:gd name="T17" fmla="*/ 7 w 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9">
                    <a:moveTo>
                      <a:pt x="5" y="1"/>
                    </a:moveTo>
                    <a:cubicBezTo>
                      <a:pt x="7" y="2"/>
                      <a:pt x="7" y="5"/>
                      <a:pt x="6" y="7"/>
                    </a:cubicBezTo>
                    <a:cubicBezTo>
                      <a:pt x="6" y="8"/>
                      <a:pt x="3" y="9"/>
                      <a:pt x="2" y="8"/>
                    </a:cubicBezTo>
                    <a:cubicBezTo>
                      <a:pt x="0" y="7"/>
                      <a:pt x="1" y="5"/>
                      <a:pt x="2" y="3"/>
                    </a:cubicBezTo>
                    <a:cubicBezTo>
                      <a:pt x="2" y="2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6" name="Freeform 3047"/>
              <p:cNvSpPr>
                <a:spLocks noChangeAspect="1"/>
              </p:cNvSpPr>
              <p:nvPr/>
            </p:nvSpPr>
            <p:spPr bwMode="auto">
              <a:xfrm>
                <a:off x="7626573" y="4045560"/>
                <a:ext cx="6542" cy="12993"/>
              </a:xfrm>
              <a:custGeom>
                <a:avLst/>
                <a:gdLst>
                  <a:gd name="T0" fmla="*/ 4 w 4"/>
                  <a:gd name="T1" fmla="*/ 3 h 6"/>
                  <a:gd name="T2" fmla="*/ 4 w 4"/>
                  <a:gd name="T3" fmla="*/ 7 h 6"/>
                  <a:gd name="T4" fmla="*/ 1 w 4"/>
                  <a:gd name="T5" fmla="*/ 7 h 6"/>
                  <a:gd name="T6" fmla="*/ 1 w 4"/>
                  <a:gd name="T7" fmla="*/ 1 h 6"/>
                  <a:gd name="T8" fmla="*/ 4 w 4"/>
                  <a:gd name="T9" fmla="*/ 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2"/>
                    </a:moveTo>
                    <a:cubicBezTo>
                      <a:pt x="4" y="2"/>
                      <a:pt x="4" y="4"/>
                      <a:pt x="4" y="5"/>
                    </a:cubicBezTo>
                    <a:cubicBezTo>
                      <a:pt x="3" y="6"/>
                      <a:pt x="1" y="6"/>
                      <a:pt x="1" y="5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1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7" name="Freeform 3048"/>
              <p:cNvSpPr>
                <a:spLocks noChangeAspect="1"/>
              </p:cNvSpPr>
              <p:nvPr/>
            </p:nvSpPr>
            <p:spPr bwMode="auto">
              <a:xfrm>
                <a:off x="7642929" y="4112149"/>
                <a:ext cx="68695" cy="30859"/>
              </a:xfrm>
              <a:custGeom>
                <a:avLst/>
                <a:gdLst>
                  <a:gd name="T0" fmla="*/ 1 w 35"/>
                  <a:gd name="T1" fmla="*/ 1 h 16"/>
                  <a:gd name="T2" fmla="*/ 13 w 35"/>
                  <a:gd name="T3" fmla="*/ 2 h 16"/>
                  <a:gd name="T4" fmla="*/ 18 w 35"/>
                  <a:gd name="T5" fmla="*/ 4 h 16"/>
                  <a:gd name="T6" fmla="*/ 22 w 35"/>
                  <a:gd name="T7" fmla="*/ 1 h 16"/>
                  <a:gd name="T8" fmla="*/ 31 w 35"/>
                  <a:gd name="T9" fmla="*/ 6 h 16"/>
                  <a:gd name="T10" fmla="*/ 37 w 35"/>
                  <a:gd name="T11" fmla="*/ 6 h 16"/>
                  <a:gd name="T12" fmla="*/ 41 w 35"/>
                  <a:gd name="T13" fmla="*/ 14 h 16"/>
                  <a:gd name="T14" fmla="*/ 40 w 35"/>
                  <a:gd name="T15" fmla="*/ 18 h 16"/>
                  <a:gd name="T16" fmla="*/ 34 w 35"/>
                  <a:gd name="T17" fmla="*/ 15 h 16"/>
                  <a:gd name="T18" fmla="*/ 24 w 35"/>
                  <a:gd name="T19" fmla="*/ 11 h 16"/>
                  <a:gd name="T20" fmla="*/ 19 w 35"/>
                  <a:gd name="T21" fmla="*/ 12 h 16"/>
                  <a:gd name="T22" fmla="*/ 11 w 35"/>
                  <a:gd name="T23" fmla="*/ 11 h 16"/>
                  <a:gd name="T24" fmla="*/ 7 w 35"/>
                  <a:gd name="T25" fmla="*/ 12 h 16"/>
                  <a:gd name="T26" fmla="*/ 0 w 35"/>
                  <a:gd name="T27" fmla="*/ 6 h 16"/>
                  <a:gd name="T28" fmla="*/ 1 w 35"/>
                  <a:gd name="T29" fmla="*/ 1 h 1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5"/>
                  <a:gd name="T46" fmla="*/ 0 h 16"/>
                  <a:gd name="T47" fmla="*/ 35 w 35"/>
                  <a:gd name="T48" fmla="*/ 16 h 1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5" h="16">
                    <a:moveTo>
                      <a:pt x="1" y="1"/>
                    </a:moveTo>
                    <a:cubicBezTo>
                      <a:pt x="4" y="0"/>
                      <a:pt x="8" y="1"/>
                      <a:pt x="11" y="2"/>
                    </a:cubicBezTo>
                    <a:cubicBezTo>
                      <a:pt x="13" y="2"/>
                      <a:pt x="14" y="3"/>
                      <a:pt x="15" y="3"/>
                    </a:cubicBezTo>
                    <a:cubicBezTo>
                      <a:pt x="16" y="3"/>
                      <a:pt x="17" y="1"/>
                      <a:pt x="18" y="1"/>
                    </a:cubicBezTo>
                    <a:cubicBezTo>
                      <a:pt x="21" y="2"/>
                      <a:pt x="24" y="4"/>
                      <a:pt x="26" y="5"/>
                    </a:cubicBezTo>
                    <a:cubicBezTo>
                      <a:pt x="28" y="6"/>
                      <a:pt x="30" y="5"/>
                      <a:pt x="31" y="5"/>
                    </a:cubicBezTo>
                    <a:cubicBezTo>
                      <a:pt x="33" y="7"/>
                      <a:pt x="34" y="9"/>
                      <a:pt x="34" y="12"/>
                    </a:cubicBezTo>
                    <a:cubicBezTo>
                      <a:pt x="35" y="13"/>
                      <a:pt x="34" y="15"/>
                      <a:pt x="33" y="15"/>
                    </a:cubicBezTo>
                    <a:cubicBezTo>
                      <a:pt x="31" y="16"/>
                      <a:pt x="29" y="14"/>
                      <a:pt x="28" y="13"/>
                    </a:cubicBezTo>
                    <a:cubicBezTo>
                      <a:pt x="25" y="12"/>
                      <a:pt x="23" y="10"/>
                      <a:pt x="20" y="9"/>
                    </a:cubicBezTo>
                    <a:cubicBezTo>
                      <a:pt x="19" y="8"/>
                      <a:pt x="17" y="10"/>
                      <a:pt x="16" y="10"/>
                    </a:cubicBezTo>
                    <a:cubicBezTo>
                      <a:pt x="14" y="10"/>
                      <a:pt x="11" y="9"/>
                      <a:pt x="9" y="9"/>
                    </a:cubicBezTo>
                    <a:cubicBezTo>
                      <a:pt x="8" y="9"/>
                      <a:pt x="7" y="11"/>
                      <a:pt x="6" y="10"/>
                    </a:cubicBezTo>
                    <a:cubicBezTo>
                      <a:pt x="3" y="9"/>
                      <a:pt x="1" y="7"/>
                      <a:pt x="0" y="5"/>
                    </a:cubicBezTo>
                    <a:cubicBezTo>
                      <a:pt x="0" y="4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38" name="Freeform 3049"/>
              <p:cNvSpPr>
                <a:spLocks noChangeAspect="1"/>
              </p:cNvSpPr>
              <p:nvPr/>
            </p:nvSpPr>
            <p:spPr bwMode="auto">
              <a:xfrm>
                <a:off x="7682183" y="4082915"/>
                <a:ext cx="19627" cy="9745"/>
              </a:xfrm>
              <a:custGeom>
                <a:avLst/>
                <a:gdLst>
                  <a:gd name="T0" fmla="*/ 4 w 10"/>
                  <a:gd name="T1" fmla="*/ 1 h 5"/>
                  <a:gd name="T2" fmla="*/ 1 w 10"/>
                  <a:gd name="T3" fmla="*/ 2 h 5"/>
                  <a:gd name="T4" fmla="*/ 6 w 10"/>
                  <a:gd name="T5" fmla="*/ 5 h 5"/>
                  <a:gd name="T6" fmla="*/ 11 w 10"/>
                  <a:gd name="T7" fmla="*/ 5 h 5"/>
                  <a:gd name="T8" fmla="*/ 11 w 10"/>
                  <a:gd name="T9" fmla="*/ 1 h 5"/>
                  <a:gd name="T10" fmla="*/ 4 w 10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3" y="1"/>
                    </a:moveTo>
                    <a:cubicBezTo>
                      <a:pt x="2" y="1"/>
                      <a:pt x="0" y="2"/>
                      <a:pt x="1" y="2"/>
                    </a:cubicBezTo>
                    <a:cubicBezTo>
                      <a:pt x="2" y="4"/>
                      <a:pt x="4" y="4"/>
                      <a:pt x="5" y="4"/>
                    </a:cubicBezTo>
                    <a:cubicBezTo>
                      <a:pt x="7" y="5"/>
                      <a:pt x="8" y="5"/>
                      <a:pt x="9" y="4"/>
                    </a:cubicBezTo>
                    <a:cubicBezTo>
                      <a:pt x="10" y="3"/>
                      <a:pt x="10" y="2"/>
                      <a:pt x="9" y="1"/>
                    </a:cubicBezTo>
                    <a:cubicBezTo>
                      <a:pt x="7" y="0"/>
                      <a:pt x="5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39" name="Freeform 3050"/>
              <p:cNvSpPr>
                <a:spLocks noChangeAspect="1"/>
              </p:cNvSpPr>
              <p:nvPr/>
            </p:nvSpPr>
            <p:spPr bwMode="auto">
              <a:xfrm>
                <a:off x="7698539" y="4035815"/>
                <a:ext cx="29441" cy="14618"/>
              </a:xfrm>
              <a:custGeom>
                <a:avLst/>
                <a:gdLst>
                  <a:gd name="T0" fmla="*/ 2 w 15"/>
                  <a:gd name="T1" fmla="*/ 0 h 7"/>
                  <a:gd name="T2" fmla="*/ 16 w 15"/>
                  <a:gd name="T3" fmla="*/ 1 h 7"/>
                  <a:gd name="T4" fmla="*/ 17 w 15"/>
                  <a:gd name="T5" fmla="*/ 8 h 7"/>
                  <a:gd name="T6" fmla="*/ 4 w 15"/>
                  <a:gd name="T7" fmla="*/ 5 h 7"/>
                  <a:gd name="T8" fmla="*/ 1 w 15"/>
                  <a:gd name="T9" fmla="*/ 1 h 7"/>
                  <a:gd name="T10" fmla="*/ 2 w 15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7"/>
                  <a:gd name="T20" fmla="*/ 15 w 15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7">
                    <a:moveTo>
                      <a:pt x="2" y="0"/>
                    </a:moveTo>
                    <a:cubicBezTo>
                      <a:pt x="6" y="0"/>
                      <a:pt x="10" y="0"/>
                      <a:pt x="13" y="1"/>
                    </a:cubicBezTo>
                    <a:cubicBezTo>
                      <a:pt x="14" y="2"/>
                      <a:pt x="15" y="5"/>
                      <a:pt x="14" y="6"/>
                    </a:cubicBezTo>
                    <a:cubicBezTo>
                      <a:pt x="10" y="7"/>
                      <a:pt x="6" y="5"/>
                      <a:pt x="3" y="4"/>
                    </a:cubicBezTo>
                    <a:cubicBezTo>
                      <a:pt x="2" y="4"/>
                      <a:pt x="1" y="2"/>
                      <a:pt x="1" y="1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0" name="Freeform 3051"/>
              <p:cNvSpPr>
                <a:spLocks noChangeAspect="1"/>
              </p:cNvSpPr>
              <p:nvPr/>
            </p:nvSpPr>
            <p:spPr bwMode="auto">
              <a:xfrm>
                <a:off x="7633115" y="4123518"/>
                <a:ext cx="9814" cy="12993"/>
              </a:xfrm>
              <a:custGeom>
                <a:avLst/>
                <a:gdLst>
                  <a:gd name="T0" fmla="*/ 1 w 5"/>
                  <a:gd name="T1" fmla="*/ 1 h 6"/>
                  <a:gd name="T2" fmla="*/ 1 w 5"/>
                  <a:gd name="T3" fmla="*/ 8 h 6"/>
                  <a:gd name="T4" fmla="*/ 4 w 5"/>
                  <a:gd name="T5" fmla="*/ 7 h 6"/>
                  <a:gd name="T6" fmla="*/ 6 w 5"/>
                  <a:gd name="T7" fmla="*/ 1 h 6"/>
                  <a:gd name="T8" fmla="*/ 1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1"/>
                    </a:moveTo>
                    <a:cubicBezTo>
                      <a:pt x="0" y="2"/>
                      <a:pt x="1" y="4"/>
                      <a:pt x="1" y="6"/>
                    </a:cubicBezTo>
                    <a:cubicBezTo>
                      <a:pt x="1" y="6"/>
                      <a:pt x="3" y="5"/>
                      <a:pt x="3" y="5"/>
                    </a:cubicBezTo>
                    <a:cubicBezTo>
                      <a:pt x="4" y="4"/>
                      <a:pt x="5" y="3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1" name="Freeform 3052"/>
              <p:cNvSpPr>
                <a:spLocks noChangeAspect="1"/>
              </p:cNvSpPr>
              <p:nvPr/>
            </p:nvSpPr>
            <p:spPr bwMode="auto">
              <a:xfrm>
                <a:off x="7714895" y="4242079"/>
                <a:ext cx="14721" cy="24362"/>
              </a:xfrm>
              <a:custGeom>
                <a:avLst/>
                <a:gdLst>
                  <a:gd name="T0" fmla="*/ 8 w 8"/>
                  <a:gd name="T1" fmla="*/ 1 h 13"/>
                  <a:gd name="T2" fmla="*/ 8 w 8"/>
                  <a:gd name="T3" fmla="*/ 7 h 13"/>
                  <a:gd name="T4" fmla="*/ 3 w 8"/>
                  <a:gd name="T5" fmla="*/ 14 h 13"/>
                  <a:gd name="T6" fmla="*/ 0 w 8"/>
                  <a:gd name="T7" fmla="*/ 13 h 13"/>
                  <a:gd name="T8" fmla="*/ 3 w 8"/>
                  <a:gd name="T9" fmla="*/ 5 h 13"/>
                  <a:gd name="T10" fmla="*/ 8 w 8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3"/>
                  <a:gd name="T20" fmla="*/ 8 w 8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3">
                    <a:moveTo>
                      <a:pt x="7" y="1"/>
                    </a:moveTo>
                    <a:cubicBezTo>
                      <a:pt x="8" y="2"/>
                      <a:pt x="7" y="4"/>
                      <a:pt x="7" y="6"/>
                    </a:cubicBezTo>
                    <a:cubicBezTo>
                      <a:pt x="6" y="8"/>
                      <a:pt x="5" y="11"/>
                      <a:pt x="3" y="12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0" y="9"/>
                      <a:pt x="2" y="6"/>
                      <a:pt x="3" y="4"/>
                    </a:cubicBezTo>
                    <a:cubicBezTo>
                      <a:pt x="4" y="3"/>
                      <a:pt x="5" y="0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2" name="Freeform 3053"/>
              <p:cNvSpPr>
                <a:spLocks noChangeAspect="1"/>
              </p:cNvSpPr>
              <p:nvPr/>
            </p:nvSpPr>
            <p:spPr bwMode="auto">
              <a:xfrm>
                <a:off x="7826115" y="4053680"/>
                <a:ext cx="27806" cy="17866"/>
              </a:xfrm>
              <a:custGeom>
                <a:avLst/>
                <a:gdLst>
                  <a:gd name="T0" fmla="*/ 2 w 14"/>
                  <a:gd name="T1" fmla="*/ 0 h 9"/>
                  <a:gd name="T2" fmla="*/ 16 w 14"/>
                  <a:gd name="T3" fmla="*/ 9 h 9"/>
                  <a:gd name="T4" fmla="*/ 6 w 14"/>
                  <a:gd name="T5" fmla="*/ 10 h 9"/>
                  <a:gd name="T6" fmla="*/ 5 w 14"/>
                  <a:gd name="T7" fmla="*/ 4 h 9"/>
                  <a:gd name="T8" fmla="*/ 0 w 14"/>
                  <a:gd name="T9" fmla="*/ 2 h 9"/>
                  <a:gd name="T10" fmla="*/ 2 w 14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9"/>
                  <a:gd name="T20" fmla="*/ 14 w 14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9">
                    <a:moveTo>
                      <a:pt x="2" y="0"/>
                    </a:moveTo>
                    <a:cubicBezTo>
                      <a:pt x="6" y="1"/>
                      <a:pt x="11" y="3"/>
                      <a:pt x="13" y="7"/>
                    </a:cubicBezTo>
                    <a:cubicBezTo>
                      <a:pt x="14" y="9"/>
                      <a:pt x="8" y="9"/>
                      <a:pt x="5" y="8"/>
                    </a:cubicBezTo>
                    <a:cubicBezTo>
                      <a:pt x="4" y="7"/>
                      <a:pt x="5" y="4"/>
                      <a:pt x="4" y="3"/>
                    </a:cubicBezTo>
                    <a:cubicBezTo>
                      <a:pt x="3" y="2"/>
                      <a:pt x="1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3" name="Freeform 3054"/>
              <p:cNvSpPr>
                <a:spLocks noChangeAspect="1"/>
              </p:cNvSpPr>
              <p:nvPr/>
            </p:nvSpPr>
            <p:spPr bwMode="auto">
              <a:xfrm>
                <a:off x="7827750" y="4082915"/>
                <a:ext cx="27806" cy="6497"/>
              </a:xfrm>
              <a:custGeom>
                <a:avLst/>
                <a:gdLst>
                  <a:gd name="T0" fmla="*/ 9 w 14"/>
                  <a:gd name="T1" fmla="*/ 0 h 3"/>
                  <a:gd name="T2" fmla="*/ 17 w 14"/>
                  <a:gd name="T3" fmla="*/ 3 h 3"/>
                  <a:gd name="T4" fmla="*/ 9 w 14"/>
                  <a:gd name="T5" fmla="*/ 4 h 3"/>
                  <a:gd name="T6" fmla="*/ 0 w 14"/>
                  <a:gd name="T7" fmla="*/ 1 h 3"/>
                  <a:gd name="T8" fmla="*/ 9 w 1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3"/>
                  <a:gd name="T17" fmla="*/ 14 w 1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3">
                    <a:moveTo>
                      <a:pt x="7" y="0"/>
                    </a:moveTo>
                    <a:cubicBezTo>
                      <a:pt x="10" y="0"/>
                      <a:pt x="12" y="2"/>
                      <a:pt x="14" y="2"/>
                    </a:cubicBezTo>
                    <a:cubicBezTo>
                      <a:pt x="12" y="3"/>
                      <a:pt x="10" y="3"/>
                      <a:pt x="7" y="3"/>
                    </a:cubicBezTo>
                    <a:cubicBezTo>
                      <a:pt x="5" y="3"/>
                      <a:pt x="2" y="2"/>
                      <a:pt x="0" y="1"/>
                    </a:cubicBezTo>
                    <a:cubicBezTo>
                      <a:pt x="2" y="0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4" name="Freeform 3055"/>
              <p:cNvSpPr>
                <a:spLocks noChangeAspect="1"/>
              </p:cNvSpPr>
              <p:nvPr/>
            </p:nvSpPr>
            <p:spPr bwMode="auto">
              <a:xfrm>
                <a:off x="7875183" y="4245328"/>
                <a:ext cx="35983" cy="32483"/>
              </a:xfrm>
              <a:custGeom>
                <a:avLst/>
                <a:gdLst>
                  <a:gd name="T0" fmla="*/ 12 w 18"/>
                  <a:gd name="T1" fmla="*/ 1 h 17"/>
                  <a:gd name="T2" fmla="*/ 20 w 18"/>
                  <a:gd name="T3" fmla="*/ 1 h 17"/>
                  <a:gd name="T4" fmla="*/ 21 w 18"/>
                  <a:gd name="T5" fmla="*/ 6 h 17"/>
                  <a:gd name="T6" fmla="*/ 16 w 18"/>
                  <a:gd name="T7" fmla="*/ 14 h 17"/>
                  <a:gd name="T8" fmla="*/ 12 w 18"/>
                  <a:gd name="T9" fmla="*/ 19 h 17"/>
                  <a:gd name="T10" fmla="*/ 4 w 18"/>
                  <a:gd name="T11" fmla="*/ 19 h 17"/>
                  <a:gd name="T12" fmla="*/ 0 w 18"/>
                  <a:gd name="T13" fmla="*/ 18 h 17"/>
                  <a:gd name="T14" fmla="*/ 7 w 18"/>
                  <a:gd name="T15" fmla="*/ 6 h 17"/>
                  <a:gd name="T16" fmla="*/ 12 w 18"/>
                  <a:gd name="T17" fmla="*/ 1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8"/>
                  <a:gd name="T28" fmla="*/ 0 h 17"/>
                  <a:gd name="T29" fmla="*/ 18 w 18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8" h="17">
                    <a:moveTo>
                      <a:pt x="10" y="1"/>
                    </a:moveTo>
                    <a:cubicBezTo>
                      <a:pt x="12" y="1"/>
                      <a:pt x="14" y="0"/>
                      <a:pt x="16" y="1"/>
                    </a:cubicBezTo>
                    <a:cubicBezTo>
                      <a:pt x="17" y="2"/>
                      <a:pt x="18" y="4"/>
                      <a:pt x="17" y="5"/>
                    </a:cubicBezTo>
                    <a:cubicBezTo>
                      <a:pt x="17" y="8"/>
                      <a:pt x="15" y="10"/>
                      <a:pt x="13" y="12"/>
                    </a:cubicBezTo>
                    <a:cubicBezTo>
                      <a:pt x="12" y="13"/>
                      <a:pt x="11" y="15"/>
                      <a:pt x="10" y="16"/>
                    </a:cubicBezTo>
                    <a:cubicBezTo>
                      <a:pt x="8" y="17"/>
                      <a:pt x="5" y="16"/>
                      <a:pt x="3" y="16"/>
                    </a:cubicBezTo>
                    <a:cubicBezTo>
                      <a:pt x="2" y="16"/>
                      <a:pt x="0" y="16"/>
                      <a:pt x="0" y="15"/>
                    </a:cubicBezTo>
                    <a:cubicBezTo>
                      <a:pt x="2" y="12"/>
                      <a:pt x="4" y="8"/>
                      <a:pt x="6" y="5"/>
                    </a:cubicBezTo>
                    <a:cubicBezTo>
                      <a:pt x="7" y="3"/>
                      <a:pt x="8" y="2"/>
                      <a:pt x="1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5" name="Freeform 3056"/>
              <p:cNvSpPr>
                <a:spLocks noChangeAspect="1"/>
              </p:cNvSpPr>
              <p:nvPr/>
            </p:nvSpPr>
            <p:spPr bwMode="auto">
              <a:xfrm>
                <a:off x="7793403" y="4196604"/>
                <a:ext cx="14721" cy="11369"/>
              </a:xfrm>
              <a:custGeom>
                <a:avLst/>
                <a:gdLst>
                  <a:gd name="T0" fmla="*/ 5 w 8"/>
                  <a:gd name="T1" fmla="*/ 0 h 6"/>
                  <a:gd name="T2" fmla="*/ 8 w 8"/>
                  <a:gd name="T3" fmla="*/ 5 h 6"/>
                  <a:gd name="T4" fmla="*/ 1 w 8"/>
                  <a:gd name="T5" fmla="*/ 5 h 6"/>
                  <a:gd name="T6" fmla="*/ 5 w 8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6"/>
                  <a:gd name="T14" fmla="*/ 8 w 8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6">
                    <a:moveTo>
                      <a:pt x="4" y="0"/>
                    </a:moveTo>
                    <a:cubicBezTo>
                      <a:pt x="5" y="0"/>
                      <a:pt x="8" y="2"/>
                      <a:pt x="7" y="4"/>
                    </a:cubicBezTo>
                    <a:cubicBezTo>
                      <a:pt x="6" y="5"/>
                      <a:pt x="3" y="6"/>
                      <a:pt x="1" y="4"/>
                    </a:cubicBezTo>
                    <a:cubicBezTo>
                      <a:pt x="0" y="3"/>
                      <a:pt x="2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6" name="Freeform 3057"/>
              <p:cNvSpPr>
                <a:spLocks noChangeAspect="1"/>
              </p:cNvSpPr>
              <p:nvPr/>
            </p:nvSpPr>
            <p:spPr bwMode="auto">
              <a:xfrm>
                <a:off x="7796674" y="4206349"/>
                <a:ext cx="9814" cy="9745"/>
              </a:xfrm>
              <a:custGeom>
                <a:avLst/>
                <a:gdLst>
                  <a:gd name="T0" fmla="*/ 5 w 5"/>
                  <a:gd name="T1" fmla="*/ 6 h 5"/>
                  <a:gd name="T2" fmla="*/ 6 w 5"/>
                  <a:gd name="T3" fmla="*/ 4 h 5"/>
                  <a:gd name="T4" fmla="*/ 2 w 5"/>
                  <a:gd name="T5" fmla="*/ 0 h 5"/>
                  <a:gd name="T6" fmla="*/ 0 w 5"/>
                  <a:gd name="T7" fmla="*/ 4 h 5"/>
                  <a:gd name="T8" fmla="*/ 5 w 5"/>
                  <a:gd name="T9" fmla="*/ 6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5"/>
                    </a:moveTo>
                    <a:cubicBezTo>
                      <a:pt x="4" y="5"/>
                      <a:pt x="5" y="4"/>
                      <a:pt x="5" y="3"/>
                    </a:cubicBezTo>
                    <a:cubicBezTo>
                      <a:pt x="4" y="2"/>
                      <a:pt x="3" y="1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1" y="4"/>
                      <a:pt x="2" y="5"/>
                      <a:pt x="4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7" name="Freeform 3058"/>
              <p:cNvSpPr>
                <a:spLocks noChangeAspect="1"/>
              </p:cNvSpPr>
              <p:nvPr/>
            </p:nvSpPr>
            <p:spPr bwMode="auto">
              <a:xfrm>
                <a:off x="7788496" y="4207973"/>
                <a:ext cx="14721" cy="25986"/>
              </a:xfrm>
              <a:custGeom>
                <a:avLst/>
                <a:gdLst>
                  <a:gd name="T0" fmla="*/ 1 w 7"/>
                  <a:gd name="T1" fmla="*/ 0 h 13"/>
                  <a:gd name="T2" fmla="*/ 8 w 7"/>
                  <a:gd name="T3" fmla="*/ 6 h 13"/>
                  <a:gd name="T4" fmla="*/ 8 w 7"/>
                  <a:gd name="T5" fmla="*/ 9 h 13"/>
                  <a:gd name="T6" fmla="*/ 3 w 7"/>
                  <a:gd name="T7" fmla="*/ 15 h 13"/>
                  <a:gd name="T8" fmla="*/ 0 w 7"/>
                  <a:gd name="T9" fmla="*/ 14 h 13"/>
                  <a:gd name="T10" fmla="*/ 1 w 7"/>
                  <a:gd name="T11" fmla="*/ 0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3"/>
                  <a:gd name="T20" fmla="*/ 7 w 7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3">
                    <a:moveTo>
                      <a:pt x="1" y="0"/>
                    </a:moveTo>
                    <a:cubicBezTo>
                      <a:pt x="2" y="1"/>
                      <a:pt x="5" y="3"/>
                      <a:pt x="6" y="5"/>
                    </a:cubicBezTo>
                    <a:cubicBezTo>
                      <a:pt x="7" y="5"/>
                      <a:pt x="6" y="6"/>
                      <a:pt x="6" y="7"/>
                    </a:cubicBezTo>
                    <a:cubicBezTo>
                      <a:pt x="5" y="9"/>
                      <a:pt x="4" y="11"/>
                      <a:pt x="2" y="12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0" y="7"/>
                      <a:pt x="0" y="4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8" name="Freeform 3059"/>
              <p:cNvSpPr>
                <a:spLocks noChangeAspect="1"/>
              </p:cNvSpPr>
              <p:nvPr/>
            </p:nvSpPr>
            <p:spPr bwMode="auto">
              <a:xfrm>
                <a:off x="7956962" y="4110525"/>
                <a:ext cx="238796" cy="224130"/>
              </a:xfrm>
              <a:custGeom>
                <a:avLst/>
                <a:gdLst>
                  <a:gd name="T0" fmla="*/ 0 w 121"/>
                  <a:gd name="T1" fmla="*/ 114 h 115"/>
                  <a:gd name="T2" fmla="*/ 7 w 121"/>
                  <a:gd name="T3" fmla="*/ 116 h 115"/>
                  <a:gd name="T4" fmla="*/ 16 w 121"/>
                  <a:gd name="T5" fmla="*/ 115 h 115"/>
                  <a:gd name="T6" fmla="*/ 25 w 121"/>
                  <a:gd name="T7" fmla="*/ 116 h 115"/>
                  <a:gd name="T8" fmla="*/ 35 w 121"/>
                  <a:gd name="T9" fmla="*/ 114 h 115"/>
                  <a:gd name="T10" fmla="*/ 40 w 121"/>
                  <a:gd name="T11" fmla="*/ 108 h 115"/>
                  <a:gd name="T12" fmla="*/ 28 w 121"/>
                  <a:gd name="T13" fmla="*/ 102 h 115"/>
                  <a:gd name="T14" fmla="*/ 27 w 121"/>
                  <a:gd name="T15" fmla="*/ 100 h 115"/>
                  <a:gd name="T16" fmla="*/ 41 w 121"/>
                  <a:gd name="T17" fmla="*/ 98 h 115"/>
                  <a:gd name="T18" fmla="*/ 45 w 121"/>
                  <a:gd name="T19" fmla="*/ 90 h 115"/>
                  <a:gd name="T20" fmla="*/ 54 w 121"/>
                  <a:gd name="T21" fmla="*/ 86 h 115"/>
                  <a:gd name="T22" fmla="*/ 65 w 121"/>
                  <a:gd name="T23" fmla="*/ 91 h 115"/>
                  <a:gd name="T24" fmla="*/ 80 w 121"/>
                  <a:gd name="T25" fmla="*/ 101 h 115"/>
                  <a:gd name="T26" fmla="*/ 84 w 121"/>
                  <a:gd name="T27" fmla="*/ 112 h 115"/>
                  <a:gd name="T28" fmla="*/ 88 w 121"/>
                  <a:gd name="T29" fmla="*/ 115 h 115"/>
                  <a:gd name="T30" fmla="*/ 100 w 121"/>
                  <a:gd name="T31" fmla="*/ 130 h 115"/>
                  <a:gd name="T32" fmla="*/ 105 w 121"/>
                  <a:gd name="T33" fmla="*/ 132 h 115"/>
                  <a:gd name="T34" fmla="*/ 117 w 121"/>
                  <a:gd name="T35" fmla="*/ 133 h 115"/>
                  <a:gd name="T36" fmla="*/ 133 w 121"/>
                  <a:gd name="T37" fmla="*/ 136 h 115"/>
                  <a:gd name="T38" fmla="*/ 141 w 121"/>
                  <a:gd name="T39" fmla="*/ 137 h 115"/>
                  <a:gd name="T40" fmla="*/ 145 w 121"/>
                  <a:gd name="T41" fmla="*/ 133 h 115"/>
                  <a:gd name="T42" fmla="*/ 134 w 121"/>
                  <a:gd name="T43" fmla="*/ 128 h 115"/>
                  <a:gd name="T44" fmla="*/ 139 w 121"/>
                  <a:gd name="T45" fmla="*/ 124 h 115"/>
                  <a:gd name="T46" fmla="*/ 130 w 121"/>
                  <a:gd name="T47" fmla="*/ 124 h 115"/>
                  <a:gd name="T48" fmla="*/ 125 w 121"/>
                  <a:gd name="T49" fmla="*/ 119 h 115"/>
                  <a:gd name="T50" fmla="*/ 129 w 121"/>
                  <a:gd name="T51" fmla="*/ 114 h 115"/>
                  <a:gd name="T52" fmla="*/ 125 w 121"/>
                  <a:gd name="T53" fmla="*/ 113 h 115"/>
                  <a:gd name="T54" fmla="*/ 116 w 121"/>
                  <a:gd name="T55" fmla="*/ 113 h 115"/>
                  <a:gd name="T56" fmla="*/ 110 w 121"/>
                  <a:gd name="T57" fmla="*/ 107 h 115"/>
                  <a:gd name="T58" fmla="*/ 110 w 121"/>
                  <a:gd name="T59" fmla="*/ 95 h 115"/>
                  <a:gd name="T60" fmla="*/ 105 w 121"/>
                  <a:gd name="T61" fmla="*/ 94 h 115"/>
                  <a:gd name="T62" fmla="*/ 97 w 121"/>
                  <a:gd name="T63" fmla="*/ 85 h 115"/>
                  <a:gd name="T64" fmla="*/ 97 w 121"/>
                  <a:gd name="T65" fmla="*/ 79 h 115"/>
                  <a:gd name="T66" fmla="*/ 93 w 121"/>
                  <a:gd name="T67" fmla="*/ 74 h 115"/>
                  <a:gd name="T68" fmla="*/ 100 w 121"/>
                  <a:gd name="T69" fmla="*/ 71 h 115"/>
                  <a:gd name="T70" fmla="*/ 109 w 121"/>
                  <a:gd name="T71" fmla="*/ 71 h 115"/>
                  <a:gd name="T72" fmla="*/ 103 w 121"/>
                  <a:gd name="T73" fmla="*/ 59 h 115"/>
                  <a:gd name="T74" fmla="*/ 97 w 121"/>
                  <a:gd name="T75" fmla="*/ 59 h 115"/>
                  <a:gd name="T76" fmla="*/ 87 w 121"/>
                  <a:gd name="T77" fmla="*/ 54 h 115"/>
                  <a:gd name="T78" fmla="*/ 75 w 121"/>
                  <a:gd name="T79" fmla="*/ 49 h 115"/>
                  <a:gd name="T80" fmla="*/ 75 w 121"/>
                  <a:gd name="T81" fmla="*/ 43 h 115"/>
                  <a:gd name="T82" fmla="*/ 72 w 121"/>
                  <a:gd name="T83" fmla="*/ 35 h 115"/>
                  <a:gd name="T84" fmla="*/ 63 w 121"/>
                  <a:gd name="T85" fmla="*/ 29 h 115"/>
                  <a:gd name="T86" fmla="*/ 59 w 121"/>
                  <a:gd name="T87" fmla="*/ 22 h 115"/>
                  <a:gd name="T88" fmla="*/ 49 w 121"/>
                  <a:gd name="T89" fmla="*/ 20 h 115"/>
                  <a:gd name="T90" fmla="*/ 39 w 121"/>
                  <a:gd name="T91" fmla="*/ 14 h 115"/>
                  <a:gd name="T92" fmla="*/ 19 w 121"/>
                  <a:gd name="T93" fmla="*/ 7 h 115"/>
                  <a:gd name="T94" fmla="*/ 8 w 121"/>
                  <a:gd name="T95" fmla="*/ 1 h 115"/>
                  <a:gd name="T96" fmla="*/ 4 w 121"/>
                  <a:gd name="T97" fmla="*/ 1 h 115"/>
                  <a:gd name="T98" fmla="*/ 4 w 121"/>
                  <a:gd name="T99" fmla="*/ 65 h 115"/>
                  <a:gd name="T100" fmla="*/ 0 w 121"/>
                  <a:gd name="T101" fmla="*/ 71 h 115"/>
                  <a:gd name="T102" fmla="*/ 2 w 121"/>
                  <a:gd name="T103" fmla="*/ 76 h 115"/>
                  <a:gd name="T104" fmla="*/ 0 w 121"/>
                  <a:gd name="T105" fmla="*/ 114 h 11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21"/>
                  <a:gd name="T160" fmla="*/ 0 h 115"/>
                  <a:gd name="T161" fmla="*/ 121 w 121"/>
                  <a:gd name="T162" fmla="*/ 115 h 11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21" h="115">
                    <a:moveTo>
                      <a:pt x="0" y="95"/>
                    </a:moveTo>
                    <a:cubicBezTo>
                      <a:pt x="2" y="96"/>
                      <a:pt x="4" y="97"/>
                      <a:pt x="6" y="97"/>
                    </a:cubicBezTo>
                    <a:cubicBezTo>
                      <a:pt x="8" y="97"/>
                      <a:pt x="11" y="96"/>
                      <a:pt x="13" y="96"/>
                    </a:cubicBezTo>
                    <a:cubicBezTo>
                      <a:pt x="16" y="96"/>
                      <a:pt x="18" y="97"/>
                      <a:pt x="21" y="97"/>
                    </a:cubicBezTo>
                    <a:cubicBezTo>
                      <a:pt x="24" y="97"/>
                      <a:pt x="27" y="97"/>
                      <a:pt x="29" y="95"/>
                    </a:cubicBezTo>
                    <a:cubicBezTo>
                      <a:pt x="31" y="94"/>
                      <a:pt x="34" y="92"/>
                      <a:pt x="33" y="90"/>
                    </a:cubicBezTo>
                    <a:cubicBezTo>
                      <a:pt x="30" y="87"/>
                      <a:pt x="26" y="88"/>
                      <a:pt x="23" y="85"/>
                    </a:cubicBezTo>
                    <a:cubicBezTo>
                      <a:pt x="22" y="85"/>
                      <a:pt x="21" y="83"/>
                      <a:pt x="22" y="83"/>
                    </a:cubicBezTo>
                    <a:cubicBezTo>
                      <a:pt x="26" y="82"/>
                      <a:pt x="30" y="84"/>
                      <a:pt x="34" y="82"/>
                    </a:cubicBezTo>
                    <a:cubicBezTo>
                      <a:pt x="36" y="81"/>
                      <a:pt x="35" y="77"/>
                      <a:pt x="37" y="75"/>
                    </a:cubicBezTo>
                    <a:cubicBezTo>
                      <a:pt x="39" y="73"/>
                      <a:pt x="42" y="72"/>
                      <a:pt x="45" y="72"/>
                    </a:cubicBezTo>
                    <a:cubicBezTo>
                      <a:pt x="48" y="72"/>
                      <a:pt x="51" y="74"/>
                      <a:pt x="54" y="76"/>
                    </a:cubicBezTo>
                    <a:cubicBezTo>
                      <a:pt x="58" y="78"/>
                      <a:pt x="63" y="80"/>
                      <a:pt x="66" y="84"/>
                    </a:cubicBezTo>
                    <a:cubicBezTo>
                      <a:pt x="68" y="86"/>
                      <a:pt x="68" y="90"/>
                      <a:pt x="70" y="93"/>
                    </a:cubicBezTo>
                    <a:cubicBezTo>
                      <a:pt x="71" y="94"/>
                      <a:pt x="72" y="95"/>
                      <a:pt x="73" y="96"/>
                    </a:cubicBezTo>
                    <a:cubicBezTo>
                      <a:pt x="76" y="100"/>
                      <a:pt x="80" y="104"/>
                      <a:pt x="83" y="108"/>
                    </a:cubicBezTo>
                    <a:cubicBezTo>
                      <a:pt x="84" y="109"/>
                      <a:pt x="86" y="110"/>
                      <a:pt x="87" y="110"/>
                    </a:cubicBezTo>
                    <a:cubicBezTo>
                      <a:pt x="90" y="111"/>
                      <a:pt x="94" y="111"/>
                      <a:pt x="97" y="111"/>
                    </a:cubicBezTo>
                    <a:cubicBezTo>
                      <a:pt x="101" y="112"/>
                      <a:pt x="105" y="112"/>
                      <a:pt x="110" y="113"/>
                    </a:cubicBezTo>
                    <a:cubicBezTo>
                      <a:pt x="112" y="113"/>
                      <a:pt x="115" y="115"/>
                      <a:pt x="117" y="114"/>
                    </a:cubicBezTo>
                    <a:cubicBezTo>
                      <a:pt x="119" y="114"/>
                      <a:pt x="121" y="112"/>
                      <a:pt x="120" y="111"/>
                    </a:cubicBezTo>
                    <a:cubicBezTo>
                      <a:pt x="118" y="108"/>
                      <a:pt x="113" y="109"/>
                      <a:pt x="111" y="107"/>
                    </a:cubicBezTo>
                    <a:cubicBezTo>
                      <a:pt x="110" y="105"/>
                      <a:pt x="116" y="105"/>
                      <a:pt x="115" y="103"/>
                    </a:cubicBezTo>
                    <a:cubicBezTo>
                      <a:pt x="114" y="101"/>
                      <a:pt x="111" y="104"/>
                      <a:pt x="108" y="103"/>
                    </a:cubicBezTo>
                    <a:cubicBezTo>
                      <a:pt x="106" y="102"/>
                      <a:pt x="104" y="101"/>
                      <a:pt x="104" y="99"/>
                    </a:cubicBezTo>
                    <a:cubicBezTo>
                      <a:pt x="103" y="97"/>
                      <a:pt x="106" y="96"/>
                      <a:pt x="107" y="95"/>
                    </a:cubicBezTo>
                    <a:cubicBezTo>
                      <a:pt x="107" y="94"/>
                      <a:pt x="105" y="94"/>
                      <a:pt x="104" y="94"/>
                    </a:cubicBezTo>
                    <a:cubicBezTo>
                      <a:pt x="101" y="94"/>
                      <a:pt x="99" y="95"/>
                      <a:pt x="96" y="94"/>
                    </a:cubicBezTo>
                    <a:cubicBezTo>
                      <a:pt x="94" y="93"/>
                      <a:pt x="91" y="91"/>
                      <a:pt x="91" y="89"/>
                    </a:cubicBezTo>
                    <a:cubicBezTo>
                      <a:pt x="90" y="86"/>
                      <a:pt x="92" y="82"/>
                      <a:pt x="91" y="79"/>
                    </a:cubicBezTo>
                    <a:cubicBezTo>
                      <a:pt x="90" y="78"/>
                      <a:pt x="88" y="79"/>
                      <a:pt x="87" y="78"/>
                    </a:cubicBezTo>
                    <a:cubicBezTo>
                      <a:pt x="84" y="76"/>
                      <a:pt x="82" y="74"/>
                      <a:pt x="80" y="71"/>
                    </a:cubicBezTo>
                    <a:cubicBezTo>
                      <a:pt x="80" y="69"/>
                      <a:pt x="80" y="67"/>
                      <a:pt x="80" y="66"/>
                    </a:cubicBezTo>
                    <a:cubicBezTo>
                      <a:pt x="79" y="64"/>
                      <a:pt x="76" y="64"/>
                      <a:pt x="77" y="62"/>
                    </a:cubicBezTo>
                    <a:cubicBezTo>
                      <a:pt x="78" y="60"/>
                      <a:pt x="81" y="60"/>
                      <a:pt x="83" y="59"/>
                    </a:cubicBezTo>
                    <a:cubicBezTo>
                      <a:pt x="85" y="58"/>
                      <a:pt x="89" y="61"/>
                      <a:pt x="90" y="59"/>
                    </a:cubicBezTo>
                    <a:cubicBezTo>
                      <a:pt x="90" y="55"/>
                      <a:pt x="87" y="52"/>
                      <a:pt x="85" y="49"/>
                    </a:cubicBezTo>
                    <a:cubicBezTo>
                      <a:pt x="84" y="48"/>
                      <a:pt x="81" y="49"/>
                      <a:pt x="80" y="49"/>
                    </a:cubicBezTo>
                    <a:cubicBezTo>
                      <a:pt x="77" y="48"/>
                      <a:pt x="74" y="46"/>
                      <a:pt x="72" y="45"/>
                    </a:cubicBezTo>
                    <a:cubicBezTo>
                      <a:pt x="69" y="43"/>
                      <a:pt x="65" y="43"/>
                      <a:pt x="62" y="41"/>
                    </a:cubicBezTo>
                    <a:cubicBezTo>
                      <a:pt x="61" y="40"/>
                      <a:pt x="63" y="38"/>
                      <a:pt x="62" y="36"/>
                    </a:cubicBezTo>
                    <a:cubicBezTo>
                      <a:pt x="62" y="34"/>
                      <a:pt x="62" y="31"/>
                      <a:pt x="60" y="29"/>
                    </a:cubicBezTo>
                    <a:cubicBezTo>
                      <a:pt x="58" y="27"/>
                      <a:pt x="54" y="27"/>
                      <a:pt x="52" y="24"/>
                    </a:cubicBezTo>
                    <a:cubicBezTo>
                      <a:pt x="50" y="23"/>
                      <a:pt x="51" y="19"/>
                      <a:pt x="49" y="18"/>
                    </a:cubicBezTo>
                    <a:cubicBezTo>
                      <a:pt x="47" y="17"/>
                      <a:pt x="44" y="18"/>
                      <a:pt x="41" y="17"/>
                    </a:cubicBezTo>
                    <a:cubicBezTo>
                      <a:pt x="38" y="16"/>
                      <a:pt x="35" y="13"/>
                      <a:pt x="32" y="12"/>
                    </a:cubicBezTo>
                    <a:cubicBezTo>
                      <a:pt x="27" y="9"/>
                      <a:pt x="21" y="8"/>
                      <a:pt x="16" y="6"/>
                    </a:cubicBezTo>
                    <a:cubicBezTo>
                      <a:pt x="13" y="4"/>
                      <a:pt x="10" y="2"/>
                      <a:pt x="7" y="1"/>
                    </a:cubicBezTo>
                    <a:cubicBezTo>
                      <a:pt x="6" y="0"/>
                      <a:pt x="4" y="1"/>
                      <a:pt x="3" y="1"/>
                    </a:cubicBezTo>
                    <a:lnTo>
                      <a:pt x="3" y="54"/>
                    </a:lnTo>
                    <a:cubicBezTo>
                      <a:pt x="3" y="56"/>
                      <a:pt x="0" y="57"/>
                      <a:pt x="0" y="59"/>
                    </a:cubicBezTo>
                    <a:cubicBezTo>
                      <a:pt x="0" y="60"/>
                      <a:pt x="2" y="62"/>
                      <a:pt x="2" y="63"/>
                    </a:cubicBezTo>
                    <a:lnTo>
                      <a:pt x="0" y="95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49" name="Freeform 3060"/>
              <p:cNvSpPr>
                <a:spLocks noChangeAspect="1"/>
              </p:cNvSpPr>
              <p:nvPr/>
            </p:nvSpPr>
            <p:spPr bwMode="auto">
              <a:xfrm>
                <a:off x="8102529" y="4089411"/>
                <a:ext cx="19627" cy="11369"/>
              </a:xfrm>
              <a:custGeom>
                <a:avLst/>
                <a:gdLst>
                  <a:gd name="T0" fmla="*/ 1 w 10"/>
                  <a:gd name="T1" fmla="*/ 1 h 6"/>
                  <a:gd name="T2" fmla="*/ 11 w 10"/>
                  <a:gd name="T3" fmla="*/ 1 h 6"/>
                  <a:gd name="T4" fmla="*/ 11 w 10"/>
                  <a:gd name="T5" fmla="*/ 5 h 6"/>
                  <a:gd name="T6" fmla="*/ 1 w 10"/>
                  <a:gd name="T7" fmla="*/ 6 h 6"/>
                  <a:gd name="T8" fmla="*/ 1 w 10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6"/>
                  <a:gd name="T17" fmla="*/ 10 w 10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6">
                    <a:moveTo>
                      <a:pt x="1" y="1"/>
                    </a:moveTo>
                    <a:cubicBezTo>
                      <a:pt x="3" y="0"/>
                      <a:pt x="6" y="1"/>
                      <a:pt x="9" y="1"/>
                    </a:cubicBezTo>
                    <a:cubicBezTo>
                      <a:pt x="9" y="2"/>
                      <a:pt x="10" y="3"/>
                      <a:pt x="9" y="4"/>
                    </a:cubicBezTo>
                    <a:cubicBezTo>
                      <a:pt x="7" y="5"/>
                      <a:pt x="4" y="6"/>
                      <a:pt x="1" y="5"/>
                    </a:cubicBezTo>
                    <a:cubicBezTo>
                      <a:pt x="0" y="5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0" name="Freeform 3061"/>
              <p:cNvSpPr>
                <a:spLocks noChangeAspect="1"/>
              </p:cNvSpPr>
              <p:nvPr/>
            </p:nvSpPr>
            <p:spPr bwMode="auto">
              <a:xfrm>
                <a:off x="8143419" y="4152753"/>
                <a:ext cx="101406" cy="61717"/>
              </a:xfrm>
              <a:custGeom>
                <a:avLst/>
                <a:gdLst>
                  <a:gd name="T0" fmla="*/ 4 w 51"/>
                  <a:gd name="T1" fmla="*/ 23 h 31"/>
                  <a:gd name="T2" fmla="*/ 18 w 51"/>
                  <a:gd name="T3" fmla="*/ 25 h 31"/>
                  <a:gd name="T4" fmla="*/ 26 w 51"/>
                  <a:gd name="T5" fmla="*/ 23 h 31"/>
                  <a:gd name="T6" fmla="*/ 26 w 51"/>
                  <a:gd name="T7" fmla="*/ 18 h 31"/>
                  <a:gd name="T8" fmla="*/ 30 w 51"/>
                  <a:gd name="T9" fmla="*/ 23 h 31"/>
                  <a:gd name="T10" fmla="*/ 39 w 51"/>
                  <a:gd name="T11" fmla="*/ 22 h 31"/>
                  <a:gd name="T12" fmla="*/ 44 w 51"/>
                  <a:gd name="T13" fmla="*/ 13 h 31"/>
                  <a:gd name="T14" fmla="*/ 51 w 51"/>
                  <a:gd name="T15" fmla="*/ 13 h 31"/>
                  <a:gd name="T16" fmla="*/ 50 w 51"/>
                  <a:gd name="T17" fmla="*/ 4 h 31"/>
                  <a:gd name="T18" fmla="*/ 56 w 51"/>
                  <a:gd name="T19" fmla="*/ 2 h 31"/>
                  <a:gd name="T20" fmla="*/ 61 w 51"/>
                  <a:gd name="T21" fmla="*/ 1 h 31"/>
                  <a:gd name="T22" fmla="*/ 61 w 51"/>
                  <a:gd name="T23" fmla="*/ 11 h 31"/>
                  <a:gd name="T24" fmla="*/ 57 w 51"/>
                  <a:gd name="T25" fmla="*/ 15 h 31"/>
                  <a:gd name="T26" fmla="*/ 57 w 51"/>
                  <a:gd name="T27" fmla="*/ 21 h 31"/>
                  <a:gd name="T28" fmla="*/ 51 w 51"/>
                  <a:gd name="T29" fmla="*/ 27 h 31"/>
                  <a:gd name="T30" fmla="*/ 47 w 51"/>
                  <a:gd name="T31" fmla="*/ 27 h 31"/>
                  <a:gd name="T32" fmla="*/ 43 w 51"/>
                  <a:gd name="T33" fmla="*/ 32 h 31"/>
                  <a:gd name="T34" fmla="*/ 27 w 51"/>
                  <a:gd name="T35" fmla="*/ 37 h 31"/>
                  <a:gd name="T36" fmla="*/ 16 w 51"/>
                  <a:gd name="T37" fmla="*/ 37 h 31"/>
                  <a:gd name="T38" fmla="*/ 2 w 51"/>
                  <a:gd name="T39" fmla="*/ 29 h 31"/>
                  <a:gd name="T40" fmla="*/ 1 w 51"/>
                  <a:gd name="T41" fmla="*/ 26 h 31"/>
                  <a:gd name="T42" fmla="*/ 4 w 51"/>
                  <a:gd name="T43" fmla="*/ 23 h 3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51"/>
                  <a:gd name="T67" fmla="*/ 0 h 31"/>
                  <a:gd name="T68" fmla="*/ 51 w 51"/>
                  <a:gd name="T69" fmla="*/ 31 h 3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51" h="31">
                    <a:moveTo>
                      <a:pt x="3" y="19"/>
                    </a:moveTo>
                    <a:cubicBezTo>
                      <a:pt x="7" y="19"/>
                      <a:pt x="11" y="20"/>
                      <a:pt x="15" y="20"/>
                    </a:cubicBezTo>
                    <a:cubicBezTo>
                      <a:pt x="17" y="20"/>
                      <a:pt x="19" y="20"/>
                      <a:pt x="21" y="19"/>
                    </a:cubicBezTo>
                    <a:cubicBezTo>
                      <a:pt x="21" y="18"/>
                      <a:pt x="20" y="15"/>
                      <a:pt x="21" y="15"/>
                    </a:cubicBezTo>
                    <a:cubicBezTo>
                      <a:pt x="23" y="16"/>
                      <a:pt x="23" y="19"/>
                      <a:pt x="25" y="19"/>
                    </a:cubicBezTo>
                    <a:cubicBezTo>
                      <a:pt x="28" y="20"/>
                      <a:pt x="30" y="19"/>
                      <a:pt x="32" y="18"/>
                    </a:cubicBezTo>
                    <a:cubicBezTo>
                      <a:pt x="35" y="16"/>
                      <a:pt x="34" y="13"/>
                      <a:pt x="36" y="11"/>
                    </a:cubicBezTo>
                    <a:cubicBezTo>
                      <a:pt x="38" y="10"/>
                      <a:pt x="41" y="12"/>
                      <a:pt x="42" y="11"/>
                    </a:cubicBezTo>
                    <a:cubicBezTo>
                      <a:pt x="43" y="8"/>
                      <a:pt x="39" y="5"/>
                      <a:pt x="41" y="3"/>
                    </a:cubicBezTo>
                    <a:cubicBezTo>
                      <a:pt x="41" y="2"/>
                      <a:pt x="44" y="3"/>
                      <a:pt x="46" y="2"/>
                    </a:cubicBezTo>
                    <a:cubicBezTo>
                      <a:pt x="47" y="2"/>
                      <a:pt x="49" y="0"/>
                      <a:pt x="50" y="1"/>
                    </a:cubicBezTo>
                    <a:cubicBezTo>
                      <a:pt x="51" y="3"/>
                      <a:pt x="50" y="6"/>
                      <a:pt x="50" y="9"/>
                    </a:cubicBezTo>
                    <a:cubicBezTo>
                      <a:pt x="49" y="10"/>
                      <a:pt x="47" y="11"/>
                      <a:pt x="47" y="12"/>
                    </a:cubicBezTo>
                    <a:cubicBezTo>
                      <a:pt x="46" y="14"/>
                      <a:pt x="48" y="16"/>
                      <a:pt x="47" y="17"/>
                    </a:cubicBezTo>
                    <a:cubicBezTo>
                      <a:pt x="46" y="19"/>
                      <a:pt x="44" y="21"/>
                      <a:pt x="42" y="22"/>
                    </a:cubicBezTo>
                    <a:cubicBezTo>
                      <a:pt x="41" y="23"/>
                      <a:pt x="40" y="21"/>
                      <a:pt x="39" y="22"/>
                    </a:cubicBezTo>
                    <a:cubicBezTo>
                      <a:pt x="38" y="23"/>
                      <a:pt x="37" y="25"/>
                      <a:pt x="35" y="26"/>
                    </a:cubicBezTo>
                    <a:cubicBezTo>
                      <a:pt x="31" y="28"/>
                      <a:pt x="27" y="29"/>
                      <a:pt x="22" y="30"/>
                    </a:cubicBezTo>
                    <a:cubicBezTo>
                      <a:pt x="19" y="31"/>
                      <a:pt x="16" y="31"/>
                      <a:pt x="13" y="30"/>
                    </a:cubicBezTo>
                    <a:cubicBezTo>
                      <a:pt x="9" y="29"/>
                      <a:pt x="5" y="26"/>
                      <a:pt x="2" y="24"/>
                    </a:cubicBezTo>
                    <a:cubicBezTo>
                      <a:pt x="1" y="23"/>
                      <a:pt x="0" y="22"/>
                      <a:pt x="1" y="21"/>
                    </a:cubicBezTo>
                    <a:cubicBezTo>
                      <a:pt x="1" y="20"/>
                      <a:pt x="2" y="19"/>
                      <a:pt x="3" y="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1" name="Freeform 3062"/>
              <p:cNvSpPr>
                <a:spLocks noChangeAspect="1"/>
              </p:cNvSpPr>
              <p:nvPr/>
            </p:nvSpPr>
            <p:spPr bwMode="auto">
              <a:xfrm>
                <a:off x="8205571" y="4104029"/>
                <a:ext cx="55610" cy="68214"/>
              </a:xfrm>
              <a:custGeom>
                <a:avLst/>
                <a:gdLst>
                  <a:gd name="T0" fmla="*/ 34 w 29"/>
                  <a:gd name="T1" fmla="*/ 35 h 35"/>
                  <a:gd name="T2" fmla="*/ 32 w 29"/>
                  <a:gd name="T3" fmla="*/ 42 h 35"/>
                  <a:gd name="T4" fmla="*/ 28 w 29"/>
                  <a:gd name="T5" fmla="*/ 41 h 35"/>
                  <a:gd name="T6" fmla="*/ 27 w 29"/>
                  <a:gd name="T7" fmla="*/ 30 h 35"/>
                  <a:gd name="T8" fmla="*/ 20 w 29"/>
                  <a:gd name="T9" fmla="*/ 20 h 35"/>
                  <a:gd name="T10" fmla="*/ 11 w 29"/>
                  <a:gd name="T11" fmla="*/ 13 h 35"/>
                  <a:gd name="T12" fmla="*/ 1 w 29"/>
                  <a:gd name="T13" fmla="*/ 4 h 35"/>
                  <a:gd name="T14" fmla="*/ 2 w 29"/>
                  <a:gd name="T15" fmla="*/ 1 h 35"/>
                  <a:gd name="T16" fmla="*/ 13 w 29"/>
                  <a:gd name="T17" fmla="*/ 10 h 35"/>
                  <a:gd name="T18" fmla="*/ 20 w 29"/>
                  <a:gd name="T19" fmla="*/ 17 h 35"/>
                  <a:gd name="T20" fmla="*/ 26 w 29"/>
                  <a:gd name="T21" fmla="*/ 26 h 35"/>
                  <a:gd name="T22" fmla="*/ 30 w 29"/>
                  <a:gd name="T23" fmla="*/ 28 h 35"/>
                  <a:gd name="T24" fmla="*/ 34 w 29"/>
                  <a:gd name="T25" fmla="*/ 35 h 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35"/>
                  <a:gd name="T41" fmla="*/ 29 w 29"/>
                  <a:gd name="T42" fmla="*/ 35 h 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35">
                    <a:moveTo>
                      <a:pt x="29" y="29"/>
                    </a:moveTo>
                    <a:cubicBezTo>
                      <a:pt x="29" y="31"/>
                      <a:pt x="28" y="33"/>
                      <a:pt x="27" y="35"/>
                    </a:cubicBezTo>
                    <a:cubicBezTo>
                      <a:pt x="26" y="35"/>
                      <a:pt x="24" y="34"/>
                      <a:pt x="24" y="34"/>
                    </a:cubicBezTo>
                    <a:cubicBezTo>
                      <a:pt x="23" y="31"/>
                      <a:pt x="24" y="28"/>
                      <a:pt x="23" y="25"/>
                    </a:cubicBezTo>
                    <a:cubicBezTo>
                      <a:pt x="22" y="22"/>
                      <a:pt x="19" y="19"/>
                      <a:pt x="17" y="17"/>
                    </a:cubicBezTo>
                    <a:cubicBezTo>
                      <a:pt x="15" y="14"/>
                      <a:pt x="12" y="13"/>
                      <a:pt x="9" y="11"/>
                    </a:cubicBezTo>
                    <a:cubicBezTo>
                      <a:pt x="6" y="8"/>
                      <a:pt x="3" y="6"/>
                      <a:pt x="1" y="3"/>
                    </a:cubicBezTo>
                    <a:cubicBezTo>
                      <a:pt x="0" y="2"/>
                      <a:pt x="1" y="0"/>
                      <a:pt x="2" y="1"/>
                    </a:cubicBezTo>
                    <a:cubicBezTo>
                      <a:pt x="5" y="2"/>
                      <a:pt x="8" y="5"/>
                      <a:pt x="11" y="8"/>
                    </a:cubicBezTo>
                    <a:cubicBezTo>
                      <a:pt x="13" y="10"/>
                      <a:pt x="15" y="11"/>
                      <a:pt x="17" y="14"/>
                    </a:cubicBezTo>
                    <a:cubicBezTo>
                      <a:pt x="19" y="16"/>
                      <a:pt x="20" y="19"/>
                      <a:pt x="22" y="22"/>
                    </a:cubicBezTo>
                    <a:cubicBezTo>
                      <a:pt x="23" y="23"/>
                      <a:pt x="25" y="22"/>
                      <a:pt x="26" y="23"/>
                    </a:cubicBezTo>
                    <a:cubicBezTo>
                      <a:pt x="27" y="25"/>
                      <a:pt x="29" y="27"/>
                      <a:pt x="2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2" name="Freeform 3063"/>
              <p:cNvSpPr>
                <a:spLocks noChangeAspect="1"/>
              </p:cNvSpPr>
              <p:nvPr/>
            </p:nvSpPr>
            <p:spPr bwMode="auto">
              <a:xfrm>
                <a:off x="8300435" y="4190107"/>
                <a:ext cx="29441" cy="38979"/>
              </a:xfrm>
              <a:custGeom>
                <a:avLst/>
                <a:gdLst>
                  <a:gd name="T0" fmla="*/ 1 w 15"/>
                  <a:gd name="T1" fmla="*/ 2 h 20"/>
                  <a:gd name="T2" fmla="*/ 1 w 15"/>
                  <a:gd name="T3" fmla="*/ 8 h 20"/>
                  <a:gd name="T4" fmla="*/ 7 w 15"/>
                  <a:gd name="T5" fmla="*/ 16 h 20"/>
                  <a:gd name="T6" fmla="*/ 7 w 15"/>
                  <a:gd name="T7" fmla="*/ 22 h 20"/>
                  <a:gd name="T8" fmla="*/ 14 w 15"/>
                  <a:gd name="T9" fmla="*/ 23 h 20"/>
                  <a:gd name="T10" fmla="*/ 17 w 15"/>
                  <a:gd name="T11" fmla="*/ 17 h 20"/>
                  <a:gd name="T12" fmla="*/ 10 w 15"/>
                  <a:gd name="T13" fmla="*/ 11 h 20"/>
                  <a:gd name="T14" fmla="*/ 6 w 15"/>
                  <a:gd name="T15" fmla="*/ 5 h 20"/>
                  <a:gd name="T16" fmla="*/ 1 w 15"/>
                  <a:gd name="T17" fmla="*/ 2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20"/>
                  <a:gd name="T29" fmla="*/ 15 w 15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20">
                    <a:moveTo>
                      <a:pt x="1" y="2"/>
                    </a:moveTo>
                    <a:cubicBezTo>
                      <a:pt x="0" y="3"/>
                      <a:pt x="0" y="6"/>
                      <a:pt x="1" y="7"/>
                    </a:cubicBezTo>
                    <a:cubicBezTo>
                      <a:pt x="2" y="10"/>
                      <a:pt x="5" y="11"/>
                      <a:pt x="6" y="13"/>
                    </a:cubicBezTo>
                    <a:cubicBezTo>
                      <a:pt x="7" y="15"/>
                      <a:pt x="5" y="17"/>
                      <a:pt x="6" y="18"/>
                    </a:cubicBezTo>
                    <a:cubicBezTo>
                      <a:pt x="7" y="20"/>
                      <a:pt x="10" y="20"/>
                      <a:pt x="12" y="19"/>
                    </a:cubicBezTo>
                    <a:cubicBezTo>
                      <a:pt x="14" y="18"/>
                      <a:pt x="15" y="15"/>
                      <a:pt x="14" y="14"/>
                    </a:cubicBezTo>
                    <a:cubicBezTo>
                      <a:pt x="13" y="11"/>
                      <a:pt x="10" y="10"/>
                      <a:pt x="8" y="9"/>
                    </a:cubicBezTo>
                    <a:cubicBezTo>
                      <a:pt x="7" y="7"/>
                      <a:pt x="6" y="5"/>
                      <a:pt x="5" y="4"/>
                    </a:cubicBezTo>
                    <a:cubicBezTo>
                      <a:pt x="5" y="4"/>
                      <a:pt x="2" y="0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3" name="Freeform 3064"/>
              <p:cNvSpPr>
                <a:spLocks noChangeAspect="1"/>
              </p:cNvSpPr>
              <p:nvPr/>
            </p:nvSpPr>
            <p:spPr bwMode="auto">
              <a:xfrm>
                <a:off x="8342961" y="4225838"/>
                <a:ext cx="22898" cy="22738"/>
              </a:xfrm>
              <a:custGeom>
                <a:avLst/>
                <a:gdLst>
                  <a:gd name="T0" fmla="*/ 2 w 12"/>
                  <a:gd name="T1" fmla="*/ 0 h 12"/>
                  <a:gd name="T2" fmla="*/ 1 w 12"/>
                  <a:gd name="T3" fmla="*/ 1 h 12"/>
                  <a:gd name="T4" fmla="*/ 7 w 12"/>
                  <a:gd name="T5" fmla="*/ 11 h 12"/>
                  <a:gd name="T6" fmla="*/ 13 w 12"/>
                  <a:gd name="T7" fmla="*/ 13 h 12"/>
                  <a:gd name="T8" fmla="*/ 11 w 12"/>
                  <a:gd name="T9" fmla="*/ 6 h 12"/>
                  <a:gd name="T10" fmla="*/ 2 w 12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2"/>
                  <a:gd name="T20" fmla="*/ 12 w 12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2">
                    <a:moveTo>
                      <a:pt x="2" y="0"/>
                    </a:moveTo>
                    <a:cubicBezTo>
                      <a:pt x="2" y="0"/>
                      <a:pt x="0" y="1"/>
                      <a:pt x="1" y="1"/>
                    </a:cubicBezTo>
                    <a:cubicBezTo>
                      <a:pt x="2" y="4"/>
                      <a:pt x="4" y="7"/>
                      <a:pt x="6" y="9"/>
                    </a:cubicBezTo>
                    <a:cubicBezTo>
                      <a:pt x="7" y="10"/>
                      <a:pt x="10" y="12"/>
                      <a:pt x="11" y="11"/>
                    </a:cubicBezTo>
                    <a:cubicBezTo>
                      <a:pt x="12" y="9"/>
                      <a:pt x="11" y="6"/>
                      <a:pt x="9" y="5"/>
                    </a:cubicBezTo>
                    <a:cubicBezTo>
                      <a:pt x="7" y="3"/>
                      <a:pt x="5" y="1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4" name="Freeform 3065"/>
              <p:cNvSpPr>
                <a:spLocks noChangeAspect="1"/>
              </p:cNvSpPr>
              <p:nvPr/>
            </p:nvSpPr>
            <p:spPr bwMode="auto">
              <a:xfrm>
                <a:off x="8390392" y="4253449"/>
                <a:ext cx="35983" cy="24362"/>
              </a:xfrm>
              <a:custGeom>
                <a:avLst/>
                <a:gdLst>
                  <a:gd name="T0" fmla="*/ 3 w 19"/>
                  <a:gd name="T1" fmla="*/ 0 h 13"/>
                  <a:gd name="T2" fmla="*/ 0 w 19"/>
                  <a:gd name="T3" fmla="*/ 1 h 13"/>
                  <a:gd name="T4" fmla="*/ 3 w 19"/>
                  <a:gd name="T5" fmla="*/ 7 h 13"/>
                  <a:gd name="T6" fmla="*/ 13 w 19"/>
                  <a:gd name="T7" fmla="*/ 13 h 13"/>
                  <a:gd name="T8" fmla="*/ 20 w 19"/>
                  <a:gd name="T9" fmla="*/ 15 h 13"/>
                  <a:gd name="T10" fmla="*/ 21 w 19"/>
                  <a:gd name="T11" fmla="*/ 12 h 13"/>
                  <a:gd name="T12" fmla="*/ 15 w 19"/>
                  <a:gd name="T13" fmla="*/ 7 h 13"/>
                  <a:gd name="T14" fmla="*/ 7 w 19"/>
                  <a:gd name="T15" fmla="*/ 5 h 13"/>
                  <a:gd name="T16" fmla="*/ 3 w 19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3"/>
                  <a:gd name="T29" fmla="*/ 19 w 19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3">
                    <a:moveTo>
                      <a:pt x="3" y="0"/>
                    </a:moveTo>
                    <a:cubicBezTo>
                      <a:pt x="2" y="0"/>
                      <a:pt x="0" y="0"/>
                      <a:pt x="0" y="1"/>
                    </a:cubicBezTo>
                    <a:cubicBezTo>
                      <a:pt x="0" y="3"/>
                      <a:pt x="2" y="4"/>
                      <a:pt x="3" y="6"/>
                    </a:cubicBezTo>
                    <a:cubicBezTo>
                      <a:pt x="6" y="8"/>
                      <a:pt x="8" y="9"/>
                      <a:pt x="11" y="11"/>
                    </a:cubicBezTo>
                    <a:cubicBezTo>
                      <a:pt x="13" y="12"/>
                      <a:pt x="15" y="13"/>
                      <a:pt x="17" y="13"/>
                    </a:cubicBezTo>
                    <a:cubicBezTo>
                      <a:pt x="18" y="13"/>
                      <a:pt x="19" y="11"/>
                      <a:pt x="18" y="10"/>
                    </a:cubicBezTo>
                    <a:cubicBezTo>
                      <a:pt x="17" y="8"/>
                      <a:pt x="15" y="7"/>
                      <a:pt x="13" y="6"/>
                    </a:cubicBezTo>
                    <a:cubicBezTo>
                      <a:pt x="11" y="5"/>
                      <a:pt x="8" y="5"/>
                      <a:pt x="6" y="4"/>
                    </a:cubicBezTo>
                    <a:cubicBezTo>
                      <a:pt x="5" y="3"/>
                      <a:pt x="4" y="1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5" name="Freeform 3066"/>
              <p:cNvSpPr>
                <a:spLocks noChangeAspect="1"/>
              </p:cNvSpPr>
              <p:nvPr/>
            </p:nvSpPr>
            <p:spPr bwMode="auto">
              <a:xfrm>
                <a:off x="8442731" y="4271314"/>
                <a:ext cx="21263" cy="40604"/>
              </a:xfrm>
              <a:custGeom>
                <a:avLst/>
                <a:gdLst>
                  <a:gd name="T0" fmla="*/ 5 w 11"/>
                  <a:gd name="T1" fmla="*/ 1 h 21"/>
                  <a:gd name="T2" fmla="*/ 1 w 11"/>
                  <a:gd name="T3" fmla="*/ 1 h 21"/>
                  <a:gd name="T4" fmla="*/ 2 w 11"/>
                  <a:gd name="T5" fmla="*/ 6 h 21"/>
                  <a:gd name="T6" fmla="*/ 4 w 11"/>
                  <a:gd name="T7" fmla="*/ 15 h 21"/>
                  <a:gd name="T8" fmla="*/ 11 w 11"/>
                  <a:gd name="T9" fmla="*/ 25 h 21"/>
                  <a:gd name="T10" fmla="*/ 11 w 11"/>
                  <a:gd name="T11" fmla="*/ 17 h 21"/>
                  <a:gd name="T12" fmla="*/ 6 w 11"/>
                  <a:gd name="T13" fmla="*/ 10 h 21"/>
                  <a:gd name="T14" fmla="*/ 6 w 11"/>
                  <a:gd name="T15" fmla="*/ 5 h 21"/>
                  <a:gd name="T16" fmla="*/ 5 w 11"/>
                  <a:gd name="T17" fmla="*/ 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21"/>
                  <a:gd name="T29" fmla="*/ 11 w 1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21">
                    <a:moveTo>
                      <a:pt x="4" y="1"/>
                    </a:moveTo>
                    <a:cubicBezTo>
                      <a:pt x="3" y="0"/>
                      <a:pt x="1" y="0"/>
                      <a:pt x="1" y="1"/>
                    </a:cubicBezTo>
                    <a:cubicBezTo>
                      <a:pt x="0" y="2"/>
                      <a:pt x="2" y="4"/>
                      <a:pt x="2" y="5"/>
                    </a:cubicBezTo>
                    <a:cubicBezTo>
                      <a:pt x="2" y="8"/>
                      <a:pt x="2" y="11"/>
                      <a:pt x="3" y="13"/>
                    </a:cubicBezTo>
                    <a:cubicBezTo>
                      <a:pt x="4" y="16"/>
                      <a:pt x="6" y="20"/>
                      <a:pt x="9" y="21"/>
                    </a:cubicBezTo>
                    <a:cubicBezTo>
                      <a:pt x="11" y="21"/>
                      <a:pt x="10" y="16"/>
                      <a:pt x="9" y="14"/>
                    </a:cubicBezTo>
                    <a:cubicBezTo>
                      <a:pt x="9" y="12"/>
                      <a:pt x="6" y="10"/>
                      <a:pt x="5" y="8"/>
                    </a:cubicBezTo>
                    <a:cubicBezTo>
                      <a:pt x="5" y="6"/>
                      <a:pt x="6" y="5"/>
                      <a:pt x="5" y="4"/>
                    </a:cubicBezTo>
                    <a:cubicBezTo>
                      <a:pt x="5" y="3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6" name="Freeform 3067"/>
              <p:cNvSpPr>
                <a:spLocks noChangeAspect="1"/>
              </p:cNvSpPr>
              <p:nvPr/>
            </p:nvSpPr>
            <p:spPr bwMode="auto">
              <a:xfrm>
                <a:off x="8459087" y="4329783"/>
                <a:ext cx="24534" cy="16241"/>
              </a:xfrm>
              <a:custGeom>
                <a:avLst/>
                <a:gdLst>
                  <a:gd name="T0" fmla="*/ 3 w 13"/>
                  <a:gd name="T1" fmla="*/ 0 h 9"/>
                  <a:gd name="T2" fmla="*/ 0 w 13"/>
                  <a:gd name="T3" fmla="*/ 2 h 9"/>
                  <a:gd name="T4" fmla="*/ 3 w 13"/>
                  <a:gd name="T5" fmla="*/ 4 h 9"/>
                  <a:gd name="T6" fmla="*/ 8 w 13"/>
                  <a:gd name="T7" fmla="*/ 9 h 9"/>
                  <a:gd name="T8" fmla="*/ 13 w 13"/>
                  <a:gd name="T9" fmla="*/ 10 h 9"/>
                  <a:gd name="T10" fmla="*/ 15 w 13"/>
                  <a:gd name="T11" fmla="*/ 8 h 9"/>
                  <a:gd name="T12" fmla="*/ 13 w 13"/>
                  <a:gd name="T13" fmla="*/ 4 h 9"/>
                  <a:gd name="T14" fmla="*/ 7 w 13"/>
                  <a:gd name="T15" fmla="*/ 2 h 9"/>
                  <a:gd name="T16" fmla="*/ 3 w 13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9"/>
                  <a:gd name="T29" fmla="*/ 13 w 13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9">
                    <a:moveTo>
                      <a:pt x="3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0" y="3"/>
                      <a:pt x="2" y="3"/>
                      <a:pt x="3" y="4"/>
                    </a:cubicBezTo>
                    <a:cubicBezTo>
                      <a:pt x="5" y="5"/>
                      <a:pt x="6" y="7"/>
                      <a:pt x="7" y="8"/>
                    </a:cubicBezTo>
                    <a:cubicBezTo>
                      <a:pt x="9" y="9"/>
                      <a:pt x="10" y="9"/>
                      <a:pt x="11" y="9"/>
                    </a:cubicBezTo>
                    <a:cubicBezTo>
                      <a:pt x="12" y="9"/>
                      <a:pt x="13" y="8"/>
                      <a:pt x="13" y="7"/>
                    </a:cubicBezTo>
                    <a:cubicBezTo>
                      <a:pt x="13" y="6"/>
                      <a:pt x="12" y="5"/>
                      <a:pt x="11" y="4"/>
                    </a:cubicBezTo>
                    <a:cubicBezTo>
                      <a:pt x="9" y="3"/>
                      <a:pt x="8" y="3"/>
                      <a:pt x="6" y="2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7" name="Freeform 3068"/>
              <p:cNvSpPr>
                <a:spLocks noChangeAspect="1"/>
              </p:cNvSpPr>
              <p:nvPr/>
            </p:nvSpPr>
            <p:spPr bwMode="auto">
              <a:xfrm>
                <a:off x="8357680" y="4263194"/>
                <a:ext cx="16356" cy="14618"/>
              </a:xfrm>
              <a:custGeom>
                <a:avLst/>
                <a:gdLst>
                  <a:gd name="T0" fmla="*/ 7 w 8"/>
                  <a:gd name="T1" fmla="*/ 1 h 8"/>
                  <a:gd name="T2" fmla="*/ 4 w 8"/>
                  <a:gd name="T3" fmla="*/ 1 h 8"/>
                  <a:gd name="T4" fmla="*/ 1 w 8"/>
                  <a:gd name="T5" fmla="*/ 6 h 8"/>
                  <a:gd name="T6" fmla="*/ 7 w 8"/>
                  <a:gd name="T7" fmla="*/ 9 h 8"/>
                  <a:gd name="T8" fmla="*/ 10 w 8"/>
                  <a:gd name="T9" fmla="*/ 8 h 8"/>
                  <a:gd name="T10" fmla="*/ 7 w 8"/>
                  <a:gd name="T11" fmla="*/ 3 h 8"/>
                  <a:gd name="T12" fmla="*/ 7 w 8"/>
                  <a:gd name="T13" fmla="*/ 1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8"/>
                  <a:gd name="T23" fmla="*/ 8 w 8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8">
                    <a:moveTo>
                      <a:pt x="6" y="1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0" y="4"/>
                      <a:pt x="1" y="5"/>
                    </a:cubicBezTo>
                    <a:cubicBezTo>
                      <a:pt x="1" y="7"/>
                      <a:pt x="4" y="7"/>
                      <a:pt x="6" y="8"/>
                    </a:cubicBezTo>
                    <a:cubicBezTo>
                      <a:pt x="6" y="8"/>
                      <a:pt x="8" y="8"/>
                      <a:pt x="8" y="7"/>
                    </a:cubicBezTo>
                    <a:cubicBezTo>
                      <a:pt x="8" y="6"/>
                      <a:pt x="6" y="5"/>
                      <a:pt x="6" y="3"/>
                    </a:cubicBezTo>
                    <a:cubicBezTo>
                      <a:pt x="6" y="3"/>
                      <a:pt x="6" y="1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8" name="Freeform 3069"/>
              <p:cNvSpPr>
                <a:spLocks noChangeAspect="1"/>
              </p:cNvSpPr>
              <p:nvPr/>
            </p:nvSpPr>
            <p:spPr bwMode="auto">
              <a:xfrm>
                <a:off x="8416562" y="4303796"/>
                <a:ext cx="32712" cy="17866"/>
              </a:xfrm>
              <a:custGeom>
                <a:avLst/>
                <a:gdLst>
                  <a:gd name="T0" fmla="*/ 4 w 16"/>
                  <a:gd name="T1" fmla="*/ 0 h 9"/>
                  <a:gd name="T2" fmla="*/ 0 w 16"/>
                  <a:gd name="T3" fmla="*/ 1 h 9"/>
                  <a:gd name="T4" fmla="*/ 1 w 16"/>
                  <a:gd name="T5" fmla="*/ 7 h 9"/>
                  <a:gd name="T6" fmla="*/ 14 w 16"/>
                  <a:gd name="T7" fmla="*/ 10 h 9"/>
                  <a:gd name="T8" fmla="*/ 19 w 16"/>
                  <a:gd name="T9" fmla="*/ 10 h 9"/>
                  <a:gd name="T10" fmla="*/ 17 w 16"/>
                  <a:gd name="T11" fmla="*/ 6 h 9"/>
                  <a:gd name="T12" fmla="*/ 14 w 16"/>
                  <a:gd name="T13" fmla="*/ 1 h 9"/>
                  <a:gd name="T14" fmla="*/ 7 w 16"/>
                  <a:gd name="T15" fmla="*/ 1 h 9"/>
                  <a:gd name="T16" fmla="*/ 4 w 16"/>
                  <a:gd name="T17" fmla="*/ 0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9"/>
                  <a:gd name="T29" fmla="*/ 16 w 16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9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0" y="2"/>
                      <a:pt x="0" y="5"/>
                      <a:pt x="1" y="6"/>
                    </a:cubicBezTo>
                    <a:cubicBezTo>
                      <a:pt x="4" y="8"/>
                      <a:pt x="7" y="7"/>
                      <a:pt x="11" y="8"/>
                    </a:cubicBezTo>
                    <a:cubicBezTo>
                      <a:pt x="12" y="8"/>
                      <a:pt x="14" y="9"/>
                      <a:pt x="15" y="8"/>
                    </a:cubicBezTo>
                    <a:cubicBezTo>
                      <a:pt x="16" y="8"/>
                      <a:pt x="15" y="6"/>
                      <a:pt x="14" y="5"/>
                    </a:cubicBezTo>
                    <a:cubicBezTo>
                      <a:pt x="13" y="4"/>
                      <a:pt x="12" y="2"/>
                      <a:pt x="11" y="1"/>
                    </a:cubicBezTo>
                    <a:cubicBezTo>
                      <a:pt x="9" y="0"/>
                      <a:pt x="8" y="1"/>
                      <a:pt x="6" y="1"/>
                    </a:cubicBezTo>
                    <a:cubicBezTo>
                      <a:pt x="5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59" name="Freeform 3070"/>
              <p:cNvSpPr>
                <a:spLocks noChangeAspect="1"/>
              </p:cNvSpPr>
              <p:nvPr/>
            </p:nvSpPr>
            <p:spPr bwMode="auto">
              <a:xfrm>
                <a:off x="8419833" y="4368762"/>
                <a:ext cx="21263" cy="6497"/>
              </a:xfrm>
              <a:custGeom>
                <a:avLst/>
                <a:gdLst>
                  <a:gd name="T0" fmla="*/ 2 w 11"/>
                  <a:gd name="T1" fmla="*/ 0 h 4"/>
                  <a:gd name="T2" fmla="*/ 1 w 11"/>
                  <a:gd name="T3" fmla="*/ 2 h 4"/>
                  <a:gd name="T4" fmla="*/ 12 w 11"/>
                  <a:gd name="T5" fmla="*/ 4 h 4"/>
                  <a:gd name="T6" fmla="*/ 12 w 11"/>
                  <a:gd name="T7" fmla="*/ 2 h 4"/>
                  <a:gd name="T8" fmla="*/ 2 w 11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4"/>
                  <a:gd name="T17" fmla="*/ 11 w 11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4">
                    <a:moveTo>
                      <a:pt x="2" y="0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4" y="3"/>
                      <a:pt x="7" y="4"/>
                      <a:pt x="10" y="4"/>
                    </a:cubicBezTo>
                    <a:cubicBezTo>
                      <a:pt x="11" y="4"/>
                      <a:pt x="11" y="2"/>
                      <a:pt x="10" y="2"/>
                    </a:cubicBezTo>
                    <a:cubicBezTo>
                      <a:pt x="7" y="0"/>
                      <a:pt x="5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0" name="Freeform 3071"/>
              <p:cNvSpPr>
                <a:spLocks noChangeAspect="1"/>
              </p:cNvSpPr>
              <p:nvPr/>
            </p:nvSpPr>
            <p:spPr bwMode="auto">
              <a:xfrm>
                <a:off x="7413947" y="3512845"/>
                <a:ext cx="117762" cy="170534"/>
              </a:xfrm>
              <a:custGeom>
                <a:avLst/>
                <a:gdLst>
                  <a:gd name="T0" fmla="*/ 35 w 60"/>
                  <a:gd name="T1" fmla="*/ 1 h 88"/>
                  <a:gd name="T2" fmla="*/ 38 w 60"/>
                  <a:gd name="T3" fmla="*/ 6 h 88"/>
                  <a:gd name="T4" fmla="*/ 35 w 60"/>
                  <a:gd name="T5" fmla="*/ 17 h 88"/>
                  <a:gd name="T6" fmla="*/ 42 w 60"/>
                  <a:gd name="T7" fmla="*/ 27 h 88"/>
                  <a:gd name="T8" fmla="*/ 38 w 60"/>
                  <a:gd name="T9" fmla="*/ 43 h 88"/>
                  <a:gd name="T10" fmla="*/ 29 w 60"/>
                  <a:gd name="T11" fmla="*/ 54 h 88"/>
                  <a:gd name="T12" fmla="*/ 29 w 60"/>
                  <a:gd name="T13" fmla="*/ 61 h 88"/>
                  <a:gd name="T14" fmla="*/ 34 w 60"/>
                  <a:gd name="T15" fmla="*/ 70 h 88"/>
                  <a:gd name="T16" fmla="*/ 29 w 60"/>
                  <a:gd name="T17" fmla="*/ 76 h 88"/>
                  <a:gd name="T18" fmla="*/ 43 w 60"/>
                  <a:gd name="T19" fmla="*/ 85 h 88"/>
                  <a:gd name="T20" fmla="*/ 48 w 60"/>
                  <a:gd name="T21" fmla="*/ 79 h 88"/>
                  <a:gd name="T22" fmla="*/ 58 w 60"/>
                  <a:gd name="T23" fmla="*/ 89 h 88"/>
                  <a:gd name="T24" fmla="*/ 60 w 60"/>
                  <a:gd name="T25" fmla="*/ 82 h 88"/>
                  <a:gd name="T26" fmla="*/ 71 w 60"/>
                  <a:gd name="T27" fmla="*/ 86 h 88"/>
                  <a:gd name="T28" fmla="*/ 62 w 60"/>
                  <a:gd name="T29" fmla="*/ 89 h 88"/>
                  <a:gd name="T30" fmla="*/ 70 w 60"/>
                  <a:gd name="T31" fmla="*/ 99 h 88"/>
                  <a:gd name="T32" fmla="*/ 70 w 60"/>
                  <a:gd name="T33" fmla="*/ 105 h 88"/>
                  <a:gd name="T34" fmla="*/ 61 w 60"/>
                  <a:gd name="T35" fmla="*/ 99 h 88"/>
                  <a:gd name="T36" fmla="*/ 52 w 60"/>
                  <a:gd name="T37" fmla="*/ 91 h 88"/>
                  <a:gd name="T38" fmla="*/ 47 w 60"/>
                  <a:gd name="T39" fmla="*/ 86 h 88"/>
                  <a:gd name="T40" fmla="*/ 46 w 60"/>
                  <a:gd name="T41" fmla="*/ 88 h 88"/>
                  <a:gd name="T42" fmla="*/ 47 w 60"/>
                  <a:gd name="T43" fmla="*/ 94 h 88"/>
                  <a:gd name="T44" fmla="*/ 41 w 60"/>
                  <a:gd name="T45" fmla="*/ 88 h 88"/>
                  <a:gd name="T46" fmla="*/ 31 w 60"/>
                  <a:gd name="T47" fmla="*/ 85 h 88"/>
                  <a:gd name="T48" fmla="*/ 30 w 60"/>
                  <a:gd name="T49" fmla="*/ 87 h 88"/>
                  <a:gd name="T50" fmla="*/ 19 w 60"/>
                  <a:gd name="T51" fmla="*/ 85 h 88"/>
                  <a:gd name="T52" fmla="*/ 16 w 60"/>
                  <a:gd name="T53" fmla="*/ 80 h 88"/>
                  <a:gd name="T54" fmla="*/ 20 w 60"/>
                  <a:gd name="T55" fmla="*/ 78 h 88"/>
                  <a:gd name="T56" fmla="*/ 28 w 60"/>
                  <a:gd name="T57" fmla="*/ 78 h 88"/>
                  <a:gd name="T58" fmla="*/ 19 w 60"/>
                  <a:gd name="T59" fmla="*/ 72 h 88"/>
                  <a:gd name="T60" fmla="*/ 14 w 60"/>
                  <a:gd name="T61" fmla="*/ 70 h 88"/>
                  <a:gd name="T62" fmla="*/ 14 w 60"/>
                  <a:gd name="T63" fmla="*/ 76 h 88"/>
                  <a:gd name="T64" fmla="*/ 8 w 60"/>
                  <a:gd name="T65" fmla="*/ 72 h 88"/>
                  <a:gd name="T66" fmla="*/ 6 w 60"/>
                  <a:gd name="T67" fmla="*/ 63 h 88"/>
                  <a:gd name="T68" fmla="*/ 4 w 60"/>
                  <a:gd name="T69" fmla="*/ 58 h 88"/>
                  <a:gd name="T70" fmla="*/ 5 w 60"/>
                  <a:gd name="T71" fmla="*/ 51 h 88"/>
                  <a:gd name="T72" fmla="*/ 0 w 60"/>
                  <a:gd name="T73" fmla="*/ 45 h 88"/>
                  <a:gd name="T74" fmla="*/ 2 w 60"/>
                  <a:gd name="T75" fmla="*/ 39 h 88"/>
                  <a:gd name="T76" fmla="*/ 8 w 60"/>
                  <a:gd name="T77" fmla="*/ 47 h 88"/>
                  <a:gd name="T78" fmla="*/ 8 w 60"/>
                  <a:gd name="T79" fmla="*/ 33 h 88"/>
                  <a:gd name="T80" fmla="*/ 5 w 60"/>
                  <a:gd name="T81" fmla="*/ 19 h 88"/>
                  <a:gd name="T82" fmla="*/ 10 w 60"/>
                  <a:gd name="T83" fmla="*/ 2 h 88"/>
                  <a:gd name="T84" fmla="*/ 20 w 60"/>
                  <a:gd name="T85" fmla="*/ 4 h 88"/>
                  <a:gd name="T86" fmla="*/ 31 w 60"/>
                  <a:gd name="T87" fmla="*/ 7 h 88"/>
                  <a:gd name="T88" fmla="*/ 35 w 60"/>
                  <a:gd name="T89" fmla="*/ 1 h 8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0"/>
                  <a:gd name="T136" fmla="*/ 0 h 88"/>
                  <a:gd name="T137" fmla="*/ 60 w 60"/>
                  <a:gd name="T138" fmla="*/ 88 h 8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0" h="88">
                    <a:moveTo>
                      <a:pt x="29" y="1"/>
                    </a:moveTo>
                    <a:cubicBezTo>
                      <a:pt x="30" y="1"/>
                      <a:pt x="32" y="4"/>
                      <a:pt x="32" y="5"/>
                    </a:cubicBezTo>
                    <a:cubicBezTo>
                      <a:pt x="32" y="8"/>
                      <a:pt x="29" y="11"/>
                      <a:pt x="29" y="14"/>
                    </a:cubicBezTo>
                    <a:cubicBezTo>
                      <a:pt x="30" y="18"/>
                      <a:pt x="35" y="20"/>
                      <a:pt x="35" y="23"/>
                    </a:cubicBezTo>
                    <a:cubicBezTo>
                      <a:pt x="35" y="28"/>
                      <a:pt x="34" y="32"/>
                      <a:pt x="32" y="36"/>
                    </a:cubicBezTo>
                    <a:cubicBezTo>
                      <a:pt x="28" y="38"/>
                      <a:pt x="26" y="41"/>
                      <a:pt x="24" y="45"/>
                    </a:cubicBezTo>
                    <a:cubicBezTo>
                      <a:pt x="23" y="47"/>
                      <a:pt x="23" y="49"/>
                      <a:pt x="24" y="51"/>
                    </a:cubicBezTo>
                    <a:cubicBezTo>
                      <a:pt x="24" y="54"/>
                      <a:pt x="28" y="56"/>
                      <a:pt x="28" y="59"/>
                    </a:cubicBezTo>
                    <a:cubicBezTo>
                      <a:pt x="28" y="61"/>
                      <a:pt x="23" y="63"/>
                      <a:pt x="24" y="64"/>
                    </a:cubicBezTo>
                    <a:cubicBezTo>
                      <a:pt x="27" y="68"/>
                      <a:pt x="31" y="70"/>
                      <a:pt x="36" y="71"/>
                    </a:cubicBezTo>
                    <a:cubicBezTo>
                      <a:pt x="38" y="71"/>
                      <a:pt x="38" y="65"/>
                      <a:pt x="40" y="66"/>
                    </a:cubicBezTo>
                    <a:cubicBezTo>
                      <a:pt x="44" y="67"/>
                      <a:pt x="44" y="74"/>
                      <a:pt x="48" y="75"/>
                    </a:cubicBezTo>
                    <a:cubicBezTo>
                      <a:pt x="50" y="76"/>
                      <a:pt x="48" y="70"/>
                      <a:pt x="50" y="69"/>
                    </a:cubicBezTo>
                    <a:cubicBezTo>
                      <a:pt x="53" y="69"/>
                      <a:pt x="58" y="69"/>
                      <a:pt x="59" y="72"/>
                    </a:cubicBezTo>
                    <a:cubicBezTo>
                      <a:pt x="60" y="74"/>
                      <a:pt x="52" y="73"/>
                      <a:pt x="52" y="75"/>
                    </a:cubicBezTo>
                    <a:cubicBezTo>
                      <a:pt x="52" y="79"/>
                      <a:pt x="57" y="80"/>
                      <a:pt x="58" y="83"/>
                    </a:cubicBezTo>
                    <a:cubicBezTo>
                      <a:pt x="59" y="85"/>
                      <a:pt x="60" y="88"/>
                      <a:pt x="58" y="88"/>
                    </a:cubicBezTo>
                    <a:cubicBezTo>
                      <a:pt x="55" y="88"/>
                      <a:pt x="53" y="85"/>
                      <a:pt x="51" y="83"/>
                    </a:cubicBezTo>
                    <a:cubicBezTo>
                      <a:pt x="48" y="81"/>
                      <a:pt x="46" y="78"/>
                      <a:pt x="43" y="76"/>
                    </a:cubicBezTo>
                    <a:cubicBezTo>
                      <a:pt x="42" y="74"/>
                      <a:pt x="41" y="72"/>
                      <a:pt x="39" y="72"/>
                    </a:cubicBezTo>
                    <a:cubicBezTo>
                      <a:pt x="38" y="72"/>
                      <a:pt x="38" y="73"/>
                      <a:pt x="38" y="74"/>
                    </a:cubicBezTo>
                    <a:cubicBezTo>
                      <a:pt x="38" y="76"/>
                      <a:pt x="41" y="79"/>
                      <a:pt x="39" y="79"/>
                    </a:cubicBezTo>
                    <a:cubicBezTo>
                      <a:pt x="37" y="79"/>
                      <a:pt x="36" y="76"/>
                      <a:pt x="34" y="74"/>
                    </a:cubicBezTo>
                    <a:cubicBezTo>
                      <a:pt x="31" y="73"/>
                      <a:pt x="29" y="71"/>
                      <a:pt x="26" y="71"/>
                    </a:cubicBezTo>
                    <a:cubicBezTo>
                      <a:pt x="25" y="70"/>
                      <a:pt x="26" y="73"/>
                      <a:pt x="25" y="73"/>
                    </a:cubicBezTo>
                    <a:cubicBezTo>
                      <a:pt x="22" y="73"/>
                      <a:pt x="19" y="72"/>
                      <a:pt x="16" y="71"/>
                    </a:cubicBezTo>
                    <a:cubicBezTo>
                      <a:pt x="15" y="70"/>
                      <a:pt x="13" y="69"/>
                      <a:pt x="13" y="67"/>
                    </a:cubicBezTo>
                    <a:cubicBezTo>
                      <a:pt x="14" y="66"/>
                      <a:pt x="16" y="65"/>
                      <a:pt x="17" y="65"/>
                    </a:cubicBezTo>
                    <a:cubicBezTo>
                      <a:pt x="19" y="64"/>
                      <a:pt x="23" y="66"/>
                      <a:pt x="23" y="65"/>
                    </a:cubicBezTo>
                    <a:cubicBezTo>
                      <a:pt x="22" y="62"/>
                      <a:pt x="18" y="61"/>
                      <a:pt x="16" y="60"/>
                    </a:cubicBezTo>
                    <a:cubicBezTo>
                      <a:pt x="15" y="59"/>
                      <a:pt x="13" y="58"/>
                      <a:pt x="12" y="59"/>
                    </a:cubicBezTo>
                    <a:cubicBezTo>
                      <a:pt x="11" y="61"/>
                      <a:pt x="14" y="64"/>
                      <a:pt x="12" y="64"/>
                    </a:cubicBezTo>
                    <a:cubicBezTo>
                      <a:pt x="10" y="64"/>
                      <a:pt x="9" y="62"/>
                      <a:pt x="7" y="60"/>
                    </a:cubicBezTo>
                    <a:cubicBezTo>
                      <a:pt x="6" y="58"/>
                      <a:pt x="6" y="55"/>
                      <a:pt x="5" y="53"/>
                    </a:cubicBezTo>
                    <a:cubicBezTo>
                      <a:pt x="5" y="51"/>
                      <a:pt x="3" y="50"/>
                      <a:pt x="3" y="49"/>
                    </a:cubicBezTo>
                    <a:cubicBezTo>
                      <a:pt x="2" y="47"/>
                      <a:pt x="4" y="45"/>
                      <a:pt x="4" y="43"/>
                    </a:cubicBezTo>
                    <a:cubicBezTo>
                      <a:pt x="3" y="41"/>
                      <a:pt x="0" y="40"/>
                      <a:pt x="0" y="38"/>
                    </a:cubicBezTo>
                    <a:cubicBezTo>
                      <a:pt x="0" y="36"/>
                      <a:pt x="0" y="33"/>
                      <a:pt x="2" y="33"/>
                    </a:cubicBezTo>
                    <a:cubicBezTo>
                      <a:pt x="4" y="33"/>
                      <a:pt x="6" y="40"/>
                      <a:pt x="7" y="39"/>
                    </a:cubicBezTo>
                    <a:cubicBezTo>
                      <a:pt x="10" y="36"/>
                      <a:pt x="8" y="32"/>
                      <a:pt x="7" y="28"/>
                    </a:cubicBezTo>
                    <a:cubicBezTo>
                      <a:pt x="7" y="24"/>
                      <a:pt x="7" y="20"/>
                      <a:pt x="4" y="16"/>
                    </a:cubicBezTo>
                    <a:cubicBezTo>
                      <a:pt x="4" y="11"/>
                      <a:pt x="5" y="6"/>
                      <a:pt x="8" y="2"/>
                    </a:cubicBezTo>
                    <a:cubicBezTo>
                      <a:pt x="10" y="0"/>
                      <a:pt x="14" y="2"/>
                      <a:pt x="17" y="3"/>
                    </a:cubicBezTo>
                    <a:cubicBezTo>
                      <a:pt x="20" y="3"/>
                      <a:pt x="23" y="6"/>
                      <a:pt x="26" y="6"/>
                    </a:cubicBezTo>
                    <a:cubicBezTo>
                      <a:pt x="28" y="5"/>
                      <a:pt x="27" y="1"/>
                      <a:pt x="29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61" name="Freeform 3072"/>
              <p:cNvSpPr>
                <a:spLocks noChangeAspect="1"/>
              </p:cNvSpPr>
              <p:nvPr/>
            </p:nvSpPr>
            <p:spPr bwMode="auto">
              <a:xfrm>
                <a:off x="7431938" y="3659017"/>
                <a:ext cx="40890" cy="40604"/>
              </a:xfrm>
              <a:custGeom>
                <a:avLst/>
                <a:gdLst>
                  <a:gd name="T0" fmla="*/ 11 w 21"/>
                  <a:gd name="T1" fmla="*/ 1 h 21"/>
                  <a:gd name="T2" fmla="*/ 23 w 21"/>
                  <a:gd name="T3" fmla="*/ 6 h 21"/>
                  <a:gd name="T4" fmla="*/ 23 w 21"/>
                  <a:gd name="T5" fmla="*/ 10 h 21"/>
                  <a:gd name="T6" fmla="*/ 23 w 21"/>
                  <a:gd name="T7" fmla="*/ 23 h 21"/>
                  <a:gd name="T8" fmla="*/ 14 w 21"/>
                  <a:gd name="T9" fmla="*/ 23 h 21"/>
                  <a:gd name="T10" fmla="*/ 8 w 21"/>
                  <a:gd name="T11" fmla="*/ 8 h 21"/>
                  <a:gd name="T12" fmla="*/ 0 w 21"/>
                  <a:gd name="T13" fmla="*/ 5 h 21"/>
                  <a:gd name="T14" fmla="*/ 4 w 21"/>
                  <a:gd name="T15" fmla="*/ 1 h 21"/>
                  <a:gd name="T16" fmla="*/ 11 w 21"/>
                  <a:gd name="T17" fmla="*/ 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21"/>
                  <a:gd name="T29" fmla="*/ 21 w 2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21">
                    <a:moveTo>
                      <a:pt x="9" y="1"/>
                    </a:moveTo>
                    <a:cubicBezTo>
                      <a:pt x="12" y="2"/>
                      <a:pt x="16" y="3"/>
                      <a:pt x="19" y="5"/>
                    </a:cubicBezTo>
                    <a:cubicBezTo>
                      <a:pt x="20" y="5"/>
                      <a:pt x="19" y="7"/>
                      <a:pt x="19" y="8"/>
                    </a:cubicBezTo>
                    <a:cubicBezTo>
                      <a:pt x="19" y="12"/>
                      <a:pt x="21" y="16"/>
                      <a:pt x="19" y="19"/>
                    </a:cubicBezTo>
                    <a:cubicBezTo>
                      <a:pt x="18" y="21"/>
                      <a:pt x="14" y="20"/>
                      <a:pt x="12" y="19"/>
                    </a:cubicBezTo>
                    <a:cubicBezTo>
                      <a:pt x="9" y="16"/>
                      <a:pt x="9" y="11"/>
                      <a:pt x="7" y="7"/>
                    </a:cubicBezTo>
                    <a:cubicBezTo>
                      <a:pt x="5" y="5"/>
                      <a:pt x="2" y="6"/>
                      <a:pt x="0" y="4"/>
                    </a:cubicBezTo>
                    <a:cubicBezTo>
                      <a:pt x="0" y="3"/>
                      <a:pt x="2" y="1"/>
                      <a:pt x="3" y="1"/>
                    </a:cubicBezTo>
                    <a:cubicBezTo>
                      <a:pt x="5" y="0"/>
                      <a:pt x="7" y="1"/>
                      <a:pt x="9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62" name="Freeform 3073"/>
              <p:cNvSpPr>
                <a:spLocks noChangeAspect="1"/>
              </p:cNvSpPr>
              <p:nvPr/>
            </p:nvSpPr>
            <p:spPr bwMode="auto">
              <a:xfrm>
                <a:off x="7534980" y="3688251"/>
                <a:ext cx="39254" cy="42227"/>
              </a:xfrm>
              <a:custGeom>
                <a:avLst/>
                <a:gdLst>
                  <a:gd name="T0" fmla="*/ 2 w 20"/>
                  <a:gd name="T1" fmla="*/ 0 h 22"/>
                  <a:gd name="T2" fmla="*/ 0 w 20"/>
                  <a:gd name="T3" fmla="*/ 2 h 22"/>
                  <a:gd name="T4" fmla="*/ 6 w 20"/>
                  <a:gd name="T5" fmla="*/ 12 h 22"/>
                  <a:gd name="T6" fmla="*/ 10 w 20"/>
                  <a:gd name="T7" fmla="*/ 13 h 22"/>
                  <a:gd name="T8" fmla="*/ 11 w 20"/>
                  <a:gd name="T9" fmla="*/ 20 h 22"/>
                  <a:gd name="T10" fmla="*/ 18 w 20"/>
                  <a:gd name="T11" fmla="*/ 24 h 22"/>
                  <a:gd name="T12" fmla="*/ 23 w 20"/>
                  <a:gd name="T13" fmla="*/ 25 h 22"/>
                  <a:gd name="T14" fmla="*/ 20 w 20"/>
                  <a:gd name="T15" fmla="*/ 20 h 22"/>
                  <a:gd name="T16" fmla="*/ 23 w 20"/>
                  <a:gd name="T17" fmla="*/ 18 h 22"/>
                  <a:gd name="T18" fmla="*/ 19 w 20"/>
                  <a:gd name="T19" fmla="*/ 12 h 22"/>
                  <a:gd name="T20" fmla="*/ 19 w 20"/>
                  <a:gd name="T21" fmla="*/ 5 h 22"/>
                  <a:gd name="T22" fmla="*/ 14 w 20"/>
                  <a:gd name="T23" fmla="*/ 0 h 22"/>
                  <a:gd name="T24" fmla="*/ 6 w 20"/>
                  <a:gd name="T25" fmla="*/ 0 h 22"/>
                  <a:gd name="T26" fmla="*/ 2 w 20"/>
                  <a:gd name="T27" fmla="*/ 0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"/>
                  <a:gd name="T43" fmla="*/ 0 h 22"/>
                  <a:gd name="T44" fmla="*/ 20 w 20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" h="22">
                    <a:moveTo>
                      <a:pt x="2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1" y="5"/>
                      <a:pt x="3" y="8"/>
                      <a:pt x="5" y="10"/>
                    </a:cubicBezTo>
                    <a:cubicBezTo>
                      <a:pt x="6" y="11"/>
                      <a:pt x="8" y="10"/>
                      <a:pt x="8" y="11"/>
                    </a:cubicBezTo>
                    <a:cubicBezTo>
                      <a:pt x="9" y="13"/>
                      <a:pt x="8" y="15"/>
                      <a:pt x="9" y="17"/>
                    </a:cubicBezTo>
                    <a:cubicBezTo>
                      <a:pt x="10" y="19"/>
                      <a:pt x="12" y="19"/>
                      <a:pt x="15" y="20"/>
                    </a:cubicBezTo>
                    <a:cubicBezTo>
                      <a:pt x="16" y="21"/>
                      <a:pt x="18" y="22"/>
                      <a:pt x="19" y="21"/>
                    </a:cubicBezTo>
                    <a:cubicBezTo>
                      <a:pt x="20" y="20"/>
                      <a:pt x="17" y="19"/>
                      <a:pt x="17" y="17"/>
                    </a:cubicBezTo>
                    <a:cubicBezTo>
                      <a:pt x="17" y="16"/>
                      <a:pt x="19" y="16"/>
                      <a:pt x="19" y="15"/>
                    </a:cubicBezTo>
                    <a:cubicBezTo>
                      <a:pt x="18" y="13"/>
                      <a:pt x="16" y="12"/>
                      <a:pt x="16" y="10"/>
                    </a:cubicBezTo>
                    <a:cubicBezTo>
                      <a:pt x="16" y="8"/>
                      <a:pt x="17" y="6"/>
                      <a:pt x="16" y="4"/>
                    </a:cubicBezTo>
                    <a:cubicBezTo>
                      <a:pt x="15" y="2"/>
                      <a:pt x="14" y="1"/>
                      <a:pt x="12" y="0"/>
                    </a:cubicBezTo>
                    <a:cubicBezTo>
                      <a:pt x="10" y="0"/>
                      <a:pt x="8" y="0"/>
                      <a:pt x="5" y="0"/>
                    </a:cubicBezTo>
                    <a:cubicBezTo>
                      <a:pt x="4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63" name="Freeform 3074"/>
              <p:cNvSpPr>
                <a:spLocks noChangeAspect="1"/>
              </p:cNvSpPr>
              <p:nvPr/>
            </p:nvSpPr>
            <p:spPr bwMode="auto">
              <a:xfrm>
                <a:off x="7474463" y="3702868"/>
                <a:ext cx="37619" cy="45476"/>
              </a:xfrm>
              <a:custGeom>
                <a:avLst/>
                <a:gdLst>
                  <a:gd name="T0" fmla="*/ 4 w 19"/>
                  <a:gd name="T1" fmla="*/ 1 h 23"/>
                  <a:gd name="T2" fmla="*/ 1 w 19"/>
                  <a:gd name="T3" fmla="*/ 4 h 23"/>
                  <a:gd name="T4" fmla="*/ 7 w 19"/>
                  <a:gd name="T5" fmla="*/ 10 h 23"/>
                  <a:gd name="T6" fmla="*/ 2 w 19"/>
                  <a:gd name="T7" fmla="*/ 23 h 23"/>
                  <a:gd name="T8" fmla="*/ 2 w 19"/>
                  <a:gd name="T9" fmla="*/ 28 h 23"/>
                  <a:gd name="T10" fmla="*/ 8 w 19"/>
                  <a:gd name="T11" fmla="*/ 23 h 23"/>
                  <a:gd name="T12" fmla="*/ 15 w 19"/>
                  <a:gd name="T13" fmla="*/ 21 h 23"/>
                  <a:gd name="T14" fmla="*/ 16 w 19"/>
                  <a:gd name="T15" fmla="*/ 18 h 23"/>
                  <a:gd name="T16" fmla="*/ 22 w 19"/>
                  <a:gd name="T17" fmla="*/ 9 h 23"/>
                  <a:gd name="T18" fmla="*/ 19 w 19"/>
                  <a:gd name="T19" fmla="*/ 5 h 23"/>
                  <a:gd name="T20" fmla="*/ 15 w 19"/>
                  <a:gd name="T21" fmla="*/ 7 h 23"/>
                  <a:gd name="T22" fmla="*/ 8 w 19"/>
                  <a:gd name="T23" fmla="*/ 4 h 23"/>
                  <a:gd name="T24" fmla="*/ 4 w 19"/>
                  <a:gd name="T25" fmla="*/ 1 h 2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23"/>
                  <a:gd name="T41" fmla="*/ 19 w 19"/>
                  <a:gd name="T42" fmla="*/ 23 h 2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23">
                    <a:moveTo>
                      <a:pt x="3" y="1"/>
                    </a:moveTo>
                    <a:cubicBezTo>
                      <a:pt x="2" y="1"/>
                      <a:pt x="1" y="2"/>
                      <a:pt x="1" y="3"/>
                    </a:cubicBezTo>
                    <a:cubicBezTo>
                      <a:pt x="2" y="6"/>
                      <a:pt x="6" y="6"/>
                      <a:pt x="6" y="8"/>
                    </a:cubicBezTo>
                    <a:cubicBezTo>
                      <a:pt x="6" y="12"/>
                      <a:pt x="3" y="15"/>
                      <a:pt x="2" y="19"/>
                    </a:cubicBezTo>
                    <a:cubicBezTo>
                      <a:pt x="2" y="20"/>
                      <a:pt x="0" y="23"/>
                      <a:pt x="2" y="23"/>
                    </a:cubicBezTo>
                    <a:cubicBezTo>
                      <a:pt x="4" y="23"/>
                      <a:pt x="5" y="20"/>
                      <a:pt x="7" y="19"/>
                    </a:cubicBezTo>
                    <a:cubicBezTo>
                      <a:pt x="9" y="18"/>
                      <a:pt x="11" y="18"/>
                      <a:pt x="12" y="17"/>
                    </a:cubicBezTo>
                    <a:cubicBezTo>
                      <a:pt x="13" y="17"/>
                      <a:pt x="12" y="15"/>
                      <a:pt x="13" y="15"/>
                    </a:cubicBezTo>
                    <a:cubicBezTo>
                      <a:pt x="14" y="12"/>
                      <a:pt x="17" y="10"/>
                      <a:pt x="18" y="7"/>
                    </a:cubicBezTo>
                    <a:cubicBezTo>
                      <a:pt x="19" y="6"/>
                      <a:pt x="17" y="4"/>
                      <a:pt x="16" y="4"/>
                    </a:cubicBezTo>
                    <a:cubicBezTo>
                      <a:pt x="15" y="3"/>
                      <a:pt x="13" y="6"/>
                      <a:pt x="12" y="6"/>
                    </a:cubicBezTo>
                    <a:cubicBezTo>
                      <a:pt x="10" y="6"/>
                      <a:pt x="9" y="3"/>
                      <a:pt x="7" y="3"/>
                    </a:cubicBezTo>
                    <a:cubicBezTo>
                      <a:pt x="6" y="2"/>
                      <a:pt x="4" y="0"/>
                      <a:pt x="3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64" name="Freeform 3075"/>
              <p:cNvSpPr>
                <a:spLocks noChangeAspect="1"/>
              </p:cNvSpPr>
              <p:nvPr/>
            </p:nvSpPr>
            <p:spPr bwMode="auto">
              <a:xfrm>
                <a:off x="7503903" y="3691499"/>
                <a:ext cx="27806" cy="17866"/>
              </a:xfrm>
              <a:custGeom>
                <a:avLst/>
                <a:gdLst>
                  <a:gd name="T0" fmla="*/ 5 w 14"/>
                  <a:gd name="T1" fmla="*/ 2 h 9"/>
                  <a:gd name="T2" fmla="*/ 5 w 14"/>
                  <a:gd name="T3" fmla="*/ 2 h 9"/>
                  <a:gd name="T4" fmla="*/ 9 w 14"/>
                  <a:gd name="T5" fmla="*/ 5 h 9"/>
                  <a:gd name="T6" fmla="*/ 16 w 14"/>
                  <a:gd name="T7" fmla="*/ 11 h 9"/>
                  <a:gd name="T8" fmla="*/ 17 w 14"/>
                  <a:gd name="T9" fmla="*/ 10 h 9"/>
                  <a:gd name="T10" fmla="*/ 15 w 14"/>
                  <a:gd name="T11" fmla="*/ 4 h 9"/>
                  <a:gd name="T12" fmla="*/ 7 w 14"/>
                  <a:gd name="T13" fmla="*/ 0 h 9"/>
                  <a:gd name="T14" fmla="*/ 4 w 14"/>
                  <a:gd name="T15" fmla="*/ 1 h 9"/>
                  <a:gd name="T16" fmla="*/ 1 w 14"/>
                  <a:gd name="T17" fmla="*/ 4 h 9"/>
                  <a:gd name="T18" fmla="*/ 5 w 14"/>
                  <a:gd name="T19" fmla="*/ 2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"/>
                  <a:gd name="T31" fmla="*/ 0 h 9"/>
                  <a:gd name="T32" fmla="*/ 14 w 14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" h="9"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6" y="3"/>
                      <a:pt x="7" y="4"/>
                    </a:cubicBezTo>
                    <a:cubicBezTo>
                      <a:pt x="9" y="6"/>
                      <a:pt x="10" y="8"/>
                      <a:pt x="13" y="9"/>
                    </a:cubicBezTo>
                    <a:cubicBezTo>
                      <a:pt x="13" y="9"/>
                      <a:pt x="14" y="8"/>
                      <a:pt x="14" y="8"/>
                    </a:cubicBezTo>
                    <a:cubicBezTo>
                      <a:pt x="13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6" y="0"/>
                    </a:cubicBezTo>
                    <a:cubicBezTo>
                      <a:pt x="5" y="0"/>
                      <a:pt x="4" y="0"/>
                      <a:pt x="3" y="1"/>
                    </a:cubicBezTo>
                    <a:cubicBezTo>
                      <a:pt x="2" y="1"/>
                      <a:pt x="0" y="2"/>
                      <a:pt x="1" y="3"/>
                    </a:cubicBezTo>
                    <a:cubicBezTo>
                      <a:pt x="1" y="4"/>
                      <a:pt x="3" y="3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5" name="Freeform 3076"/>
              <p:cNvSpPr>
                <a:spLocks noChangeAspect="1"/>
              </p:cNvSpPr>
              <p:nvPr/>
            </p:nvSpPr>
            <p:spPr bwMode="auto">
              <a:xfrm>
                <a:off x="7490819" y="3730479"/>
                <a:ext cx="27806" cy="55220"/>
              </a:xfrm>
              <a:custGeom>
                <a:avLst/>
                <a:gdLst>
                  <a:gd name="T0" fmla="*/ 16 w 14"/>
                  <a:gd name="T1" fmla="*/ 2 h 28"/>
                  <a:gd name="T2" fmla="*/ 12 w 14"/>
                  <a:gd name="T3" fmla="*/ 0 h 28"/>
                  <a:gd name="T4" fmla="*/ 9 w 14"/>
                  <a:gd name="T5" fmla="*/ 4 h 28"/>
                  <a:gd name="T6" fmla="*/ 9 w 14"/>
                  <a:gd name="T7" fmla="*/ 17 h 28"/>
                  <a:gd name="T8" fmla="*/ 1 w 14"/>
                  <a:gd name="T9" fmla="*/ 19 h 28"/>
                  <a:gd name="T10" fmla="*/ 4 w 14"/>
                  <a:gd name="T11" fmla="*/ 28 h 28"/>
                  <a:gd name="T12" fmla="*/ 10 w 14"/>
                  <a:gd name="T13" fmla="*/ 34 h 28"/>
                  <a:gd name="T14" fmla="*/ 15 w 14"/>
                  <a:gd name="T15" fmla="*/ 30 h 28"/>
                  <a:gd name="T16" fmla="*/ 11 w 14"/>
                  <a:gd name="T17" fmla="*/ 22 h 28"/>
                  <a:gd name="T18" fmla="*/ 16 w 14"/>
                  <a:gd name="T19" fmla="*/ 5 h 28"/>
                  <a:gd name="T20" fmla="*/ 16 w 14"/>
                  <a:gd name="T21" fmla="*/ 2 h 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"/>
                  <a:gd name="T34" fmla="*/ 0 h 28"/>
                  <a:gd name="T35" fmla="*/ 14 w 14"/>
                  <a:gd name="T36" fmla="*/ 28 h 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" h="28">
                    <a:moveTo>
                      <a:pt x="13" y="2"/>
                    </a:moveTo>
                    <a:cubicBezTo>
                      <a:pt x="13" y="1"/>
                      <a:pt x="11" y="0"/>
                      <a:pt x="10" y="0"/>
                    </a:cubicBezTo>
                    <a:cubicBezTo>
                      <a:pt x="9" y="1"/>
                      <a:pt x="7" y="2"/>
                      <a:pt x="7" y="3"/>
                    </a:cubicBezTo>
                    <a:cubicBezTo>
                      <a:pt x="6" y="7"/>
                      <a:pt x="9" y="11"/>
                      <a:pt x="7" y="14"/>
                    </a:cubicBezTo>
                    <a:cubicBezTo>
                      <a:pt x="6" y="16"/>
                      <a:pt x="2" y="14"/>
                      <a:pt x="1" y="16"/>
                    </a:cubicBezTo>
                    <a:cubicBezTo>
                      <a:pt x="0" y="19"/>
                      <a:pt x="1" y="21"/>
                      <a:pt x="3" y="23"/>
                    </a:cubicBezTo>
                    <a:cubicBezTo>
                      <a:pt x="6" y="22"/>
                      <a:pt x="8" y="24"/>
                      <a:pt x="8" y="28"/>
                    </a:cubicBezTo>
                    <a:cubicBezTo>
                      <a:pt x="10" y="28"/>
                      <a:pt x="12" y="26"/>
                      <a:pt x="12" y="25"/>
                    </a:cubicBezTo>
                    <a:cubicBezTo>
                      <a:pt x="13" y="22"/>
                      <a:pt x="9" y="21"/>
                      <a:pt x="9" y="18"/>
                    </a:cubicBezTo>
                    <a:cubicBezTo>
                      <a:pt x="10" y="13"/>
                      <a:pt x="12" y="9"/>
                      <a:pt x="13" y="4"/>
                    </a:cubicBezTo>
                    <a:cubicBezTo>
                      <a:pt x="14" y="3"/>
                      <a:pt x="14" y="2"/>
                      <a:pt x="1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6" name="Freeform 3077"/>
              <p:cNvSpPr>
                <a:spLocks noChangeAspect="1"/>
              </p:cNvSpPr>
              <p:nvPr/>
            </p:nvSpPr>
            <p:spPr bwMode="auto">
              <a:xfrm>
                <a:off x="7515353" y="3720734"/>
                <a:ext cx="17992" cy="55220"/>
              </a:xfrm>
              <a:custGeom>
                <a:avLst/>
                <a:gdLst>
                  <a:gd name="T0" fmla="*/ 7 w 9"/>
                  <a:gd name="T1" fmla="*/ 1 h 28"/>
                  <a:gd name="T2" fmla="*/ 10 w 9"/>
                  <a:gd name="T3" fmla="*/ 2 h 28"/>
                  <a:gd name="T4" fmla="*/ 10 w 9"/>
                  <a:gd name="T5" fmla="*/ 18 h 28"/>
                  <a:gd name="T6" fmla="*/ 5 w 9"/>
                  <a:gd name="T7" fmla="*/ 23 h 28"/>
                  <a:gd name="T8" fmla="*/ 2 w 9"/>
                  <a:gd name="T9" fmla="*/ 33 h 28"/>
                  <a:gd name="T10" fmla="*/ 0 w 9"/>
                  <a:gd name="T11" fmla="*/ 32 h 28"/>
                  <a:gd name="T12" fmla="*/ 6 w 9"/>
                  <a:gd name="T13" fmla="*/ 15 h 28"/>
                  <a:gd name="T14" fmla="*/ 7 w 9"/>
                  <a:gd name="T15" fmla="*/ 1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28"/>
                  <a:gd name="T26" fmla="*/ 9 w 9"/>
                  <a:gd name="T27" fmla="*/ 28 h 2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28">
                    <a:moveTo>
                      <a:pt x="6" y="1"/>
                    </a:moveTo>
                    <a:cubicBezTo>
                      <a:pt x="6" y="0"/>
                      <a:pt x="8" y="1"/>
                      <a:pt x="8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8" y="17"/>
                      <a:pt x="5" y="18"/>
                      <a:pt x="4" y="19"/>
                    </a:cubicBezTo>
                    <a:cubicBezTo>
                      <a:pt x="3" y="22"/>
                      <a:pt x="3" y="25"/>
                      <a:pt x="2" y="27"/>
                    </a:cubicBezTo>
                    <a:cubicBezTo>
                      <a:pt x="2" y="28"/>
                      <a:pt x="0" y="27"/>
                      <a:pt x="0" y="26"/>
                    </a:cubicBezTo>
                    <a:cubicBezTo>
                      <a:pt x="1" y="21"/>
                      <a:pt x="3" y="17"/>
                      <a:pt x="5" y="12"/>
                    </a:cubicBezTo>
                    <a:cubicBezTo>
                      <a:pt x="5" y="8"/>
                      <a:pt x="5" y="4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7" name="Freeform 3078"/>
              <p:cNvSpPr>
                <a:spLocks noChangeAspect="1"/>
              </p:cNvSpPr>
              <p:nvPr/>
            </p:nvSpPr>
            <p:spPr bwMode="auto">
              <a:xfrm>
                <a:off x="7534980" y="3719109"/>
                <a:ext cx="27806" cy="42227"/>
              </a:xfrm>
              <a:custGeom>
                <a:avLst/>
                <a:gdLst>
                  <a:gd name="T0" fmla="*/ 2 w 14"/>
                  <a:gd name="T1" fmla="*/ 0 h 22"/>
                  <a:gd name="T2" fmla="*/ 1 w 14"/>
                  <a:gd name="T3" fmla="*/ 1 h 22"/>
                  <a:gd name="T4" fmla="*/ 1 w 14"/>
                  <a:gd name="T5" fmla="*/ 9 h 22"/>
                  <a:gd name="T6" fmla="*/ 5 w 14"/>
                  <a:gd name="T7" fmla="*/ 11 h 22"/>
                  <a:gd name="T8" fmla="*/ 6 w 14"/>
                  <a:gd name="T9" fmla="*/ 7 h 22"/>
                  <a:gd name="T10" fmla="*/ 7 w 14"/>
                  <a:gd name="T11" fmla="*/ 9 h 22"/>
                  <a:gd name="T12" fmla="*/ 9 w 14"/>
                  <a:gd name="T13" fmla="*/ 21 h 22"/>
                  <a:gd name="T14" fmla="*/ 15 w 14"/>
                  <a:gd name="T15" fmla="*/ 25 h 22"/>
                  <a:gd name="T16" fmla="*/ 15 w 14"/>
                  <a:gd name="T17" fmla="*/ 19 h 22"/>
                  <a:gd name="T18" fmla="*/ 17 w 14"/>
                  <a:gd name="T19" fmla="*/ 18 h 22"/>
                  <a:gd name="T20" fmla="*/ 12 w 14"/>
                  <a:gd name="T21" fmla="*/ 12 h 22"/>
                  <a:gd name="T22" fmla="*/ 11 w 14"/>
                  <a:gd name="T23" fmla="*/ 4 h 22"/>
                  <a:gd name="T24" fmla="*/ 10 w 14"/>
                  <a:gd name="T25" fmla="*/ 0 h 22"/>
                  <a:gd name="T26" fmla="*/ 2 w 14"/>
                  <a:gd name="T27" fmla="*/ 0 h 2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22"/>
                  <a:gd name="T44" fmla="*/ 14 w 14"/>
                  <a:gd name="T45" fmla="*/ 22 h 2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22">
                    <a:moveTo>
                      <a:pt x="2" y="0"/>
                    </a:moveTo>
                    <a:cubicBezTo>
                      <a:pt x="2" y="0"/>
                      <a:pt x="1" y="0"/>
                      <a:pt x="1" y="1"/>
                    </a:cubicBezTo>
                    <a:cubicBezTo>
                      <a:pt x="0" y="3"/>
                      <a:pt x="0" y="6"/>
                      <a:pt x="1" y="8"/>
                    </a:cubicBezTo>
                    <a:cubicBezTo>
                      <a:pt x="1" y="9"/>
                      <a:pt x="3" y="9"/>
                      <a:pt x="4" y="9"/>
                    </a:cubicBezTo>
                    <a:cubicBezTo>
                      <a:pt x="5" y="8"/>
                      <a:pt x="4" y="6"/>
                      <a:pt x="5" y="6"/>
                    </a:cubicBezTo>
                    <a:cubicBezTo>
                      <a:pt x="6" y="6"/>
                      <a:pt x="6" y="7"/>
                      <a:pt x="6" y="8"/>
                    </a:cubicBezTo>
                    <a:cubicBezTo>
                      <a:pt x="7" y="11"/>
                      <a:pt x="6" y="15"/>
                      <a:pt x="7" y="18"/>
                    </a:cubicBezTo>
                    <a:cubicBezTo>
                      <a:pt x="8" y="20"/>
                      <a:pt x="11" y="22"/>
                      <a:pt x="12" y="21"/>
                    </a:cubicBezTo>
                    <a:cubicBezTo>
                      <a:pt x="14" y="21"/>
                      <a:pt x="11" y="18"/>
                      <a:pt x="12" y="16"/>
                    </a:cubicBezTo>
                    <a:cubicBezTo>
                      <a:pt x="12" y="15"/>
                      <a:pt x="14" y="16"/>
                      <a:pt x="14" y="15"/>
                    </a:cubicBezTo>
                    <a:cubicBezTo>
                      <a:pt x="13" y="13"/>
                      <a:pt x="11" y="12"/>
                      <a:pt x="10" y="10"/>
                    </a:cubicBezTo>
                    <a:cubicBezTo>
                      <a:pt x="9" y="7"/>
                      <a:pt x="9" y="5"/>
                      <a:pt x="9" y="3"/>
                    </a:cubicBezTo>
                    <a:cubicBezTo>
                      <a:pt x="9" y="2"/>
                      <a:pt x="9" y="1"/>
                      <a:pt x="8" y="0"/>
                    </a:cubicBezTo>
                    <a:cubicBezTo>
                      <a:pt x="6" y="0"/>
                      <a:pt x="4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8" name="Freeform 3079"/>
              <p:cNvSpPr>
                <a:spLocks noChangeAspect="1"/>
              </p:cNvSpPr>
              <p:nvPr/>
            </p:nvSpPr>
            <p:spPr bwMode="auto">
              <a:xfrm>
                <a:off x="7528438" y="3753216"/>
                <a:ext cx="16356" cy="17866"/>
              </a:xfrm>
              <a:custGeom>
                <a:avLst/>
                <a:gdLst>
                  <a:gd name="T0" fmla="*/ 6 w 9"/>
                  <a:gd name="T1" fmla="*/ 1 h 9"/>
                  <a:gd name="T2" fmla="*/ 9 w 9"/>
                  <a:gd name="T3" fmla="*/ 2 h 9"/>
                  <a:gd name="T4" fmla="*/ 9 w 9"/>
                  <a:gd name="T5" fmla="*/ 9 h 9"/>
                  <a:gd name="T6" fmla="*/ 1 w 9"/>
                  <a:gd name="T7" fmla="*/ 11 h 9"/>
                  <a:gd name="T8" fmla="*/ 1 w 9"/>
                  <a:gd name="T9" fmla="*/ 9 h 9"/>
                  <a:gd name="T10" fmla="*/ 6 w 9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9"/>
                  <a:gd name="T20" fmla="*/ 9 w 9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9">
                    <a:moveTo>
                      <a:pt x="5" y="1"/>
                    </a:moveTo>
                    <a:cubicBezTo>
                      <a:pt x="6" y="0"/>
                      <a:pt x="7" y="1"/>
                      <a:pt x="8" y="2"/>
                    </a:cubicBezTo>
                    <a:cubicBezTo>
                      <a:pt x="9" y="4"/>
                      <a:pt x="9" y="6"/>
                      <a:pt x="8" y="7"/>
                    </a:cubicBezTo>
                    <a:cubicBezTo>
                      <a:pt x="6" y="9"/>
                      <a:pt x="3" y="9"/>
                      <a:pt x="1" y="9"/>
                    </a:cubicBezTo>
                    <a:cubicBezTo>
                      <a:pt x="0" y="9"/>
                      <a:pt x="0" y="7"/>
                      <a:pt x="1" y="7"/>
                    </a:cubicBezTo>
                    <a:cubicBezTo>
                      <a:pt x="2" y="5"/>
                      <a:pt x="3" y="2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69" name="Freeform 3080"/>
              <p:cNvSpPr>
                <a:spLocks noChangeAspect="1"/>
              </p:cNvSpPr>
              <p:nvPr/>
            </p:nvSpPr>
            <p:spPr bwMode="auto">
              <a:xfrm>
                <a:off x="7364879" y="3719109"/>
                <a:ext cx="60517" cy="87703"/>
              </a:xfrm>
              <a:custGeom>
                <a:avLst/>
                <a:gdLst>
                  <a:gd name="T0" fmla="*/ 33 w 31"/>
                  <a:gd name="T1" fmla="*/ 1 h 45"/>
                  <a:gd name="T2" fmla="*/ 30 w 31"/>
                  <a:gd name="T3" fmla="*/ 1 h 45"/>
                  <a:gd name="T4" fmla="*/ 30 w 31"/>
                  <a:gd name="T5" fmla="*/ 7 h 45"/>
                  <a:gd name="T6" fmla="*/ 31 w 31"/>
                  <a:gd name="T7" fmla="*/ 13 h 45"/>
                  <a:gd name="T8" fmla="*/ 29 w 31"/>
                  <a:gd name="T9" fmla="*/ 12 h 45"/>
                  <a:gd name="T10" fmla="*/ 29 w 31"/>
                  <a:gd name="T11" fmla="*/ 16 h 45"/>
                  <a:gd name="T12" fmla="*/ 24 w 31"/>
                  <a:gd name="T13" fmla="*/ 20 h 45"/>
                  <a:gd name="T14" fmla="*/ 21 w 31"/>
                  <a:gd name="T15" fmla="*/ 23 h 45"/>
                  <a:gd name="T16" fmla="*/ 17 w 31"/>
                  <a:gd name="T17" fmla="*/ 31 h 45"/>
                  <a:gd name="T18" fmla="*/ 10 w 31"/>
                  <a:gd name="T19" fmla="*/ 38 h 45"/>
                  <a:gd name="T20" fmla="*/ 1 w 31"/>
                  <a:gd name="T21" fmla="*/ 49 h 45"/>
                  <a:gd name="T22" fmla="*/ 1 w 31"/>
                  <a:gd name="T23" fmla="*/ 53 h 45"/>
                  <a:gd name="T24" fmla="*/ 6 w 31"/>
                  <a:gd name="T25" fmla="*/ 50 h 45"/>
                  <a:gd name="T26" fmla="*/ 16 w 31"/>
                  <a:gd name="T27" fmla="*/ 41 h 45"/>
                  <a:gd name="T28" fmla="*/ 19 w 31"/>
                  <a:gd name="T29" fmla="*/ 32 h 45"/>
                  <a:gd name="T30" fmla="*/ 21 w 31"/>
                  <a:gd name="T31" fmla="*/ 28 h 45"/>
                  <a:gd name="T32" fmla="*/ 29 w 31"/>
                  <a:gd name="T33" fmla="*/ 24 h 45"/>
                  <a:gd name="T34" fmla="*/ 31 w 31"/>
                  <a:gd name="T35" fmla="*/ 20 h 45"/>
                  <a:gd name="T36" fmla="*/ 36 w 31"/>
                  <a:gd name="T37" fmla="*/ 20 h 45"/>
                  <a:gd name="T38" fmla="*/ 36 w 31"/>
                  <a:gd name="T39" fmla="*/ 16 h 45"/>
                  <a:gd name="T40" fmla="*/ 32 w 31"/>
                  <a:gd name="T41" fmla="*/ 10 h 45"/>
                  <a:gd name="T42" fmla="*/ 33 w 31"/>
                  <a:gd name="T43" fmla="*/ 5 h 45"/>
                  <a:gd name="T44" fmla="*/ 33 w 31"/>
                  <a:gd name="T45" fmla="*/ 1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1"/>
                  <a:gd name="T70" fmla="*/ 0 h 45"/>
                  <a:gd name="T71" fmla="*/ 31 w 31"/>
                  <a:gd name="T72" fmla="*/ 45 h 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1" h="45">
                    <a:moveTo>
                      <a:pt x="28" y="1"/>
                    </a:moveTo>
                    <a:cubicBezTo>
                      <a:pt x="28" y="0"/>
                      <a:pt x="26" y="0"/>
                      <a:pt x="25" y="1"/>
                    </a:cubicBezTo>
                    <a:cubicBezTo>
                      <a:pt x="25" y="3"/>
                      <a:pt x="25" y="5"/>
                      <a:pt x="25" y="6"/>
                    </a:cubicBezTo>
                    <a:cubicBezTo>
                      <a:pt x="25" y="8"/>
                      <a:pt x="26" y="10"/>
                      <a:pt x="26" y="11"/>
                    </a:cubicBezTo>
                    <a:cubicBezTo>
                      <a:pt x="26" y="12"/>
                      <a:pt x="24" y="10"/>
                      <a:pt x="24" y="10"/>
                    </a:cubicBezTo>
                    <a:cubicBezTo>
                      <a:pt x="23" y="11"/>
                      <a:pt x="24" y="12"/>
                      <a:pt x="24" y="13"/>
                    </a:cubicBezTo>
                    <a:cubicBezTo>
                      <a:pt x="23" y="14"/>
                      <a:pt x="22" y="16"/>
                      <a:pt x="20" y="17"/>
                    </a:cubicBezTo>
                    <a:cubicBezTo>
                      <a:pt x="20" y="18"/>
                      <a:pt x="18" y="18"/>
                      <a:pt x="18" y="19"/>
                    </a:cubicBezTo>
                    <a:cubicBezTo>
                      <a:pt x="16" y="21"/>
                      <a:pt x="15" y="24"/>
                      <a:pt x="14" y="26"/>
                    </a:cubicBezTo>
                    <a:cubicBezTo>
                      <a:pt x="12" y="28"/>
                      <a:pt x="10" y="30"/>
                      <a:pt x="8" y="32"/>
                    </a:cubicBezTo>
                    <a:cubicBezTo>
                      <a:pt x="6" y="35"/>
                      <a:pt x="3" y="38"/>
                      <a:pt x="1" y="41"/>
                    </a:cubicBezTo>
                    <a:cubicBezTo>
                      <a:pt x="0" y="42"/>
                      <a:pt x="0" y="44"/>
                      <a:pt x="1" y="44"/>
                    </a:cubicBezTo>
                    <a:cubicBezTo>
                      <a:pt x="3" y="45"/>
                      <a:pt x="4" y="43"/>
                      <a:pt x="5" y="42"/>
                    </a:cubicBezTo>
                    <a:cubicBezTo>
                      <a:pt x="8" y="40"/>
                      <a:pt x="11" y="37"/>
                      <a:pt x="13" y="34"/>
                    </a:cubicBezTo>
                    <a:cubicBezTo>
                      <a:pt x="14" y="32"/>
                      <a:pt x="15" y="29"/>
                      <a:pt x="16" y="27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20" y="21"/>
                      <a:pt x="22" y="21"/>
                      <a:pt x="24" y="20"/>
                    </a:cubicBezTo>
                    <a:cubicBezTo>
                      <a:pt x="25" y="19"/>
                      <a:pt x="25" y="17"/>
                      <a:pt x="26" y="17"/>
                    </a:cubicBezTo>
                    <a:cubicBezTo>
                      <a:pt x="27" y="16"/>
                      <a:pt x="29" y="18"/>
                      <a:pt x="30" y="17"/>
                    </a:cubicBezTo>
                    <a:cubicBezTo>
                      <a:pt x="31" y="16"/>
                      <a:pt x="31" y="14"/>
                      <a:pt x="30" y="13"/>
                    </a:cubicBezTo>
                    <a:cubicBezTo>
                      <a:pt x="30" y="11"/>
                      <a:pt x="27" y="10"/>
                      <a:pt x="27" y="8"/>
                    </a:cubicBezTo>
                    <a:cubicBezTo>
                      <a:pt x="26" y="6"/>
                      <a:pt x="27" y="5"/>
                      <a:pt x="28" y="4"/>
                    </a:cubicBezTo>
                    <a:cubicBezTo>
                      <a:pt x="28" y="3"/>
                      <a:pt x="29" y="2"/>
                      <a:pt x="28" y="1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8770" name="Freeform 3081"/>
              <p:cNvSpPr>
                <a:spLocks noChangeAspect="1"/>
              </p:cNvSpPr>
              <p:nvPr/>
            </p:nvSpPr>
            <p:spPr bwMode="auto">
              <a:xfrm>
                <a:off x="7423760" y="3691499"/>
                <a:ext cx="16356" cy="12993"/>
              </a:xfrm>
              <a:custGeom>
                <a:avLst/>
                <a:gdLst>
                  <a:gd name="T0" fmla="*/ 5 w 8"/>
                  <a:gd name="T1" fmla="*/ 2 h 7"/>
                  <a:gd name="T2" fmla="*/ 10 w 8"/>
                  <a:gd name="T3" fmla="*/ 7 h 7"/>
                  <a:gd name="T4" fmla="*/ 4 w 8"/>
                  <a:gd name="T5" fmla="*/ 7 h 7"/>
                  <a:gd name="T6" fmla="*/ 0 w 8"/>
                  <a:gd name="T7" fmla="*/ 1 h 7"/>
                  <a:gd name="T8" fmla="*/ 5 w 8"/>
                  <a:gd name="T9" fmla="*/ 2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7"/>
                  <a:gd name="T17" fmla="*/ 8 w 8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7">
                    <a:moveTo>
                      <a:pt x="4" y="2"/>
                    </a:moveTo>
                    <a:cubicBezTo>
                      <a:pt x="5" y="3"/>
                      <a:pt x="8" y="4"/>
                      <a:pt x="8" y="6"/>
                    </a:cubicBezTo>
                    <a:cubicBezTo>
                      <a:pt x="7" y="7"/>
                      <a:pt x="4" y="7"/>
                      <a:pt x="3" y="6"/>
                    </a:cubicBezTo>
                    <a:cubicBezTo>
                      <a:pt x="2" y="5"/>
                      <a:pt x="0" y="3"/>
                      <a:pt x="0" y="1"/>
                    </a:cubicBezTo>
                    <a:cubicBezTo>
                      <a:pt x="0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1" name="Freeform 3082"/>
              <p:cNvSpPr>
                <a:spLocks noChangeAspect="1"/>
              </p:cNvSpPr>
              <p:nvPr/>
            </p:nvSpPr>
            <p:spPr bwMode="auto">
              <a:xfrm>
                <a:off x="7471192" y="3615165"/>
                <a:ext cx="8178" cy="14618"/>
              </a:xfrm>
              <a:custGeom>
                <a:avLst/>
                <a:gdLst>
                  <a:gd name="T0" fmla="*/ 1 w 4"/>
                  <a:gd name="T1" fmla="*/ 0 h 7"/>
                  <a:gd name="T2" fmla="*/ 5 w 4"/>
                  <a:gd name="T3" fmla="*/ 3 h 7"/>
                  <a:gd name="T4" fmla="*/ 1 w 4"/>
                  <a:gd name="T5" fmla="*/ 5 h 7"/>
                  <a:gd name="T6" fmla="*/ 4 w 4"/>
                  <a:gd name="T7" fmla="*/ 8 h 7"/>
                  <a:gd name="T8" fmla="*/ 1 w 4"/>
                  <a:gd name="T9" fmla="*/ 9 h 7"/>
                  <a:gd name="T10" fmla="*/ 0 w 4"/>
                  <a:gd name="T11" fmla="*/ 6 h 7"/>
                  <a:gd name="T12" fmla="*/ 1 w 4"/>
                  <a:gd name="T13" fmla="*/ 5 h 7"/>
                  <a:gd name="T14" fmla="*/ 0 w 4"/>
                  <a:gd name="T15" fmla="*/ 3 h 7"/>
                  <a:gd name="T16" fmla="*/ 1 w 4"/>
                  <a:gd name="T17" fmla="*/ 0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"/>
                  <a:gd name="T28" fmla="*/ 0 h 7"/>
                  <a:gd name="T29" fmla="*/ 4 w 4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" h="7">
                    <a:moveTo>
                      <a:pt x="1" y="0"/>
                    </a:moveTo>
                    <a:cubicBezTo>
                      <a:pt x="2" y="0"/>
                      <a:pt x="3" y="0"/>
                      <a:pt x="4" y="2"/>
                    </a:cubicBezTo>
                    <a:cubicBezTo>
                      <a:pt x="4" y="3"/>
                      <a:pt x="2" y="3"/>
                      <a:pt x="1" y="4"/>
                    </a:cubicBezTo>
                    <a:cubicBezTo>
                      <a:pt x="1" y="5"/>
                      <a:pt x="3" y="5"/>
                      <a:pt x="3" y="6"/>
                    </a:cubicBezTo>
                    <a:cubicBezTo>
                      <a:pt x="3" y="7"/>
                      <a:pt x="2" y="7"/>
                      <a:pt x="1" y="7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2" name="Freeform 3083"/>
              <p:cNvSpPr>
                <a:spLocks noChangeAspect="1"/>
              </p:cNvSpPr>
              <p:nvPr/>
            </p:nvSpPr>
            <p:spPr bwMode="auto">
              <a:xfrm>
                <a:off x="7530073" y="3642776"/>
                <a:ext cx="9814" cy="16241"/>
              </a:xfrm>
              <a:custGeom>
                <a:avLst/>
                <a:gdLst>
                  <a:gd name="T0" fmla="*/ 1 w 5"/>
                  <a:gd name="T1" fmla="*/ 1 h 8"/>
                  <a:gd name="T2" fmla="*/ 4 w 5"/>
                  <a:gd name="T3" fmla="*/ 1 h 8"/>
                  <a:gd name="T4" fmla="*/ 5 w 5"/>
                  <a:gd name="T5" fmla="*/ 6 h 8"/>
                  <a:gd name="T6" fmla="*/ 1 w 5"/>
                  <a:gd name="T7" fmla="*/ 10 h 8"/>
                  <a:gd name="T8" fmla="*/ 1 w 5"/>
                  <a:gd name="T9" fmla="*/ 6 h 8"/>
                  <a:gd name="T10" fmla="*/ 1 w 5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1" y="1"/>
                    </a:moveTo>
                    <a:cubicBezTo>
                      <a:pt x="1" y="0"/>
                      <a:pt x="2" y="0"/>
                      <a:pt x="3" y="1"/>
                    </a:cubicBezTo>
                    <a:cubicBezTo>
                      <a:pt x="4" y="2"/>
                      <a:pt x="5" y="4"/>
                      <a:pt x="4" y="5"/>
                    </a:cubicBezTo>
                    <a:cubicBezTo>
                      <a:pt x="4" y="6"/>
                      <a:pt x="2" y="8"/>
                      <a:pt x="1" y="8"/>
                    </a:cubicBezTo>
                    <a:cubicBezTo>
                      <a:pt x="0" y="8"/>
                      <a:pt x="1" y="6"/>
                      <a:pt x="1" y="5"/>
                    </a:cubicBezTo>
                    <a:cubicBezTo>
                      <a:pt x="1" y="3"/>
                      <a:pt x="0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3" name="Freeform 3084"/>
              <p:cNvSpPr>
                <a:spLocks noChangeAspect="1"/>
              </p:cNvSpPr>
              <p:nvPr/>
            </p:nvSpPr>
            <p:spPr bwMode="auto">
              <a:xfrm>
                <a:off x="7579141" y="3274097"/>
                <a:ext cx="14721" cy="25986"/>
              </a:xfrm>
              <a:custGeom>
                <a:avLst/>
                <a:gdLst>
                  <a:gd name="T0" fmla="*/ 6 w 8"/>
                  <a:gd name="T1" fmla="*/ 1 h 13"/>
                  <a:gd name="T2" fmla="*/ 8 w 8"/>
                  <a:gd name="T3" fmla="*/ 2 h 13"/>
                  <a:gd name="T4" fmla="*/ 1 w 8"/>
                  <a:gd name="T5" fmla="*/ 15 h 13"/>
                  <a:gd name="T6" fmla="*/ 0 w 8"/>
                  <a:gd name="T7" fmla="*/ 14 h 13"/>
                  <a:gd name="T8" fmla="*/ 6 w 8"/>
                  <a:gd name="T9" fmla="*/ 1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3"/>
                  <a:gd name="T17" fmla="*/ 8 w 8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3">
                    <a:moveTo>
                      <a:pt x="5" y="1"/>
                    </a:moveTo>
                    <a:cubicBezTo>
                      <a:pt x="6" y="0"/>
                      <a:pt x="8" y="1"/>
                      <a:pt x="7" y="2"/>
                    </a:cubicBezTo>
                    <a:cubicBezTo>
                      <a:pt x="6" y="5"/>
                      <a:pt x="4" y="9"/>
                      <a:pt x="1" y="12"/>
                    </a:cubicBezTo>
                    <a:cubicBezTo>
                      <a:pt x="1" y="13"/>
                      <a:pt x="0" y="12"/>
                      <a:pt x="0" y="11"/>
                    </a:cubicBezTo>
                    <a:cubicBezTo>
                      <a:pt x="1" y="7"/>
                      <a:pt x="3" y="4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4" name="Freeform 3085"/>
              <p:cNvSpPr>
                <a:spLocks noChangeAspect="1"/>
              </p:cNvSpPr>
              <p:nvPr/>
            </p:nvSpPr>
            <p:spPr bwMode="auto">
              <a:xfrm>
                <a:off x="7610217" y="3223750"/>
                <a:ext cx="16356" cy="12993"/>
              </a:xfrm>
              <a:custGeom>
                <a:avLst/>
                <a:gdLst>
                  <a:gd name="T0" fmla="*/ 7 w 8"/>
                  <a:gd name="T1" fmla="*/ 0 h 7"/>
                  <a:gd name="T2" fmla="*/ 9 w 8"/>
                  <a:gd name="T3" fmla="*/ 1 h 7"/>
                  <a:gd name="T4" fmla="*/ 4 w 8"/>
                  <a:gd name="T5" fmla="*/ 5 h 7"/>
                  <a:gd name="T6" fmla="*/ 5 w 8"/>
                  <a:gd name="T7" fmla="*/ 8 h 7"/>
                  <a:gd name="T8" fmla="*/ 0 w 8"/>
                  <a:gd name="T9" fmla="*/ 5 h 7"/>
                  <a:gd name="T10" fmla="*/ 5 w 8"/>
                  <a:gd name="T11" fmla="*/ 1 h 7"/>
                  <a:gd name="T12" fmla="*/ 7 w 8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"/>
                  <a:gd name="T22" fmla="*/ 0 h 7"/>
                  <a:gd name="T23" fmla="*/ 8 w 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" h="7">
                    <a:moveTo>
                      <a:pt x="6" y="0"/>
                    </a:moveTo>
                    <a:cubicBezTo>
                      <a:pt x="7" y="0"/>
                      <a:pt x="8" y="1"/>
                      <a:pt x="7" y="1"/>
                    </a:cubicBezTo>
                    <a:cubicBezTo>
                      <a:pt x="6" y="3"/>
                      <a:pt x="4" y="3"/>
                      <a:pt x="3" y="4"/>
                    </a:cubicBezTo>
                    <a:cubicBezTo>
                      <a:pt x="3" y="5"/>
                      <a:pt x="4" y="7"/>
                      <a:pt x="4" y="7"/>
                    </a:cubicBezTo>
                    <a:cubicBezTo>
                      <a:pt x="2" y="7"/>
                      <a:pt x="0" y="6"/>
                      <a:pt x="0" y="4"/>
                    </a:cubicBezTo>
                    <a:cubicBezTo>
                      <a:pt x="0" y="2"/>
                      <a:pt x="3" y="2"/>
                      <a:pt x="4" y="1"/>
                    </a:cubicBezTo>
                    <a:cubicBezTo>
                      <a:pt x="5" y="0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5" name="Freeform 3086"/>
              <p:cNvSpPr>
                <a:spLocks noChangeAspect="1"/>
              </p:cNvSpPr>
              <p:nvPr/>
            </p:nvSpPr>
            <p:spPr bwMode="auto">
              <a:xfrm>
                <a:off x="8828730" y="4531175"/>
                <a:ext cx="39254" cy="27611"/>
              </a:xfrm>
              <a:custGeom>
                <a:avLst/>
                <a:gdLst>
                  <a:gd name="T0" fmla="*/ 18 w 20"/>
                  <a:gd name="T1" fmla="*/ 1 h 14"/>
                  <a:gd name="T2" fmla="*/ 12 w 20"/>
                  <a:gd name="T3" fmla="*/ 1 h 14"/>
                  <a:gd name="T4" fmla="*/ 5 w 20"/>
                  <a:gd name="T5" fmla="*/ 6 h 14"/>
                  <a:gd name="T6" fmla="*/ 5 w 20"/>
                  <a:gd name="T7" fmla="*/ 7 h 14"/>
                  <a:gd name="T8" fmla="*/ 1 w 20"/>
                  <a:gd name="T9" fmla="*/ 12 h 14"/>
                  <a:gd name="T10" fmla="*/ 4 w 20"/>
                  <a:gd name="T11" fmla="*/ 16 h 14"/>
                  <a:gd name="T12" fmla="*/ 19 w 20"/>
                  <a:gd name="T13" fmla="*/ 16 h 14"/>
                  <a:gd name="T14" fmla="*/ 24 w 20"/>
                  <a:gd name="T15" fmla="*/ 12 h 14"/>
                  <a:gd name="T16" fmla="*/ 22 w 20"/>
                  <a:gd name="T17" fmla="*/ 2 h 14"/>
                  <a:gd name="T18" fmla="*/ 18 w 20"/>
                  <a:gd name="T19" fmla="*/ 1 h 1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14"/>
                  <a:gd name="T32" fmla="*/ 20 w 20"/>
                  <a:gd name="T33" fmla="*/ 14 h 1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14">
                    <a:moveTo>
                      <a:pt x="15" y="1"/>
                    </a:moveTo>
                    <a:cubicBezTo>
                      <a:pt x="13" y="0"/>
                      <a:pt x="11" y="0"/>
                      <a:pt x="10" y="1"/>
                    </a:cubicBezTo>
                    <a:cubicBezTo>
                      <a:pt x="8" y="2"/>
                      <a:pt x="6" y="3"/>
                      <a:pt x="4" y="5"/>
                    </a:cubicBezTo>
                    <a:cubicBezTo>
                      <a:pt x="3" y="5"/>
                      <a:pt x="4" y="6"/>
                      <a:pt x="4" y="6"/>
                    </a:cubicBezTo>
                    <a:cubicBezTo>
                      <a:pt x="3" y="8"/>
                      <a:pt x="1" y="9"/>
                      <a:pt x="1" y="10"/>
                    </a:cubicBezTo>
                    <a:cubicBezTo>
                      <a:pt x="0" y="11"/>
                      <a:pt x="2" y="13"/>
                      <a:pt x="3" y="13"/>
                    </a:cubicBezTo>
                    <a:cubicBezTo>
                      <a:pt x="7" y="14"/>
                      <a:pt x="12" y="14"/>
                      <a:pt x="16" y="13"/>
                    </a:cubicBezTo>
                    <a:cubicBezTo>
                      <a:pt x="18" y="13"/>
                      <a:pt x="19" y="11"/>
                      <a:pt x="20" y="10"/>
                    </a:cubicBezTo>
                    <a:cubicBezTo>
                      <a:pt x="20" y="7"/>
                      <a:pt x="19" y="5"/>
                      <a:pt x="18" y="2"/>
                    </a:cubicBezTo>
                    <a:cubicBezTo>
                      <a:pt x="17" y="1"/>
                      <a:pt x="16" y="1"/>
                      <a:pt x="1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6" name="Freeform 3087"/>
              <p:cNvSpPr>
                <a:spLocks noChangeAspect="1"/>
              </p:cNvSpPr>
              <p:nvPr/>
            </p:nvSpPr>
            <p:spPr bwMode="auto">
              <a:xfrm>
                <a:off x="8867984" y="4498692"/>
                <a:ext cx="34348" cy="21114"/>
              </a:xfrm>
              <a:custGeom>
                <a:avLst/>
                <a:gdLst>
                  <a:gd name="T0" fmla="*/ 17 w 17"/>
                  <a:gd name="T1" fmla="*/ 0 h 11"/>
                  <a:gd name="T2" fmla="*/ 12 w 17"/>
                  <a:gd name="T3" fmla="*/ 5 h 11"/>
                  <a:gd name="T4" fmla="*/ 1 w 17"/>
                  <a:gd name="T5" fmla="*/ 8 h 11"/>
                  <a:gd name="T6" fmla="*/ 4 w 17"/>
                  <a:gd name="T7" fmla="*/ 13 h 11"/>
                  <a:gd name="T8" fmla="*/ 11 w 17"/>
                  <a:gd name="T9" fmla="*/ 11 h 11"/>
                  <a:gd name="T10" fmla="*/ 16 w 17"/>
                  <a:gd name="T11" fmla="*/ 11 h 11"/>
                  <a:gd name="T12" fmla="*/ 21 w 17"/>
                  <a:gd name="T13" fmla="*/ 2 h 11"/>
                  <a:gd name="T14" fmla="*/ 17 w 17"/>
                  <a:gd name="T15" fmla="*/ 0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1"/>
                  <a:gd name="T26" fmla="*/ 17 w 17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1">
                    <a:moveTo>
                      <a:pt x="14" y="0"/>
                    </a:moveTo>
                    <a:cubicBezTo>
                      <a:pt x="12" y="0"/>
                      <a:pt x="12" y="3"/>
                      <a:pt x="10" y="4"/>
                    </a:cubicBezTo>
                    <a:cubicBezTo>
                      <a:pt x="7" y="5"/>
                      <a:pt x="3" y="5"/>
                      <a:pt x="1" y="7"/>
                    </a:cubicBezTo>
                    <a:cubicBezTo>
                      <a:pt x="0" y="8"/>
                      <a:pt x="1" y="11"/>
                      <a:pt x="3" y="11"/>
                    </a:cubicBezTo>
                    <a:cubicBezTo>
                      <a:pt x="5" y="11"/>
                      <a:pt x="7" y="9"/>
                      <a:pt x="9" y="9"/>
                    </a:cubicBezTo>
                    <a:cubicBezTo>
                      <a:pt x="10" y="8"/>
                      <a:pt x="12" y="9"/>
                      <a:pt x="13" y="9"/>
                    </a:cubicBezTo>
                    <a:cubicBezTo>
                      <a:pt x="13" y="5"/>
                      <a:pt x="15" y="3"/>
                      <a:pt x="17" y="2"/>
                    </a:cubicBezTo>
                    <a:cubicBezTo>
                      <a:pt x="17" y="1"/>
                      <a:pt x="15" y="0"/>
                      <a:pt x="1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7" name="Freeform 3088"/>
              <p:cNvSpPr>
                <a:spLocks noChangeAspect="1"/>
              </p:cNvSpPr>
              <p:nvPr/>
            </p:nvSpPr>
            <p:spPr bwMode="auto">
              <a:xfrm>
                <a:off x="8576849" y="4453217"/>
                <a:ext cx="16356" cy="34107"/>
              </a:xfrm>
              <a:custGeom>
                <a:avLst/>
                <a:gdLst>
                  <a:gd name="T0" fmla="*/ 0 w 9"/>
                  <a:gd name="T1" fmla="*/ 1 h 17"/>
                  <a:gd name="T2" fmla="*/ 2 w 9"/>
                  <a:gd name="T3" fmla="*/ 1 h 17"/>
                  <a:gd name="T4" fmla="*/ 3 w 9"/>
                  <a:gd name="T5" fmla="*/ 10 h 17"/>
                  <a:gd name="T6" fmla="*/ 6 w 9"/>
                  <a:gd name="T7" fmla="*/ 9 h 17"/>
                  <a:gd name="T8" fmla="*/ 7 w 9"/>
                  <a:gd name="T9" fmla="*/ 4 h 17"/>
                  <a:gd name="T10" fmla="*/ 10 w 9"/>
                  <a:gd name="T11" fmla="*/ 5 h 17"/>
                  <a:gd name="T12" fmla="*/ 10 w 9"/>
                  <a:gd name="T13" fmla="*/ 12 h 17"/>
                  <a:gd name="T14" fmla="*/ 10 w 9"/>
                  <a:gd name="T15" fmla="*/ 17 h 17"/>
                  <a:gd name="T16" fmla="*/ 6 w 9"/>
                  <a:gd name="T17" fmla="*/ 19 h 17"/>
                  <a:gd name="T18" fmla="*/ 1 w 9"/>
                  <a:gd name="T19" fmla="*/ 20 h 17"/>
                  <a:gd name="T20" fmla="*/ 0 w 9"/>
                  <a:gd name="T21" fmla="*/ 15 h 17"/>
                  <a:gd name="T22" fmla="*/ 0 w 9"/>
                  <a:gd name="T23" fmla="*/ 1 h 1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"/>
                  <a:gd name="T37" fmla="*/ 0 h 17"/>
                  <a:gd name="T38" fmla="*/ 9 w 9"/>
                  <a:gd name="T39" fmla="*/ 17 h 1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" h="17">
                    <a:moveTo>
                      <a:pt x="0" y="1"/>
                    </a:moveTo>
                    <a:cubicBezTo>
                      <a:pt x="1" y="0"/>
                      <a:pt x="2" y="0"/>
                      <a:pt x="2" y="1"/>
                    </a:cubicBezTo>
                    <a:cubicBezTo>
                      <a:pt x="3" y="3"/>
                      <a:pt x="2" y="6"/>
                      <a:pt x="3" y="8"/>
                    </a:cubicBezTo>
                    <a:cubicBezTo>
                      <a:pt x="3" y="9"/>
                      <a:pt x="5" y="8"/>
                      <a:pt x="5" y="7"/>
                    </a:cubicBezTo>
                    <a:cubicBezTo>
                      <a:pt x="6" y="6"/>
                      <a:pt x="5" y="4"/>
                      <a:pt x="6" y="3"/>
                    </a:cubicBezTo>
                    <a:cubicBezTo>
                      <a:pt x="7" y="2"/>
                      <a:pt x="8" y="3"/>
                      <a:pt x="9" y="4"/>
                    </a:cubicBezTo>
                    <a:cubicBezTo>
                      <a:pt x="9" y="6"/>
                      <a:pt x="9" y="8"/>
                      <a:pt x="9" y="10"/>
                    </a:cubicBezTo>
                    <a:cubicBezTo>
                      <a:pt x="9" y="11"/>
                      <a:pt x="9" y="13"/>
                      <a:pt x="9" y="14"/>
                    </a:cubicBezTo>
                    <a:cubicBezTo>
                      <a:pt x="8" y="15"/>
                      <a:pt x="7" y="15"/>
                      <a:pt x="5" y="15"/>
                    </a:cubicBezTo>
                    <a:cubicBezTo>
                      <a:pt x="4" y="16"/>
                      <a:pt x="2" y="17"/>
                      <a:pt x="1" y="16"/>
                    </a:cubicBezTo>
                    <a:cubicBezTo>
                      <a:pt x="0" y="15"/>
                      <a:pt x="0" y="13"/>
                      <a:pt x="0" y="12"/>
                    </a:cubicBezTo>
                    <a:cubicBezTo>
                      <a:pt x="0" y="8"/>
                      <a:pt x="0" y="5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8" name="Freeform 3089"/>
              <p:cNvSpPr>
                <a:spLocks noChangeAspect="1"/>
              </p:cNvSpPr>
              <p:nvPr/>
            </p:nvSpPr>
            <p:spPr bwMode="auto">
              <a:xfrm>
                <a:off x="8588299" y="4490572"/>
                <a:ext cx="14721" cy="19490"/>
              </a:xfrm>
              <a:custGeom>
                <a:avLst/>
                <a:gdLst>
                  <a:gd name="T0" fmla="*/ 3 w 8"/>
                  <a:gd name="T1" fmla="*/ 1 h 10"/>
                  <a:gd name="T2" fmla="*/ 9 w 8"/>
                  <a:gd name="T3" fmla="*/ 11 h 10"/>
                  <a:gd name="T4" fmla="*/ 3 w 8"/>
                  <a:gd name="T5" fmla="*/ 12 h 10"/>
                  <a:gd name="T6" fmla="*/ 2 w 8"/>
                  <a:gd name="T7" fmla="*/ 8 h 10"/>
                  <a:gd name="T8" fmla="*/ 0 w 8"/>
                  <a:gd name="T9" fmla="*/ 2 h 10"/>
                  <a:gd name="T10" fmla="*/ 3 w 8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0"/>
                  <a:gd name="T20" fmla="*/ 8 w 8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0">
                    <a:moveTo>
                      <a:pt x="3" y="1"/>
                    </a:moveTo>
                    <a:cubicBezTo>
                      <a:pt x="5" y="3"/>
                      <a:pt x="8" y="6"/>
                      <a:pt x="8" y="9"/>
                    </a:cubicBezTo>
                    <a:cubicBezTo>
                      <a:pt x="8" y="10"/>
                      <a:pt x="4" y="10"/>
                      <a:pt x="3" y="10"/>
                    </a:cubicBezTo>
                    <a:cubicBezTo>
                      <a:pt x="2" y="9"/>
                      <a:pt x="3" y="8"/>
                      <a:pt x="2" y="7"/>
                    </a:cubicBezTo>
                    <a:cubicBezTo>
                      <a:pt x="2" y="5"/>
                      <a:pt x="0" y="4"/>
                      <a:pt x="0" y="2"/>
                    </a:cubicBezTo>
                    <a:cubicBezTo>
                      <a:pt x="0" y="1"/>
                      <a:pt x="2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79" name="Freeform 3090"/>
              <p:cNvSpPr>
                <a:spLocks noChangeAspect="1"/>
              </p:cNvSpPr>
              <p:nvPr/>
            </p:nvSpPr>
            <p:spPr bwMode="auto">
              <a:xfrm>
                <a:off x="8498341" y="4612381"/>
                <a:ext cx="65424" cy="68214"/>
              </a:xfrm>
              <a:custGeom>
                <a:avLst/>
                <a:gdLst>
                  <a:gd name="T0" fmla="*/ 1 w 34"/>
                  <a:gd name="T1" fmla="*/ 0 h 35"/>
                  <a:gd name="T2" fmla="*/ 0 w 34"/>
                  <a:gd name="T3" fmla="*/ 2 h 35"/>
                  <a:gd name="T4" fmla="*/ 2 w 34"/>
                  <a:gd name="T5" fmla="*/ 10 h 35"/>
                  <a:gd name="T6" fmla="*/ 7 w 34"/>
                  <a:gd name="T7" fmla="*/ 14 h 35"/>
                  <a:gd name="T8" fmla="*/ 11 w 34"/>
                  <a:gd name="T9" fmla="*/ 22 h 35"/>
                  <a:gd name="T10" fmla="*/ 20 w 34"/>
                  <a:gd name="T11" fmla="*/ 30 h 35"/>
                  <a:gd name="T12" fmla="*/ 27 w 34"/>
                  <a:gd name="T13" fmla="*/ 32 h 35"/>
                  <a:gd name="T14" fmla="*/ 28 w 34"/>
                  <a:gd name="T15" fmla="*/ 40 h 35"/>
                  <a:gd name="T16" fmla="*/ 38 w 34"/>
                  <a:gd name="T17" fmla="*/ 41 h 35"/>
                  <a:gd name="T18" fmla="*/ 38 w 34"/>
                  <a:gd name="T19" fmla="*/ 34 h 35"/>
                  <a:gd name="T20" fmla="*/ 26 w 34"/>
                  <a:gd name="T21" fmla="*/ 25 h 35"/>
                  <a:gd name="T22" fmla="*/ 19 w 34"/>
                  <a:gd name="T23" fmla="*/ 14 h 35"/>
                  <a:gd name="T24" fmla="*/ 9 w 34"/>
                  <a:gd name="T25" fmla="*/ 5 h 35"/>
                  <a:gd name="T26" fmla="*/ 1 w 34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4"/>
                  <a:gd name="T43" fmla="*/ 0 h 35"/>
                  <a:gd name="T44" fmla="*/ 34 w 34"/>
                  <a:gd name="T45" fmla="*/ 35 h 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4" h="35">
                    <a:moveTo>
                      <a:pt x="1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2" y="8"/>
                    </a:cubicBezTo>
                    <a:cubicBezTo>
                      <a:pt x="3" y="9"/>
                      <a:pt x="5" y="10"/>
                      <a:pt x="6" y="12"/>
                    </a:cubicBezTo>
                    <a:cubicBezTo>
                      <a:pt x="8" y="14"/>
                      <a:pt x="8" y="16"/>
                      <a:pt x="9" y="18"/>
                    </a:cubicBezTo>
                    <a:cubicBezTo>
                      <a:pt x="11" y="21"/>
                      <a:pt x="14" y="23"/>
                      <a:pt x="17" y="25"/>
                    </a:cubicBezTo>
                    <a:cubicBezTo>
                      <a:pt x="19" y="26"/>
                      <a:pt x="22" y="26"/>
                      <a:pt x="23" y="27"/>
                    </a:cubicBezTo>
                    <a:cubicBezTo>
                      <a:pt x="25" y="29"/>
                      <a:pt x="23" y="32"/>
                      <a:pt x="24" y="33"/>
                    </a:cubicBezTo>
                    <a:cubicBezTo>
                      <a:pt x="26" y="34"/>
                      <a:pt x="30" y="35"/>
                      <a:pt x="32" y="34"/>
                    </a:cubicBezTo>
                    <a:cubicBezTo>
                      <a:pt x="34" y="33"/>
                      <a:pt x="33" y="29"/>
                      <a:pt x="32" y="28"/>
                    </a:cubicBezTo>
                    <a:cubicBezTo>
                      <a:pt x="30" y="24"/>
                      <a:pt x="25" y="24"/>
                      <a:pt x="22" y="21"/>
                    </a:cubicBezTo>
                    <a:cubicBezTo>
                      <a:pt x="20" y="18"/>
                      <a:pt x="19" y="14"/>
                      <a:pt x="16" y="12"/>
                    </a:cubicBezTo>
                    <a:cubicBezTo>
                      <a:pt x="14" y="9"/>
                      <a:pt x="10" y="7"/>
                      <a:pt x="8" y="4"/>
                    </a:cubicBezTo>
                    <a:cubicBezTo>
                      <a:pt x="6" y="3"/>
                      <a:pt x="4" y="1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0" name="Freeform 3091"/>
              <p:cNvSpPr>
                <a:spLocks noChangeAspect="1"/>
              </p:cNvSpPr>
              <p:nvPr/>
            </p:nvSpPr>
            <p:spPr bwMode="auto">
              <a:xfrm>
                <a:off x="8568672" y="4626999"/>
                <a:ext cx="11450" cy="17866"/>
              </a:xfrm>
              <a:custGeom>
                <a:avLst/>
                <a:gdLst>
                  <a:gd name="T0" fmla="*/ 5 w 6"/>
                  <a:gd name="T1" fmla="*/ 1 h 9"/>
                  <a:gd name="T2" fmla="*/ 6 w 6"/>
                  <a:gd name="T3" fmla="*/ 7 h 9"/>
                  <a:gd name="T4" fmla="*/ 6 w 6"/>
                  <a:gd name="T5" fmla="*/ 11 h 9"/>
                  <a:gd name="T6" fmla="*/ 1 w 6"/>
                  <a:gd name="T7" fmla="*/ 7 h 9"/>
                  <a:gd name="T8" fmla="*/ 2 w 6"/>
                  <a:gd name="T9" fmla="*/ 2 h 9"/>
                  <a:gd name="T10" fmla="*/ 5 w 6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9"/>
                  <a:gd name="T20" fmla="*/ 6 w 6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9">
                    <a:moveTo>
                      <a:pt x="4" y="1"/>
                    </a:moveTo>
                    <a:cubicBezTo>
                      <a:pt x="5" y="2"/>
                      <a:pt x="5" y="4"/>
                      <a:pt x="5" y="6"/>
                    </a:cubicBezTo>
                    <a:cubicBezTo>
                      <a:pt x="5" y="7"/>
                      <a:pt x="6" y="9"/>
                      <a:pt x="5" y="9"/>
                    </a:cubicBezTo>
                    <a:cubicBezTo>
                      <a:pt x="3" y="9"/>
                      <a:pt x="2" y="8"/>
                      <a:pt x="1" y="6"/>
                    </a:cubicBezTo>
                    <a:cubicBezTo>
                      <a:pt x="0" y="5"/>
                      <a:pt x="1" y="3"/>
                      <a:pt x="2" y="2"/>
                    </a:cubicBezTo>
                    <a:cubicBezTo>
                      <a:pt x="2" y="1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1" name="Freeform 3092"/>
              <p:cNvSpPr>
                <a:spLocks noChangeAspect="1"/>
              </p:cNvSpPr>
              <p:nvPr/>
            </p:nvSpPr>
            <p:spPr bwMode="auto">
              <a:xfrm>
                <a:off x="8586663" y="4646489"/>
                <a:ext cx="9814" cy="11369"/>
              </a:xfrm>
              <a:custGeom>
                <a:avLst/>
                <a:gdLst>
                  <a:gd name="T0" fmla="*/ 2 w 5"/>
                  <a:gd name="T1" fmla="*/ 1 h 6"/>
                  <a:gd name="T2" fmla="*/ 6 w 5"/>
                  <a:gd name="T3" fmla="*/ 4 h 6"/>
                  <a:gd name="T4" fmla="*/ 2 w 5"/>
                  <a:gd name="T5" fmla="*/ 7 h 6"/>
                  <a:gd name="T6" fmla="*/ 0 w 5"/>
                  <a:gd name="T7" fmla="*/ 6 h 6"/>
                  <a:gd name="T8" fmla="*/ 2 w 5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2" y="1"/>
                    </a:moveTo>
                    <a:cubicBezTo>
                      <a:pt x="3" y="0"/>
                      <a:pt x="5" y="2"/>
                      <a:pt x="5" y="3"/>
                    </a:cubicBezTo>
                    <a:cubicBezTo>
                      <a:pt x="5" y="5"/>
                      <a:pt x="3" y="6"/>
                      <a:pt x="2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0" y="3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2" name="Freeform 3093"/>
              <p:cNvSpPr>
                <a:spLocks noChangeAspect="1"/>
              </p:cNvSpPr>
              <p:nvPr/>
            </p:nvSpPr>
            <p:spPr bwMode="auto">
              <a:xfrm>
                <a:off x="7234032" y="4344400"/>
                <a:ext cx="973175" cy="833180"/>
              </a:xfrm>
              <a:custGeom>
                <a:avLst/>
                <a:gdLst>
                  <a:gd name="T0" fmla="*/ 86 w 496"/>
                  <a:gd name="T1" fmla="*/ 169 h 427"/>
                  <a:gd name="T2" fmla="*/ 130 w 496"/>
                  <a:gd name="T3" fmla="*/ 155 h 427"/>
                  <a:gd name="T4" fmla="*/ 149 w 496"/>
                  <a:gd name="T5" fmla="*/ 125 h 427"/>
                  <a:gd name="T6" fmla="*/ 163 w 496"/>
                  <a:gd name="T7" fmla="*/ 99 h 427"/>
                  <a:gd name="T8" fmla="*/ 172 w 496"/>
                  <a:gd name="T9" fmla="*/ 103 h 427"/>
                  <a:gd name="T10" fmla="*/ 190 w 496"/>
                  <a:gd name="T11" fmla="*/ 96 h 427"/>
                  <a:gd name="T12" fmla="*/ 187 w 496"/>
                  <a:gd name="T13" fmla="*/ 80 h 427"/>
                  <a:gd name="T14" fmla="*/ 197 w 496"/>
                  <a:gd name="T15" fmla="*/ 67 h 427"/>
                  <a:gd name="T16" fmla="*/ 217 w 496"/>
                  <a:gd name="T17" fmla="*/ 56 h 427"/>
                  <a:gd name="T18" fmla="*/ 241 w 496"/>
                  <a:gd name="T19" fmla="*/ 72 h 427"/>
                  <a:gd name="T20" fmla="*/ 254 w 496"/>
                  <a:gd name="T21" fmla="*/ 77 h 427"/>
                  <a:gd name="T22" fmla="*/ 272 w 496"/>
                  <a:gd name="T23" fmla="*/ 84 h 427"/>
                  <a:gd name="T24" fmla="*/ 262 w 496"/>
                  <a:gd name="T25" fmla="*/ 64 h 427"/>
                  <a:gd name="T26" fmla="*/ 288 w 496"/>
                  <a:gd name="T27" fmla="*/ 32 h 427"/>
                  <a:gd name="T28" fmla="*/ 315 w 496"/>
                  <a:gd name="T29" fmla="*/ 24 h 427"/>
                  <a:gd name="T30" fmla="*/ 309 w 496"/>
                  <a:gd name="T31" fmla="*/ 11 h 427"/>
                  <a:gd name="T32" fmla="*/ 336 w 496"/>
                  <a:gd name="T33" fmla="*/ 23 h 427"/>
                  <a:gd name="T34" fmla="*/ 365 w 496"/>
                  <a:gd name="T35" fmla="*/ 30 h 427"/>
                  <a:gd name="T36" fmla="*/ 357 w 496"/>
                  <a:gd name="T37" fmla="*/ 49 h 427"/>
                  <a:gd name="T38" fmla="*/ 384 w 496"/>
                  <a:gd name="T39" fmla="*/ 96 h 427"/>
                  <a:gd name="T40" fmla="*/ 428 w 496"/>
                  <a:gd name="T41" fmla="*/ 121 h 427"/>
                  <a:gd name="T42" fmla="*/ 447 w 496"/>
                  <a:gd name="T43" fmla="*/ 38 h 427"/>
                  <a:gd name="T44" fmla="*/ 463 w 496"/>
                  <a:gd name="T45" fmla="*/ 1 h 427"/>
                  <a:gd name="T46" fmla="*/ 473 w 496"/>
                  <a:gd name="T47" fmla="*/ 30 h 427"/>
                  <a:gd name="T48" fmla="*/ 491 w 496"/>
                  <a:gd name="T49" fmla="*/ 59 h 427"/>
                  <a:gd name="T50" fmla="*/ 506 w 496"/>
                  <a:gd name="T51" fmla="*/ 109 h 427"/>
                  <a:gd name="T52" fmla="*/ 519 w 496"/>
                  <a:gd name="T53" fmla="*/ 153 h 427"/>
                  <a:gd name="T54" fmla="*/ 541 w 496"/>
                  <a:gd name="T55" fmla="*/ 167 h 427"/>
                  <a:gd name="T56" fmla="*/ 551 w 496"/>
                  <a:gd name="T57" fmla="*/ 204 h 427"/>
                  <a:gd name="T58" fmla="*/ 569 w 496"/>
                  <a:gd name="T59" fmla="*/ 207 h 427"/>
                  <a:gd name="T60" fmla="*/ 583 w 496"/>
                  <a:gd name="T61" fmla="*/ 241 h 427"/>
                  <a:gd name="T62" fmla="*/ 595 w 496"/>
                  <a:gd name="T63" fmla="*/ 278 h 427"/>
                  <a:gd name="T64" fmla="*/ 584 w 496"/>
                  <a:gd name="T65" fmla="*/ 347 h 427"/>
                  <a:gd name="T66" fmla="*/ 547 w 496"/>
                  <a:gd name="T67" fmla="*/ 410 h 427"/>
                  <a:gd name="T68" fmla="*/ 523 w 496"/>
                  <a:gd name="T69" fmla="*/ 446 h 427"/>
                  <a:gd name="T70" fmla="*/ 477 w 496"/>
                  <a:gd name="T71" fmla="*/ 494 h 427"/>
                  <a:gd name="T72" fmla="*/ 439 w 496"/>
                  <a:gd name="T73" fmla="*/ 502 h 427"/>
                  <a:gd name="T74" fmla="*/ 422 w 496"/>
                  <a:gd name="T75" fmla="*/ 505 h 427"/>
                  <a:gd name="T76" fmla="*/ 385 w 496"/>
                  <a:gd name="T77" fmla="*/ 501 h 427"/>
                  <a:gd name="T78" fmla="*/ 365 w 496"/>
                  <a:gd name="T79" fmla="*/ 470 h 427"/>
                  <a:gd name="T80" fmla="*/ 344 w 496"/>
                  <a:gd name="T81" fmla="*/ 451 h 427"/>
                  <a:gd name="T82" fmla="*/ 344 w 496"/>
                  <a:gd name="T83" fmla="*/ 424 h 427"/>
                  <a:gd name="T84" fmla="*/ 330 w 496"/>
                  <a:gd name="T85" fmla="*/ 435 h 427"/>
                  <a:gd name="T86" fmla="*/ 348 w 496"/>
                  <a:gd name="T87" fmla="*/ 396 h 427"/>
                  <a:gd name="T88" fmla="*/ 314 w 496"/>
                  <a:gd name="T89" fmla="*/ 433 h 427"/>
                  <a:gd name="T90" fmla="*/ 300 w 496"/>
                  <a:gd name="T91" fmla="*/ 406 h 427"/>
                  <a:gd name="T92" fmla="*/ 270 w 496"/>
                  <a:gd name="T93" fmla="*/ 383 h 427"/>
                  <a:gd name="T94" fmla="*/ 178 w 496"/>
                  <a:gd name="T95" fmla="*/ 386 h 427"/>
                  <a:gd name="T96" fmla="*/ 112 w 496"/>
                  <a:gd name="T97" fmla="*/ 416 h 427"/>
                  <a:gd name="T98" fmla="*/ 50 w 496"/>
                  <a:gd name="T99" fmla="*/ 439 h 427"/>
                  <a:gd name="T100" fmla="*/ 8 w 496"/>
                  <a:gd name="T101" fmla="*/ 411 h 427"/>
                  <a:gd name="T102" fmla="*/ 18 w 496"/>
                  <a:gd name="T103" fmla="*/ 365 h 427"/>
                  <a:gd name="T104" fmla="*/ 0 w 496"/>
                  <a:gd name="T105" fmla="*/ 278 h 427"/>
                  <a:gd name="T106" fmla="*/ 14 w 496"/>
                  <a:gd name="T107" fmla="*/ 280 h 427"/>
                  <a:gd name="T108" fmla="*/ 13 w 496"/>
                  <a:gd name="T109" fmla="*/ 216 h 427"/>
                  <a:gd name="T110" fmla="*/ 20 w 496"/>
                  <a:gd name="T111" fmla="*/ 205 h 427"/>
                  <a:gd name="T112" fmla="*/ 55 w 496"/>
                  <a:gd name="T113" fmla="*/ 178 h 42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6"/>
                  <a:gd name="T172" fmla="*/ 0 h 427"/>
                  <a:gd name="T173" fmla="*/ 496 w 496"/>
                  <a:gd name="T174" fmla="*/ 427 h 42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6" h="427">
                    <a:moveTo>
                      <a:pt x="50" y="145"/>
                    </a:moveTo>
                    <a:cubicBezTo>
                      <a:pt x="52" y="145"/>
                      <a:pt x="54" y="144"/>
                      <a:pt x="56" y="144"/>
                    </a:cubicBezTo>
                    <a:cubicBezTo>
                      <a:pt x="59" y="144"/>
                      <a:pt x="62" y="147"/>
                      <a:pt x="64" y="145"/>
                    </a:cubicBezTo>
                    <a:cubicBezTo>
                      <a:pt x="66" y="143"/>
                      <a:pt x="68" y="139"/>
                      <a:pt x="72" y="141"/>
                    </a:cubicBezTo>
                    <a:cubicBezTo>
                      <a:pt x="74" y="141"/>
                      <a:pt x="77" y="140"/>
                      <a:pt x="79" y="139"/>
                    </a:cubicBezTo>
                    <a:cubicBezTo>
                      <a:pt x="81" y="138"/>
                      <a:pt x="81" y="135"/>
                      <a:pt x="83" y="134"/>
                    </a:cubicBezTo>
                    <a:cubicBezTo>
                      <a:pt x="85" y="134"/>
                      <a:pt x="89" y="135"/>
                      <a:pt x="91" y="135"/>
                    </a:cubicBezTo>
                    <a:cubicBezTo>
                      <a:pt x="97" y="133"/>
                      <a:pt x="104" y="133"/>
                      <a:pt x="108" y="129"/>
                    </a:cubicBezTo>
                    <a:cubicBezTo>
                      <a:pt x="113" y="126"/>
                      <a:pt x="114" y="121"/>
                      <a:pt x="116" y="116"/>
                    </a:cubicBezTo>
                    <a:cubicBezTo>
                      <a:pt x="117" y="115"/>
                      <a:pt x="115" y="113"/>
                      <a:pt x="116" y="112"/>
                    </a:cubicBezTo>
                    <a:cubicBezTo>
                      <a:pt x="118" y="110"/>
                      <a:pt x="122" y="111"/>
                      <a:pt x="124" y="109"/>
                    </a:cubicBezTo>
                    <a:cubicBezTo>
                      <a:pt x="125" y="108"/>
                      <a:pt x="124" y="106"/>
                      <a:pt x="124" y="104"/>
                    </a:cubicBezTo>
                    <a:cubicBezTo>
                      <a:pt x="124" y="103"/>
                      <a:pt x="122" y="101"/>
                      <a:pt x="123" y="100"/>
                    </a:cubicBezTo>
                    <a:cubicBezTo>
                      <a:pt x="124" y="95"/>
                      <a:pt x="125" y="91"/>
                      <a:pt x="128" y="87"/>
                    </a:cubicBezTo>
                    <a:cubicBezTo>
                      <a:pt x="129" y="84"/>
                      <a:pt x="132" y="82"/>
                      <a:pt x="135" y="80"/>
                    </a:cubicBezTo>
                    <a:cubicBezTo>
                      <a:pt x="135" y="79"/>
                      <a:pt x="136" y="81"/>
                      <a:pt x="136" y="82"/>
                    </a:cubicBezTo>
                    <a:cubicBezTo>
                      <a:pt x="136" y="84"/>
                      <a:pt x="135" y="85"/>
                      <a:pt x="135" y="86"/>
                    </a:cubicBezTo>
                    <a:cubicBezTo>
                      <a:pt x="136" y="90"/>
                      <a:pt x="136" y="95"/>
                      <a:pt x="139" y="97"/>
                    </a:cubicBezTo>
                    <a:cubicBezTo>
                      <a:pt x="142" y="98"/>
                      <a:pt x="145" y="94"/>
                      <a:pt x="145" y="92"/>
                    </a:cubicBezTo>
                    <a:cubicBezTo>
                      <a:pt x="146" y="90"/>
                      <a:pt x="143" y="88"/>
                      <a:pt x="143" y="86"/>
                    </a:cubicBezTo>
                    <a:cubicBezTo>
                      <a:pt x="142" y="85"/>
                      <a:pt x="142" y="83"/>
                      <a:pt x="143" y="82"/>
                    </a:cubicBezTo>
                    <a:cubicBezTo>
                      <a:pt x="143" y="81"/>
                      <a:pt x="145" y="80"/>
                      <a:pt x="146" y="80"/>
                    </a:cubicBezTo>
                    <a:cubicBezTo>
                      <a:pt x="150" y="80"/>
                      <a:pt x="154" y="83"/>
                      <a:pt x="158" y="83"/>
                    </a:cubicBezTo>
                    <a:cubicBezTo>
                      <a:pt x="158" y="83"/>
                      <a:pt x="159" y="81"/>
                      <a:pt x="158" y="80"/>
                    </a:cubicBezTo>
                    <a:cubicBezTo>
                      <a:pt x="158" y="79"/>
                      <a:pt x="156" y="80"/>
                      <a:pt x="155" y="79"/>
                    </a:cubicBezTo>
                    <a:cubicBezTo>
                      <a:pt x="155" y="78"/>
                      <a:pt x="156" y="75"/>
                      <a:pt x="155" y="74"/>
                    </a:cubicBezTo>
                    <a:cubicBezTo>
                      <a:pt x="155" y="73"/>
                      <a:pt x="153" y="73"/>
                      <a:pt x="153" y="72"/>
                    </a:cubicBezTo>
                    <a:cubicBezTo>
                      <a:pt x="153" y="70"/>
                      <a:pt x="155" y="67"/>
                      <a:pt x="156" y="67"/>
                    </a:cubicBezTo>
                    <a:cubicBezTo>
                      <a:pt x="159" y="67"/>
                      <a:pt x="160" y="72"/>
                      <a:pt x="162" y="71"/>
                    </a:cubicBezTo>
                    <a:cubicBezTo>
                      <a:pt x="165" y="70"/>
                      <a:pt x="161" y="66"/>
                      <a:pt x="162" y="64"/>
                    </a:cubicBezTo>
                    <a:cubicBezTo>
                      <a:pt x="163" y="63"/>
                      <a:pt x="167" y="66"/>
                      <a:pt x="167" y="64"/>
                    </a:cubicBezTo>
                    <a:cubicBezTo>
                      <a:pt x="168" y="61"/>
                      <a:pt x="164" y="59"/>
                      <a:pt x="164" y="56"/>
                    </a:cubicBezTo>
                    <a:cubicBezTo>
                      <a:pt x="164" y="54"/>
                      <a:pt x="167" y="51"/>
                      <a:pt x="169" y="51"/>
                    </a:cubicBezTo>
                    <a:cubicBezTo>
                      <a:pt x="172" y="51"/>
                      <a:pt x="171" y="56"/>
                      <a:pt x="173" y="56"/>
                    </a:cubicBezTo>
                    <a:cubicBezTo>
                      <a:pt x="176" y="56"/>
                      <a:pt x="175" y="51"/>
                      <a:pt x="177" y="50"/>
                    </a:cubicBezTo>
                    <a:cubicBezTo>
                      <a:pt x="178" y="48"/>
                      <a:pt x="180" y="48"/>
                      <a:pt x="181" y="47"/>
                    </a:cubicBezTo>
                    <a:cubicBezTo>
                      <a:pt x="183" y="47"/>
                      <a:pt x="184" y="49"/>
                      <a:pt x="185" y="48"/>
                    </a:cubicBezTo>
                    <a:cubicBezTo>
                      <a:pt x="186" y="47"/>
                      <a:pt x="185" y="44"/>
                      <a:pt x="186" y="43"/>
                    </a:cubicBezTo>
                    <a:cubicBezTo>
                      <a:pt x="189" y="43"/>
                      <a:pt x="191" y="46"/>
                      <a:pt x="193" y="48"/>
                    </a:cubicBezTo>
                    <a:cubicBezTo>
                      <a:pt x="196" y="51"/>
                      <a:pt x="200" y="55"/>
                      <a:pt x="201" y="60"/>
                    </a:cubicBezTo>
                    <a:cubicBezTo>
                      <a:pt x="202" y="62"/>
                      <a:pt x="197" y="68"/>
                      <a:pt x="199" y="68"/>
                    </a:cubicBezTo>
                    <a:cubicBezTo>
                      <a:pt x="203" y="69"/>
                      <a:pt x="202" y="62"/>
                      <a:pt x="205" y="61"/>
                    </a:cubicBezTo>
                    <a:cubicBezTo>
                      <a:pt x="207" y="59"/>
                      <a:pt x="209" y="59"/>
                      <a:pt x="212" y="60"/>
                    </a:cubicBezTo>
                    <a:cubicBezTo>
                      <a:pt x="213" y="61"/>
                      <a:pt x="211" y="64"/>
                      <a:pt x="212" y="64"/>
                    </a:cubicBezTo>
                    <a:cubicBezTo>
                      <a:pt x="214" y="64"/>
                      <a:pt x="213" y="60"/>
                      <a:pt x="214" y="60"/>
                    </a:cubicBezTo>
                    <a:cubicBezTo>
                      <a:pt x="216" y="60"/>
                      <a:pt x="218" y="61"/>
                      <a:pt x="219" y="63"/>
                    </a:cubicBezTo>
                    <a:cubicBezTo>
                      <a:pt x="220" y="64"/>
                      <a:pt x="220" y="66"/>
                      <a:pt x="221" y="67"/>
                    </a:cubicBezTo>
                    <a:cubicBezTo>
                      <a:pt x="222" y="69"/>
                      <a:pt x="225" y="71"/>
                      <a:pt x="227" y="70"/>
                    </a:cubicBezTo>
                    <a:cubicBezTo>
                      <a:pt x="229" y="70"/>
                      <a:pt x="223" y="68"/>
                      <a:pt x="223" y="66"/>
                    </a:cubicBezTo>
                    <a:cubicBezTo>
                      <a:pt x="222" y="65"/>
                      <a:pt x="222" y="63"/>
                      <a:pt x="222" y="61"/>
                    </a:cubicBezTo>
                    <a:cubicBezTo>
                      <a:pt x="222" y="60"/>
                      <a:pt x="224" y="59"/>
                      <a:pt x="224" y="58"/>
                    </a:cubicBezTo>
                    <a:cubicBezTo>
                      <a:pt x="222" y="56"/>
                      <a:pt x="218" y="56"/>
                      <a:pt x="218" y="53"/>
                    </a:cubicBezTo>
                    <a:cubicBezTo>
                      <a:pt x="218" y="49"/>
                      <a:pt x="221" y="45"/>
                      <a:pt x="224" y="41"/>
                    </a:cubicBezTo>
                    <a:cubicBezTo>
                      <a:pt x="225" y="39"/>
                      <a:pt x="228" y="39"/>
                      <a:pt x="230" y="37"/>
                    </a:cubicBezTo>
                    <a:cubicBezTo>
                      <a:pt x="232" y="33"/>
                      <a:pt x="231" y="28"/>
                      <a:pt x="234" y="25"/>
                    </a:cubicBezTo>
                    <a:cubicBezTo>
                      <a:pt x="235" y="24"/>
                      <a:pt x="238" y="28"/>
                      <a:pt x="240" y="27"/>
                    </a:cubicBezTo>
                    <a:cubicBezTo>
                      <a:pt x="242" y="26"/>
                      <a:pt x="241" y="21"/>
                      <a:pt x="243" y="20"/>
                    </a:cubicBezTo>
                    <a:cubicBezTo>
                      <a:pt x="247" y="19"/>
                      <a:pt x="252" y="20"/>
                      <a:pt x="257" y="20"/>
                    </a:cubicBezTo>
                    <a:cubicBezTo>
                      <a:pt x="257" y="21"/>
                      <a:pt x="257" y="23"/>
                      <a:pt x="258" y="23"/>
                    </a:cubicBezTo>
                    <a:cubicBezTo>
                      <a:pt x="259" y="23"/>
                      <a:pt x="262" y="22"/>
                      <a:pt x="263" y="20"/>
                    </a:cubicBezTo>
                    <a:cubicBezTo>
                      <a:pt x="263" y="19"/>
                      <a:pt x="263" y="17"/>
                      <a:pt x="262" y="15"/>
                    </a:cubicBezTo>
                    <a:cubicBezTo>
                      <a:pt x="260" y="13"/>
                      <a:pt x="257" y="14"/>
                      <a:pt x="255" y="12"/>
                    </a:cubicBezTo>
                    <a:cubicBezTo>
                      <a:pt x="253" y="11"/>
                      <a:pt x="250" y="9"/>
                      <a:pt x="252" y="7"/>
                    </a:cubicBezTo>
                    <a:cubicBezTo>
                      <a:pt x="253" y="6"/>
                      <a:pt x="256" y="8"/>
                      <a:pt x="258" y="9"/>
                    </a:cubicBezTo>
                    <a:cubicBezTo>
                      <a:pt x="260" y="9"/>
                      <a:pt x="263" y="10"/>
                      <a:pt x="264" y="11"/>
                    </a:cubicBezTo>
                    <a:cubicBezTo>
                      <a:pt x="266" y="12"/>
                      <a:pt x="267" y="14"/>
                      <a:pt x="269" y="15"/>
                    </a:cubicBezTo>
                    <a:cubicBezTo>
                      <a:pt x="271" y="15"/>
                      <a:pt x="273" y="14"/>
                      <a:pt x="275" y="15"/>
                    </a:cubicBezTo>
                    <a:cubicBezTo>
                      <a:pt x="277" y="15"/>
                      <a:pt x="278" y="18"/>
                      <a:pt x="280" y="19"/>
                    </a:cubicBezTo>
                    <a:cubicBezTo>
                      <a:pt x="281" y="19"/>
                      <a:pt x="282" y="16"/>
                      <a:pt x="284" y="17"/>
                    </a:cubicBezTo>
                    <a:cubicBezTo>
                      <a:pt x="287" y="17"/>
                      <a:pt x="289" y="22"/>
                      <a:pt x="292" y="22"/>
                    </a:cubicBezTo>
                    <a:cubicBezTo>
                      <a:pt x="295" y="23"/>
                      <a:pt x="298" y="20"/>
                      <a:pt x="301" y="20"/>
                    </a:cubicBezTo>
                    <a:cubicBezTo>
                      <a:pt x="302" y="21"/>
                      <a:pt x="302" y="26"/>
                      <a:pt x="304" y="25"/>
                    </a:cubicBezTo>
                    <a:cubicBezTo>
                      <a:pt x="306" y="24"/>
                      <a:pt x="305" y="19"/>
                      <a:pt x="307" y="18"/>
                    </a:cubicBezTo>
                    <a:cubicBezTo>
                      <a:pt x="310" y="18"/>
                      <a:pt x="315" y="20"/>
                      <a:pt x="315" y="23"/>
                    </a:cubicBezTo>
                    <a:cubicBezTo>
                      <a:pt x="315" y="28"/>
                      <a:pt x="310" y="31"/>
                      <a:pt x="306" y="35"/>
                    </a:cubicBezTo>
                    <a:cubicBezTo>
                      <a:pt x="304" y="37"/>
                      <a:pt x="299" y="38"/>
                      <a:pt x="298" y="41"/>
                    </a:cubicBezTo>
                    <a:cubicBezTo>
                      <a:pt x="297" y="44"/>
                      <a:pt x="300" y="48"/>
                      <a:pt x="299" y="51"/>
                    </a:cubicBezTo>
                    <a:cubicBezTo>
                      <a:pt x="298" y="56"/>
                      <a:pt x="293" y="60"/>
                      <a:pt x="294" y="65"/>
                    </a:cubicBezTo>
                    <a:cubicBezTo>
                      <a:pt x="296" y="70"/>
                      <a:pt x="303" y="72"/>
                      <a:pt x="307" y="75"/>
                    </a:cubicBezTo>
                    <a:cubicBezTo>
                      <a:pt x="311" y="77"/>
                      <a:pt x="316" y="78"/>
                      <a:pt x="320" y="80"/>
                    </a:cubicBezTo>
                    <a:cubicBezTo>
                      <a:pt x="323" y="82"/>
                      <a:pt x="327" y="84"/>
                      <a:pt x="330" y="87"/>
                    </a:cubicBezTo>
                    <a:cubicBezTo>
                      <a:pt x="332" y="88"/>
                      <a:pt x="334" y="90"/>
                      <a:pt x="336" y="91"/>
                    </a:cubicBezTo>
                    <a:cubicBezTo>
                      <a:pt x="339" y="94"/>
                      <a:pt x="342" y="98"/>
                      <a:pt x="345" y="100"/>
                    </a:cubicBezTo>
                    <a:cubicBezTo>
                      <a:pt x="349" y="101"/>
                      <a:pt x="354" y="104"/>
                      <a:pt x="357" y="101"/>
                    </a:cubicBezTo>
                    <a:cubicBezTo>
                      <a:pt x="362" y="97"/>
                      <a:pt x="363" y="89"/>
                      <a:pt x="366" y="83"/>
                    </a:cubicBezTo>
                    <a:cubicBezTo>
                      <a:pt x="368" y="77"/>
                      <a:pt x="371" y="71"/>
                      <a:pt x="372" y="65"/>
                    </a:cubicBezTo>
                    <a:cubicBezTo>
                      <a:pt x="374" y="57"/>
                      <a:pt x="372" y="49"/>
                      <a:pt x="372" y="40"/>
                    </a:cubicBezTo>
                    <a:cubicBezTo>
                      <a:pt x="372" y="38"/>
                      <a:pt x="372" y="34"/>
                      <a:pt x="373" y="32"/>
                    </a:cubicBezTo>
                    <a:cubicBezTo>
                      <a:pt x="374" y="29"/>
                      <a:pt x="376" y="28"/>
                      <a:pt x="377" y="26"/>
                    </a:cubicBezTo>
                    <a:cubicBezTo>
                      <a:pt x="378" y="24"/>
                      <a:pt x="377" y="22"/>
                      <a:pt x="377" y="20"/>
                    </a:cubicBezTo>
                    <a:cubicBezTo>
                      <a:pt x="379" y="14"/>
                      <a:pt x="381" y="8"/>
                      <a:pt x="383" y="3"/>
                    </a:cubicBezTo>
                    <a:cubicBezTo>
                      <a:pt x="383" y="1"/>
                      <a:pt x="385" y="0"/>
                      <a:pt x="386" y="1"/>
                    </a:cubicBezTo>
                    <a:cubicBezTo>
                      <a:pt x="387" y="1"/>
                      <a:pt x="387" y="3"/>
                      <a:pt x="388" y="5"/>
                    </a:cubicBezTo>
                    <a:cubicBezTo>
                      <a:pt x="389" y="8"/>
                      <a:pt x="389" y="11"/>
                      <a:pt x="390" y="14"/>
                    </a:cubicBezTo>
                    <a:cubicBezTo>
                      <a:pt x="392" y="16"/>
                      <a:pt x="396" y="16"/>
                      <a:pt x="397" y="18"/>
                    </a:cubicBezTo>
                    <a:cubicBezTo>
                      <a:pt x="397" y="20"/>
                      <a:pt x="394" y="23"/>
                      <a:pt x="394" y="25"/>
                    </a:cubicBezTo>
                    <a:cubicBezTo>
                      <a:pt x="395" y="31"/>
                      <a:pt x="398" y="36"/>
                      <a:pt x="400" y="42"/>
                    </a:cubicBezTo>
                    <a:cubicBezTo>
                      <a:pt x="400" y="45"/>
                      <a:pt x="399" y="49"/>
                      <a:pt x="400" y="53"/>
                    </a:cubicBezTo>
                    <a:cubicBezTo>
                      <a:pt x="401" y="54"/>
                      <a:pt x="403" y="53"/>
                      <a:pt x="404" y="53"/>
                    </a:cubicBezTo>
                    <a:cubicBezTo>
                      <a:pt x="406" y="52"/>
                      <a:pt x="407" y="49"/>
                      <a:pt x="409" y="49"/>
                    </a:cubicBezTo>
                    <a:cubicBezTo>
                      <a:pt x="411" y="49"/>
                      <a:pt x="410" y="52"/>
                      <a:pt x="411" y="53"/>
                    </a:cubicBezTo>
                    <a:cubicBezTo>
                      <a:pt x="413" y="56"/>
                      <a:pt x="417" y="58"/>
                      <a:pt x="417" y="62"/>
                    </a:cubicBezTo>
                    <a:cubicBezTo>
                      <a:pt x="419" y="67"/>
                      <a:pt x="416" y="72"/>
                      <a:pt x="417" y="78"/>
                    </a:cubicBezTo>
                    <a:cubicBezTo>
                      <a:pt x="417" y="82"/>
                      <a:pt x="420" y="86"/>
                      <a:pt x="422" y="91"/>
                    </a:cubicBezTo>
                    <a:cubicBezTo>
                      <a:pt x="423" y="93"/>
                      <a:pt x="425" y="96"/>
                      <a:pt x="425" y="98"/>
                    </a:cubicBezTo>
                    <a:cubicBezTo>
                      <a:pt x="425" y="102"/>
                      <a:pt x="422" y="105"/>
                      <a:pt x="422" y="109"/>
                    </a:cubicBezTo>
                    <a:cubicBezTo>
                      <a:pt x="422" y="113"/>
                      <a:pt x="422" y="118"/>
                      <a:pt x="425" y="121"/>
                    </a:cubicBezTo>
                    <a:cubicBezTo>
                      <a:pt x="426" y="124"/>
                      <a:pt x="430" y="126"/>
                      <a:pt x="433" y="127"/>
                    </a:cubicBezTo>
                    <a:cubicBezTo>
                      <a:pt x="434" y="128"/>
                      <a:pt x="437" y="126"/>
                      <a:pt x="438" y="127"/>
                    </a:cubicBezTo>
                    <a:cubicBezTo>
                      <a:pt x="439" y="128"/>
                      <a:pt x="438" y="131"/>
                      <a:pt x="439" y="133"/>
                    </a:cubicBezTo>
                    <a:cubicBezTo>
                      <a:pt x="440" y="134"/>
                      <a:pt x="442" y="134"/>
                      <a:pt x="444" y="135"/>
                    </a:cubicBezTo>
                    <a:cubicBezTo>
                      <a:pt x="446" y="136"/>
                      <a:pt x="449" y="137"/>
                      <a:pt x="451" y="139"/>
                    </a:cubicBezTo>
                    <a:cubicBezTo>
                      <a:pt x="452" y="140"/>
                      <a:pt x="453" y="141"/>
                      <a:pt x="453" y="143"/>
                    </a:cubicBezTo>
                    <a:cubicBezTo>
                      <a:pt x="453" y="144"/>
                      <a:pt x="451" y="145"/>
                      <a:pt x="452" y="146"/>
                    </a:cubicBezTo>
                    <a:cubicBezTo>
                      <a:pt x="453" y="149"/>
                      <a:pt x="457" y="150"/>
                      <a:pt x="458" y="153"/>
                    </a:cubicBezTo>
                    <a:cubicBezTo>
                      <a:pt x="460" y="159"/>
                      <a:pt x="457" y="165"/>
                      <a:pt x="459" y="170"/>
                    </a:cubicBezTo>
                    <a:cubicBezTo>
                      <a:pt x="459" y="172"/>
                      <a:pt x="461" y="174"/>
                      <a:pt x="463" y="173"/>
                    </a:cubicBezTo>
                    <a:cubicBezTo>
                      <a:pt x="465" y="173"/>
                      <a:pt x="465" y="170"/>
                      <a:pt x="466" y="170"/>
                    </a:cubicBezTo>
                    <a:cubicBezTo>
                      <a:pt x="468" y="169"/>
                      <a:pt x="469" y="171"/>
                      <a:pt x="471" y="172"/>
                    </a:cubicBezTo>
                    <a:cubicBezTo>
                      <a:pt x="472" y="172"/>
                      <a:pt x="473" y="171"/>
                      <a:pt x="474" y="172"/>
                    </a:cubicBezTo>
                    <a:cubicBezTo>
                      <a:pt x="475" y="175"/>
                      <a:pt x="475" y="179"/>
                      <a:pt x="474" y="183"/>
                    </a:cubicBezTo>
                    <a:cubicBezTo>
                      <a:pt x="474" y="185"/>
                      <a:pt x="469" y="186"/>
                      <a:pt x="470" y="188"/>
                    </a:cubicBezTo>
                    <a:cubicBezTo>
                      <a:pt x="472" y="190"/>
                      <a:pt x="476" y="188"/>
                      <a:pt x="478" y="190"/>
                    </a:cubicBezTo>
                    <a:cubicBezTo>
                      <a:pt x="482" y="193"/>
                      <a:pt x="483" y="198"/>
                      <a:pt x="486" y="201"/>
                    </a:cubicBezTo>
                    <a:cubicBezTo>
                      <a:pt x="488" y="204"/>
                      <a:pt x="490" y="206"/>
                      <a:pt x="491" y="209"/>
                    </a:cubicBezTo>
                    <a:cubicBezTo>
                      <a:pt x="493" y="211"/>
                      <a:pt x="494" y="213"/>
                      <a:pt x="494" y="215"/>
                    </a:cubicBezTo>
                    <a:cubicBezTo>
                      <a:pt x="495" y="218"/>
                      <a:pt x="493" y="220"/>
                      <a:pt x="494" y="222"/>
                    </a:cubicBezTo>
                    <a:cubicBezTo>
                      <a:pt x="494" y="225"/>
                      <a:pt x="496" y="228"/>
                      <a:pt x="496" y="231"/>
                    </a:cubicBezTo>
                    <a:cubicBezTo>
                      <a:pt x="496" y="236"/>
                      <a:pt x="492" y="241"/>
                      <a:pt x="492" y="246"/>
                    </a:cubicBezTo>
                    <a:cubicBezTo>
                      <a:pt x="492" y="251"/>
                      <a:pt x="494" y="256"/>
                      <a:pt x="494" y="262"/>
                    </a:cubicBezTo>
                    <a:cubicBezTo>
                      <a:pt x="494" y="266"/>
                      <a:pt x="494" y="271"/>
                      <a:pt x="493" y="275"/>
                    </a:cubicBezTo>
                    <a:cubicBezTo>
                      <a:pt x="491" y="280"/>
                      <a:pt x="489" y="284"/>
                      <a:pt x="487" y="289"/>
                    </a:cubicBezTo>
                    <a:cubicBezTo>
                      <a:pt x="484" y="296"/>
                      <a:pt x="483" y="303"/>
                      <a:pt x="480" y="310"/>
                    </a:cubicBezTo>
                    <a:cubicBezTo>
                      <a:pt x="478" y="315"/>
                      <a:pt x="476" y="320"/>
                      <a:pt x="472" y="324"/>
                    </a:cubicBezTo>
                    <a:cubicBezTo>
                      <a:pt x="469" y="328"/>
                      <a:pt x="464" y="329"/>
                      <a:pt x="461" y="332"/>
                    </a:cubicBezTo>
                    <a:cubicBezTo>
                      <a:pt x="458" y="335"/>
                      <a:pt x="457" y="338"/>
                      <a:pt x="456" y="341"/>
                    </a:cubicBezTo>
                    <a:cubicBezTo>
                      <a:pt x="454" y="343"/>
                      <a:pt x="453" y="346"/>
                      <a:pt x="451" y="348"/>
                    </a:cubicBezTo>
                    <a:cubicBezTo>
                      <a:pt x="449" y="351"/>
                      <a:pt x="447" y="354"/>
                      <a:pt x="445" y="358"/>
                    </a:cubicBezTo>
                    <a:cubicBezTo>
                      <a:pt x="444" y="360"/>
                      <a:pt x="444" y="364"/>
                      <a:pt x="443" y="366"/>
                    </a:cubicBezTo>
                    <a:cubicBezTo>
                      <a:pt x="441" y="368"/>
                      <a:pt x="437" y="369"/>
                      <a:pt x="436" y="371"/>
                    </a:cubicBezTo>
                    <a:cubicBezTo>
                      <a:pt x="433" y="376"/>
                      <a:pt x="431" y="381"/>
                      <a:pt x="429" y="387"/>
                    </a:cubicBezTo>
                    <a:cubicBezTo>
                      <a:pt x="427" y="392"/>
                      <a:pt x="428" y="397"/>
                      <a:pt x="426" y="402"/>
                    </a:cubicBezTo>
                    <a:cubicBezTo>
                      <a:pt x="424" y="405"/>
                      <a:pt x="421" y="408"/>
                      <a:pt x="418" y="409"/>
                    </a:cubicBezTo>
                    <a:cubicBezTo>
                      <a:pt x="412" y="411"/>
                      <a:pt x="405" y="409"/>
                      <a:pt x="398" y="411"/>
                    </a:cubicBezTo>
                    <a:cubicBezTo>
                      <a:pt x="394" y="413"/>
                      <a:pt x="391" y="417"/>
                      <a:pt x="388" y="420"/>
                    </a:cubicBezTo>
                    <a:cubicBezTo>
                      <a:pt x="384" y="422"/>
                      <a:pt x="380" y="425"/>
                      <a:pt x="375" y="426"/>
                    </a:cubicBezTo>
                    <a:cubicBezTo>
                      <a:pt x="373" y="426"/>
                      <a:pt x="371" y="424"/>
                      <a:pt x="369" y="423"/>
                    </a:cubicBezTo>
                    <a:cubicBezTo>
                      <a:pt x="368" y="422"/>
                      <a:pt x="368" y="419"/>
                      <a:pt x="366" y="418"/>
                    </a:cubicBezTo>
                    <a:cubicBezTo>
                      <a:pt x="365" y="417"/>
                      <a:pt x="362" y="421"/>
                      <a:pt x="361" y="419"/>
                    </a:cubicBezTo>
                    <a:cubicBezTo>
                      <a:pt x="359" y="417"/>
                      <a:pt x="364" y="415"/>
                      <a:pt x="363" y="413"/>
                    </a:cubicBezTo>
                    <a:cubicBezTo>
                      <a:pt x="362" y="411"/>
                      <a:pt x="360" y="414"/>
                      <a:pt x="358" y="414"/>
                    </a:cubicBezTo>
                    <a:cubicBezTo>
                      <a:pt x="356" y="416"/>
                      <a:pt x="354" y="419"/>
                      <a:pt x="352" y="420"/>
                    </a:cubicBezTo>
                    <a:cubicBezTo>
                      <a:pt x="349" y="423"/>
                      <a:pt x="346" y="425"/>
                      <a:pt x="342" y="427"/>
                    </a:cubicBezTo>
                    <a:cubicBezTo>
                      <a:pt x="340" y="427"/>
                      <a:pt x="339" y="426"/>
                      <a:pt x="338" y="425"/>
                    </a:cubicBezTo>
                    <a:cubicBezTo>
                      <a:pt x="335" y="422"/>
                      <a:pt x="333" y="418"/>
                      <a:pt x="330" y="417"/>
                    </a:cubicBezTo>
                    <a:cubicBezTo>
                      <a:pt x="328" y="415"/>
                      <a:pt x="324" y="418"/>
                      <a:pt x="321" y="417"/>
                    </a:cubicBezTo>
                    <a:cubicBezTo>
                      <a:pt x="319" y="416"/>
                      <a:pt x="316" y="414"/>
                      <a:pt x="314" y="413"/>
                    </a:cubicBezTo>
                    <a:cubicBezTo>
                      <a:pt x="311" y="412"/>
                      <a:pt x="308" y="412"/>
                      <a:pt x="307" y="411"/>
                    </a:cubicBezTo>
                    <a:cubicBezTo>
                      <a:pt x="304" y="408"/>
                      <a:pt x="301" y="404"/>
                      <a:pt x="301" y="400"/>
                    </a:cubicBezTo>
                    <a:cubicBezTo>
                      <a:pt x="300" y="397"/>
                      <a:pt x="304" y="394"/>
                      <a:pt x="304" y="391"/>
                    </a:cubicBezTo>
                    <a:cubicBezTo>
                      <a:pt x="304" y="386"/>
                      <a:pt x="302" y="381"/>
                      <a:pt x="301" y="377"/>
                    </a:cubicBezTo>
                    <a:cubicBezTo>
                      <a:pt x="301" y="375"/>
                      <a:pt x="303" y="371"/>
                      <a:pt x="301" y="370"/>
                    </a:cubicBezTo>
                    <a:cubicBezTo>
                      <a:pt x="299" y="370"/>
                      <a:pt x="297" y="374"/>
                      <a:pt x="294" y="375"/>
                    </a:cubicBezTo>
                    <a:cubicBezTo>
                      <a:pt x="292" y="375"/>
                      <a:pt x="289" y="376"/>
                      <a:pt x="287" y="375"/>
                    </a:cubicBezTo>
                    <a:cubicBezTo>
                      <a:pt x="285" y="374"/>
                      <a:pt x="286" y="372"/>
                      <a:pt x="287" y="371"/>
                    </a:cubicBezTo>
                    <a:cubicBezTo>
                      <a:pt x="288" y="368"/>
                      <a:pt x="293" y="366"/>
                      <a:pt x="293" y="362"/>
                    </a:cubicBezTo>
                    <a:cubicBezTo>
                      <a:pt x="294" y="358"/>
                      <a:pt x="291" y="355"/>
                      <a:pt x="289" y="352"/>
                    </a:cubicBezTo>
                    <a:cubicBezTo>
                      <a:pt x="288" y="351"/>
                      <a:pt x="287" y="352"/>
                      <a:pt x="287" y="353"/>
                    </a:cubicBezTo>
                    <a:cubicBezTo>
                      <a:pt x="285" y="357"/>
                      <a:pt x="285" y="362"/>
                      <a:pt x="283" y="366"/>
                    </a:cubicBezTo>
                    <a:cubicBezTo>
                      <a:pt x="282" y="367"/>
                      <a:pt x="280" y="368"/>
                      <a:pt x="278" y="368"/>
                    </a:cubicBezTo>
                    <a:cubicBezTo>
                      <a:pt x="275" y="369"/>
                      <a:pt x="271" y="371"/>
                      <a:pt x="270" y="368"/>
                    </a:cubicBezTo>
                    <a:cubicBezTo>
                      <a:pt x="269" y="366"/>
                      <a:pt x="273" y="363"/>
                      <a:pt x="275" y="362"/>
                    </a:cubicBezTo>
                    <a:cubicBezTo>
                      <a:pt x="277" y="361"/>
                      <a:pt x="279" y="364"/>
                      <a:pt x="280" y="362"/>
                    </a:cubicBezTo>
                    <a:cubicBezTo>
                      <a:pt x="283" y="357"/>
                      <a:pt x="284" y="350"/>
                      <a:pt x="286" y="344"/>
                    </a:cubicBezTo>
                    <a:cubicBezTo>
                      <a:pt x="288" y="340"/>
                      <a:pt x="289" y="337"/>
                      <a:pt x="290" y="334"/>
                    </a:cubicBezTo>
                    <a:cubicBezTo>
                      <a:pt x="291" y="332"/>
                      <a:pt x="292" y="329"/>
                      <a:pt x="290" y="330"/>
                    </a:cubicBezTo>
                    <a:cubicBezTo>
                      <a:pt x="287" y="332"/>
                      <a:pt x="285" y="336"/>
                      <a:pt x="282" y="339"/>
                    </a:cubicBezTo>
                    <a:cubicBezTo>
                      <a:pt x="279" y="342"/>
                      <a:pt x="275" y="344"/>
                      <a:pt x="272" y="347"/>
                    </a:cubicBezTo>
                    <a:cubicBezTo>
                      <a:pt x="268" y="350"/>
                      <a:pt x="264" y="353"/>
                      <a:pt x="260" y="357"/>
                    </a:cubicBezTo>
                    <a:cubicBezTo>
                      <a:pt x="260" y="358"/>
                      <a:pt x="262" y="359"/>
                      <a:pt x="262" y="360"/>
                    </a:cubicBezTo>
                    <a:cubicBezTo>
                      <a:pt x="262" y="362"/>
                      <a:pt x="263" y="365"/>
                      <a:pt x="261" y="365"/>
                    </a:cubicBezTo>
                    <a:cubicBezTo>
                      <a:pt x="258" y="364"/>
                      <a:pt x="255" y="362"/>
                      <a:pt x="253" y="359"/>
                    </a:cubicBezTo>
                    <a:cubicBezTo>
                      <a:pt x="253" y="357"/>
                      <a:pt x="255" y="355"/>
                      <a:pt x="255" y="354"/>
                    </a:cubicBezTo>
                    <a:cubicBezTo>
                      <a:pt x="254" y="348"/>
                      <a:pt x="253" y="343"/>
                      <a:pt x="250" y="338"/>
                    </a:cubicBezTo>
                    <a:cubicBezTo>
                      <a:pt x="249" y="336"/>
                      <a:pt x="245" y="336"/>
                      <a:pt x="244" y="334"/>
                    </a:cubicBezTo>
                    <a:cubicBezTo>
                      <a:pt x="243" y="332"/>
                      <a:pt x="247" y="329"/>
                      <a:pt x="246" y="327"/>
                    </a:cubicBezTo>
                    <a:cubicBezTo>
                      <a:pt x="243" y="323"/>
                      <a:pt x="238" y="322"/>
                      <a:pt x="234" y="320"/>
                    </a:cubicBezTo>
                    <a:cubicBezTo>
                      <a:pt x="231" y="319"/>
                      <a:pt x="228" y="321"/>
                      <a:pt x="225" y="319"/>
                    </a:cubicBezTo>
                    <a:cubicBezTo>
                      <a:pt x="221" y="318"/>
                      <a:pt x="219" y="312"/>
                      <a:pt x="214" y="311"/>
                    </a:cubicBezTo>
                    <a:cubicBezTo>
                      <a:pt x="204" y="310"/>
                      <a:pt x="193" y="311"/>
                      <a:pt x="183" y="314"/>
                    </a:cubicBezTo>
                    <a:cubicBezTo>
                      <a:pt x="177" y="315"/>
                      <a:pt x="172" y="321"/>
                      <a:pt x="166" y="323"/>
                    </a:cubicBezTo>
                    <a:cubicBezTo>
                      <a:pt x="160" y="324"/>
                      <a:pt x="154" y="320"/>
                      <a:pt x="148" y="321"/>
                    </a:cubicBezTo>
                    <a:cubicBezTo>
                      <a:pt x="141" y="323"/>
                      <a:pt x="135" y="327"/>
                      <a:pt x="128" y="330"/>
                    </a:cubicBezTo>
                    <a:cubicBezTo>
                      <a:pt x="125" y="332"/>
                      <a:pt x="121" y="333"/>
                      <a:pt x="119" y="336"/>
                    </a:cubicBezTo>
                    <a:cubicBezTo>
                      <a:pt x="116" y="338"/>
                      <a:pt x="115" y="344"/>
                      <a:pt x="111" y="346"/>
                    </a:cubicBezTo>
                    <a:cubicBezTo>
                      <a:pt x="106" y="348"/>
                      <a:pt x="99" y="346"/>
                      <a:pt x="93" y="346"/>
                    </a:cubicBezTo>
                    <a:cubicBezTo>
                      <a:pt x="85" y="347"/>
                      <a:pt x="76" y="345"/>
                      <a:pt x="67" y="348"/>
                    </a:cubicBezTo>
                    <a:cubicBezTo>
                      <a:pt x="63" y="349"/>
                      <a:pt x="62" y="354"/>
                      <a:pt x="58" y="356"/>
                    </a:cubicBezTo>
                    <a:cubicBezTo>
                      <a:pt x="56" y="357"/>
                      <a:pt x="54" y="356"/>
                      <a:pt x="52" y="357"/>
                    </a:cubicBezTo>
                    <a:cubicBezTo>
                      <a:pt x="48" y="359"/>
                      <a:pt x="46" y="364"/>
                      <a:pt x="42" y="365"/>
                    </a:cubicBezTo>
                    <a:cubicBezTo>
                      <a:pt x="37" y="367"/>
                      <a:pt x="32" y="365"/>
                      <a:pt x="27" y="366"/>
                    </a:cubicBezTo>
                    <a:cubicBezTo>
                      <a:pt x="22" y="365"/>
                      <a:pt x="19" y="361"/>
                      <a:pt x="15" y="358"/>
                    </a:cubicBezTo>
                    <a:cubicBezTo>
                      <a:pt x="12" y="355"/>
                      <a:pt x="8" y="353"/>
                      <a:pt x="7" y="349"/>
                    </a:cubicBezTo>
                    <a:cubicBezTo>
                      <a:pt x="5" y="347"/>
                      <a:pt x="6" y="344"/>
                      <a:pt x="7" y="342"/>
                    </a:cubicBezTo>
                    <a:cubicBezTo>
                      <a:pt x="9" y="340"/>
                      <a:pt x="13" y="344"/>
                      <a:pt x="14" y="342"/>
                    </a:cubicBezTo>
                    <a:cubicBezTo>
                      <a:pt x="17" y="338"/>
                      <a:pt x="17" y="333"/>
                      <a:pt x="18" y="328"/>
                    </a:cubicBezTo>
                    <a:cubicBezTo>
                      <a:pt x="19" y="324"/>
                      <a:pt x="20" y="320"/>
                      <a:pt x="19" y="316"/>
                    </a:cubicBezTo>
                    <a:cubicBezTo>
                      <a:pt x="19" y="312"/>
                      <a:pt x="16" y="308"/>
                      <a:pt x="15" y="304"/>
                    </a:cubicBezTo>
                    <a:cubicBezTo>
                      <a:pt x="14" y="296"/>
                      <a:pt x="17" y="288"/>
                      <a:pt x="16" y="280"/>
                    </a:cubicBezTo>
                    <a:cubicBezTo>
                      <a:pt x="15" y="272"/>
                      <a:pt x="11" y="265"/>
                      <a:pt x="10" y="257"/>
                    </a:cubicBezTo>
                    <a:cubicBezTo>
                      <a:pt x="9" y="254"/>
                      <a:pt x="10" y="250"/>
                      <a:pt x="9" y="247"/>
                    </a:cubicBezTo>
                    <a:cubicBezTo>
                      <a:pt x="7" y="241"/>
                      <a:pt x="2" y="237"/>
                      <a:pt x="0" y="231"/>
                    </a:cubicBezTo>
                    <a:cubicBezTo>
                      <a:pt x="0" y="229"/>
                      <a:pt x="2" y="227"/>
                      <a:pt x="3" y="228"/>
                    </a:cubicBezTo>
                    <a:cubicBezTo>
                      <a:pt x="5" y="228"/>
                      <a:pt x="4" y="233"/>
                      <a:pt x="6" y="234"/>
                    </a:cubicBezTo>
                    <a:cubicBezTo>
                      <a:pt x="7" y="233"/>
                      <a:pt x="6" y="228"/>
                      <a:pt x="8" y="228"/>
                    </a:cubicBezTo>
                    <a:cubicBezTo>
                      <a:pt x="10" y="229"/>
                      <a:pt x="10" y="234"/>
                      <a:pt x="12" y="233"/>
                    </a:cubicBezTo>
                    <a:cubicBezTo>
                      <a:pt x="14" y="230"/>
                      <a:pt x="14" y="226"/>
                      <a:pt x="13" y="222"/>
                    </a:cubicBezTo>
                    <a:cubicBezTo>
                      <a:pt x="12" y="216"/>
                      <a:pt x="6" y="212"/>
                      <a:pt x="5" y="206"/>
                    </a:cubicBezTo>
                    <a:cubicBezTo>
                      <a:pt x="4" y="202"/>
                      <a:pt x="6" y="197"/>
                      <a:pt x="7" y="193"/>
                    </a:cubicBezTo>
                    <a:cubicBezTo>
                      <a:pt x="7" y="189"/>
                      <a:pt x="10" y="185"/>
                      <a:pt x="11" y="180"/>
                    </a:cubicBezTo>
                    <a:cubicBezTo>
                      <a:pt x="11" y="177"/>
                      <a:pt x="11" y="173"/>
                      <a:pt x="11" y="169"/>
                    </a:cubicBezTo>
                    <a:cubicBezTo>
                      <a:pt x="12" y="166"/>
                      <a:pt x="13" y="164"/>
                      <a:pt x="15" y="162"/>
                    </a:cubicBezTo>
                    <a:cubicBezTo>
                      <a:pt x="16" y="161"/>
                      <a:pt x="18" y="162"/>
                      <a:pt x="18" y="162"/>
                    </a:cubicBezTo>
                    <a:cubicBezTo>
                      <a:pt x="18" y="165"/>
                      <a:pt x="15" y="169"/>
                      <a:pt x="17" y="171"/>
                    </a:cubicBezTo>
                    <a:cubicBezTo>
                      <a:pt x="17" y="172"/>
                      <a:pt x="19" y="168"/>
                      <a:pt x="20" y="167"/>
                    </a:cubicBezTo>
                    <a:cubicBezTo>
                      <a:pt x="22" y="165"/>
                      <a:pt x="24" y="163"/>
                      <a:pt x="26" y="162"/>
                    </a:cubicBezTo>
                    <a:cubicBezTo>
                      <a:pt x="30" y="159"/>
                      <a:pt x="34" y="157"/>
                      <a:pt x="37" y="155"/>
                    </a:cubicBezTo>
                    <a:cubicBezTo>
                      <a:pt x="40" y="153"/>
                      <a:pt x="43" y="150"/>
                      <a:pt x="46" y="148"/>
                    </a:cubicBezTo>
                    <a:cubicBezTo>
                      <a:pt x="47" y="147"/>
                      <a:pt x="48" y="146"/>
                      <a:pt x="50" y="14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3" name="Freeform 3094"/>
              <p:cNvSpPr>
                <a:spLocks noChangeAspect="1"/>
              </p:cNvSpPr>
              <p:nvPr/>
            </p:nvSpPr>
            <p:spPr bwMode="auto">
              <a:xfrm>
                <a:off x="7691997" y="4359017"/>
                <a:ext cx="27806" cy="14618"/>
              </a:xfrm>
              <a:custGeom>
                <a:avLst/>
                <a:gdLst>
                  <a:gd name="T0" fmla="*/ 1 w 14"/>
                  <a:gd name="T1" fmla="*/ 0 h 8"/>
                  <a:gd name="T2" fmla="*/ 5 w 14"/>
                  <a:gd name="T3" fmla="*/ 5 h 8"/>
                  <a:gd name="T4" fmla="*/ 13 w 14"/>
                  <a:gd name="T5" fmla="*/ 1 h 8"/>
                  <a:gd name="T6" fmla="*/ 16 w 14"/>
                  <a:gd name="T7" fmla="*/ 5 h 8"/>
                  <a:gd name="T8" fmla="*/ 7 w 14"/>
                  <a:gd name="T9" fmla="*/ 9 h 8"/>
                  <a:gd name="T10" fmla="*/ 1 w 14"/>
                  <a:gd name="T11" fmla="*/ 7 h 8"/>
                  <a:gd name="T12" fmla="*/ 0 w 14"/>
                  <a:gd name="T13" fmla="*/ 1 h 8"/>
                  <a:gd name="T14" fmla="*/ 1 w 14"/>
                  <a:gd name="T15" fmla="*/ 0 h 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8"/>
                  <a:gd name="T26" fmla="*/ 14 w 14"/>
                  <a:gd name="T27" fmla="*/ 8 h 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8">
                    <a:moveTo>
                      <a:pt x="1" y="0"/>
                    </a:moveTo>
                    <a:cubicBezTo>
                      <a:pt x="2" y="1"/>
                      <a:pt x="2" y="4"/>
                      <a:pt x="4" y="4"/>
                    </a:cubicBezTo>
                    <a:cubicBezTo>
                      <a:pt x="6" y="4"/>
                      <a:pt x="8" y="1"/>
                      <a:pt x="11" y="1"/>
                    </a:cubicBezTo>
                    <a:cubicBezTo>
                      <a:pt x="12" y="1"/>
                      <a:pt x="14" y="3"/>
                      <a:pt x="13" y="4"/>
                    </a:cubicBezTo>
                    <a:cubicBezTo>
                      <a:pt x="11" y="6"/>
                      <a:pt x="9" y="8"/>
                      <a:pt x="6" y="8"/>
                    </a:cubicBezTo>
                    <a:cubicBezTo>
                      <a:pt x="4" y="8"/>
                      <a:pt x="2" y="7"/>
                      <a:pt x="1" y="6"/>
                    </a:cubicBezTo>
                    <a:cubicBezTo>
                      <a:pt x="0" y="4"/>
                      <a:pt x="0" y="3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4" name="Freeform 3095"/>
              <p:cNvSpPr>
                <a:spLocks noChangeAspect="1"/>
              </p:cNvSpPr>
              <p:nvPr/>
            </p:nvSpPr>
            <p:spPr bwMode="auto">
              <a:xfrm>
                <a:off x="7682183" y="4362265"/>
                <a:ext cx="9814" cy="11369"/>
              </a:xfrm>
              <a:custGeom>
                <a:avLst/>
                <a:gdLst>
                  <a:gd name="T0" fmla="*/ 4 w 5"/>
                  <a:gd name="T1" fmla="*/ 0 h 6"/>
                  <a:gd name="T2" fmla="*/ 0 w 5"/>
                  <a:gd name="T3" fmla="*/ 6 h 6"/>
                  <a:gd name="T4" fmla="*/ 6 w 5"/>
                  <a:gd name="T5" fmla="*/ 6 h 6"/>
                  <a:gd name="T6" fmla="*/ 4 w 5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6"/>
                  <a:gd name="T14" fmla="*/ 5 w 5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6">
                    <a:moveTo>
                      <a:pt x="3" y="0"/>
                    </a:moveTo>
                    <a:cubicBezTo>
                      <a:pt x="3" y="0"/>
                      <a:pt x="2" y="4"/>
                      <a:pt x="0" y="5"/>
                    </a:cubicBezTo>
                    <a:cubicBezTo>
                      <a:pt x="1" y="6"/>
                      <a:pt x="5" y="6"/>
                      <a:pt x="5" y="5"/>
                    </a:cubicBezTo>
                    <a:cubicBezTo>
                      <a:pt x="5" y="4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5" name="Freeform 3096"/>
              <p:cNvSpPr>
                <a:spLocks noChangeAspect="1"/>
              </p:cNvSpPr>
              <p:nvPr/>
            </p:nvSpPr>
            <p:spPr bwMode="auto">
              <a:xfrm>
                <a:off x="7827750" y="4430479"/>
                <a:ext cx="19627" cy="16241"/>
              </a:xfrm>
              <a:custGeom>
                <a:avLst/>
                <a:gdLst>
                  <a:gd name="T0" fmla="*/ 2 w 10"/>
                  <a:gd name="T1" fmla="*/ 1 h 8"/>
                  <a:gd name="T2" fmla="*/ 2 w 10"/>
                  <a:gd name="T3" fmla="*/ 7 h 8"/>
                  <a:gd name="T4" fmla="*/ 11 w 10"/>
                  <a:gd name="T5" fmla="*/ 9 h 8"/>
                  <a:gd name="T6" fmla="*/ 10 w 10"/>
                  <a:gd name="T7" fmla="*/ 5 h 8"/>
                  <a:gd name="T8" fmla="*/ 11 w 10"/>
                  <a:gd name="T9" fmla="*/ 1 h 8"/>
                  <a:gd name="T10" fmla="*/ 7 w 10"/>
                  <a:gd name="T11" fmla="*/ 3 h 8"/>
                  <a:gd name="T12" fmla="*/ 5 w 10"/>
                  <a:gd name="T13" fmla="*/ 0 h 8"/>
                  <a:gd name="T14" fmla="*/ 5 w 10"/>
                  <a:gd name="T15" fmla="*/ 3 h 8"/>
                  <a:gd name="T16" fmla="*/ 2 w 10"/>
                  <a:gd name="T17" fmla="*/ 1 h 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8"/>
                  <a:gd name="T29" fmla="*/ 10 w 10"/>
                  <a:gd name="T30" fmla="*/ 8 h 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8">
                    <a:moveTo>
                      <a:pt x="2" y="1"/>
                    </a:moveTo>
                    <a:cubicBezTo>
                      <a:pt x="1" y="2"/>
                      <a:pt x="0" y="5"/>
                      <a:pt x="2" y="6"/>
                    </a:cubicBezTo>
                    <a:cubicBezTo>
                      <a:pt x="3" y="8"/>
                      <a:pt x="6" y="8"/>
                      <a:pt x="9" y="7"/>
                    </a:cubicBezTo>
                    <a:cubicBezTo>
                      <a:pt x="10" y="7"/>
                      <a:pt x="8" y="5"/>
                      <a:pt x="8" y="4"/>
                    </a:cubicBezTo>
                    <a:cubicBezTo>
                      <a:pt x="8" y="3"/>
                      <a:pt x="10" y="2"/>
                      <a:pt x="9" y="1"/>
                    </a:cubicBezTo>
                    <a:cubicBezTo>
                      <a:pt x="8" y="0"/>
                      <a:pt x="7" y="2"/>
                      <a:pt x="6" y="2"/>
                    </a:cubicBezTo>
                    <a:cubicBezTo>
                      <a:pt x="5" y="2"/>
                      <a:pt x="5" y="0"/>
                      <a:pt x="4" y="0"/>
                    </a:cubicBezTo>
                    <a:cubicBezTo>
                      <a:pt x="4" y="0"/>
                      <a:pt x="4" y="2"/>
                      <a:pt x="4" y="2"/>
                    </a:cubicBezTo>
                    <a:cubicBezTo>
                      <a:pt x="3" y="2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6" name="Freeform 3097"/>
              <p:cNvSpPr>
                <a:spLocks noChangeAspect="1"/>
              </p:cNvSpPr>
              <p:nvPr/>
            </p:nvSpPr>
            <p:spPr bwMode="auto">
              <a:xfrm>
                <a:off x="7844106" y="4477579"/>
                <a:ext cx="8178" cy="11369"/>
              </a:xfrm>
              <a:custGeom>
                <a:avLst/>
                <a:gdLst>
                  <a:gd name="T0" fmla="*/ 4 w 4"/>
                  <a:gd name="T1" fmla="*/ 1 h 6"/>
                  <a:gd name="T2" fmla="*/ 4 w 4"/>
                  <a:gd name="T3" fmla="*/ 7 h 6"/>
                  <a:gd name="T4" fmla="*/ 0 w 4"/>
                  <a:gd name="T5" fmla="*/ 6 h 6"/>
                  <a:gd name="T6" fmla="*/ 0 w 4"/>
                  <a:gd name="T7" fmla="*/ 2 h 6"/>
                  <a:gd name="T8" fmla="*/ 4 w 4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3" y="1"/>
                    </a:moveTo>
                    <a:cubicBezTo>
                      <a:pt x="3" y="2"/>
                      <a:pt x="4" y="4"/>
                      <a:pt x="3" y="6"/>
                    </a:cubicBezTo>
                    <a:cubicBezTo>
                      <a:pt x="3" y="6"/>
                      <a:pt x="1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7" name="Freeform 3098"/>
              <p:cNvSpPr>
                <a:spLocks noChangeAspect="1"/>
              </p:cNvSpPr>
              <p:nvPr/>
            </p:nvSpPr>
            <p:spPr bwMode="auto">
              <a:xfrm>
                <a:off x="8207206" y="4752057"/>
                <a:ext cx="11450" cy="22738"/>
              </a:xfrm>
              <a:custGeom>
                <a:avLst/>
                <a:gdLst>
                  <a:gd name="T0" fmla="*/ 6 w 6"/>
                  <a:gd name="T1" fmla="*/ 0 h 12"/>
                  <a:gd name="T2" fmla="*/ 7 w 6"/>
                  <a:gd name="T3" fmla="*/ 2 h 12"/>
                  <a:gd name="T4" fmla="*/ 2 w 6"/>
                  <a:gd name="T5" fmla="*/ 14 h 12"/>
                  <a:gd name="T6" fmla="*/ 0 w 6"/>
                  <a:gd name="T7" fmla="*/ 12 h 12"/>
                  <a:gd name="T8" fmla="*/ 1 w 6"/>
                  <a:gd name="T9" fmla="*/ 5 h 12"/>
                  <a:gd name="T10" fmla="*/ 6 w 6"/>
                  <a:gd name="T11" fmla="*/ 0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2"/>
                  <a:gd name="T20" fmla="*/ 6 w 6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2">
                    <a:moveTo>
                      <a:pt x="5" y="0"/>
                    </a:moveTo>
                    <a:cubicBezTo>
                      <a:pt x="5" y="0"/>
                      <a:pt x="6" y="1"/>
                      <a:pt x="6" y="2"/>
                    </a:cubicBezTo>
                    <a:cubicBezTo>
                      <a:pt x="5" y="5"/>
                      <a:pt x="4" y="9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8"/>
                      <a:pt x="0" y="6"/>
                      <a:pt x="1" y="4"/>
                    </a:cubicBezTo>
                    <a:cubicBezTo>
                      <a:pt x="2" y="2"/>
                      <a:pt x="3" y="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8" name="Freeform 3099"/>
              <p:cNvSpPr>
                <a:spLocks noChangeAspect="1"/>
              </p:cNvSpPr>
              <p:nvPr/>
            </p:nvSpPr>
            <p:spPr bwMode="auto">
              <a:xfrm>
                <a:off x="8001122" y="5201942"/>
                <a:ext cx="9814" cy="19490"/>
              </a:xfrm>
              <a:custGeom>
                <a:avLst/>
                <a:gdLst>
                  <a:gd name="T0" fmla="*/ 0 w 5"/>
                  <a:gd name="T1" fmla="*/ 2 h 10"/>
                  <a:gd name="T2" fmla="*/ 4 w 5"/>
                  <a:gd name="T3" fmla="*/ 1 h 10"/>
                  <a:gd name="T4" fmla="*/ 6 w 5"/>
                  <a:gd name="T5" fmla="*/ 7 h 10"/>
                  <a:gd name="T6" fmla="*/ 5 w 5"/>
                  <a:gd name="T7" fmla="*/ 12 h 10"/>
                  <a:gd name="T8" fmla="*/ 1 w 5"/>
                  <a:gd name="T9" fmla="*/ 8 h 10"/>
                  <a:gd name="T10" fmla="*/ 0 w 5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0"/>
                  <a:gd name="T20" fmla="*/ 5 w 5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0">
                    <a:moveTo>
                      <a:pt x="0" y="2"/>
                    </a:moveTo>
                    <a:cubicBezTo>
                      <a:pt x="0" y="1"/>
                      <a:pt x="2" y="0"/>
                      <a:pt x="3" y="1"/>
                    </a:cubicBezTo>
                    <a:cubicBezTo>
                      <a:pt x="4" y="2"/>
                      <a:pt x="5" y="4"/>
                      <a:pt x="5" y="6"/>
                    </a:cubicBezTo>
                    <a:cubicBezTo>
                      <a:pt x="5" y="7"/>
                      <a:pt x="5" y="10"/>
                      <a:pt x="4" y="10"/>
                    </a:cubicBezTo>
                    <a:cubicBezTo>
                      <a:pt x="2" y="10"/>
                      <a:pt x="2" y="8"/>
                      <a:pt x="1" y="7"/>
                    </a:cubicBezTo>
                    <a:cubicBezTo>
                      <a:pt x="0" y="5"/>
                      <a:pt x="0" y="4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89" name="Freeform 3100"/>
              <p:cNvSpPr>
                <a:spLocks noChangeAspect="1"/>
              </p:cNvSpPr>
              <p:nvPr/>
            </p:nvSpPr>
            <p:spPr bwMode="auto">
              <a:xfrm>
                <a:off x="7917708" y="5231176"/>
                <a:ext cx="83416" cy="97448"/>
              </a:xfrm>
              <a:custGeom>
                <a:avLst/>
                <a:gdLst>
                  <a:gd name="T0" fmla="*/ 19 w 42"/>
                  <a:gd name="T1" fmla="*/ 10 h 50"/>
                  <a:gd name="T2" fmla="*/ 29 w 42"/>
                  <a:gd name="T3" fmla="*/ 10 h 50"/>
                  <a:gd name="T4" fmla="*/ 40 w 42"/>
                  <a:gd name="T5" fmla="*/ 7 h 50"/>
                  <a:gd name="T6" fmla="*/ 49 w 42"/>
                  <a:gd name="T7" fmla="*/ 5 h 50"/>
                  <a:gd name="T8" fmla="*/ 51 w 42"/>
                  <a:gd name="T9" fmla="*/ 10 h 50"/>
                  <a:gd name="T10" fmla="*/ 47 w 42"/>
                  <a:gd name="T11" fmla="*/ 28 h 50"/>
                  <a:gd name="T12" fmla="*/ 44 w 42"/>
                  <a:gd name="T13" fmla="*/ 32 h 50"/>
                  <a:gd name="T14" fmla="*/ 39 w 42"/>
                  <a:gd name="T15" fmla="*/ 43 h 50"/>
                  <a:gd name="T16" fmla="*/ 38 w 42"/>
                  <a:gd name="T17" fmla="*/ 52 h 50"/>
                  <a:gd name="T18" fmla="*/ 35 w 42"/>
                  <a:gd name="T19" fmla="*/ 52 h 50"/>
                  <a:gd name="T20" fmla="*/ 34 w 42"/>
                  <a:gd name="T21" fmla="*/ 46 h 50"/>
                  <a:gd name="T22" fmla="*/ 30 w 42"/>
                  <a:gd name="T23" fmla="*/ 48 h 50"/>
                  <a:gd name="T24" fmla="*/ 28 w 42"/>
                  <a:gd name="T25" fmla="*/ 50 h 50"/>
                  <a:gd name="T26" fmla="*/ 23 w 42"/>
                  <a:gd name="T27" fmla="*/ 53 h 50"/>
                  <a:gd name="T28" fmla="*/ 18 w 42"/>
                  <a:gd name="T29" fmla="*/ 59 h 50"/>
                  <a:gd name="T30" fmla="*/ 16 w 42"/>
                  <a:gd name="T31" fmla="*/ 56 h 50"/>
                  <a:gd name="T32" fmla="*/ 10 w 42"/>
                  <a:gd name="T33" fmla="*/ 58 h 50"/>
                  <a:gd name="T34" fmla="*/ 6 w 42"/>
                  <a:gd name="T35" fmla="*/ 52 h 50"/>
                  <a:gd name="T36" fmla="*/ 2 w 42"/>
                  <a:gd name="T37" fmla="*/ 43 h 50"/>
                  <a:gd name="T38" fmla="*/ 2 w 42"/>
                  <a:gd name="T39" fmla="*/ 34 h 50"/>
                  <a:gd name="T40" fmla="*/ 6 w 42"/>
                  <a:gd name="T41" fmla="*/ 34 h 50"/>
                  <a:gd name="T42" fmla="*/ 0 w 42"/>
                  <a:gd name="T43" fmla="*/ 18 h 50"/>
                  <a:gd name="T44" fmla="*/ 0 w 42"/>
                  <a:gd name="T45" fmla="*/ 7 h 50"/>
                  <a:gd name="T46" fmla="*/ 4 w 42"/>
                  <a:gd name="T47" fmla="*/ 1 h 50"/>
                  <a:gd name="T48" fmla="*/ 10 w 42"/>
                  <a:gd name="T49" fmla="*/ 5 h 50"/>
                  <a:gd name="T50" fmla="*/ 19 w 42"/>
                  <a:gd name="T51" fmla="*/ 10 h 5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42"/>
                  <a:gd name="T79" fmla="*/ 0 h 50"/>
                  <a:gd name="T80" fmla="*/ 42 w 42"/>
                  <a:gd name="T81" fmla="*/ 50 h 5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42" h="50">
                    <a:moveTo>
                      <a:pt x="16" y="8"/>
                    </a:moveTo>
                    <a:cubicBezTo>
                      <a:pt x="19" y="9"/>
                      <a:pt x="22" y="8"/>
                      <a:pt x="24" y="8"/>
                    </a:cubicBezTo>
                    <a:cubicBezTo>
                      <a:pt x="27" y="7"/>
                      <a:pt x="30" y="6"/>
                      <a:pt x="33" y="6"/>
                    </a:cubicBezTo>
                    <a:cubicBezTo>
                      <a:pt x="35" y="5"/>
                      <a:pt x="37" y="4"/>
                      <a:pt x="40" y="4"/>
                    </a:cubicBezTo>
                    <a:cubicBezTo>
                      <a:pt x="41" y="4"/>
                      <a:pt x="42" y="6"/>
                      <a:pt x="42" y="8"/>
                    </a:cubicBezTo>
                    <a:cubicBezTo>
                      <a:pt x="42" y="13"/>
                      <a:pt x="41" y="18"/>
                      <a:pt x="39" y="23"/>
                    </a:cubicBezTo>
                    <a:cubicBezTo>
                      <a:pt x="39" y="25"/>
                      <a:pt x="37" y="26"/>
                      <a:pt x="36" y="27"/>
                    </a:cubicBezTo>
                    <a:cubicBezTo>
                      <a:pt x="34" y="30"/>
                      <a:pt x="32" y="33"/>
                      <a:pt x="32" y="36"/>
                    </a:cubicBezTo>
                    <a:cubicBezTo>
                      <a:pt x="31" y="38"/>
                      <a:pt x="32" y="41"/>
                      <a:pt x="31" y="43"/>
                    </a:cubicBezTo>
                    <a:cubicBezTo>
                      <a:pt x="31" y="44"/>
                      <a:pt x="29" y="43"/>
                      <a:pt x="29" y="43"/>
                    </a:cubicBezTo>
                    <a:cubicBezTo>
                      <a:pt x="28" y="41"/>
                      <a:pt x="29" y="39"/>
                      <a:pt x="28" y="38"/>
                    </a:cubicBezTo>
                    <a:cubicBezTo>
                      <a:pt x="27" y="37"/>
                      <a:pt x="26" y="39"/>
                      <a:pt x="25" y="40"/>
                    </a:cubicBezTo>
                    <a:cubicBezTo>
                      <a:pt x="24" y="41"/>
                      <a:pt x="23" y="41"/>
                      <a:pt x="23" y="42"/>
                    </a:cubicBezTo>
                    <a:cubicBezTo>
                      <a:pt x="21" y="43"/>
                      <a:pt x="20" y="44"/>
                      <a:pt x="19" y="44"/>
                    </a:cubicBezTo>
                    <a:cubicBezTo>
                      <a:pt x="18" y="46"/>
                      <a:pt x="17" y="48"/>
                      <a:pt x="15" y="49"/>
                    </a:cubicBezTo>
                    <a:cubicBezTo>
                      <a:pt x="14" y="50"/>
                      <a:pt x="14" y="47"/>
                      <a:pt x="13" y="47"/>
                    </a:cubicBezTo>
                    <a:cubicBezTo>
                      <a:pt x="11" y="47"/>
                      <a:pt x="9" y="49"/>
                      <a:pt x="8" y="48"/>
                    </a:cubicBezTo>
                    <a:cubicBezTo>
                      <a:pt x="6" y="47"/>
                      <a:pt x="5" y="45"/>
                      <a:pt x="5" y="43"/>
                    </a:cubicBezTo>
                    <a:cubicBezTo>
                      <a:pt x="4" y="41"/>
                      <a:pt x="3" y="38"/>
                      <a:pt x="2" y="36"/>
                    </a:cubicBezTo>
                    <a:cubicBezTo>
                      <a:pt x="2" y="33"/>
                      <a:pt x="1" y="31"/>
                      <a:pt x="2" y="28"/>
                    </a:cubicBezTo>
                    <a:cubicBezTo>
                      <a:pt x="2" y="27"/>
                      <a:pt x="5" y="29"/>
                      <a:pt x="5" y="28"/>
                    </a:cubicBezTo>
                    <a:cubicBezTo>
                      <a:pt x="4" y="24"/>
                      <a:pt x="1" y="20"/>
                      <a:pt x="0" y="15"/>
                    </a:cubicBezTo>
                    <a:cubicBezTo>
                      <a:pt x="0" y="12"/>
                      <a:pt x="0" y="9"/>
                      <a:pt x="0" y="6"/>
                    </a:cubicBezTo>
                    <a:cubicBezTo>
                      <a:pt x="1" y="4"/>
                      <a:pt x="1" y="1"/>
                      <a:pt x="3" y="1"/>
                    </a:cubicBezTo>
                    <a:cubicBezTo>
                      <a:pt x="5" y="0"/>
                      <a:pt x="6" y="3"/>
                      <a:pt x="8" y="4"/>
                    </a:cubicBezTo>
                    <a:cubicBezTo>
                      <a:pt x="11" y="5"/>
                      <a:pt x="13" y="7"/>
                      <a:pt x="1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0" name="Freeform 3101"/>
              <p:cNvSpPr>
                <a:spLocks noChangeAspect="1"/>
              </p:cNvSpPr>
              <p:nvPr/>
            </p:nvSpPr>
            <p:spPr bwMode="auto">
              <a:xfrm>
                <a:off x="7755784" y="5073635"/>
                <a:ext cx="37619" cy="17866"/>
              </a:xfrm>
              <a:custGeom>
                <a:avLst/>
                <a:gdLst>
                  <a:gd name="T0" fmla="*/ 1 w 19"/>
                  <a:gd name="T1" fmla="*/ 2 h 9"/>
                  <a:gd name="T2" fmla="*/ 0 w 19"/>
                  <a:gd name="T3" fmla="*/ 6 h 9"/>
                  <a:gd name="T4" fmla="*/ 6 w 19"/>
                  <a:gd name="T5" fmla="*/ 10 h 9"/>
                  <a:gd name="T6" fmla="*/ 10 w 19"/>
                  <a:gd name="T7" fmla="*/ 9 h 9"/>
                  <a:gd name="T8" fmla="*/ 13 w 19"/>
                  <a:gd name="T9" fmla="*/ 10 h 9"/>
                  <a:gd name="T10" fmla="*/ 18 w 19"/>
                  <a:gd name="T11" fmla="*/ 5 h 9"/>
                  <a:gd name="T12" fmla="*/ 22 w 19"/>
                  <a:gd name="T13" fmla="*/ 6 h 9"/>
                  <a:gd name="T14" fmla="*/ 23 w 19"/>
                  <a:gd name="T15" fmla="*/ 4 h 9"/>
                  <a:gd name="T16" fmla="*/ 21 w 19"/>
                  <a:gd name="T17" fmla="*/ 4 h 9"/>
                  <a:gd name="T18" fmla="*/ 17 w 19"/>
                  <a:gd name="T19" fmla="*/ 4 h 9"/>
                  <a:gd name="T20" fmla="*/ 16 w 19"/>
                  <a:gd name="T21" fmla="*/ 2 h 9"/>
                  <a:gd name="T22" fmla="*/ 16 w 19"/>
                  <a:gd name="T23" fmla="*/ 0 h 9"/>
                  <a:gd name="T24" fmla="*/ 1 w 19"/>
                  <a:gd name="T25" fmla="*/ 2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9"/>
                  <a:gd name="T41" fmla="*/ 19 w 19"/>
                  <a:gd name="T42" fmla="*/ 9 h 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9">
                    <a:moveTo>
                      <a:pt x="1" y="2"/>
                    </a:moveTo>
                    <a:cubicBezTo>
                      <a:pt x="0" y="3"/>
                      <a:pt x="0" y="4"/>
                      <a:pt x="0" y="5"/>
                    </a:cubicBezTo>
                    <a:cubicBezTo>
                      <a:pt x="1" y="7"/>
                      <a:pt x="3" y="8"/>
                      <a:pt x="5" y="8"/>
                    </a:cubicBezTo>
                    <a:cubicBezTo>
                      <a:pt x="6" y="8"/>
                      <a:pt x="7" y="7"/>
                      <a:pt x="8" y="7"/>
                    </a:cubicBezTo>
                    <a:cubicBezTo>
                      <a:pt x="10" y="7"/>
                      <a:pt x="10" y="9"/>
                      <a:pt x="11" y="8"/>
                    </a:cubicBezTo>
                    <a:cubicBezTo>
                      <a:pt x="13" y="8"/>
                      <a:pt x="14" y="5"/>
                      <a:pt x="15" y="4"/>
                    </a:cubicBezTo>
                    <a:cubicBezTo>
                      <a:pt x="16" y="4"/>
                      <a:pt x="17" y="5"/>
                      <a:pt x="18" y="5"/>
                    </a:cubicBezTo>
                    <a:cubicBezTo>
                      <a:pt x="19" y="5"/>
                      <a:pt x="19" y="4"/>
                      <a:pt x="19" y="3"/>
                    </a:cubicBezTo>
                    <a:cubicBezTo>
                      <a:pt x="18" y="3"/>
                      <a:pt x="17" y="3"/>
                      <a:pt x="17" y="3"/>
                    </a:cubicBezTo>
                    <a:cubicBezTo>
                      <a:pt x="16" y="3"/>
                      <a:pt x="15" y="3"/>
                      <a:pt x="14" y="3"/>
                    </a:cubicBezTo>
                    <a:cubicBezTo>
                      <a:pt x="14" y="3"/>
                      <a:pt x="13" y="3"/>
                      <a:pt x="13" y="2"/>
                    </a:cubicBezTo>
                    <a:cubicBezTo>
                      <a:pt x="13" y="1"/>
                      <a:pt x="14" y="0"/>
                      <a:pt x="13" y="0"/>
                    </a:cubicBezTo>
                    <a:cubicBezTo>
                      <a:pt x="9" y="0"/>
                      <a:pt x="4" y="0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1" name="Freeform 3102"/>
              <p:cNvSpPr>
                <a:spLocks noChangeAspect="1"/>
              </p:cNvSpPr>
              <p:nvPr/>
            </p:nvSpPr>
            <p:spPr bwMode="auto">
              <a:xfrm>
                <a:off x="7577505" y="4433727"/>
                <a:ext cx="3271" cy="487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2" name="Freeform 3103"/>
              <p:cNvSpPr>
                <a:spLocks noChangeAspect="1"/>
              </p:cNvSpPr>
              <p:nvPr/>
            </p:nvSpPr>
            <p:spPr bwMode="auto">
              <a:xfrm>
                <a:off x="5004725" y="1386857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0 w 2"/>
                  <a:gd name="T5" fmla="*/ 4 h 5"/>
                  <a:gd name="T6" fmla="*/ 2 w 2"/>
                  <a:gd name="T7" fmla="*/ 1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3" name="Freeform 3104"/>
              <p:cNvSpPr>
                <a:spLocks noChangeAspect="1"/>
              </p:cNvSpPr>
              <p:nvPr/>
            </p:nvSpPr>
            <p:spPr bwMode="auto">
              <a:xfrm>
                <a:off x="4872243" y="1368992"/>
                <a:ext cx="6542" cy="4873"/>
              </a:xfrm>
              <a:custGeom>
                <a:avLst/>
                <a:gdLst>
                  <a:gd name="T0" fmla="*/ 1 w 4"/>
                  <a:gd name="T1" fmla="*/ 3 h 2"/>
                  <a:gd name="T2" fmla="*/ 0 w 4"/>
                  <a:gd name="T3" fmla="*/ 2 h 2"/>
                  <a:gd name="T4" fmla="*/ 2 w 4"/>
                  <a:gd name="T5" fmla="*/ 0 h 2"/>
                  <a:gd name="T6" fmla="*/ 4 w 4"/>
                  <a:gd name="T7" fmla="*/ 2 h 2"/>
                  <a:gd name="T8" fmla="*/ 1 w 4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4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4" name="Freeform 3105"/>
              <p:cNvSpPr>
                <a:spLocks noChangeAspect="1"/>
              </p:cNvSpPr>
              <p:nvPr/>
            </p:nvSpPr>
            <p:spPr bwMode="auto">
              <a:xfrm>
                <a:off x="8815645" y="5328624"/>
                <a:ext cx="6542" cy="9745"/>
              </a:xfrm>
              <a:custGeom>
                <a:avLst/>
                <a:gdLst>
                  <a:gd name="T0" fmla="*/ 4 w 3"/>
                  <a:gd name="T1" fmla="*/ 4 h 5"/>
                  <a:gd name="T2" fmla="*/ 1 w 3"/>
                  <a:gd name="T3" fmla="*/ 5 h 5"/>
                  <a:gd name="T4" fmla="*/ 0 w 3"/>
                  <a:gd name="T5" fmla="*/ 2 h 5"/>
                  <a:gd name="T6" fmla="*/ 1 w 3"/>
                  <a:gd name="T7" fmla="*/ 0 h 5"/>
                  <a:gd name="T8" fmla="*/ 4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3"/>
                    </a:moveTo>
                    <a:cubicBezTo>
                      <a:pt x="3" y="3"/>
                      <a:pt x="2" y="5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5" name="Freeform 3106"/>
              <p:cNvSpPr>
                <a:spLocks noChangeAspect="1"/>
              </p:cNvSpPr>
              <p:nvPr/>
            </p:nvSpPr>
            <p:spPr bwMode="auto">
              <a:xfrm>
                <a:off x="5627884" y="1823749"/>
                <a:ext cx="14721" cy="1625"/>
              </a:xfrm>
              <a:custGeom>
                <a:avLst/>
                <a:gdLst>
                  <a:gd name="T0" fmla="*/ 3 w 8"/>
                  <a:gd name="T1" fmla="*/ 1 h 1"/>
                  <a:gd name="T2" fmla="*/ 0 w 8"/>
                  <a:gd name="T3" fmla="*/ 0 h 1"/>
                  <a:gd name="T4" fmla="*/ 5 w 8"/>
                  <a:gd name="T5" fmla="*/ 0 h 1"/>
                  <a:gd name="T6" fmla="*/ 8 w 8"/>
                  <a:gd name="T7" fmla="*/ 1 h 1"/>
                  <a:gd name="T8" fmla="*/ 3 w 8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3" y="1"/>
                    </a:moveTo>
                    <a:cubicBezTo>
                      <a:pt x="2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4" y="0"/>
                    </a:cubicBezTo>
                    <a:cubicBezTo>
                      <a:pt x="5" y="0"/>
                      <a:pt x="8" y="0"/>
                      <a:pt x="7" y="1"/>
                    </a:cubicBezTo>
                    <a:cubicBezTo>
                      <a:pt x="7" y="1"/>
                      <a:pt x="4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6" name="Freeform 3107"/>
              <p:cNvSpPr>
                <a:spLocks noChangeAspect="1"/>
              </p:cNvSpPr>
              <p:nvPr/>
            </p:nvSpPr>
            <p:spPr bwMode="auto">
              <a:xfrm>
                <a:off x="5698214" y="1830245"/>
                <a:ext cx="13085" cy="4873"/>
              </a:xfrm>
              <a:custGeom>
                <a:avLst/>
                <a:gdLst>
                  <a:gd name="T0" fmla="*/ 2 w 7"/>
                  <a:gd name="T1" fmla="*/ 2 h 3"/>
                  <a:gd name="T2" fmla="*/ 0 w 7"/>
                  <a:gd name="T3" fmla="*/ 2 h 3"/>
                  <a:gd name="T4" fmla="*/ 3 w 7"/>
                  <a:gd name="T5" fmla="*/ 1 h 3"/>
                  <a:gd name="T6" fmla="*/ 7 w 7"/>
                  <a:gd name="T7" fmla="*/ 1 h 3"/>
                  <a:gd name="T8" fmla="*/ 2 w 7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2" y="2"/>
                    </a:moveTo>
                    <a:cubicBezTo>
                      <a:pt x="2" y="3"/>
                      <a:pt x="0" y="3"/>
                      <a:pt x="0" y="2"/>
                    </a:cubicBezTo>
                    <a:cubicBezTo>
                      <a:pt x="0" y="2"/>
                      <a:pt x="2" y="1"/>
                      <a:pt x="3" y="1"/>
                    </a:cubicBezTo>
                    <a:cubicBezTo>
                      <a:pt x="4" y="0"/>
                      <a:pt x="7" y="0"/>
                      <a:pt x="6" y="1"/>
                    </a:cubicBezTo>
                    <a:cubicBezTo>
                      <a:pt x="6" y="1"/>
                      <a:pt x="4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7" name="Freeform 3108"/>
              <p:cNvSpPr>
                <a:spLocks noChangeAspect="1"/>
              </p:cNvSpPr>
              <p:nvPr/>
            </p:nvSpPr>
            <p:spPr bwMode="auto">
              <a:xfrm>
                <a:off x="5730926" y="1802634"/>
                <a:ext cx="14721" cy="12993"/>
              </a:xfrm>
              <a:custGeom>
                <a:avLst/>
                <a:gdLst>
                  <a:gd name="T0" fmla="*/ 3 w 7"/>
                  <a:gd name="T1" fmla="*/ 3 h 7"/>
                  <a:gd name="T2" fmla="*/ 0 w 7"/>
                  <a:gd name="T3" fmla="*/ 0 h 7"/>
                  <a:gd name="T4" fmla="*/ 5 w 7"/>
                  <a:gd name="T5" fmla="*/ 3 h 7"/>
                  <a:gd name="T6" fmla="*/ 8 w 7"/>
                  <a:gd name="T7" fmla="*/ 8 h 7"/>
                  <a:gd name="T8" fmla="*/ 3 w 7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2" y="3"/>
                    </a:move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3" y="2"/>
                      <a:pt x="4" y="3"/>
                    </a:cubicBezTo>
                    <a:cubicBezTo>
                      <a:pt x="5" y="4"/>
                      <a:pt x="7" y="7"/>
                      <a:pt x="6" y="7"/>
                    </a:cubicBezTo>
                    <a:cubicBezTo>
                      <a:pt x="5" y="7"/>
                      <a:pt x="3" y="5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8" name="Freeform 3109"/>
              <p:cNvSpPr>
                <a:spLocks noChangeAspect="1"/>
              </p:cNvSpPr>
              <p:nvPr/>
            </p:nvSpPr>
            <p:spPr bwMode="auto">
              <a:xfrm>
                <a:off x="3768220" y="2905420"/>
                <a:ext cx="9814" cy="4873"/>
              </a:xfrm>
              <a:custGeom>
                <a:avLst/>
                <a:gdLst>
                  <a:gd name="T0" fmla="*/ 5 w 5"/>
                  <a:gd name="T1" fmla="*/ 2 h 2"/>
                  <a:gd name="T2" fmla="*/ 6 w 5"/>
                  <a:gd name="T3" fmla="*/ 3 h 2"/>
                  <a:gd name="T4" fmla="*/ 4 w 5"/>
                  <a:gd name="T5" fmla="*/ 3 h 2"/>
                  <a:gd name="T6" fmla="*/ 1 w 5"/>
                  <a:gd name="T7" fmla="*/ 2 h 2"/>
                  <a:gd name="T8" fmla="*/ 5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4" y="1"/>
                    </a:moveTo>
                    <a:cubicBezTo>
                      <a:pt x="4" y="1"/>
                      <a:pt x="5" y="1"/>
                      <a:pt x="5" y="2"/>
                    </a:cubicBezTo>
                    <a:cubicBezTo>
                      <a:pt x="5" y="2"/>
                      <a:pt x="4" y="2"/>
                      <a:pt x="3" y="2"/>
                    </a:cubicBezTo>
                    <a:cubicBezTo>
                      <a:pt x="2" y="2"/>
                      <a:pt x="0" y="1"/>
                      <a:pt x="1" y="1"/>
                    </a:cubicBezTo>
                    <a:cubicBezTo>
                      <a:pt x="1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799" name="Freeform 3110"/>
              <p:cNvSpPr>
                <a:spLocks noChangeAspect="1"/>
              </p:cNvSpPr>
              <p:nvPr/>
            </p:nvSpPr>
            <p:spPr bwMode="auto">
              <a:xfrm>
                <a:off x="3778034" y="2897299"/>
                <a:ext cx="9814" cy="6497"/>
              </a:xfrm>
              <a:custGeom>
                <a:avLst/>
                <a:gdLst>
                  <a:gd name="T0" fmla="*/ 5 w 5"/>
                  <a:gd name="T1" fmla="*/ 3 h 3"/>
                  <a:gd name="T2" fmla="*/ 6 w 5"/>
                  <a:gd name="T3" fmla="*/ 4 h 3"/>
                  <a:gd name="T4" fmla="*/ 4 w 5"/>
                  <a:gd name="T5" fmla="*/ 4 h 3"/>
                  <a:gd name="T6" fmla="*/ 1 w 5"/>
                  <a:gd name="T7" fmla="*/ 1 h 3"/>
                  <a:gd name="T8" fmla="*/ 5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4" y="2"/>
                    </a:moveTo>
                    <a:cubicBezTo>
                      <a:pt x="4" y="2"/>
                      <a:pt x="5" y="2"/>
                      <a:pt x="5" y="3"/>
                    </a:cubicBezTo>
                    <a:cubicBezTo>
                      <a:pt x="5" y="3"/>
                      <a:pt x="3" y="3"/>
                      <a:pt x="3" y="3"/>
                    </a:cubicBezTo>
                    <a:cubicBezTo>
                      <a:pt x="2" y="2"/>
                      <a:pt x="0" y="2"/>
                      <a:pt x="1" y="1"/>
                    </a:cubicBezTo>
                    <a:cubicBezTo>
                      <a:pt x="1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0" name="Freeform 3111"/>
              <p:cNvSpPr>
                <a:spLocks noChangeAspect="1"/>
              </p:cNvSpPr>
              <p:nvPr/>
            </p:nvSpPr>
            <p:spPr bwMode="auto">
              <a:xfrm>
                <a:off x="3835280" y="2929781"/>
                <a:ext cx="13085" cy="8121"/>
              </a:xfrm>
              <a:custGeom>
                <a:avLst/>
                <a:gdLst>
                  <a:gd name="T0" fmla="*/ 2 w 7"/>
                  <a:gd name="T1" fmla="*/ 3 h 4"/>
                  <a:gd name="T2" fmla="*/ 0 w 7"/>
                  <a:gd name="T3" fmla="*/ 0 h 4"/>
                  <a:gd name="T4" fmla="*/ 5 w 7"/>
                  <a:gd name="T5" fmla="*/ 0 h 4"/>
                  <a:gd name="T6" fmla="*/ 7 w 7"/>
                  <a:gd name="T7" fmla="*/ 4 h 4"/>
                  <a:gd name="T8" fmla="*/ 2 w 7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4"/>
                  <a:gd name="T17" fmla="*/ 7 w 7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4">
                    <a:moveTo>
                      <a:pt x="2" y="2"/>
                    </a:moveTo>
                    <a:cubicBezTo>
                      <a:pt x="1" y="2"/>
                      <a:pt x="0" y="1"/>
                      <a:pt x="0" y="0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5" y="1"/>
                      <a:pt x="7" y="2"/>
                      <a:pt x="6" y="3"/>
                    </a:cubicBezTo>
                    <a:cubicBezTo>
                      <a:pt x="6" y="4"/>
                      <a:pt x="4" y="3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1" name="Freeform 3112"/>
              <p:cNvSpPr>
                <a:spLocks noChangeAspect="1"/>
              </p:cNvSpPr>
              <p:nvPr/>
            </p:nvSpPr>
            <p:spPr bwMode="auto">
              <a:xfrm>
                <a:off x="5385817" y="1909827"/>
                <a:ext cx="8178" cy="6497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3 h 3"/>
                  <a:gd name="T4" fmla="*/ 3 w 4"/>
                  <a:gd name="T5" fmla="*/ 3 h 3"/>
                  <a:gd name="T6" fmla="*/ 1 w 4"/>
                  <a:gd name="T7" fmla="*/ 0 h 3"/>
                  <a:gd name="T8" fmla="*/ 4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1"/>
                    </a:moveTo>
                    <a:cubicBezTo>
                      <a:pt x="4" y="1"/>
                      <a:pt x="4" y="2"/>
                      <a:pt x="3" y="2"/>
                    </a:cubicBezTo>
                    <a:cubicBezTo>
                      <a:pt x="3" y="3"/>
                      <a:pt x="2" y="3"/>
                      <a:pt x="2" y="2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2" name="Freeform 3113"/>
              <p:cNvSpPr>
                <a:spLocks noChangeAspect="1"/>
              </p:cNvSpPr>
              <p:nvPr/>
            </p:nvSpPr>
            <p:spPr bwMode="auto">
              <a:xfrm>
                <a:off x="5245157" y="1974792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3" name="Freeform 3114"/>
              <p:cNvSpPr>
                <a:spLocks noChangeAspect="1"/>
              </p:cNvSpPr>
              <p:nvPr/>
            </p:nvSpPr>
            <p:spPr bwMode="auto">
              <a:xfrm>
                <a:off x="4854251" y="1578504"/>
                <a:ext cx="8178" cy="4873"/>
              </a:xfrm>
              <a:custGeom>
                <a:avLst/>
                <a:gdLst>
                  <a:gd name="T0" fmla="*/ 5 w 4"/>
                  <a:gd name="T1" fmla="*/ 2 h 3"/>
                  <a:gd name="T2" fmla="*/ 4 w 4"/>
                  <a:gd name="T3" fmla="*/ 3 h 3"/>
                  <a:gd name="T4" fmla="*/ 1 w 4"/>
                  <a:gd name="T5" fmla="*/ 2 h 3"/>
                  <a:gd name="T6" fmla="*/ 3 w 4"/>
                  <a:gd name="T7" fmla="*/ 0 h 3"/>
                  <a:gd name="T8" fmla="*/ 5 w 4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2"/>
                    </a:moveTo>
                    <a:cubicBezTo>
                      <a:pt x="4" y="2"/>
                      <a:pt x="4" y="3"/>
                      <a:pt x="3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0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4" name="Freeform 3115"/>
              <p:cNvSpPr>
                <a:spLocks noChangeAspect="1"/>
              </p:cNvSpPr>
              <p:nvPr/>
            </p:nvSpPr>
            <p:spPr bwMode="auto">
              <a:xfrm>
                <a:off x="3702797" y="2868064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5" name="Freeform 3116"/>
              <p:cNvSpPr>
                <a:spLocks noChangeAspect="1"/>
              </p:cNvSpPr>
              <p:nvPr/>
            </p:nvSpPr>
            <p:spPr bwMode="auto">
              <a:xfrm>
                <a:off x="3797661" y="2895675"/>
                <a:ext cx="6542" cy="6497"/>
              </a:xfrm>
              <a:custGeom>
                <a:avLst/>
                <a:gdLst>
                  <a:gd name="T0" fmla="*/ 3 w 3"/>
                  <a:gd name="T1" fmla="*/ 1 h 3"/>
                  <a:gd name="T2" fmla="*/ 4 w 3"/>
                  <a:gd name="T3" fmla="*/ 3 h 3"/>
                  <a:gd name="T4" fmla="*/ 1 w 3"/>
                  <a:gd name="T5" fmla="*/ 4 h 3"/>
                  <a:gd name="T6" fmla="*/ 0 w 3"/>
                  <a:gd name="T7" fmla="*/ 1 h 3"/>
                  <a:gd name="T8" fmla="*/ 3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6" name="Freeform 3117"/>
              <p:cNvSpPr>
                <a:spLocks noChangeAspect="1"/>
              </p:cNvSpPr>
              <p:nvPr/>
            </p:nvSpPr>
            <p:spPr bwMode="auto">
              <a:xfrm>
                <a:off x="6162721" y="5640457"/>
                <a:ext cx="13085" cy="9745"/>
              </a:xfrm>
              <a:custGeom>
                <a:avLst/>
                <a:gdLst>
                  <a:gd name="T0" fmla="*/ 3 w 6"/>
                  <a:gd name="T1" fmla="*/ 5 h 5"/>
                  <a:gd name="T2" fmla="*/ 1 w 6"/>
                  <a:gd name="T3" fmla="*/ 2 h 5"/>
                  <a:gd name="T4" fmla="*/ 4 w 6"/>
                  <a:gd name="T5" fmla="*/ 1 h 5"/>
                  <a:gd name="T6" fmla="*/ 8 w 6"/>
                  <a:gd name="T7" fmla="*/ 4 h 5"/>
                  <a:gd name="T8" fmla="*/ 3 w 6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2" y="4"/>
                    </a:moveTo>
                    <a:cubicBezTo>
                      <a:pt x="1" y="3"/>
                      <a:pt x="0" y="3"/>
                      <a:pt x="1" y="2"/>
                    </a:cubicBezTo>
                    <a:cubicBezTo>
                      <a:pt x="1" y="0"/>
                      <a:pt x="3" y="0"/>
                      <a:pt x="3" y="1"/>
                    </a:cubicBezTo>
                    <a:cubicBezTo>
                      <a:pt x="4" y="1"/>
                      <a:pt x="6" y="2"/>
                      <a:pt x="6" y="3"/>
                    </a:cubicBezTo>
                    <a:cubicBezTo>
                      <a:pt x="5" y="5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7" name="Freeform 3118"/>
              <p:cNvSpPr>
                <a:spLocks noChangeAspect="1"/>
              </p:cNvSpPr>
              <p:nvPr/>
            </p:nvSpPr>
            <p:spPr bwMode="auto">
              <a:xfrm>
                <a:off x="8686434" y="5101245"/>
                <a:ext cx="3271" cy="8121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8" name="Freeform 3119"/>
              <p:cNvSpPr>
                <a:spLocks noChangeAspect="1"/>
              </p:cNvSpPr>
              <p:nvPr/>
            </p:nvSpPr>
            <p:spPr bwMode="auto">
              <a:xfrm>
                <a:off x="8688069" y="5086628"/>
                <a:ext cx="3271" cy="8121"/>
              </a:xfrm>
              <a:custGeom>
                <a:avLst/>
                <a:gdLst>
                  <a:gd name="T0" fmla="*/ 2 w 2"/>
                  <a:gd name="T1" fmla="*/ 4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1 h 4"/>
                  <a:gd name="T8" fmla="*/ 2 w 2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3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09" name="Freeform 3120"/>
              <p:cNvSpPr>
                <a:spLocks noChangeAspect="1"/>
              </p:cNvSpPr>
              <p:nvPr/>
            </p:nvSpPr>
            <p:spPr bwMode="auto">
              <a:xfrm>
                <a:off x="5691672" y="1520035"/>
                <a:ext cx="6542" cy="4873"/>
              </a:xfrm>
              <a:custGeom>
                <a:avLst/>
                <a:gdLst>
                  <a:gd name="T0" fmla="*/ 1 w 3"/>
                  <a:gd name="T1" fmla="*/ 2 h 3"/>
                  <a:gd name="T2" fmla="*/ 0 w 3"/>
                  <a:gd name="T3" fmla="*/ 2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0" name="Freeform 3121"/>
              <p:cNvSpPr>
                <a:spLocks noChangeAspect="1"/>
              </p:cNvSpPr>
              <p:nvPr/>
            </p:nvSpPr>
            <p:spPr bwMode="auto">
              <a:xfrm>
                <a:off x="5209174" y="1317020"/>
                <a:ext cx="6542" cy="3248"/>
              </a:xfrm>
              <a:custGeom>
                <a:avLst/>
                <a:gdLst>
                  <a:gd name="T0" fmla="*/ 1 w 3"/>
                  <a:gd name="T1" fmla="*/ 1 h 2"/>
                  <a:gd name="T2" fmla="*/ 1 w 3"/>
                  <a:gd name="T3" fmla="*/ 0 h 2"/>
                  <a:gd name="T4" fmla="*/ 3 w 3"/>
                  <a:gd name="T5" fmla="*/ 0 h 2"/>
                  <a:gd name="T6" fmla="*/ 4 w 3"/>
                  <a:gd name="T7" fmla="*/ 2 h 2"/>
                  <a:gd name="T8" fmla="*/ 1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1"/>
                    </a:move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3" y="1"/>
                      <a:pt x="3" y="2"/>
                    </a:cubicBezTo>
                    <a:cubicBezTo>
                      <a:pt x="2" y="2"/>
                      <a:pt x="1" y="2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1" name="Freeform 3122"/>
              <p:cNvSpPr>
                <a:spLocks noChangeAspect="1"/>
              </p:cNvSpPr>
              <p:nvPr/>
            </p:nvSpPr>
            <p:spPr bwMode="auto">
              <a:xfrm>
                <a:off x="4873878" y="1289409"/>
                <a:ext cx="4907" cy="6497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3 h 3"/>
                  <a:gd name="T4" fmla="*/ 1 w 3"/>
                  <a:gd name="T5" fmla="*/ 3 h 3"/>
                  <a:gd name="T6" fmla="*/ 0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2" name="Freeform 3123"/>
              <p:cNvSpPr>
                <a:spLocks noChangeAspect="1"/>
              </p:cNvSpPr>
              <p:nvPr/>
            </p:nvSpPr>
            <p:spPr bwMode="auto">
              <a:xfrm>
                <a:off x="4859158" y="1357622"/>
                <a:ext cx="6542" cy="4873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2 h 2"/>
                  <a:gd name="T4" fmla="*/ 1 w 3"/>
                  <a:gd name="T5" fmla="*/ 0 h 2"/>
                  <a:gd name="T6" fmla="*/ 4 w 3"/>
                  <a:gd name="T7" fmla="*/ 0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1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3" name="Freeform 3124"/>
              <p:cNvSpPr>
                <a:spLocks noChangeAspect="1"/>
              </p:cNvSpPr>
              <p:nvPr/>
            </p:nvSpPr>
            <p:spPr bwMode="auto">
              <a:xfrm>
                <a:off x="3845093" y="2960640"/>
                <a:ext cx="3271" cy="6497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1 w 2"/>
                  <a:gd name="T5" fmla="*/ 3 h 3"/>
                  <a:gd name="T6" fmla="*/ 0 w 2"/>
                  <a:gd name="T7" fmla="*/ 0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4" name="Oval 3125"/>
              <p:cNvSpPr>
                <a:spLocks noChangeAspect="1" noChangeArrowheads="1"/>
              </p:cNvSpPr>
              <p:nvPr/>
            </p:nvSpPr>
            <p:spPr bwMode="auto">
              <a:xfrm>
                <a:off x="3781305" y="2887554"/>
                <a:ext cx="3271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5" name="Freeform 3126"/>
              <p:cNvSpPr>
                <a:spLocks noChangeAspect="1"/>
              </p:cNvSpPr>
              <p:nvPr/>
            </p:nvSpPr>
            <p:spPr bwMode="auto">
              <a:xfrm>
                <a:off x="4103516" y="4261569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6" name="Freeform 3127"/>
              <p:cNvSpPr>
                <a:spLocks noChangeAspect="1"/>
              </p:cNvSpPr>
              <p:nvPr/>
            </p:nvSpPr>
            <p:spPr bwMode="auto">
              <a:xfrm>
                <a:off x="4317778" y="4495444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7" name="Freeform 3128"/>
              <p:cNvSpPr>
                <a:spLocks noChangeAspect="1"/>
              </p:cNvSpPr>
              <p:nvPr/>
            </p:nvSpPr>
            <p:spPr bwMode="auto">
              <a:xfrm>
                <a:off x="8815645" y="5339992"/>
                <a:ext cx="3271" cy="487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1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8" name="Freeform 3129"/>
              <p:cNvSpPr>
                <a:spLocks noChangeAspect="1"/>
              </p:cNvSpPr>
              <p:nvPr/>
            </p:nvSpPr>
            <p:spPr bwMode="auto">
              <a:xfrm>
                <a:off x="8387121" y="5627464"/>
                <a:ext cx="3271" cy="6497"/>
              </a:xfrm>
              <a:custGeom>
                <a:avLst/>
                <a:gdLst>
                  <a:gd name="T0" fmla="*/ 2 w 1"/>
                  <a:gd name="T1" fmla="*/ 3 h 3"/>
                  <a:gd name="T2" fmla="*/ 2 w 1"/>
                  <a:gd name="T3" fmla="*/ 4 h 3"/>
                  <a:gd name="T4" fmla="*/ 0 w 1"/>
                  <a:gd name="T5" fmla="*/ 1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19" name="Freeform 3130"/>
              <p:cNvSpPr>
                <a:spLocks noChangeAspect="1"/>
              </p:cNvSpPr>
              <p:nvPr/>
            </p:nvSpPr>
            <p:spPr bwMode="auto">
              <a:xfrm>
                <a:off x="8122156" y="5694053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0" name="Oval 3131"/>
              <p:cNvSpPr>
                <a:spLocks noChangeAspect="1" noChangeArrowheads="1"/>
              </p:cNvSpPr>
              <p:nvPr/>
            </p:nvSpPr>
            <p:spPr bwMode="auto">
              <a:xfrm>
                <a:off x="8617739" y="5227928"/>
                <a:ext cx="1636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1" name="Freeform 3132"/>
              <p:cNvSpPr>
                <a:spLocks noChangeAspect="1"/>
              </p:cNvSpPr>
              <p:nvPr/>
            </p:nvSpPr>
            <p:spPr bwMode="auto">
              <a:xfrm>
                <a:off x="8622646" y="5109366"/>
                <a:ext cx="135754" cy="157541"/>
              </a:xfrm>
              <a:custGeom>
                <a:avLst/>
                <a:gdLst>
                  <a:gd name="T0" fmla="*/ 53 w 69"/>
                  <a:gd name="T1" fmla="*/ 23 h 81"/>
                  <a:gd name="T2" fmla="*/ 66 w 69"/>
                  <a:gd name="T3" fmla="*/ 22 h 81"/>
                  <a:gd name="T4" fmla="*/ 75 w 69"/>
                  <a:gd name="T5" fmla="*/ 14 h 81"/>
                  <a:gd name="T6" fmla="*/ 83 w 69"/>
                  <a:gd name="T7" fmla="*/ 19 h 81"/>
                  <a:gd name="T8" fmla="*/ 77 w 69"/>
                  <a:gd name="T9" fmla="*/ 24 h 81"/>
                  <a:gd name="T10" fmla="*/ 73 w 69"/>
                  <a:gd name="T11" fmla="*/ 35 h 81"/>
                  <a:gd name="T12" fmla="*/ 65 w 69"/>
                  <a:gd name="T13" fmla="*/ 36 h 81"/>
                  <a:gd name="T14" fmla="*/ 64 w 69"/>
                  <a:gd name="T15" fmla="*/ 44 h 81"/>
                  <a:gd name="T16" fmla="*/ 64 w 69"/>
                  <a:gd name="T17" fmla="*/ 47 h 81"/>
                  <a:gd name="T18" fmla="*/ 61 w 69"/>
                  <a:gd name="T19" fmla="*/ 49 h 81"/>
                  <a:gd name="T20" fmla="*/ 60 w 69"/>
                  <a:gd name="T21" fmla="*/ 46 h 81"/>
                  <a:gd name="T22" fmla="*/ 53 w 69"/>
                  <a:gd name="T23" fmla="*/ 46 h 81"/>
                  <a:gd name="T24" fmla="*/ 46 w 69"/>
                  <a:gd name="T25" fmla="*/ 53 h 81"/>
                  <a:gd name="T26" fmla="*/ 49 w 69"/>
                  <a:gd name="T27" fmla="*/ 57 h 81"/>
                  <a:gd name="T28" fmla="*/ 38 w 69"/>
                  <a:gd name="T29" fmla="*/ 69 h 81"/>
                  <a:gd name="T30" fmla="*/ 30 w 69"/>
                  <a:gd name="T31" fmla="*/ 83 h 81"/>
                  <a:gd name="T32" fmla="*/ 16 w 69"/>
                  <a:gd name="T33" fmla="*/ 96 h 81"/>
                  <a:gd name="T34" fmla="*/ 8 w 69"/>
                  <a:gd name="T35" fmla="*/ 93 h 81"/>
                  <a:gd name="T36" fmla="*/ 5 w 69"/>
                  <a:gd name="T37" fmla="*/ 89 h 81"/>
                  <a:gd name="T38" fmla="*/ 13 w 69"/>
                  <a:gd name="T39" fmla="*/ 78 h 81"/>
                  <a:gd name="T40" fmla="*/ 18 w 69"/>
                  <a:gd name="T41" fmla="*/ 71 h 81"/>
                  <a:gd name="T42" fmla="*/ 16 w 69"/>
                  <a:gd name="T43" fmla="*/ 61 h 81"/>
                  <a:gd name="T44" fmla="*/ 10 w 69"/>
                  <a:gd name="T45" fmla="*/ 59 h 81"/>
                  <a:gd name="T46" fmla="*/ 5 w 69"/>
                  <a:gd name="T47" fmla="*/ 55 h 81"/>
                  <a:gd name="T48" fmla="*/ 1 w 69"/>
                  <a:gd name="T49" fmla="*/ 51 h 81"/>
                  <a:gd name="T50" fmla="*/ 7 w 69"/>
                  <a:gd name="T51" fmla="*/ 46 h 81"/>
                  <a:gd name="T52" fmla="*/ 16 w 69"/>
                  <a:gd name="T53" fmla="*/ 42 h 81"/>
                  <a:gd name="T54" fmla="*/ 22 w 69"/>
                  <a:gd name="T55" fmla="*/ 29 h 81"/>
                  <a:gd name="T56" fmla="*/ 25 w 69"/>
                  <a:gd name="T57" fmla="*/ 24 h 81"/>
                  <a:gd name="T58" fmla="*/ 24 w 69"/>
                  <a:gd name="T59" fmla="*/ 13 h 81"/>
                  <a:gd name="T60" fmla="*/ 26 w 69"/>
                  <a:gd name="T61" fmla="*/ 6 h 81"/>
                  <a:gd name="T62" fmla="*/ 30 w 69"/>
                  <a:gd name="T63" fmla="*/ 7 h 81"/>
                  <a:gd name="T64" fmla="*/ 31 w 69"/>
                  <a:gd name="T65" fmla="*/ 4 h 81"/>
                  <a:gd name="T66" fmla="*/ 35 w 69"/>
                  <a:gd name="T67" fmla="*/ 5 h 81"/>
                  <a:gd name="T68" fmla="*/ 35 w 69"/>
                  <a:gd name="T69" fmla="*/ 10 h 81"/>
                  <a:gd name="T70" fmla="*/ 40 w 69"/>
                  <a:gd name="T71" fmla="*/ 10 h 81"/>
                  <a:gd name="T72" fmla="*/ 40 w 69"/>
                  <a:gd name="T73" fmla="*/ 2 h 81"/>
                  <a:gd name="T74" fmla="*/ 43 w 69"/>
                  <a:gd name="T75" fmla="*/ 2 h 81"/>
                  <a:gd name="T76" fmla="*/ 43 w 69"/>
                  <a:gd name="T77" fmla="*/ 18 h 81"/>
                  <a:gd name="T78" fmla="*/ 53 w 69"/>
                  <a:gd name="T79" fmla="*/ 23 h 8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9"/>
                  <a:gd name="T121" fmla="*/ 0 h 81"/>
                  <a:gd name="T122" fmla="*/ 69 w 69"/>
                  <a:gd name="T123" fmla="*/ 81 h 8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9" h="81">
                    <a:moveTo>
                      <a:pt x="44" y="19"/>
                    </a:moveTo>
                    <a:cubicBezTo>
                      <a:pt x="48" y="20"/>
                      <a:pt x="52" y="20"/>
                      <a:pt x="55" y="18"/>
                    </a:cubicBezTo>
                    <a:cubicBezTo>
                      <a:pt x="58" y="17"/>
                      <a:pt x="59" y="13"/>
                      <a:pt x="62" y="12"/>
                    </a:cubicBezTo>
                    <a:cubicBezTo>
                      <a:pt x="64" y="12"/>
                      <a:pt x="68" y="13"/>
                      <a:pt x="69" y="16"/>
                    </a:cubicBezTo>
                    <a:cubicBezTo>
                      <a:pt x="69" y="17"/>
                      <a:pt x="65" y="18"/>
                      <a:pt x="64" y="20"/>
                    </a:cubicBezTo>
                    <a:cubicBezTo>
                      <a:pt x="63" y="23"/>
                      <a:pt x="64" y="27"/>
                      <a:pt x="61" y="29"/>
                    </a:cubicBezTo>
                    <a:cubicBezTo>
                      <a:pt x="60" y="31"/>
                      <a:pt x="56" y="29"/>
                      <a:pt x="54" y="30"/>
                    </a:cubicBezTo>
                    <a:cubicBezTo>
                      <a:pt x="52" y="32"/>
                      <a:pt x="53" y="35"/>
                      <a:pt x="53" y="37"/>
                    </a:cubicBezTo>
                    <a:cubicBezTo>
                      <a:pt x="53" y="38"/>
                      <a:pt x="53" y="39"/>
                      <a:pt x="53" y="39"/>
                    </a:cubicBezTo>
                    <a:cubicBezTo>
                      <a:pt x="53" y="40"/>
                      <a:pt x="52" y="42"/>
                      <a:pt x="51" y="41"/>
                    </a:cubicBezTo>
                    <a:cubicBezTo>
                      <a:pt x="50" y="41"/>
                      <a:pt x="51" y="39"/>
                      <a:pt x="50" y="38"/>
                    </a:cubicBezTo>
                    <a:cubicBezTo>
                      <a:pt x="48" y="38"/>
                      <a:pt x="45" y="37"/>
                      <a:pt x="44" y="38"/>
                    </a:cubicBezTo>
                    <a:cubicBezTo>
                      <a:pt x="41" y="40"/>
                      <a:pt x="38" y="42"/>
                      <a:pt x="38" y="44"/>
                    </a:cubicBezTo>
                    <a:cubicBezTo>
                      <a:pt x="37" y="46"/>
                      <a:pt x="42" y="47"/>
                      <a:pt x="41" y="48"/>
                    </a:cubicBezTo>
                    <a:cubicBezTo>
                      <a:pt x="39" y="52"/>
                      <a:pt x="35" y="54"/>
                      <a:pt x="32" y="58"/>
                    </a:cubicBezTo>
                    <a:cubicBezTo>
                      <a:pt x="29" y="61"/>
                      <a:pt x="28" y="66"/>
                      <a:pt x="25" y="69"/>
                    </a:cubicBezTo>
                    <a:cubicBezTo>
                      <a:pt x="21" y="73"/>
                      <a:pt x="17" y="77"/>
                      <a:pt x="13" y="80"/>
                    </a:cubicBezTo>
                    <a:cubicBezTo>
                      <a:pt x="11" y="81"/>
                      <a:pt x="9" y="79"/>
                      <a:pt x="7" y="78"/>
                    </a:cubicBezTo>
                    <a:cubicBezTo>
                      <a:pt x="6" y="77"/>
                      <a:pt x="3" y="76"/>
                      <a:pt x="4" y="74"/>
                    </a:cubicBezTo>
                    <a:cubicBezTo>
                      <a:pt x="5" y="71"/>
                      <a:pt x="9" y="68"/>
                      <a:pt x="11" y="65"/>
                    </a:cubicBezTo>
                    <a:cubicBezTo>
                      <a:pt x="13" y="63"/>
                      <a:pt x="15" y="61"/>
                      <a:pt x="15" y="59"/>
                    </a:cubicBezTo>
                    <a:cubicBezTo>
                      <a:pt x="15" y="56"/>
                      <a:pt x="15" y="53"/>
                      <a:pt x="13" y="51"/>
                    </a:cubicBezTo>
                    <a:cubicBezTo>
                      <a:pt x="12" y="49"/>
                      <a:pt x="10" y="50"/>
                      <a:pt x="8" y="49"/>
                    </a:cubicBezTo>
                    <a:cubicBezTo>
                      <a:pt x="7" y="48"/>
                      <a:pt x="5" y="47"/>
                      <a:pt x="4" y="46"/>
                    </a:cubicBezTo>
                    <a:cubicBezTo>
                      <a:pt x="2" y="45"/>
                      <a:pt x="0" y="44"/>
                      <a:pt x="1" y="43"/>
                    </a:cubicBezTo>
                    <a:cubicBezTo>
                      <a:pt x="1" y="41"/>
                      <a:pt x="4" y="39"/>
                      <a:pt x="6" y="38"/>
                    </a:cubicBezTo>
                    <a:cubicBezTo>
                      <a:pt x="8" y="37"/>
                      <a:pt x="11" y="37"/>
                      <a:pt x="13" y="35"/>
                    </a:cubicBezTo>
                    <a:cubicBezTo>
                      <a:pt x="16" y="32"/>
                      <a:pt x="16" y="28"/>
                      <a:pt x="18" y="24"/>
                    </a:cubicBezTo>
                    <a:cubicBezTo>
                      <a:pt x="18" y="23"/>
                      <a:pt x="21" y="22"/>
                      <a:pt x="21" y="20"/>
                    </a:cubicBezTo>
                    <a:cubicBezTo>
                      <a:pt x="22" y="17"/>
                      <a:pt x="20" y="14"/>
                      <a:pt x="20" y="11"/>
                    </a:cubicBezTo>
                    <a:cubicBezTo>
                      <a:pt x="20" y="9"/>
                      <a:pt x="20" y="7"/>
                      <a:pt x="22" y="5"/>
                    </a:cubicBezTo>
                    <a:cubicBezTo>
                      <a:pt x="22" y="5"/>
                      <a:pt x="24" y="7"/>
                      <a:pt x="25" y="6"/>
                    </a:cubicBezTo>
                    <a:cubicBezTo>
                      <a:pt x="26" y="5"/>
                      <a:pt x="25" y="3"/>
                      <a:pt x="26" y="3"/>
                    </a:cubicBezTo>
                    <a:cubicBezTo>
                      <a:pt x="27" y="2"/>
                      <a:pt x="29" y="3"/>
                      <a:pt x="29" y="4"/>
                    </a:cubicBezTo>
                    <a:cubicBezTo>
                      <a:pt x="30" y="5"/>
                      <a:pt x="28" y="7"/>
                      <a:pt x="29" y="8"/>
                    </a:cubicBezTo>
                    <a:cubicBezTo>
                      <a:pt x="30" y="8"/>
                      <a:pt x="32" y="9"/>
                      <a:pt x="33" y="8"/>
                    </a:cubicBezTo>
                    <a:cubicBezTo>
                      <a:pt x="34" y="6"/>
                      <a:pt x="32" y="4"/>
                      <a:pt x="33" y="2"/>
                    </a:cubicBezTo>
                    <a:cubicBezTo>
                      <a:pt x="33" y="1"/>
                      <a:pt x="36" y="0"/>
                      <a:pt x="36" y="2"/>
                    </a:cubicBezTo>
                    <a:cubicBezTo>
                      <a:pt x="37" y="6"/>
                      <a:pt x="34" y="11"/>
                      <a:pt x="36" y="15"/>
                    </a:cubicBezTo>
                    <a:cubicBezTo>
                      <a:pt x="37" y="18"/>
                      <a:pt x="41" y="19"/>
                      <a:pt x="44" y="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2" name="Freeform 3133"/>
              <p:cNvSpPr>
                <a:spLocks noChangeAspect="1"/>
              </p:cNvSpPr>
              <p:nvPr/>
            </p:nvSpPr>
            <p:spPr bwMode="auto">
              <a:xfrm>
                <a:off x="8635730" y="5036280"/>
                <a:ext cx="39254" cy="77958"/>
              </a:xfrm>
              <a:custGeom>
                <a:avLst/>
                <a:gdLst>
                  <a:gd name="T0" fmla="*/ 16 w 20"/>
                  <a:gd name="T1" fmla="*/ 41 h 40"/>
                  <a:gd name="T2" fmla="*/ 17 w 20"/>
                  <a:gd name="T3" fmla="*/ 47 h 40"/>
                  <a:gd name="T4" fmla="*/ 20 w 20"/>
                  <a:gd name="T5" fmla="*/ 47 h 40"/>
                  <a:gd name="T6" fmla="*/ 24 w 20"/>
                  <a:gd name="T7" fmla="*/ 35 h 40"/>
                  <a:gd name="T8" fmla="*/ 20 w 20"/>
                  <a:gd name="T9" fmla="*/ 25 h 40"/>
                  <a:gd name="T10" fmla="*/ 24 w 20"/>
                  <a:gd name="T11" fmla="*/ 25 h 40"/>
                  <a:gd name="T12" fmla="*/ 22 w 20"/>
                  <a:gd name="T13" fmla="*/ 17 h 40"/>
                  <a:gd name="T14" fmla="*/ 12 w 20"/>
                  <a:gd name="T15" fmla="*/ 10 h 40"/>
                  <a:gd name="T16" fmla="*/ 6 w 20"/>
                  <a:gd name="T17" fmla="*/ 6 h 40"/>
                  <a:gd name="T18" fmla="*/ 6 w 20"/>
                  <a:gd name="T19" fmla="*/ 2 h 40"/>
                  <a:gd name="T20" fmla="*/ 1 w 20"/>
                  <a:gd name="T21" fmla="*/ 2 h 40"/>
                  <a:gd name="T22" fmla="*/ 6 w 20"/>
                  <a:gd name="T23" fmla="*/ 12 h 40"/>
                  <a:gd name="T24" fmla="*/ 5 w 20"/>
                  <a:gd name="T25" fmla="*/ 16 h 40"/>
                  <a:gd name="T26" fmla="*/ 14 w 20"/>
                  <a:gd name="T27" fmla="*/ 35 h 40"/>
                  <a:gd name="T28" fmla="*/ 19 w 20"/>
                  <a:gd name="T29" fmla="*/ 36 h 40"/>
                  <a:gd name="T30" fmla="*/ 16 w 20"/>
                  <a:gd name="T31" fmla="*/ 41 h 4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"/>
                  <a:gd name="T49" fmla="*/ 0 h 40"/>
                  <a:gd name="T50" fmla="*/ 20 w 20"/>
                  <a:gd name="T51" fmla="*/ 40 h 4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" h="40">
                    <a:moveTo>
                      <a:pt x="13" y="34"/>
                    </a:moveTo>
                    <a:cubicBezTo>
                      <a:pt x="13" y="36"/>
                      <a:pt x="13" y="38"/>
                      <a:pt x="14" y="39"/>
                    </a:cubicBezTo>
                    <a:cubicBezTo>
                      <a:pt x="15" y="40"/>
                      <a:pt x="17" y="40"/>
                      <a:pt x="17" y="39"/>
                    </a:cubicBezTo>
                    <a:cubicBezTo>
                      <a:pt x="19" y="36"/>
                      <a:pt x="20" y="32"/>
                      <a:pt x="20" y="29"/>
                    </a:cubicBezTo>
                    <a:cubicBezTo>
                      <a:pt x="20" y="26"/>
                      <a:pt x="17" y="24"/>
                      <a:pt x="17" y="21"/>
                    </a:cubicBezTo>
                    <a:cubicBezTo>
                      <a:pt x="17" y="20"/>
                      <a:pt x="20" y="22"/>
                      <a:pt x="20" y="21"/>
                    </a:cubicBezTo>
                    <a:cubicBezTo>
                      <a:pt x="20" y="18"/>
                      <a:pt x="20" y="16"/>
                      <a:pt x="18" y="14"/>
                    </a:cubicBezTo>
                    <a:cubicBezTo>
                      <a:pt x="16" y="11"/>
                      <a:pt x="13" y="10"/>
                      <a:pt x="10" y="8"/>
                    </a:cubicBezTo>
                    <a:cubicBezTo>
                      <a:pt x="8" y="7"/>
                      <a:pt x="6" y="7"/>
                      <a:pt x="5" y="5"/>
                    </a:cubicBezTo>
                    <a:cubicBezTo>
                      <a:pt x="4" y="4"/>
                      <a:pt x="6" y="2"/>
                      <a:pt x="5" y="2"/>
                    </a:cubicBezTo>
                    <a:cubicBezTo>
                      <a:pt x="4" y="1"/>
                      <a:pt x="1" y="0"/>
                      <a:pt x="1" y="2"/>
                    </a:cubicBezTo>
                    <a:cubicBezTo>
                      <a:pt x="0" y="5"/>
                      <a:pt x="4" y="7"/>
                      <a:pt x="5" y="10"/>
                    </a:cubicBezTo>
                    <a:cubicBezTo>
                      <a:pt x="5" y="11"/>
                      <a:pt x="4" y="12"/>
                      <a:pt x="4" y="13"/>
                    </a:cubicBezTo>
                    <a:cubicBezTo>
                      <a:pt x="6" y="19"/>
                      <a:pt x="9" y="24"/>
                      <a:pt x="12" y="29"/>
                    </a:cubicBezTo>
                    <a:cubicBezTo>
                      <a:pt x="13" y="30"/>
                      <a:pt x="16" y="29"/>
                      <a:pt x="16" y="30"/>
                    </a:cubicBezTo>
                    <a:cubicBezTo>
                      <a:pt x="16" y="32"/>
                      <a:pt x="13" y="33"/>
                      <a:pt x="13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3" name="Freeform 3134"/>
              <p:cNvSpPr>
                <a:spLocks noChangeAspect="1"/>
              </p:cNvSpPr>
              <p:nvPr/>
            </p:nvSpPr>
            <p:spPr bwMode="auto">
              <a:xfrm>
                <a:off x="8387121" y="5227928"/>
                <a:ext cx="238796" cy="204641"/>
              </a:xfrm>
              <a:custGeom>
                <a:avLst/>
                <a:gdLst>
                  <a:gd name="T0" fmla="*/ 140 w 121"/>
                  <a:gd name="T1" fmla="*/ 28 h 105"/>
                  <a:gd name="T2" fmla="*/ 128 w 121"/>
                  <a:gd name="T3" fmla="*/ 38 h 105"/>
                  <a:gd name="T4" fmla="*/ 119 w 121"/>
                  <a:gd name="T5" fmla="*/ 49 h 105"/>
                  <a:gd name="T6" fmla="*/ 110 w 121"/>
                  <a:gd name="T7" fmla="*/ 58 h 105"/>
                  <a:gd name="T8" fmla="*/ 110 w 121"/>
                  <a:gd name="T9" fmla="*/ 61 h 105"/>
                  <a:gd name="T10" fmla="*/ 116 w 121"/>
                  <a:gd name="T11" fmla="*/ 64 h 105"/>
                  <a:gd name="T12" fmla="*/ 115 w 121"/>
                  <a:gd name="T13" fmla="*/ 67 h 105"/>
                  <a:gd name="T14" fmla="*/ 103 w 121"/>
                  <a:gd name="T15" fmla="*/ 66 h 105"/>
                  <a:gd name="T16" fmla="*/ 88 w 121"/>
                  <a:gd name="T17" fmla="*/ 72 h 105"/>
                  <a:gd name="T18" fmla="*/ 81 w 121"/>
                  <a:gd name="T19" fmla="*/ 79 h 105"/>
                  <a:gd name="T20" fmla="*/ 78 w 121"/>
                  <a:gd name="T21" fmla="*/ 90 h 105"/>
                  <a:gd name="T22" fmla="*/ 70 w 121"/>
                  <a:gd name="T23" fmla="*/ 101 h 105"/>
                  <a:gd name="T24" fmla="*/ 56 w 121"/>
                  <a:gd name="T25" fmla="*/ 113 h 105"/>
                  <a:gd name="T26" fmla="*/ 41 w 121"/>
                  <a:gd name="T27" fmla="*/ 125 h 105"/>
                  <a:gd name="T28" fmla="*/ 33 w 121"/>
                  <a:gd name="T29" fmla="*/ 124 h 105"/>
                  <a:gd name="T30" fmla="*/ 28 w 121"/>
                  <a:gd name="T31" fmla="*/ 116 h 105"/>
                  <a:gd name="T32" fmla="*/ 19 w 121"/>
                  <a:gd name="T33" fmla="*/ 114 h 105"/>
                  <a:gd name="T34" fmla="*/ 4 w 121"/>
                  <a:gd name="T35" fmla="*/ 113 h 105"/>
                  <a:gd name="T36" fmla="*/ 1 w 121"/>
                  <a:gd name="T37" fmla="*/ 107 h 105"/>
                  <a:gd name="T38" fmla="*/ 13 w 121"/>
                  <a:gd name="T39" fmla="*/ 92 h 105"/>
                  <a:gd name="T40" fmla="*/ 31 w 121"/>
                  <a:gd name="T41" fmla="*/ 78 h 105"/>
                  <a:gd name="T42" fmla="*/ 46 w 121"/>
                  <a:gd name="T43" fmla="*/ 68 h 105"/>
                  <a:gd name="T44" fmla="*/ 56 w 121"/>
                  <a:gd name="T45" fmla="*/ 66 h 105"/>
                  <a:gd name="T46" fmla="*/ 76 w 121"/>
                  <a:gd name="T47" fmla="*/ 52 h 105"/>
                  <a:gd name="T48" fmla="*/ 92 w 121"/>
                  <a:gd name="T49" fmla="*/ 42 h 105"/>
                  <a:gd name="T50" fmla="*/ 101 w 121"/>
                  <a:gd name="T51" fmla="*/ 28 h 105"/>
                  <a:gd name="T52" fmla="*/ 112 w 121"/>
                  <a:gd name="T53" fmla="*/ 16 h 105"/>
                  <a:gd name="T54" fmla="*/ 121 w 121"/>
                  <a:gd name="T55" fmla="*/ 0 h 105"/>
                  <a:gd name="T56" fmla="*/ 125 w 121"/>
                  <a:gd name="T57" fmla="*/ 0 h 105"/>
                  <a:gd name="T58" fmla="*/ 125 w 121"/>
                  <a:gd name="T59" fmla="*/ 5 h 105"/>
                  <a:gd name="T60" fmla="*/ 129 w 121"/>
                  <a:gd name="T61" fmla="*/ 7 h 105"/>
                  <a:gd name="T62" fmla="*/ 127 w 121"/>
                  <a:gd name="T63" fmla="*/ 13 h 105"/>
                  <a:gd name="T64" fmla="*/ 132 w 121"/>
                  <a:gd name="T65" fmla="*/ 17 h 105"/>
                  <a:gd name="T66" fmla="*/ 138 w 121"/>
                  <a:gd name="T67" fmla="*/ 8 h 105"/>
                  <a:gd name="T68" fmla="*/ 142 w 121"/>
                  <a:gd name="T69" fmla="*/ 6 h 105"/>
                  <a:gd name="T70" fmla="*/ 145 w 121"/>
                  <a:gd name="T71" fmla="*/ 12 h 105"/>
                  <a:gd name="T72" fmla="*/ 146 w 121"/>
                  <a:gd name="T73" fmla="*/ 17 h 105"/>
                  <a:gd name="T74" fmla="*/ 140 w 121"/>
                  <a:gd name="T75" fmla="*/ 22 h 105"/>
                  <a:gd name="T76" fmla="*/ 140 w 121"/>
                  <a:gd name="T77" fmla="*/ 28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1"/>
                  <a:gd name="T118" fmla="*/ 0 h 105"/>
                  <a:gd name="T119" fmla="*/ 121 w 121"/>
                  <a:gd name="T120" fmla="*/ 105 h 10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1" h="105">
                    <a:moveTo>
                      <a:pt x="116" y="23"/>
                    </a:moveTo>
                    <a:cubicBezTo>
                      <a:pt x="113" y="26"/>
                      <a:pt x="109" y="29"/>
                      <a:pt x="106" y="32"/>
                    </a:cubicBezTo>
                    <a:cubicBezTo>
                      <a:pt x="103" y="35"/>
                      <a:pt x="102" y="39"/>
                      <a:pt x="99" y="41"/>
                    </a:cubicBezTo>
                    <a:cubicBezTo>
                      <a:pt x="97" y="44"/>
                      <a:pt x="93" y="45"/>
                      <a:pt x="91" y="48"/>
                    </a:cubicBezTo>
                    <a:cubicBezTo>
                      <a:pt x="90" y="49"/>
                      <a:pt x="90" y="50"/>
                      <a:pt x="91" y="51"/>
                    </a:cubicBezTo>
                    <a:cubicBezTo>
                      <a:pt x="92" y="52"/>
                      <a:pt x="95" y="51"/>
                      <a:pt x="96" y="53"/>
                    </a:cubicBezTo>
                    <a:cubicBezTo>
                      <a:pt x="97" y="54"/>
                      <a:pt x="97" y="56"/>
                      <a:pt x="95" y="56"/>
                    </a:cubicBezTo>
                    <a:cubicBezTo>
                      <a:pt x="92" y="57"/>
                      <a:pt x="89" y="54"/>
                      <a:pt x="85" y="55"/>
                    </a:cubicBezTo>
                    <a:cubicBezTo>
                      <a:pt x="81" y="55"/>
                      <a:pt x="77" y="58"/>
                      <a:pt x="73" y="60"/>
                    </a:cubicBezTo>
                    <a:cubicBezTo>
                      <a:pt x="71" y="62"/>
                      <a:pt x="68" y="63"/>
                      <a:pt x="67" y="66"/>
                    </a:cubicBezTo>
                    <a:cubicBezTo>
                      <a:pt x="65" y="68"/>
                      <a:pt x="67" y="72"/>
                      <a:pt x="65" y="75"/>
                    </a:cubicBezTo>
                    <a:cubicBezTo>
                      <a:pt x="64" y="78"/>
                      <a:pt x="61" y="81"/>
                      <a:pt x="58" y="84"/>
                    </a:cubicBezTo>
                    <a:cubicBezTo>
                      <a:pt x="54" y="88"/>
                      <a:pt x="50" y="91"/>
                      <a:pt x="46" y="94"/>
                    </a:cubicBezTo>
                    <a:cubicBezTo>
                      <a:pt x="42" y="98"/>
                      <a:pt x="39" y="102"/>
                      <a:pt x="34" y="104"/>
                    </a:cubicBezTo>
                    <a:cubicBezTo>
                      <a:pt x="32" y="105"/>
                      <a:pt x="29" y="104"/>
                      <a:pt x="27" y="103"/>
                    </a:cubicBezTo>
                    <a:cubicBezTo>
                      <a:pt x="25" y="102"/>
                      <a:pt x="25" y="98"/>
                      <a:pt x="23" y="97"/>
                    </a:cubicBezTo>
                    <a:cubicBezTo>
                      <a:pt x="21" y="96"/>
                      <a:pt x="18" y="95"/>
                      <a:pt x="16" y="95"/>
                    </a:cubicBezTo>
                    <a:cubicBezTo>
                      <a:pt x="12" y="95"/>
                      <a:pt x="7" y="96"/>
                      <a:pt x="3" y="94"/>
                    </a:cubicBezTo>
                    <a:cubicBezTo>
                      <a:pt x="2" y="94"/>
                      <a:pt x="0" y="91"/>
                      <a:pt x="1" y="89"/>
                    </a:cubicBezTo>
                    <a:cubicBezTo>
                      <a:pt x="3" y="84"/>
                      <a:pt x="7" y="80"/>
                      <a:pt x="11" y="77"/>
                    </a:cubicBezTo>
                    <a:cubicBezTo>
                      <a:pt x="16" y="72"/>
                      <a:pt x="21" y="69"/>
                      <a:pt x="26" y="65"/>
                    </a:cubicBezTo>
                    <a:cubicBezTo>
                      <a:pt x="30" y="62"/>
                      <a:pt x="34" y="59"/>
                      <a:pt x="38" y="57"/>
                    </a:cubicBezTo>
                    <a:cubicBezTo>
                      <a:pt x="40" y="56"/>
                      <a:pt x="43" y="56"/>
                      <a:pt x="46" y="55"/>
                    </a:cubicBezTo>
                    <a:cubicBezTo>
                      <a:pt x="52" y="51"/>
                      <a:pt x="57" y="47"/>
                      <a:pt x="63" y="43"/>
                    </a:cubicBezTo>
                    <a:cubicBezTo>
                      <a:pt x="67" y="40"/>
                      <a:pt x="73" y="38"/>
                      <a:pt x="76" y="35"/>
                    </a:cubicBezTo>
                    <a:cubicBezTo>
                      <a:pt x="80" y="31"/>
                      <a:pt x="81" y="26"/>
                      <a:pt x="84" y="23"/>
                    </a:cubicBezTo>
                    <a:cubicBezTo>
                      <a:pt x="86" y="19"/>
                      <a:pt x="90" y="16"/>
                      <a:pt x="93" y="13"/>
                    </a:cubicBezTo>
                    <a:cubicBezTo>
                      <a:pt x="95" y="9"/>
                      <a:pt x="97" y="4"/>
                      <a:pt x="100" y="0"/>
                    </a:cubicBezTo>
                    <a:cubicBezTo>
                      <a:pt x="101" y="0"/>
                      <a:pt x="103" y="0"/>
                      <a:pt x="104" y="0"/>
                    </a:cubicBezTo>
                    <a:cubicBezTo>
                      <a:pt x="104" y="1"/>
                      <a:pt x="103" y="3"/>
                      <a:pt x="104" y="4"/>
                    </a:cubicBezTo>
                    <a:cubicBezTo>
                      <a:pt x="104" y="5"/>
                      <a:pt x="107" y="4"/>
                      <a:pt x="107" y="6"/>
                    </a:cubicBezTo>
                    <a:cubicBezTo>
                      <a:pt x="108" y="7"/>
                      <a:pt x="105" y="9"/>
                      <a:pt x="105" y="11"/>
                    </a:cubicBezTo>
                    <a:cubicBezTo>
                      <a:pt x="106" y="12"/>
                      <a:pt x="108" y="15"/>
                      <a:pt x="109" y="14"/>
                    </a:cubicBezTo>
                    <a:cubicBezTo>
                      <a:pt x="112" y="13"/>
                      <a:pt x="112" y="9"/>
                      <a:pt x="114" y="7"/>
                    </a:cubicBezTo>
                    <a:cubicBezTo>
                      <a:pt x="115" y="6"/>
                      <a:pt x="117" y="5"/>
                      <a:pt x="118" y="5"/>
                    </a:cubicBezTo>
                    <a:cubicBezTo>
                      <a:pt x="119" y="6"/>
                      <a:pt x="119" y="9"/>
                      <a:pt x="120" y="10"/>
                    </a:cubicBezTo>
                    <a:cubicBezTo>
                      <a:pt x="120" y="11"/>
                      <a:pt x="121" y="13"/>
                      <a:pt x="121" y="14"/>
                    </a:cubicBezTo>
                    <a:cubicBezTo>
                      <a:pt x="120" y="15"/>
                      <a:pt x="117" y="16"/>
                      <a:pt x="116" y="18"/>
                    </a:cubicBezTo>
                    <a:cubicBezTo>
                      <a:pt x="116" y="19"/>
                      <a:pt x="117" y="21"/>
                      <a:pt x="116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4" name="Freeform 3135"/>
              <p:cNvSpPr>
                <a:spLocks noChangeAspect="1"/>
              </p:cNvSpPr>
              <p:nvPr/>
            </p:nvSpPr>
            <p:spPr bwMode="auto">
              <a:xfrm>
                <a:off x="8405113" y="5427695"/>
                <a:ext cx="21263" cy="24362"/>
              </a:xfrm>
              <a:custGeom>
                <a:avLst/>
                <a:gdLst>
                  <a:gd name="T0" fmla="*/ 9 w 11"/>
                  <a:gd name="T1" fmla="*/ 0 h 12"/>
                  <a:gd name="T2" fmla="*/ 12 w 11"/>
                  <a:gd name="T3" fmla="*/ 4 h 12"/>
                  <a:gd name="T4" fmla="*/ 9 w 11"/>
                  <a:gd name="T5" fmla="*/ 6 h 12"/>
                  <a:gd name="T6" fmla="*/ 13 w 11"/>
                  <a:gd name="T7" fmla="*/ 10 h 12"/>
                  <a:gd name="T8" fmla="*/ 9 w 11"/>
                  <a:gd name="T9" fmla="*/ 13 h 12"/>
                  <a:gd name="T10" fmla="*/ 1 w 11"/>
                  <a:gd name="T11" fmla="*/ 15 h 12"/>
                  <a:gd name="T12" fmla="*/ 1 w 11"/>
                  <a:gd name="T13" fmla="*/ 13 h 12"/>
                  <a:gd name="T14" fmla="*/ 7 w 11"/>
                  <a:gd name="T15" fmla="*/ 1 h 12"/>
                  <a:gd name="T16" fmla="*/ 9 w 11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2"/>
                  <a:gd name="T29" fmla="*/ 11 w 11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2">
                    <a:moveTo>
                      <a:pt x="8" y="0"/>
                    </a:moveTo>
                    <a:cubicBezTo>
                      <a:pt x="9" y="1"/>
                      <a:pt x="10" y="2"/>
                      <a:pt x="10" y="3"/>
                    </a:cubicBezTo>
                    <a:cubicBezTo>
                      <a:pt x="10" y="4"/>
                      <a:pt x="7" y="4"/>
                      <a:pt x="8" y="5"/>
                    </a:cubicBezTo>
                    <a:cubicBezTo>
                      <a:pt x="8" y="7"/>
                      <a:pt x="11" y="7"/>
                      <a:pt x="11" y="8"/>
                    </a:cubicBezTo>
                    <a:cubicBezTo>
                      <a:pt x="11" y="9"/>
                      <a:pt x="9" y="9"/>
                      <a:pt x="8" y="10"/>
                    </a:cubicBezTo>
                    <a:cubicBezTo>
                      <a:pt x="6" y="11"/>
                      <a:pt x="4" y="12"/>
                      <a:pt x="1" y="12"/>
                    </a:cubicBezTo>
                    <a:cubicBezTo>
                      <a:pt x="1" y="12"/>
                      <a:pt x="0" y="11"/>
                      <a:pt x="1" y="10"/>
                    </a:cubicBezTo>
                    <a:cubicBezTo>
                      <a:pt x="2" y="7"/>
                      <a:pt x="4" y="4"/>
                      <a:pt x="6" y="1"/>
                    </a:cubicBezTo>
                    <a:cubicBezTo>
                      <a:pt x="6" y="0"/>
                      <a:pt x="7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5" name="Freeform 3136"/>
              <p:cNvSpPr>
                <a:spLocks noChangeAspect="1"/>
              </p:cNvSpPr>
              <p:nvPr/>
            </p:nvSpPr>
            <p:spPr bwMode="auto">
              <a:xfrm>
                <a:off x="8333147" y="5556002"/>
                <a:ext cx="11450" cy="19490"/>
              </a:xfrm>
              <a:custGeom>
                <a:avLst/>
                <a:gdLst>
                  <a:gd name="T0" fmla="*/ 1 w 6"/>
                  <a:gd name="T1" fmla="*/ 6 h 10"/>
                  <a:gd name="T2" fmla="*/ 5 w 6"/>
                  <a:gd name="T3" fmla="*/ 1 h 10"/>
                  <a:gd name="T4" fmla="*/ 7 w 6"/>
                  <a:gd name="T5" fmla="*/ 1 h 10"/>
                  <a:gd name="T6" fmla="*/ 5 w 6"/>
                  <a:gd name="T7" fmla="*/ 11 h 10"/>
                  <a:gd name="T8" fmla="*/ 1 w 6"/>
                  <a:gd name="T9" fmla="*/ 11 h 10"/>
                  <a:gd name="T10" fmla="*/ 1 w 6"/>
                  <a:gd name="T11" fmla="*/ 6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0"/>
                  <a:gd name="T20" fmla="*/ 6 w 6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0">
                    <a:moveTo>
                      <a:pt x="1" y="5"/>
                    </a:moveTo>
                    <a:cubicBezTo>
                      <a:pt x="1" y="3"/>
                      <a:pt x="3" y="2"/>
                      <a:pt x="4" y="1"/>
                    </a:cubicBezTo>
                    <a:cubicBezTo>
                      <a:pt x="5" y="0"/>
                      <a:pt x="6" y="1"/>
                      <a:pt x="6" y="1"/>
                    </a:cubicBezTo>
                    <a:cubicBezTo>
                      <a:pt x="6" y="4"/>
                      <a:pt x="5" y="7"/>
                      <a:pt x="4" y="9"/>
                    </a:cubicBezTo>
                    <a:cubicBezTo>
                      <a:pt x="4" y="9"/>
                      <a:pt x="2" y="10"/>
                      <a:pt x="1" y="9"/>
                    </a:cubicBezTo>
                    <a:cubicBezTo>
                      <a:pt x="0" y="8"/>
                      <a:pt x="0" y="6"/>
                      <a:pt x="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6" name="Freeform 3137"/>
              <p:cNvSpPr>
                <a:spLocks noChangeAspect="1"/>
              </p:cNvSpPr>
              <p:nvPr/>
            </p:nvSpPr>
            <p:spPr bwMode="auto">
              <a:xfrm>
                <a:off x="6071128" y="5487789"/>
                <a:ext cx="49068" cy="43852"/>
              </a:xfrm>
              <a:custGeom>
                <a:avLst/>
                <a:gdLst>
                  <a:gd name="T0" fmla="*/ 4 w 25"/>
                  <a:gd name="T1" fmla="*/ 2 h 23"/>
                  <a:gd name="T2" fmla="*/ 8 w 25"/>
                  <a:gd name="T3" fmla="*/ 5 h 23"/>
                  <a:gd name="T4" fmla="*/ 6 w 25"/>
                  <a:gd name="T5" fmla="*/ 12 h 23"/>
                  <a:gd name="T6" fmla="*/ 10 w 25"/>
                  <a:gd name="T7" fmla="*/ 12 h 23"/>
                  <a:gd name="T8" fmla="*/ 17 w 25"/>
                  <a:gd name="T9" fmla="*/ 9 h 23"/>
                  <a:gd name="T10" fmla="*/ 14 w 25"/>
                  <a:gd name="T11" fmla="*/ 14 h 23"/>
                  <a:gd name="T12" fmla="*/ 20 w 25"/>
                  <a:gd name="T13" fmla="*/ 14 h 23"/>
                  <a:gd name="T14" fmla="*/ 29 w 25"/>
                  <a:gd name="T15" fmla="*/ 12 h 23"/>
                  <a:gd name="T16" fmla="*/ 29 w 25"/>
                  <a:gd name="T17" fmla="*/ 16 h 23"/>
                  <a:gd name="T18" fmla="*/ 20 w 25"/>
                  <a:gd name="T19" fmla="*/ 19 h 23"/>
                  <a:gd name="T20" fmla="*/ 19 w 25"/>
                  <a:gd name="T21" fmla="*/ 21 h 23"/>
                  <a:gd name="T22" fmla="*/ 25 w 25"/>
                  <a:gd name="T23" fmla="*/ 22 h 23"/>
                  <a:gd name="T24" fmla="*/ 24 w 25"/>
                  <a:gd name="T25" fmla="*/ 25 h 23"/>
                  <a:gd name="T26" fmla="*/ 18 w 25"/>
                  <a:gd name="T27" fmla="*/ 23 h 23"/>
                  <a:gd name="T28" fmla="*/ 14 w 25"/>
                  <a:gd name="T29" fmla="*/ 22 h 23"/>
                  <a:gd name="T30" fmla="*/ 10 w 25"/>
                  <a:gd name="T31" fmla="*/ 22 h 23"/>
                  <a:gd name="T32" fmla="*/ 5 w 25"/>
                  <a:gd name="T33" fmla="*/ 26 h 23"/>
                  <a:gd name="T34" fmla="*/ 0 w 25"/>
                  <a:gd name="T35" fmla="*/ 23 h 23"/>
                  <a:gd name="T36" fmla="*/ 1 w 25"/>
                  <a:gd name="T37" fmla="*/ 12 h 23"/>
                  <a:gd name="T38" fmla="*/ 4 w 25"/>
                  <a:gd name="T39" fmla="*/ 2 h 2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5"/>
                  <a:gd name="T61" fmla="*/ 0 h 23"/>
                  <a:gd name="T62" fmla="*/ 25 w 25"/>
                  <a:gd name="T63" fmla="*/ 23 h 2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5" h="23">
                    <a:moveTo>
                      <a:pt x="3" y="2"/>
                    </a:moveTo>
                    <a:cubicBezTo>
                      <a:pt x="4" y="0"/>
                      <a:pt x="6" y="3"/>
                      <a:pt x="7" y="4"/>
                    </a:cubicBezTo>
                    <a:cubicBezTo>
                      <a:pt x="7" y="6"/>
                      <a:pt x="4" y="8"/>
                      <a:pt x="5" y="10"/>
                    </a:cubicBezTo>
                    <a:cubicBezTo>
                      <a:pt x="5" y="12"/>
                      <a:pt x="7" y="10"/>
                      <a:pt x="8" y="10"/>
                    </a:cubicBezTo>
                    <a:cubicBezTo>
                      <a:pt x="10" y="9"/>
                      <a:pt x="12" y="7"/>
                      <a:pt x="14" y="8"/>
                    </a:cubicBezTo>
                    <a:cubicBezTo>
                      <a:pt x="16" y="8"/>
                      <a:pt x="11" y="11"/>
                      <a:pt x="12" y="12"/>
                    </a:cubicBezTo>
                    <a:cubicBezTo>
                      <a:pt x="13" y="13"/>
                      <a:pt x="15" y="12"/>
                      <a:pt x="17" y="12"/>
                    </a:cubicBezTo>
                    <a:cubicBezTo>
                      <a:pt x="19" y="12"/>
                      <a:pt x="21" y="9"/>
                      <a:pt x="24" y="10"/>
                    </a:cubicBezTo>
                    <a:cubicBezTo>
                      <a:pt x="25" y="10"/>
                      <a:pt x="25" y="13"/>
                      <a:pt x="24" y="14"/>
                    </a:cubicBezTo>
                    <a:cubicBezTo>
                      <a:pt x="22" y="16"/>
                      <a:pt x="19" y="15"/>
                      <a:pt x="17" y="16"/>
                    </a:cubicBezTo>
                    <a:cubicBezTo>
                      <a:pt x="16" y="16"/>
                      <a:pt x="15" y="18"/>
                      <a:pt x="16" y="18"/>
                    </a:cubicBezTo>
                    <a:cubicBezTo>
                      <a:pt x="17" y="19"/>
                      <a:pt x="19" y="18"/>
                      <a:pt x="21" y="19"/>
                    </a:cubicBezTo>
                    <a:cubicBezTo>
                      <a:pt x="21" y="19"/>
                      <a:pt x="21" y="21"/>
                      <a:pt x="20" y="21"/>
                    </a:cubicBezTo>
                    <a:cubicBezTo>
                      <a:pt x="19" y="22"/>
                      <a:pt x="17" y="21"/>
                      <a:pt x="15" y="20"/>
                    </a:cubicBezTo>
                    <a:cubicBezTo>
                      <a:pt x="14" y="20"/>
                      <a:pt x="13" y="19"/>
                      <a:pt x="12" y="19"/>
                    </a:cubicBezTo>
                    <a:cubicBezTo>
                      <a:pt x="11" y="19"/>
                      <a:pt x="10" y="19"/>
                      <a:pt x="8" y="19"/>
                    </a:cubicBezTo>
                    <a:cubicBezTo>
                      <a:pt x="7" y="20"/>
                      <a:pt x="6" y="22"/>
                      <a:pt x="4" y="22"/>
                    </a:cubicBezTo>
                    <a:cubicBezTo>
                      <a:pt x="2" y="23"/>
                      <a:pt x="1" y="22"/>
                      <a:pt x="0" y="20"/>
                    </a:cubicBezTo>
                    <a:cubicBezTo>
                      <a:pt x="1" y="17"/>
                      <a:pt x="1" y="13"/>
                      <a:pt x="1" y="10"/>
                    </a:cubicBezTo>
                    <a:cubicBezTo>
                      <a:pt x="2" y="7"/>
                      <a:pt x="2" y="4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7" name="Freeform 3138"/>
              <p:cNvSpPr>
                <a:spLocks noChangeAspect="1"/>
              </p:cNvSpPr>
              <p:nvPr/>
            </p:nvSpPr>
            <p:spPr bwMode="auto">
              <a:xfrm>
                <a:off x="3908881" y="1913075"/>
                <a:ext cx="250245" cy="133179"/>
              </a:xfrm>
              <a:custGeom>
                <a:avLst/>
                <a:gdLst>
                  <a:gd name="T0" fmla="*/ 123 w 127"/>
                  <a:gd name="T1" fmla="*/ 59 h 68"/>
                  <a:gd name="T2" fmla="*/ 92 w 127"/>
                  <a:gd name="T3" fmla="*/ 72 h 68"/>
                  <a:gd name="T4" fmla="*/ 69 w 127"/>
                  <a:gd name="T5" fmla="*/ 80 h 68"/>
                  <a:gd name="T6" fmla="*/ 54 w 127"/>
                  <a:gd name="T7" fmla="*/ 70 h 68"/>
                  <a:gd name="T8" fmla="*/ 46 w 127"/>
                  <a:gd name="T9" fmla="*/ 70 h 68"/>
                  <a:gd name="T10" fmla="*/ 25 w 127"/>
                  <a:gd name="T11" fmla="*/ 69 h 68"/>
                  <a:gd name="T12" fmla="*/ 39 w 127"/>
                  <a:gd name="T13" fmla="*/ 63 h 68"/>
                  <a:gd name="T14" fmla="*/ 35 w 127"/>
                  <a:gd name="T15" fmla="*/ 54 h 68"/>
                  <a:gd name="T16" fmla="*/ 30 w 127"/>
                  <a:gd name="T17" fmla="*/ 46 h 68"/>
                  <a:gd name="T18" fmla="*/ 10 w 127"/>
                  <a:gd name="T19" fmla="*/ 48 h 68"/>
                  <a:gd name="T20" fmla="*/ 19 w 127"/>
                  <a:gd name="T21" fmla="*/ 42 h 68"/>
                  <a:gd name="T22" fmla="*/ 39 w 127"/>
                  <a:gd name="T23" fmla="*/ 40 h 68"/>
                  <a:gd name="T24" fmla="*/ 31 w 127"/>
                  <a:gd name="T25" fmla="*/ 37 h 68"/>
                  <a:gd name="T26" fmla="*/ 37 w 127"/>
                  <a:gd name="T27" fmla="*/ 33 h 68"/>
                  <a:gd name="T28" fmla="*/ 22 w 127"/>
                  <a:gd name="T29" fmla="*/ 28 h 68"/>
                  <a:gd name="T30" fmla="*/ 10 w 127"/>
                  <a:gd name="T31" fmla="*/ 33 h 68"/>
                  <a:gd name="T32" fmla="*/ 5 w 127"/>
                  <a:gd name="T33" fmla="*/ 27 h 68"/>
                  <a:gd name="T34" fmla="*/ 8 w 127"/>
                  <a:gd name="T35" fmla="*/ 22 h 68"/>
                  <a:gd name="T36" fmla="*/ 16 w 127"/>
                  <a:gd name="T37" fmla="*/ 22 h 68"/>
                  <a:gd name="T38" fmla="*/ 16 w 127"/>
                  <a:gd name="T39" fmla="*/ 18 h 68"/>
                  <a:gd name="T40" fmla="*/ 16 w 127"/>
                  <a:gd name="T41" fmla="*/ 7 h 68"/>
                  <a:gd name="T42" fmla="*/ 33 w 127"/>
                  <a:gd name="T43" fmla="*/ 19 h 68"/>
                  <a:gd name="T44" fmla="*/ 24 w 127"/>
                  <a:gd name="T45" fmla="*/ 8 h 68"/>
                  <a:gd name="T46" fmla="*/ 22 w 127"/>
                  <a:gd name="T47" fmla="*/ 4 h 68"/>
                  <a:gd name="T48" fmla="*/ 40 w 127"/>
                  <a:gd name="T49" fmla="*/ 12 h 68"/>
                  <a:gd name="T50" fmla="*/ 45 w 127"/>
                  <a:gd name="T51" fmla="*/ 18 h 68"/>
                  <a:gd name="T52" fmla="*/ 42 w 127"/>
                  <a:gd name="T53" fmla="*/ 22 h 68"/>
                  <a:gd name="T54" fmla="*/ 48 w 127"/>
                  <a:gd name="T55" fmla="*/ 39 h 68"/>
                  <a:gd name="T56" fmla="*/ 54 w 127"/>
                  <a:gd name="T57" fmla="*/ 25 h 68"/>
                  <a:gd name="T58" fmla="*/ 60 w 127"/>
                  <a:gd name="T59" fmla="*/ 25 h 68"/>
                  <a:gd name="T60" fmla="*/ 61 w 127"/>
                  <a:gd name="T61" fmla="*/ 12 h 68"/>
                  <a:gd name="T62" fmla="*/ 73 w 127"/>
                  <a:gd name="T63" fmla="*/ 27 h 68"/>
                  <a:gd name="T64" fmla="*/ 82 w 127"/>
                  <a:gd name="T65" fmla="*/ 11 h 68"/>
                  <a:gd name="T66" fmla="*/ 92 w 127"/>
                  <a:gd name="T67" fmla="*/ 23 h 68"/>
                  <a:gd name="T68" fmla="*/ 95 w 127"/>
                  <a:gd name="T69" fmla="*/ 13 h 68"/>
                  <a:gd name="T70" fmla="*/ 99 w 127"/>
                  <a:gd name="T71" fmla="*/ 17 h 68"/>
                  <a:gd name="T72" fmla="*/ 107 w 127"/>
                  <a:gd name="T73" fmla="*/ 10 h 68"/>
                  <a:gd name="T74" fmla="*/ 113 w 127"/>
                  <a:gd name="T75" fmla="*/ 7 h 68"/>
                  <a:gd name="T76" fmla="*/ 119 w 127"/>
                  <a:gd name="T77" fmla="*/ 4 h 68"/>
                  <a:gd name="T78" fmla="*/ 133 w 127"/>
                  <a:gd name="T79" fmla="*/ 7 h 68"/>
                  <a:gd name="T80" fmla="*/ 133 w 127"/>
                  <a:gd name="T81" fmla="*/ 16 h 68"/>
                  <a:gd name="T82" fmla="*/ 135 w 127"/>
                  <a:gd name="T83" fmla="*/ 24 h 68"/>
                  <a:gd name="T84" fmla="*/ 147 w 127"/>
                  <a:gd name="T85" fmla="*/ 29 h 68"/>
                  <a:gd name="T86" fmla="*/ 145 w 127"/>
                  <a:gd name="T87" fmla="*/ 39 h 68"/>
                  <a:gd name="T88" fmla="*/ 139 w 127"/>
                  <a:gd name="T89" fmla="*/ 55 h 6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7"/>
                  <a:gd name="T136" fmla="*/ 0 h 68"/>
                  <a:gd name="T137" fmla="*/ 127 w 127"/>
                  <a:gd name="T138" fmla="*/ 68 h 6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7" h="68">
                    <a:moveTo>
                      <a:pt x="115" y="46"/>
                    </a:moveTo>
                    <a:cubicBezTo>
                      <a:pt x="111" y="48"/>
                      <a:pt x="106" y="47"/>
                      <a:pt x="102" y="49"/>
                    </a:cubicBezTo>
                    <a:cubicBezTo>
                      <a:pt x="97" y="51"/>
                      <a:pt x="94" y="56"/>
                      <a:pt x="89" y="58"/>
                    </a:cubicBezTo>
                    <a:cubicBezTo>
                      <a:pt x="85" y="60"/>
                      <a:pt x="80" y="58"/>
                      <a:pt x="76" y="60"/>
                    </a:cubicBezTo>
                    <a:cubicBezTo>
                      <a:pt x="73" y="61"/>
                      <a:pt x="73" y="65"/>
                      <a:pt x="70" y="66"/>
                    </a:cubicBezTo>
                    <a:cubicBezTo>
                      <a:pt x="66" y="68"/>
                      <a:pt x="61" y="67"/>
                      <a:pt x="57" y="66"/>
                    </a:cubicBezTo>
                    <a:cubicBezTo>
                      <a:pt x="53" y="65"/>
                      <a:pt x="48" y="65"/>
                      <a:pt x="45" y="63"/>
                    </a:cubicBezTo>
                    <a:cubicBezTo>
                      <a:pt x="44" y="62"/>
                      <a:pt x="46" y="60"/>
                      <a:pt x="45" y="58"/>
                    </a:cubicBezTo>
                    <a:cubicBezTo>
                      <a:pt x="44" y="58"/>
                      <a:pt x="43" y="59"/>
                      <a:pt x="42" y="59"/>
                    </a:cubicBezTo>
                    <a:cubicBezTo>
                      <a:pt x="40" y="59"/>
                      <a:pt x="39" y="59"/>
                      <a:pt x="38" y="58"/>
                    </a:cubicBezTo>
                    <a:cubicBezTo>
                      <a:pt x="37" y="58"/>
                      <a:pt x="37" y="55"/>
                      <a:pt x="36" y="55"/>
                    </a:cubicBezTo>
                    <a:cubicBezTo>
                      <a:pt x="31" y="55"/>
                      <a:pt x="26" y="57"/>
                      <a:pt x="21" y="57"/>
                    </a:cubicBezTo>
                    <a:cubicBezTo>
                      <a:pt x="20" y="57"/>
                      <a:pt x="20" y="56"/>
                      <a:pt x="21" y="55"/>
                    </a:cubicBezTo>
                    <a:cubicBezTo>
                      <a:pt x="24" y="54"/>
                      <a:pt x="29" y="55"/>
                      <a:pt x="32" y="52"/>
                    </a:cubicBezTo>
                    <a:cubicBezTo>
                      <a:pt x="33" y="50"/>
                      <a:pt x="28" y="49"/>
                      <a:pt x="27" y="47"/>
                    </a:cubicBezTo>
                    <a:cubicBezTo>
                      <a:pt x="27" y="46"/>
                      <a:pt x="29" y="46"/>
                      <a:pt x="29" y="45"/>
                    </a:cubicBezTo>
                    <a:cubicBezTo>
                      <a:pt x="28" y="44"/>
                      <a:pt x="26" y="45"/>
                      <a:pt x="25" y="44"/>
                    </a:cubicBezTo>
                    <a:cubicBezTo>
                      <a:pt x="24" y="42"/>
                      <a:pt x="26" y="39"/>
                      <a:pt x="25" y="38"/>
                    </a:cubicBezTo>
                    <a:cubicBezTo>
                      <a:pt x="23" y="37"/>
                      <a:pt x="21" y="38"/>
                      <a:pt x="19" y="38"/>
                    </a:cubicBezTo>
                    <a:cubicBezTo>
                      <a:pt x="15" y="39"/>
                      <a:pt x="11" y="41"/>
                      <a:pt x="8" y="40"/>
                    </a:cubicBezTo>
                    <a:cubicBezTo>
                      <a:pt x="6" y="39"/>
                      <a:pt x="6" y="36"/>
                      <a:pt x="7" y="35"/>
                    </a:cubicBezTo>
                    <a:cubicBezTo>
                      <a:pt x="10" y="34"/>
                      <a:pt x="13" y="35"/>
                      <a:pt x="16" y="35"/>
                    </a:cubicBezTo>
                    <a:cubicBezTo>
                      <a:pt x="18" y="34"/>
                      <a:pt x="21" y="34"/>
                      <a:pt x="23" y="34"/>
                    </a:cubicBezTo>
                    <a:cubicBezTo>
                      <a:pt x="26" y="34"/>
                      <a:pt x="29" y="34"/>
                      <a:pt x="32" y="33"/>
                    </a:cubicBezTo>
                    <a:cubicBezTo>
                      <a:pt x="33" y="33"/>
                      <a:pt x="33" y="31"/>
                      <a:pt x="32" y="31"/>
                    </a:cubicBezTo>
                    <a:cubicBezTo>
                      <a:pt x="30" y="30"/>
                      <a:pt x="28" y="32"/>
                      <a:pt x="26" y="31"/>
                    </a:cubicBezTo>
                    <a:cubicBezTo>
                      <a:pt x="25" y="31"/>
                      <a:pt x="23" y="30"/>
                      <a:pt x="24" y="29"/>
                    </a:cubicBezTo>
                    <a:cubicBezTo>
                      <a:pt x="26" y="27"/>
                      <a:pt x="30" y="29"/>
                      <a:pt x="31" y="27"/>
                    </a:cubicBezTo>
                    <a:cubicBezTo>
                      <a:pt x="32" y="25"/>
                      <a:pt x="29" y="23"/>
                      <a:pt x="27" y="23"/>
                    </a:cubicBezTo>
                    <a:cubicBezTo>
                      <a:pt x="24" y="22"/>
                      <a:pt x="21" y="22"/>
                      <a:pt x="18" y="23"/>
                    </a:cubicBezTo>
                    <a:cubicBezTo>
                      <a:pt x="15" y="24"/>
                      <a:pt x="14" y="26"/>
                      <a:pt x="12" y="27"/>
                    </a:cubicBezTo>
                    <a:cubicBezTo>
                      <a:pt x="11" y="28"/>
                      <a:pt x="9" y="28"/>
                      <a:pt x="8" y="27"/>
                    </a:cubicBezTo>
                    <a:cubicBezTo>
                      <a:pt x="6" y="27"/>
                      <a:pt x="3" y="27"/>
                      <a:pt x="1" y="25"/>
                    </a:cubicBezTo>
                    <a:cubicBezTo>
                      <a:pt x="0" y="24"/>
                      <a:pt x="2" y="22"/>
                      <a:pt x="4" y="22"/>
                    </a:cubicBezTo>
                    <a:cubicBezTo>
                      <a:pt x="5" y="22"/>
                      <a:pt x="7" y="24"/>
                      <a:pt x="8" y="23"/>
                    </a:cubicBezTo>
                    <a:cubicBezTo>
                      <a:pt x="9" y="22"/>
                      <a:pt x="5" y="19"/>
                      <a:pt x="7" y="18"/>
                    </a:cubicBezTo>
                    <a:cubicBezTo>
                      <a:pt x="8" y="17"/>
                      <a:pt x="10" y="21"/>
                      <a:pt x="11" y="21"/>
                    </a:cubicBezTo>
                    <a:cubicBezTo>
                      <a:pt x="13" y="21"/>
                      <a:pt x="14" y="19"/>
                      <a:pt x="13" y="18"/>
                    </a:cubicBezTo>
                    <a:cubicBezTo>
                      <a:pt x="12" y="17"/>
                      <a:pt x="9" y="18"/>
                      <a:pt x="9" y="17"/>
                    </a:cubicBezTo>
                    <a:cubicBezTo>
                      <a:pt x="9" y="15"/>
                      <a:pt x="13" y="16"/>
                      <a:pt x="13" y="15"/>
                    </a:cubicBezTo>
                    <a:cubicBezTo>
                      <a:pt x="13" y="13"/>
                      <a:pt x="10" y="13"/>
                      <a:pt x="10" y="12"/>
                    </a:cubicBezTo>
                    <a:cubicBezTo>
                      <a:pt x="10" y="10"/>
                      <a:pt x="11" y="6"/>
                      <a:pt x="13" y="6"/>
                    </a:cubicBezTo>
                    <a:cubicBezTo>
                      <a:pt x="16" y="7"/>
                      <a:pt x="18" y="11"/>
                      <a:pt x="21" y="13"/>
                    </a:cubicBezTo>
                    <a:cubicBezTo>
                      <a:pt x="23" y="14"/>
                      <a:pt x="25" y="16"/>
                      <a:pt x="27" y="16"/>
                    </a:cubicBezTo>
                    <a:cubicBezTo>
                      <a:pt x="29" y="15"/>
                      <a:pt x="30" y="12"/>
                      <a:pt x="29" y="10"/>
                    </a:cubicBezTo>
                    <a:cubicBezTo>
                      <a:pt x="27" y="8"/>
                      <a:pt x="22" y="9"/>
                      <a:pt x="20" y="7"/>
                    </a:cubicBezTo>
                    <a:cubicBezTo>
                      <a:pt x="19" y="6"/>
                      <a:pt x="25" y="7"/>
                      <a:pt x="25" y="6"/>
                    </a:cubicBezTo>
                    <a:cubicBezTo>
                      <a:pt x="24" y="4"/>
                      <a:pt x="17" y="5"/>
                      <a:pt x="18" y="3"/>
                    </a:cubicBezTo>
                    <a:cubicBezTo>
                      <a:pt x="20" y="0"/>
                      <a:pt x="24" y="1"/>
                      <a:pt x="27" y="2"/>
                    </a:cubicBezTo>
                    <a:cubicBezTo>
                      <a:pt x="30" y="4"/>
                      <a:pt x="31" y="8"/>
                      <a:pt x="33" y="10"/>
                    </a:cubicBezTo>
                    <a:cubicBezTo>
                      <a:pt x="35" y="11"/>
                      <a:pt x="38" y="11"/>
                      <a:pt x="39" y="13"/>
                    </a:cubicBezTo>
                    <a:cubicBezTo>
                      <a:pt x="40" y="14"/>
                      <a:pt x="37" y="14"/>
                      <a:pt x="37" y="15"/>
                    </a:cubicBezTo>
                    <a:cubicBezTo>
                      <a:pt x="37" y="17"/>
                      <a:pt x="41" y="17"/>
                      <a:pt x="41" y="18"/>
                    </a:cubicBezTo>
                    <a:cubicBezTo>
                      <a:pt x="40" y="20"/>
                      <a:pt x="36" y="17"/>
                      <a:pt x="35" y="18"/>
                    </a:cubicBezTo>
                    <a:cubicBezTo>
                      <a:pt x="35" y="21"/>
                      <a:pt x="39" y="22"/>
                      <a:pt x="39" y="24"/>
                    </a:cubicBezTo>
                    <a:cubicBezTo>
                      <a:pt x="40" y="26"/>
                      <a:pt x="38" y="33"/>
                      <a:pt x="40" y="32"/>
                    </a:cubicBezTo>
                    <a:cubicBezTo>
                      <a:pt x="43" y="30"/>
                      <a:pt x="42" y="25"/>
                      <a:pt x="44" y="21"/>
                    </a:cubicBezTo>
                    <a:cubicBezTo>
                      <a:pt x="44" y="21"/>
                      <a:pt x="45" y="21"/>
                      <a:pt x="45" y="21"/>
                    </a:cubicBezTo>
                    <a:cubicBezTo>
                      <a:pt x="46" y="22"/>
                      <a:pt x="45" y="24"/>
                      <a:pt x="46" y="24"/>
                    </a:cubicBezTo>
                    <a:cubicBezTo>
                      <a:pt x="47" y="23"/>
                      <a:pt x="50" y="22"/>
                      <a:pt x="50" y="21"/>
                    </a:cubicBezTo>
                    <a:cubicBezTo>
                      <a:pt x="50" y="17"/>
                      <a:pt x="46" y="14"/>
                      <a:pt x="46" y="11"/>
                    </a:cubicBezTo>
                    <a:cubicBezTo>
                      <a:pt x="46" y="9"/>
                      <a:pt x="50" y="8"/>
                      <a:pt x="51" y="10"/>
                    </a:cubicBezTo>
                    <a:cubicBezTo>
                      <a:pt x="54" y="12"/>
                      <a:pt x="54" y="18"/>
                      <a:pt x="57" y="21"/>
                    </a:cubicBezTo>
                    <a:cubicBezTo>
                      <a:pt x="58" y="22"/>
                      <a:pt x="60" y="23"/>
                      <a:pt x="61" y="22"/>
                    </a:cubicBezTo>
                    <a:cubicBezTo>
                      <a:pt x="62" y="19"/>
                      <a:pt x="60" y="14"/>
                      <a:pt x="62" y="11"/>
                    </a:cubicBezTo>
                    <a:cubicBezTo>
                      <a:pt x="63" y="9"/>
                      <a:pt x="67" y="7"/>
                      <a:pt x="68" y="9"/>
                    </a:cubicBezTo>
                    <a:cubicBezTo>
                      <a:pt x="71" y="11"/>
                      <a:pt x="70" y="16"/>
                      <a:pt x="72" y="19"/>
                    </a:cubicBezTo>
                    <a:cubicBezTo>
                      <a:pt x="73" y="20"/>
                      <a:pt x="76" y="20"/>
                      <a:pt x="76" y="19"/>
                    </a:cubicBezTo>
                    <a:cubicBezTo>
                      <a:pt x="76" y="15"/>
                      <a:pt x="72" y="12"/>
                      <a:pt x="73" y="9"/>
                    </a:cubicBezTo>
                    <a:cubicBezTo>
                      <a:pt x="74" y="7"/>
                      <a:pt x="78" y="9"/>
                      <a:pt x="79" y="11"/>
                    </a:cubicBezTo>
                    <a:cubicBezTo>
                      <a:pt x="80" y="12"/>
                      <a:pt x="78" y="14"/>
                      <a:pt x="79" y="14"/>
                    </a:cubicBezTo>
                    <a:cubicBezTo>
                      <a:pt x="80" y="15"/>
                      <a:pt x="82" y="15"/>
                      <a:pt x="82" y="14"/>
                    </a:cubicBezTo>
                    <a:cubicBezTo>
                      <a:pt x="84" y="13"/>
                      <a:pt x="84" y="10"/>
                      <a:pt x="85" y="8"/>
                    </a:cubicBezTo>
                    <a:cubicBezTo>
                      <a:pt x="86" y="7"/>
                      <a:pt x="88" y="7"/>
                      <a:pt x="89" y="8"/>
                    </a:cubicBezTo>
                    <a:cubicBezTo>
                      <a:pt x="90" y="8"/>
                      <a:pt x="91" y="10"/>
                      <a:pt x="92" y="10"/>
                    </a:cubicBezTo>
                    <a:cubicBezTo>
                      <a:pt x="93" y="9"/>
                      <a:pt x="94" y="8"/>
                      <a:pt x="94" y="6"/>
                    </a:cubicBezTo>
                    <a:cubicBezTo>
                      <a:pt x="94" y="5"/>
                      <a:pt x="92" y="3"/>
                      <a:pt x="93" y="3"/>
                    </a:cubicBezTo>
                    <a:cubicBezTo>
                      <a:pt x="95" y="2"/>
                      <a:pt x="98" y="2"/>
                      <a:pt x="99" y="3"/>
                    </a:cubicBezTo>
                    <a:cubicBezTo>
                      <a:pt x="102" y="4"/>
                      <a:pt x="102" y="7"/>
                      <a:pt x="105" y="8"/>
                    </a:cubicBezTo>
                    <a:cubicBezTo>
                      <a:pt x="107" y="9"/>
                      <a:pt x="108" y="6"/>
                      <a:pt x="110" y="6"/>
                    </a:cubicBezTo>
                    <a:cubicBezTo>
                      <a:pt x="111" y="6"/>
                      <a:pt x="110" y="8"/>
                      <a:pt x="110" y="9"/>
                    </a:cubicBezTo>
                    <a:cubicBezTo>
                      <a:pt x="110" y="10"/>
                      <a:pt x="109" y="12"/>
                      <a:pt x="110" y="13"/>
                    </a:cubicBezTo>
                    <a:cubicBezTo>
                      <a:pt x="111" y="14"/>
                      <a:pt x="114" y="12"/>
                      <a:pt x="114" y="13"/>
                    </a:cubicBezTo>
                    <a:cubicBezTo>
                      <a:pt x="115" y="15"/>
                      <a:pt x="111" y="18"/>
                      <a:pt x="112" y="20"/>
                    </a:cubicBezTo>
                    <a:cubicBezTo>
                      <a:pt x="113" y="21"/>
                      <a:pt x="116" y="19"/>
                      <a:pt x="117" y="20"/>
                    </a:cubicBezTo>
                    <a:cubicBezTo>
                      <a:pt x="119" y="21"/>
                      <a:pt x="122" y="22"/>
                      <a:pt x="122" y="24"/>
                    </a:cubicBezTo>
                    <a:cubicBezTo>
                      <a:pt x="123" y="26"/>
                      <a:pt x="119" y="28"/>
                      <a:pt x="121" y="29"/>
                    </a:cubicBezTo>
                    <a:cubicBezTo>
                      <a:pt x="127" y="33"/>
                      <a:pt x="127" y="34"/>
                      <a:pt x="120" y="32"/>
                    </a:cubicBezTo>
                    <a:cubicBezTo>
                      <a:pt x="118" y="31"/>
                      <a:pt x="122" y="35"/>
                      <a:pt x="121" y="37"/>
                    </a:cubicBezTo>
                    <a:cubicBezTo>
                      <a:pt x="120" y="41"/>
                      <a:pt x="118" y="44"/>
                      <a:pt x="115" y="4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8" name="Freeform 3139"/>
              <p:cNvSpPr>
                <a:spLocks noChangeAspect="1"/>
              </p:cNvSpPr>
              <p:nvPr/>
            </p:nvSpPr>
            <p:spPr bwMode="auto">
              <a:xfrm>
                <a:off x="4257262" y="1723052"/>
                <a:ext cx="31077" cy="24362"/>
              </a:xfrm>
              <a:custGeom>
                <a:avLst/>
                <a:gdLst>
                  <a:gd name="T0" fmla="*/ 4 w 16"/>
                  <a:gd name="T1" fmla="*/ 15 h 13"/>
                  <a:gd name="T2" fmla="*/ 1 w 16"/>
                  <a:gd name="T3" fmla="*/ 13 h 13"/>
                  <a:gd name="T4" fmla="*/ 6 w 16"/>
                  <a:gd name="T5" fmla="*/ 7 h 13"/>
                  <a:gd name="T6" fmla="*/ 12 w 16"/>
                  <a:gd name="T7" fmla="*/ 1 h 13"/>
                  <a:gd name="T8" fmla="*/ 17 w 16"/>
                  <a:gd name="T9" fmla="*/ 1 h 13"/>
                  <a:gd name="T10" fmla="*/ 17 w 16"/>
                  <a:gd name="T11" fmla="*/ 7 h 13"/>
                  <a:gd name="T12" fmla="*/ 7 w 16"/>
                  <a:gd name="T13" fmla="*/ 9 h 13"/>
                  <a:gd name="T14" fmla="*/ 4 w 16"/>
                  <a:gd name="T15" fmla="*/ 15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"/>
                  <a:gd name="T25" fmla="*/ 0 h 13"/>
                  <a:gd name="T26" fmla="*/ 16 w 16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" h="13">
                    <a:moveTo>
                      <a:pt x="3" y="13"/>
                    </a:moveTo>
                    <a:cubicBezTo>
                      <a:pt x="2" y="13"/>
                      <a:pt x="0" y="12"/>
                      <a:pt x="1" y="11"/>
                    </a:cubicBezTo>
                    <a:cubicBezTo>
                      <a:pt x="1" y="9"/>
                      <a:pt x="3" y="7"/>
                      <a:pt x="5" y="6"/>
                    </a:cubicBezTo>
                    <a:cubicBezTo>
                      <a:pt x="7" y="4"/>
                      <a:pt x="8" y="2"/>
                      <a:pt x="10" y="1"/>
                    </a:cubicBezTo>
                    <a:cubicBezTo>
                      <a:pt x="12" y="1"/>
                      <a:pt x="13" y="0"/>
                      <a:pt x="14" y="1"/>
                    </a:cubicBezTo>
                    <a:cubicBezTo>
                      <a:pt x="15" y="2"/>
                      <a:pt x="16" y="5"/>
                      <a:pt x="14" y="6"/>
                    </a:cubicBezTo>
                    <a:cubicBezTo>
                      <a:pt x="12" y="8"/>
                      <a:pt x="9" y="7"/>
                      <a:pt x="6" y="8"/>
                    </a:cubicBezTo>
                    <a:cubicBezTo>
                      <a:pt x="5" y="9"/>
                      <a:pt x="4" y="12"/>
                      <a:pt x="3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29" name="Freeform 3140"/>
              <p:cNvSpPr>
                <a:spLocks noChangeAspect="1"/>
              </p:cNvSpPr>
              <p:nvPr/>
            </p:nvSpPr>
            <p:spPr bwMode="auto">
              <a:xfrm>
                <a:off x="4672701" y="1323516"/>
                <a:ext cx="230618" cy="177031"/>
              </a:xfrm>
              <a:custGeom>
                <a:avLst/>
                <a:gdLst>
                  <a:gd name="T0" fmla="*/ 139 w 117"/>
                  <a:gd name="T1" fmla="*/ 42 h 91"/>
                  <a:gd name="T2" fmla="*/ 117 w 117"/>
                  <a:gd name="T3" fmla="*/ 46 h 91"/>
                  <a:gd name="T4" fmla="*/ 108 w 117"/>
                  <a:gd name="T5" fmla="*/ 60 h 91"/>
                  <a:gd name="T6" fmla="*/ 99 w 117"/>
                  <a:gd name="T7" fmla="*/ 75 h 91"/>
                  <a:gd name="T8" fmla="*/ 84 w 117"/>
                  <a:gd name="T9" fmla="*/ 105 h 91"/>
                  <a:gd name="T10" fmla="*/ 69 w 117"/>
                  <a:gd name="T11" fmla="*/ 98 h 91"/>
                  <a:gd name="T12" fmla="*/ 77 w 117"/>
                  <a:gd name="T13" fmla="*/ 92 h 91"/>
                  <a:gd name="T14" fmla="*/ 58 w 117"/>
                  <a:gd name="T15" fmla="*/ 91 h 91"/>
                  <a:gd name="T16" fmla="*/ 47 w 117"/>
                  <a:gd name="T17" fmla="*/ 78 h 91"/>
                  <a:gd name="T18" fmla="*/ 53 w 117"/>
                  <a:gd name="T19" fmla="*/ 80 h 91"/>
                  <a:gd name="T20" fmla="*/ 67 w 117"/>
                  <a:gd name="T21" fmla="*/ 78 h 91"/>
                  <a:gd name="T22" fmla="*/ 59 w 117"/>
                  <a:gd name="T23" fmla="*/ 73 h 91"/>
                  <a:gd name="T24" fmla="*/ 83 w 117"/>
                  <a:gd name="T25" fmla="*/ 68 h 91"/>
                  <a:gd name="T26" fmla="*/ 60 w 117"/>
                  <a:gd name="T27" fmla="*/ 71 h 91"/>
                  <a:gd name="T28" fmla="*/ 43 w 117"/>
                  <a:gd name="T29" fmla="*/ 74 h 91"/>
                  <a:gd name="T30" fmla="*/ 40 w 117"/>
                  <a:gd name="T31" fmla="*/ 62 h 91"/>
                  <a:gd name="T32" fmla="*/ 46 w 117"/>
                  <a:gd name="T33" fmla="*/ 65 h 91"/>
                  <a:gd name="T34" fmla="*/ 57 w 117"/>
                  <a:gd name="T35" fmla="*/ 61 h 91"/>
                  <a:gd name="T36" fmla="*/ 77 w 117"/>
                  <a:gd name="T37" fmla="*/ 55 h 91"/>
                  <a:gd name="T38" fmla="*/ 82 w 117"/>
                  <a:gd name="T39" fmla="*/ 52 h 91"/>
                  <a:gd name="T40" fmla="*/ 77 w 117"/>
                  <a:gd name="T41" fmla="*/ 47 h 91"/>
                  <a:gd name="T42" fmla="*/ 81 w 117"/>
                  <a:gd name="T43" fmla="*/ 37 h 91"/>
                  <a:gd name="T44" fmla="*/ 65 w 117"/>
                  <a:gd name="T45" fmla="*/ 50 h 91"/>
                  <a:gd name="T46" fmla="*/ 63 w 117"/>
                  <a:gd name="T47" fmla="*/ 40 h 91"/>
                  <a:gd name="T48" fmla="*/ 55 w 117"/>
                  <a:gd name="T49" fmla="*/ 44 h 91"/>
                  <a:gd name="T50" fmla="*/ 53 w 117"/>
                  <a:gd name="T51" fmla="*/ 52 h 91"/>
                  <a:gd name="T52" fmla="*/ 46 w 117"/>
                  <a:gd name="T53" fmla="*/ 54 h 91"/>
                  <a:gd name="T54" fmla="*/ 24 w 117"/>
                  <a:gd name="T55" fmla="*/ 50 h 91"/>
                  <a:gd name="T56" fmla="*/ 14 w 117"/>
                  <a:gd name="T57" fmla="*/ 42 h 91"/>
                  <a:gd name="T58" fmla="*/ 22 w 117"/>
                  <a:gd name="T59" fmla="*/ 38 h 91"/>
                  <a:gd name="T60" fmla="*/ 18 w 117"/>
                  <a:gd name="T61" fmla="*/ 34 h 91"/>
                  <a:gd name="T62" fmla="*/ 17 w 117"/>
                  <a:gd name="T63" fmla="*/ 24 h 91"/>
                  <a:gd name="T64" fmla="*/ 11 w 117"/>
                  <a:gd name="T65" fmla="*/ 30 h 91"/>
                  <a:gd name="T66" fmla="*/ 4 w 117"/>
                  <a:gd name="T67" fmla="*/ 13 h 91"/>
                  <a:gd name="T68" fmla="*/ 20 w 117"/>
                  <a:gd name="T69" fmla="*/ 13 h 91"/>
                  <a:gd name="T70" fmla="*/ 28 w 117"/>
                  <a:gd name="T71" fmla="*/ 8 h 91"/>
                  <a:gd name="T72" fmla="*/ 40 w 117"/>
                  <a:gd name="T73" fmla="*/ 11 h 91"/>
                  <a:gd name="T74" fmla="*/ 27 w 117"/>
                  <a:gd name="T75" fmla="*/ 14 h 91"/>
                  <a:gd name="T76" fmla="*/ 35 w 117"/>
                  <a:gd name="T77" fmla="*/ 19 h 91"/>
                  <a:gd name="T78" fmla="*/ 45 w 117"/>
                  <a:gd name="T79" fmla="*/ 28 h 91"/>
                  <a:gd name="T80" fmla="*/ 46 w 117"/>
                  <a:gd name="T81" fmla="*/ 13 h 91"/>
                  <a:gd name="T82" fmla="*/ 55 w 117"/>
                  <a:gd name="T83" fmla="*/ 13 h 91"/>
                  <a:gd name="T84" fmla="*/ 61 w 117"/>
                  <a:gd name="T85" fmla="*/ 29 h 91"/>
                  <a:gd name="T86" fmla="*/ 70 w 117"/>
                  <a:gd name="T87" fmla="*/ 36 h 91"/>
                  <a:gd name="T88" fmla="*/ 65 w 117"/>
                  <a:gd name="T89" fmla="*/ 16 h 91"/>
                  <a:gd name="T90" fmla="*/ 72 w 117"/>
                  <a:gd name="T91" fmla="*/ 1 h 91"/>
                  <a:gd name="T92" fmla="*/ 81 w 117"/>
                  <a:gd name="T93" fmla="*/ 6 h 91"/>
                  <a:gd name="T94" fmla="*/ 90 w 117"/>
                  <a:gd name="T95" fmla="*/ 24 h 91"/>
                  <a:gd name="T96" fmla="*/ 94 w 117"/>
                  <a:gd name="T97" fmla="*/ 14 h 91"/>
                  <a:gd name="T98" fmla="*/ 102 w 117"/>
                  <a:gd name="T99" fmla="*/ 24 h 91"/>
                  <a:gd name="T100" fmla="*/ 119 w 117"/>
                  <a:gd name="T101" fmla="*/ 34 h 91"/>
                  <a:gd name="T102" fmla="*/ 137 w 117"/>
                  <a:gd name="T103" fmla="*/ 37 h 9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17"/>
                  <a:gd name="T157" fmla="*/ 0 h 91"/>
                  <a:gd name="T158" fmla="*/ 117 w 117"/>
                  <a:gd name="T159" fmla="*/ 91 h 9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17" h="91">
                    <a:moveTo>
                      <a:pt x="114" y="31"/>
                    </a:moveTo>
                    <a:cubicBezTo>
                      <a:pt x="115" y="31"/>
                      <a:pt x="117" y="34"/>
                      <a:pt x="115" y="35"/>
                    </a:cubicBezTo>
                    <a:cubicBezTo>
                      <a:pt x="113" y="37"/>
                      <a:pt x="110" y="35"/>
                      <a:pt x="108" y="35"/>
                    </a:cubicBezTo>
                    <a:cubicBezTo>
                      <a:pt x="104" y="36"/>
                      <a:pt x="100" y="36"/>
                      <a:pt x="97" y="38"/>
                    </a:cubicBezTo>
                    <a:cubicBezTo>
                      <a:pt x="94" y="39"/>
                      <a:pt x="91" y="40"/>
                      <a:pt x="90" y="43"/>
                    </a:cubicBezTo>
                    <a:cubicBezTo>
                      <a:pt x="89" y="45"/>
                      <a:pt x="92" y="48"/>
                      <a:pt x="90" y="50"/>
                    </a:cubicBezTo>
                    <a:cubicBezTo>
                      <a:pt x="89" y="51"/>
                      <a:pt x="85" y="49"/>
                      <a:pt x="84" y="51"/>
                    </a:cubicBezTo>
                    <a:cubicBezTo>
                      <a:pt x="82" y="55"/>
                      <a:pt x="85" y="60"/>
                      <a:pt x="82" y="63"/>
                    </a:cubicBezTo>
                    <a:cubicBezTo>
                      <a:pt x="81" y="65"/>
                      <a:pt x="76" y="64"/>
                      <a:pt x="75" y="66"/>
                    </a:cubicBezTo>
                    <a:cubicBezTo>
                      <a:pt x="72" y="73"/>
                      <a:pt x="74" y="82"/>
                      <a:pt x="70" y="88"/>
                    </a:cubicBezTo>
                    <a:cubicBezTo>
                      <a:pt x="69" y="90"/>
                      <a:pt x="65" y="91"/>
                      <a:pt x="63" y="90"/>
                    </a:cubicBezTo>
                    <a:cubicBezTo>
                      <a:pt x="60" y="88"/>
                      <a:pt x="58" y="85"/>
                      <a:pt x="57" y="82"/>
                    </a:cubicBezTo>
                    <a:cubicBezTo>
                      <a:pt x="56" y="81"/>
                      <a:pt x="58" y="79"/>
                      <a:pt x="59" y="79"/>
                    </a:cubicBezTo>
                    <a:cubicBezTo>
                      <a:pt x="60" y="78"/>
                      <a:pt x="64" y="79"/>
                      <a:pt x="64" y="77"/>
                    </a:cubicBezTo>
                    <a:cubicBezTo>
                      <a:pt x="63" y="75"/>
                      <a:pt x="60" y="75"/>
                      <a:pt x="58" y="75"/>
                    </a:cubicBezTo>
                    <a:cubicBezTo>
                      <a:pt x="55" y="75"/>
                      <a:pt x="52" y="77"/>
                      <a:pt x="48" y="76"/>
                    </a:cubicBezTo>
                    <a:cubicBezTo>
                      <a:pt x="45" y="75"/>
                      <a:pt x="41" y="73"/>
                      <a:pt x="39" y="70"/>
                    </a:cubicBezTo>
                    <a:cubicBezTo>
                      <a:pt x="37" y="69"/>
                      <a:pt x="38" y="66"/>
                      <a:pt x="39" y="65"/>
                    </a:cubicBezTo>
                    <a:cubicBezTo>
                      <a:pt x="39" y="64"/>
                      <a:pt x="42" y="64"/>
                      <a:pt x="43" y="65"/>
                    </a:cubicBezTo>
                    <a:cubicBezTo>
                      <a:pt x="44" y="65"/>
                      <a:pt x="43" y="67"/>
                      <a:pt x="44" y="67"/>
                    </a:cubicBezTo>
                    <a:cubicBezTo>
                      <a:pt x="47" y="68"/>
                      <a:pt x="52" y="68"/>
                      <a:pt x="56" y="67"/>
                    </a:cubicBezTo>
                    <a:cubicBezTo>
                      <a:pt x="56" y="67"/>
                      <a:pt x="57" y="65"/>
                      <a:pt x="56" y="65"/>
                    </a:cubicBezTo>
                    <a:cubicBezTo>
                      <a:pt x="54" y="64"/>
                      <a:pt x="51" y="65"/>
                      <a:pt x="48" y="64"/>
                    </a:cubicBezTo>
                    <a:cubicBezTo>
                      <a:pt x="48" y="64"/>
                      <a:pt x="48" y="62"/>
                      <a:pt x="49" y="61"/>
                    </a:cubicBezTo>
                    <a:cubicBezTo>
                      <a:pt x="55" y="60"/>
                      <a:pt x="62" y="61"/>
                      <a:pt x="68" y="60"/>
                    </a:cubicBezTo>
                    <a:cubicBezTo>
                      <a:pt x="69" y="60"/>
                      <a:pt x="70" y="58"/>
                      <a:pt x="69" y="57"/>
                    </a:cubicBezTo>
                    <a:cubicBezTo>
                      <a:pt x="67" y="56"/>
                      <a:pt x="64" y="57"/>
                      <a:pt x="62" y="57"/>
                    </a:cubicBezTo>
                    <a:cubicBezTo>
                      <a:pt x="58" y="57"/>
                      <a:pt x="54" y="58"/>
                      <a:pt x="50" y="59"/>
                    </a:cubicBezTo>
                    <a:cubicBezTo>
                      <a:pt x="48" y="59"/>
                      <a:pt x="47" y="61"/>
                      <a:pt x="45" y="62"/>
                    </a:cubicBezTo>
                    <a:cubicBezTo>
                      <a:pt x="42" y="62"/>
                      <a:pt x="39" y="63"/>
                      <a:pt x="36" y="62"/>
                    </a:cubicBezTo>
                    <a:cubicBezTo>
                      <a:pt x="35" y="62"/>
                      <a:pt x="34" y="60"/>
                      <a:pt x="33" y="59"/>
                    </a:cubicBezTo>
                    <a:cubicBezTo>
                      <a:pt x="32" y="57"/>
                      <a:pt x="32" y="54"/>
                      <a:pt x="33" y="52"/>
                    </a:cubicBezTo>
                    <a:cubicBezTo>
                      <a:pt x="33" y="51"/>
                      <a:pt x="35" y="52"/>
                      <a:pt x="36" y="52"/>
                    </a:cubicBezTo>
                    <a:cubicBezTo>
                      <a:pt x="37" y="52"/>
                      <a:pt x="37" y="54"/>
                      <a:pt x="38" y="54"/>
                    </a:cubicBezTo>
                    <a:cubicBezTo>
                      <a:pt x="40" y="53"/>
                      <a:pt x="41" y="51"/>
                      <a:pt x="42" y="51"/>
                    </a:cubicBezTo>
                    <a:cubicBezTo>
                      <a:pt x="44" y="50"/>
                      <a:pt x="46" y="51"/>
                      <a:pt x="47" y="51"/>
                    </a:cubicBezTo>
                    <a:cubicBezTo>
                      <a:pt x="50" y="50"/>
                      <a:pt x="53" y="47"/>
                      <a:pt x="56" y="46"/>
                    </a:cubicBezTo>
                    <a:cubicBezTo>
                      <a:pt x="59" y="45"/>
                      <a:pt x="62" y="46"/>
                      <a:pt x="64" y="46"/>
                    </a:cubicBezTo>
                    <a:cubicBezTo>
                      <a:pt x="66" y="46"/>
                      <a:pt x="67" y="46"/>
                      <a:pt x="68" y="45"/>
                    </a:cubicBezTo>
                    <a:cubicBezTo>
                      <a:pt x="69" y="45"/>
                      <a:pt x="69" y="43"/>
                      <a:pt x="68" y="43"/>
                    </a:cubicBezTo>
                    <a:cubicBezTo>
                      <a:pt x="67" y="42"/>
                      <a:pt x="64" y="44"/>
                      <a:pt x="63" y="43"/>
                    </a:cubicBezTo>
                    <a:cubicBezTo>
                      <a:pt x="62" y="42"/>
                      <a:pt x="64" y="40"/>
                      <a:pt x="64" y="39"/>
                    </a:cubicBezTo>
                    <a:cubicBezTo>
                      <a:pt x="66" y="37"/>
                      <a:pt x="68" y="36"/>
                      <a:pt x="69" y="34"/>
                    </a:cubicBezTo>
                    <a:cubicBezTo>
                      <a:pt x="70" y="33"/>
                      <a:pt x="68" y="31"/>
                      <a:pt x="67" y="31"/>
                    </a:cubicBezTo>
                    <a:cubicBezTo>
                      <a:pt x="63" y="33"/>
                      <a:pt x="60" y="36"/>
                      <a:pt x="57" y="39"/>
                    </a:cubicBezTo>
                    <a:cubicBezTo>
                      <a:pt x="56" y="40"/>
                      <a:pt x="55" y="42"/>
                      <a:pt x="54" y="42"/>
                    </a:cubicBezTo>
                    <a:cubicBezTo>
                      <a:pt x="52" y="41"/>
                      <a:pt x="50" y="40"/>
                      <a:pt x="50" y="38"/>
                    </a:cubicBezTo>
                    <a:cubicBezTo>
                      <a:pt x="50" y="36"/>
                      <a:pt x="53" y="34"/>
                      <a:pt x="52" y="33"/>
                    </a:cubicBezTo>
                    <a:cubicBezTo>
                      <a:pt x="52" y="31"/>
                      <a:pt x="50" y="31"/>
                      <a:pt x="49" y="32"/>
                    </a:cubicBezTo>
                    <a:cubicBezTo>
                      <a:pt x="47" y="33"/>
                      <a:pt x="47" y="36"/>
                      <a:pt x="46" y="37"/>
                    </a:cubicBezTo>
                    <a:cubicBezTo>
                      <a:pt x="45" y="38"/>
                      <a:pt x="43" y="37"/>
                      <a:pt x="43" y="37"/>
                    </a:cubicBezTo>
                    <a:cubicBezTo>
                      <a:pt x="43" y="39"/>
                      <a:pt x="45" y="41"/>
                      <a:pt x="44" y="43"/>
                    </a:cubicBezTo>
                    <a:cubicBezTo>
                      <a:pt x="44" y="44"/>
                      <a:pt x="41" y="42"/>
                      <a:pt x="40" y="43"/>
                    </a:cubicBezTo>
                    <a:cubicBezTo>
                      <a:pt x="39" y="43"/>
                      <a:pt x="39" y="45"/>
                      <a:pt x="38" y="45"/>
                    </a:cubicBezTo>
                    <a:cubicBezTo>
                      <a:pt x="34" y="46"/>
                      <a:pt x="30" y="46"/>
                      <a:pt x="27" y="45"/>
                    </a:cubicBezTo>
                    <a:cubicBezTo>
                      <a:pt x="24" y="45"/>
                      <a:pt x="21" y="44"/>
                      <a:pt x="20" y="42"/>
                    </a:cubicBezTo>
                    <a:cubicBezTo>
                      <a:pt x="19" y="40"/>
                      <a:pt x="24" y="40"/>
                      <a:pt x="23" y="39"/>
                    </a:cubicBezTo>
                    <a:cubicBezTo>
                      <a:pt x="19" y="38"/>
                      <a:pt x="14" y="38"/>
                      <a:pt x="12" y="35"/>
                    </a:cubicBezTo>
                    <a:cubicBezTo>
                      <a:pt x="13" y="31"/>
                      <a:pt x="9" y="29"/>
                      <a:pt x="11" y="28"/>
                    </a:cubicBezTo>
                    <a:cubicBezTo>
                      <a:pt x="12" y="28"/>
                      <a:pt x="15" y="29"/>
                      <a:pt x="18" y="32"/>
                    </a:cubicBezTo>
                    <a:cubicBezTo>
                      <a:pt x="19" y="31"/>
                      <a:pt x="20" y="30"/>
                      <a:pt x="19" y="29"/>
                    </a:cubicBezTo>
                    <a:cubicBezTo>
                      <a:pt x="18" y="28"/>
                      <a:pt x="16" y="29"/>
                      <a:pt x="15" y="28"/>
                    </a:cubicBezTo>
                    <a:cubicBezTo>
                      <a:pt x="14" y="27"/>
                      <a:pt x="14" y="26"/>
                      <a:pt x="13" y="25"/>
                    </a:cubicBezTo>
                    <a:cubicBezTo>
                      <a:pt x="13" y="23"/>
                      <a:pt x="14" y="22"/>
                      <a:pt x="14" y="20"/>
                    </a:cubicBezTo>
                    <a:cubicBezTo>
                      <a:pt x="13" y="19"/>
                      <a:pt x="12" y="19"/>
                      <a:pt x="11" y="20"/>
                    </a:cubicBezTo>
                    <a:cubicBezTo>
                      <a:pt x="10" y="21"/>
                      <a:pt x="11" y="25"/>
                      <a:pt x="9" y="25"/>
                    </a:cubicBezTo>
                    <a:cubicBezTo>
                      <a:pt x="6" y="25"/>
                      <a:pt x="3" y="22"/>
                      <a:pt x="1" y="19"/>
                    </a:cubicBezTo>
                    <a:cubicBezTo>
                      <a:pt x="0" y="16"/>
                      <a:pt x="1" y="13"/>
                      <a:pt x="3" y="11"/>
                    </a:cubicBezTo>
                    <a:cubicBezTo>
                      <a:pt x="5" y="8"/>
                      <a:pt x="9" y="8"/>
                      <a:pt x="12" y="8"/>
                    </a:cubicBezTo>
                    <a:cubicBezTo>
                      <a:pt x="14" y="8"/>
                      <a:pt x="15" y="12"/>
                      <a:pt x="17" y="11"/>
                    </a:cubicBezTo>
                    <a:cubicBezTo>
                      <a:pt x="19" y="10"/>
                      <a:pt x="16" y="7"/>
                      <a:pt x="17" y="6"/>
                    </a:cubicBezTo>
                    <a:cubicBezTo>
                      <a:pt x="19" y="5"/>
                      <a:pt x="21" y="7"/>
                      <a:pt x="23" y="7"/>
                    </a:cubicBezTo>
                    <a:cubicBezTo>
                      <a:pt x="26" y="7"/>
                      <a:pt x="30" y="6"/>
                      <a:pt x="33" y="6"/>
                    </a:cubicBezTo>
                    <a:cubicBezTo>
                      <a:pt x="34" y="6"/>
                      <a:pt x="34" y="8"/>
                      <a:pt x="33" y="9"/>
                    </a:cubicBezTo>
                    <a:cubicBezTo>
                      <a:pt x="29" y="10"/>
                      <a:pt x="25" y="9"/>
                      <a:pt x="22" y="10"/>
                    </a:cubicBezTo>
                    <a:cubicBezTo>
                      <a:pt x="21" y="10"/>
                      <a:pt x="22" y="12"/>
                      <a:pt x="22" y="12"/>
                    </a:cubicBezTo>
                    <a:cubicBezTo>
                      <a:pt x="24" y="12"/>
                      <a:pt x="27" y="11"/>
                      <a:pt x="29" y="12"/>
                    </a:cubicBezTo>
                    <a:cubicBezTo>
                      <a:pt x="30" y="13"/>
                      <a:pt x="28" y="15"/>
                      <a:pt x="29" y="16"/>
                    </a:cubicBezTo>
                    <a:cubicBezTo>
                      <a:pt x="30" y="19"/>
                      <a:pt x="31" y="22"/>
                      <a:pt x="33" y="23"/>
                    </a:cubicBezTo>
                    <a:cubicBezTo>
                      <a:pt x="34" y="24"/>
                      <a:pt x="37" y="25"/>
                      <a:pt x="37" y="23"/>
                    </a:cubicBezTo>
                    <a:cubicBezTo>
                      <a:pt x="37" y="20"/>
                      <a:pt x="32" y="19"/>
                      <a:pt x="33" y="15"/>
                    </a:cubicBezTo>
                    <a:cubicBezTo>
                      <a:pt x="33" y="13"/>
                      <a:pt x="36" y="13"/>
                      <a:pt x="38" y="11"/>
                    </a:cubicBezTo>
                    <a:cubicBezTo>
                      <a:pt x="40" y="10"/>
                      <a:pt x="41" y="8"/>
                      <a:pt x="42" y="8"/>
                    </a:cubicBezTo>
                    <a:cubicBezTo>
                      <a:pt x="44" y="8"/>
                      <a:pt x="45" y="10"/>
                      <a:pt x="46" y="11"/>
                    </a:cubicBezTo>
                    <a:cubicBezTo>
                      <a:pt x="48" y="14"/>
                      <a:pt x="49" y="17"/>
                      <a:pt x="50" y="20"/>
                    </a:cubicBezTo>
                    <a:cubicBezTo>
                      <a:pt x="51" y="21"/>
                      <a:pt x="50" y="23"/>
                      <a:pt x="51" y="24"/>
                    </a:cubicBezTo>
                    <a:cubicBezTo>
                      <a:pt x="52" y="25"/>
                      <a:pt x="54" y="23"/>
                      <a:pt x="54" y="24"/>
                    </a:cubicBezTo>
                    <a:cubicBezTo>
                      <a:pt x="56" y="25"/>
                      <a:pt x="56" y="28"/>
                      <a:pt x="58" y="30"/>
                    </a:cubicBezTo>
                    <a:cubicBezTo>
                      <a:pt x="58" y="31"/>
                      <a:pt x="61" y="30"/>
                      <a:pt x="61" y="29"/>
                    </a:cubicBezTo>
                    <a:cubicBezTo>
                      <a:pt x="60" y="23"/>
                      <a:pt x="55" y="19"/>
                      <a:pt x="54" y="13"/>
                    </a:cubicBezTo>
                    <a:cubicBezTo>
                      <a:pt x="54" y="9"/>
                      <a:pt x="55" y="4"/>
                      <a:pt x="56" y="1"/>
                    </a:cubicBezTo>
                    <a:cubicBezTo>
                      <a:pt x="57" y="0"/>
                      <a:pt x="59" y="0"/>
                      <a:pt x="60" y="1"/>
                    </a:cubicBezTo>
                    <a:cubicBezTo>
                      <a:pt x="62" y="3"/>
                      <a:pt x="62" y="8"/>
                      <a:pt x="65" y="10"/>
                    </a:cubicBezTo>
                    <a:cubicBezTo>
                      <a:pt x="67" y="11"/>
                      <a:pt x="66" y="5"/>
                      <a:pt x="67" y="5"/>
                    </a:cubicBezTo>
                    <a:cubicBezTo>
                      <a:pt x="70" y="5"/>
                      <a:pt x="74" y="7"/>
                      <a:pt x="75" y="9"/>
                    </a:cubicBezTo>
                    <a:cubicBezTo>
                      <a:pt x="77" y="13"/>
                      <a:pt x="74" y="17"/>
                      <a:pt x="75" y="20"/>
                    </a:cubicBezTo>
                    <a:cubicBezTo>
                      <a:pt x="76" y="21"/>
                      <a:pt x="78" y="21"/>
                      <a:pt x="78" y="20"/>
                    </a:cubicBezTo>
                    <a:cubicBezTo>
                      <a:pt x="79" y="18"/>
                      <a:pt x="76" y="13"/>
                      <a:pt x="78" y="12"/>
                    </a:cubicBezTo>
                    <a:cubicBezTo>
                      <a:pt x="81" y="11"/>
                      <a:pt x="84" y="14"/>
                      <a:pt x="86" y="17"/>
                    </a:cubicBezTo>
                    <a:cubicBezTo>
                      <a:pt x="87" y="17"/>
                      <a:pt x="84" y="20"/>
                      <a:pt x="85" y="20"/>
                    </a:cubicBezTo>
                    <a:cubicBezTo>
                      <a:pt x="88" y="22"/>
                      <a:pt x="93" y="20"/>
                      <a:pt x="96" y="22"/>
                    </a:cubicBezTo>
                    <a:cubicBezTo>
                      <a:pt x="98" y="23"/>
                      <a:pt x="97" y="28"/>
                      <a:pt x="99" y="28"/>
                    </a:cubicBezTo>
                    <a:cubicBezTo>
                      <a:pt x="102" y="29"/>
                      <a:pt x="105" y="28"/>
                      <a:pt x="108" y="31"/>
                    </a:cubicBezTo>
                    <a:cubicBezTo>
                      <a:pt x="109" y="33"/>
                      <a:pt x="112" y="30"/>
                      <a:pt x="114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0" name="Freeform 3141"/>
              <p:cNvSpPr>
                <a:spLocks noChangeAspect="1"/>
              </p:cNvSpPr>
              <p:nvPr/>
            </p:nvSpPr>
            <p:spPr bwMode="auto">
              <a:xfrm>
                <a:off x="4872243" y="1396601"/>
                <a:ext cx="45796" cy="24362"/>
              </a:xfrm>
              <a:custGeom>
                <a:avLst/>
                <a:gdLst>
                  <a:gd name="T0" fmla="*/ 23 w 24"/>
                  <a:gd name="T1" fmla="*/ 0 h 12"/>
                  <a:gd name="T2" fmla="*/ 27 w 24"/>
                  <a:gd name="T3" fmla="*/ 1 h 12"/>
                  <a:gd name="T4" fmla="*/ 25 w 24"/>
                  <a:gd name="T5" fmla="*/ 11 h 12"/>
                  <a:gd name="T6" fmla="*/ 12 w 24"/>
                  <a:gd name="T7" fmla="*/ 14 h 12"/>
                  <a:gd name="T8" fmla="*/ 7 w 24"/>
                  <a:gd name="T9" fmla="*/ 13 h 12"/>
                  <a:gd name="T10" fmla="*/ 1 w 24"/>
                  <a:gd name="T11" fmla="*/ 4 h 12"/>
                  <a:gd name="T12" fmla="*/ 6 w 24"/>
                  <a:gd name="T13" fmla="*/ 3 h 12"/>
                  <a:gd name="T14" fmla="*/ 23 w 24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4"/>
                  <a:gd name="T25" fmla="*/ 0 h 12"/>
                  <a:gd name="T26" fmla="*/ 24 w 24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4" h="12">
                    <a:moveTo>
                      <a:pt x="20" y="0"/>
                    </a:moveTo>
                    <a:cubicBezTo>
                      <a:pt x="21" y="0"/>
                      <a:pt x="23" y="0"/>
                      <a:pt x="23" y="1"/>
                    </a:cubicBezTo>
                    <a:cubicBezTo>
                      <a:pt x="24" y="4"/>
                      <a:pt x="23" y="8"/>
                      <a:pt x="21" y="9"/>
                    </a:cubicBezTo>
                    <a:cubicBezTo>
                      <a:pt x="18" y="12"/>
                      <a:pt x="14" y="11"/>
                      <a:pt x="10" y="11"/>
                    </a:cubicBezTo>
                    <a:cubicBezTo>
                      <a:pt x="8" y="11"/>
                      <a:pt x="6" y="12"/>
                      <a:pt x="6" y="10"/>
                    </a:cubicBezTo>
                    <a:cubicBezTo>
                      <a:pt x="6" y="7"/>
                      <a:pt x="2" y="5"/>
                      <a:pt x="1" y="3"/>
                    </a:cubicBezTo>
                    <a:cubicBezTo>
                      <a:pt x="0" y="2"/>
                      <a:pt x="3" y="2"/>
                      <a:pt x="5" y="2"/>
                    </a:cubicBezTo>
                    <a:cubicBezTo>
                      <a:pt x="10" y="1"/>
                      <a:pt x="15" y="0"/>
                      <a:pt x="2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1" name="Freeform 3142"/>
              <p:cNvSpPr>
                <a:spLocks noChangeAspect="1"/>
              </p:cNvSpPr>
              <p:nvPr/>
            </p:nvSpPr>
            <p:spPr bwMode="auto">
              <a:xfrm>
                <a:off x="4886963" y="1411219"/>
                <a:ext cx="83416" cy="58469"/>
              </a:xfrm>
              <a:custGeom>
                <a:avLst/>
                <a:gdLst>
                  <a:gd name="T0" fmla="*/ 28 w 42"/>
                  <a:gd name="T1" fmla="*/ 1 h 30"/>
                  <a:gd name="T2" fmla="*/ 30 w 42"/>
                  <a:gd name="T3" fmla="*/ 4 h 30"/>
                  <a:gd name="T4" fmla="*/ 28 w 42"/>
                  <a:gd name="T5" fmla="*/ 11 h 30"/>
                  <a:gd name="T6" fmla="*/ 41 w 42"/>
                  <a:gd name="T7" fmla="*/ 17 h 30"/>
                  <a:gd name="T8" fmla="*/ 49 w 42"/>
                  <a:gd name="T9" fmla="*/ 13 h 30"/>
                  <a:gd name="T10" fmla="*/ 50 w 42"/>
                  <a:gd name="T11" fmla="*/ 20 h 30"/>
                  <a:gd name="T12" fmla="*/ 35 w 42"/>
                  <a:gd name="T13" fmla="*/ 29 h 30"/>
                  <a:gd name="T14" fmla="*/ 29 w 42"/>
                  <a:gd name="T15" fmla="*/ 35 h 30"/>
                  <a:gd name="T16" fmla="*/ 27 w 42"/>
                  <a:gd name="T17" fmla="*/ 32 h 30"/>
                  <a:gd name="T18" fmla="*/ 30 w 42"/>
                  <a:gd name="T19" fmla="*/ 24 h 30"/>
                  <a:gd name="T20" fmla="*/ 23 w 42"/>
                  <a:gd name="T21" fmla="*/ 24 h 30"/>
                  <a:gd name="T22" fmla="*/ 19 w 42"/>
                  <a:gd name="T23" fmla="*/ 28 h 30"/>
                  <a:gd name="T24" fmla="*/ 2 w 42"/>
                  <a:gd name="T25" fmla="*/ 28 h 30"/>
                  <a:gd name="T26" fmla="*/ 0 w 42"/>
                  <a:gd name="T27" fmla="*/ 22 h 30"/>
                  <a:gd name="T28" fmla="*/ 5 w 42"/>
                  <a:gd name="T29" fmla="*/ 13 h 30"/>
                  <a:gd name="T30" fmla="*/ 1 w 42"/>
                  <a:gd name="T31" fmla="*/ 8 h 30"/>
                  <a:gd name="T32" fmla="*/ 4 w 42"/>
                  <a:gd name="T33" fmla="*/ 7 h 30"/>
                  <a:gd name="T34" fmla="*/ 15 w 42"/>
                  <a:gd name="T35" fmla="*/ 7 h 30"/>
                  <a:gd name="T36" fmla="*/ 23 w 42"/>
                  <a:gd name="T37" fmla="*/ 0 h 30"/>
                  <a:gd name="T38" fmla="*/ 28 w 42"/>
                  <a:gd name="T39" fmla="*/ 1 h 3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2"/>
                  <a:gd name="T61" fmla="*/ 0 h 30"/>
                  <a:gd name="T62" fmla="*/ 42 w 42"/>
                  <a:gd name="T63" fmla="*/ 30 h 30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2" h="30">
                    <a:moveTo>
                      <a:pt x="23" y="1"/>
                    </a:moveTo>
                    <a:cubicBezTo>
                      <a:pt x="24" y="1"/>
                      <a:pt x="25" y="2"/>
                      <a:pt x="25" y="3"/>
                    </a:cubicBezTo>
                    <a:cubicBezTo>
                      <a:pt x="25" y="5"/>
                      <a:pt x="22" y="7"/>
                      <a:pt x="23" y="9"/>
                    </a:cubicBezTo>
                    <a:cubicBezTo>
                      <a:pt x="26" y="12"/>
                      <a:pt x="30" y="13"/>
                      <a:pt x="34" y="14"/>
                    </a:cubicBezTo>
                    <a:cubicBezTo>
                      <a:pt x="37" y="14"/>
                      <a:pt x="38" y="10"/>
                      <a:pt x="40" y="11"/>
                    </a:cubicBezTo>
                    <a:cubicBezTo>
                      <a:pt x="42" y="12"/>
                      <a:pt x="42" y="16"/>
                      <a:pt x="41" y="17"/>
                    </a:cubicBezTo>
                    <a:cubicBezTo>
                      <a:pt x="37" y="18"/>
                      <a:pt x="35" y="22"/>
                      <a:pt x="29" y="24"/>
                    </a:cubicBezTo>
                    <a:cubicBezTo>
                      <a:pt x="26" y="24"/>
                      <a:pt x="25" y="27"/>
                      <a:pt x="24" y="29"/>
                    </a:cubicBezTo>
                    <a:cubicBezTo>
                      <a:pt x="23" y="30"/>
                      <a:pt x="21" y="28"/>
                      <a:pt x="22" y="27"/>
                    </a:cubicBezTo>
                    <a:cubicBezTo>
                      <a:pt x="22" y="25"/>
                      <a:pt x="26" y="23"/>
                      <a:pt x="25" y="20"/>
                    </a:cubicBezTo>
                    <a:cubicBezTo>
                      <a:pt x="24" y="19"/>
                      <a:pt x="21" y="20"/>
                      <a:pt x="19" y="20"/>
                    </a:cubicBezTo>
                    <a:cubicBezTo>
                      <a:pt x="18" y="21"/>
                      <a:pt x="17" y="23"/>
                      <a:pt x="16" y="23"/>
                    </a:cubicBezTo>
                    <a:cubicBezTo>
                      <a:pt x="11" y="22"/>
                      <a:pt x="6" y="22"/>
                      <a:pt x="2" y="23"/>
                    </a:cubicBezTo>
                    <a:cubicBezTo>
                      <a:pt x="0" y="23"/>
                      <a:pt x="0" y="20"/>
                      <a:pt x="0" y="18"/>
                    </a:cubicBezTo>
                    <a:cubicBezTo>
                      <a:pt x="1" y="15"/>
                      <a:pt x="4" y="14"/>
                      <a:pt x="4" y="11"/>
                    </a:cubicBezTo>
                    <a:cubicBezTo>
                      <a:pt x="4" y="9"/>
                      <a:pt x="1" y="9"/>
                      <a:pt x="1" y="7"/>
                    </a:cubicBezTo>
                    <a:cubicBezTo>
                      <a:pt x="1" y="7"/>
                      <a:pt x="2" y="6"/>
                      <a:pt x="3" y="6"/>
                    </a:cubicBezTo>
                    <a:cubicBezTo>
                      <a:pt x="6" y="6"/>
                      <a:pt x="9" y="7"/>
                      <a:pt x="12" y="6"/>
                    </a:cubicBezTo>
                    <a:cubicBezTo>
                      <a:pt x="15" y="5"/>
                      <a:pt x="17" y="2"/>
                      <a:pt x="19" y="0"/>
                    </a:cubicBezTo>
                    <a:cubicBezTo>
                      <a:pt x="20" y="0"/>
                      <a:pt x="22" y="0"/>
                      <a:pt x="2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2" name="Freeform 3143"/>
              <p:cNvSpPr>
                <a:spLocks noChangeAspect="1"/>
              </p:cNvSpPr>
              <p:nvPr/>
            </p:nvSpPr>
            <p:spPr bwMode="auto">
              <a:xfrm>
                <a:off x="4675972" y="1383608"/>
                <a:ext cx="32712" cy="37356"/>
              </a:xfrm>
              <a:custGeom>
                <a:avLst/>
                <a:gdLst>
                  <a:gd name="T0" fmla="*/ 0 w 17"/>
                  <a:gd name="T1" fmla="*/ 2 h 19"/>
                  <a:gd name="T2" fmla="*/ 4 w 17"/>
                  <a:gd name="T3" fmla="*/ 0 h 19"/>
                  <a:gd name="T4" fmla="*/ 14 w 17"/>
                  <a:gd name="T5" fmla="*/ 15 h 19"/>
                  <a:gd name="T6" fmla="*/ 19 w 17"/>
                  <a:gd name="T7" fmla="*/ 21 h 19"/>
                  <a:gd name="T8" fmla="*/ 15 w 17"/>
                  <a:gd name="T9" fmla="*/ 22 h 19"/>
                  <a:gd name="T10" fmla="*/ 5 w 17"/>
                  <a:gd name="T11" fmla="*/ 12 h 19"/>
                  <a:gd name="T12" fmla="*/ 0 w 17"/>
                  <a:gd name="T13" fmla="*/ 2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19"/>
                  <a:gd name="T23" fmla="*/ 17 w 17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19">
                    <a:moveTo>
                      <a:pt x="0" y="2"/>
                    </a:moveTo>
                    <a:cubicBezTo>
                      <a:pt x="0" y="1"/>
                      <a:pt x="2" y="0"/>
                      <a:pt x="3" y="0"/>
                    </a:cubicBezTo>
                    <a:cubicBezTo>
                      <a:pt x="6" y="4"/>
                      <a:pt x="9" y="8"/>
                      <a:pt x="12" y="12"/>
                    </a:cubicBezTo>
                    <a:cubicBezTo>
                      <a:pt x="14" y="14"/>
                      <a:pt x="16" y="15"/>
                      <a:pt x="16" y="17"/>
                    </a:cubicBezTo>
                    <a:cubicBezTo>
                      <a:pt x="17" y="18"/>
                      <a:pt x="14" y="19"/>
                      <a:pt x="13" y="18"/>
                    </a:cubicBezTo>
                    <a:cubicBezTo>
                      <a:pt x="11" y="15"/>
                      <a:pt x="7" y="13"/>
                      <a:pt x="4" y="10"/>
                    </a:cubicBezTo>
                    <a:cubicBezTo>
                      <a:pt x="2" y="8"/>
                      <a:pt x="1" y="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3" name="Freeform 3144"/>
              <p:cNvSpPr>
                <a:spLocks noChangeAspect="1"/>
              </p:cNvSpPr>
              <p:nvPr/>
            </p:nvSpPr>
            <p:spPr bwMode="auto">
              <a:xfrm>
                <a:off x="4813362" y="1300778"/>
                <a:ext cx="199542" cy="74710"/>
              </a:xfrm>
              <a:custGeom>
                <a:avLst/>
                <a:gdLst>
                  <a:gd name="T0" fmla="*/ 121 w 102"/>
                  <a:gd name="T1" fmla="*/ 19 h 38"/>
                  <a:gd name="T2" fmla="*/ 121 w 102"/>
                  <a:gd name="T3" fmla="*/ 16 h 38"/>
                  <a:gd name="T4" fmla="*/ 106 w 102"/>
                  <a:gd name="T5" fmla="*/ 12 h 38"/>
                  <a:gd name="T6" fmla="*/ 94 w 102"/>
                  <a:gd name="T7" fmla="*/ 7 h 38"/>
                  <a:gd name="T8" fmla="*/ 86 w 102"/>
                  <a:gd name="T9" fmla="*/ 6 h 38"/>
                  <a:gd name="T10" fmla="*/ 79 w 102"/>
                  <a:gd name="T11" fmla="*/ 11 h 38"/>
                  <a:gd name="T12" fmla="*/ 72 w 102"/>
                  <a:gd name="T13" fmla="*/ 12 h 38"/>
                  <a:gd name="T14" fmla="*/ 72 w 102"/>
                  <a:gd name="T15" fmla="*/ 7 h 38"/>
                  <a:gd name="T16" fmla="*/ 66 w 102"/>
                  <a:gd name="T17" fmla="*/ 0 h 38"/>
                  <a:gd name="T18" fmla="*/ 65 w 102"/>
                  <a:gd name="T19" fmla="*/ 5 h 38"/>
                  <a:gd name="T20" fmla="*/ 62 w 102"/>
                  <a:gd name="T21" fmla="*/ 5 h 38"/>
                  <a:gd name="T22" fmla="*/ 65 w 102"/>
                  <a:gd name="T23" fmla="*/ 17 h 38"/>
                  <a:gd name="T24" fmla="*/ 60 w 102"/>
                  <a:gd name="T25" fmla="*/ 17 h 38"/>
                  <a:gd name="T26" fmla="*/ 54 w 102"/>
                  <a:gd name="T27" fmla="*/ 10 h 38"/>
                  <a:gd name="T28" fmla="*/ 41 w 102"/>
                  <a:gd name="T29" fmla="*/ 10 h 38"/>
                  <a:gd name="T30" fmla="*/ 33 w 102"/>
                  <a:gd name="T31" fmla="*/ 2 h 38"/>
                  <a:gd name="T32" fmla="*/ 26 w 102"/>
                  <a:gd name="T33" fmla="*/ 2 h 38"/>
                  <a:gd name="T34" fmla="*/ 31 w 102"/>
                  <a:gd name="T35" fmla="*/ 15 h 38"/>
                  <a:gd name="T36" fmla="*/ 22 w 102"/>
                  <a:gd name="T37" fmla="*/ 8 h 38"/>
                  <a:gd name="T38" fmla="*/ 18 w 102"/>
                  <a:gd name="T39" fmla="*/ 5 h 38"/>
                  <a:gd name="T40" fmla="*/ 20 w 102"/>
                  <a:gd name="T41" fmla="*/ 15 h 38"/>
                  <a:gd name="T42" fmla="*/ 14 w 102"/>
                  <a:gd name="T43" fmla="*/ 8 h 38"/>
                  <a:gd name="T44" fmla="*/ 5 w 102"/>
                  <a:gd name="T45" fmla="*/ 7 h 38"/>
                  <a:gd name="T46" fmla="*/ 0 w 102"/>
                  <a:gd name="T47" fmla="*/ 8 h 38"/>
                  <a:gd name="T48" fmla="*/ 12 w 102"/>
                  <a:gd name="T49" fmla="*/ 13 h 38"/>
                  <a:gd name="T50" fmla="*/ 11 w 102"/>
                  <a:gd name="T51" fmla="*/ 17 h 38"/>
                  <a:gd name="T52" fmla="*/ 18 w 102"/>
                  <a:gd name="T53" fmla="*/ 18 h 38"/>
                  <a:gd name="T54" fmla="*/ 18 w 102"/>
                  <a:gd name="T55" fmla="*/ 19 h 38"/>
                  <a:gd name="T56" fmla="*/ 11 w 102"/>
                  <a:gd name="T57" fmla="*/ 22 h 38"/>
                  <a:gd name="T58" fmla="*/ 17 w 102"/>
                  <a:gd name="T59" fmla="*/ 25 h 38"/>
                  <a:gd name="T60" fmla="*/ 26 w 102"/>
                  <a:gd name="T61" fmla="*/ 25 h 38"/>
                  <a:gd name="T62" fmla="*/ 39 w 102"/>
                  <a:gd name="T63" fmla="*/ 23 h 38"/>
                  <a:gd name="T64" fmla="*/ 57 w 102"/>
                  <a:gd name="T65" fmla="*/ 23 h 38"/>
                  <a:gd name="T66" fmla="*/ 57 w 102"/>
                  <a:gd name="T67" fmla="*/ 27 h 38"/>
                  <a:gd name="T68" fmla="*/ 43 w 102"/>
                  <a:gd name="T69" fmla="*/ 28 h 38"/>
                  <a:gd name="T70" fmla="*/ 41 w 102"/>
                  <a:gd name="T71" fmla="*/ 30 h 38"/>
                  <a:gd name="T72" fmla="*/ 32 w 102"/>
                  <a:gd name="T73" fmla="*/ 28 h 38"/>
                  <a:gd name="T74" fmla="*/ 32 w 102"/>
                  <a:gd name="T75" fmla="*/ 30 h 38"/>
                  <a:gd name="T76" fmla="*/ 42 w 102"/>
                  <a:gd name="T77" fmla="*/ 33 h 38"/>
                  <a:gd name="T78" fmla="*/ 45 w 102"/>
                  <a:gd name="T79" fmla="*/ 39 h 38"/>
                  <a:gd name="T80" fmla="*/ 66 w 102"/>
                  <a:gd name="T81" fmla="*/ 36 h 38"/>
                  <a:gd name="T82" fmla="*/ 67 w 102"/>
                  <a:gd name="T83" fmla="*/ 41 h 38"/>
                  <a:gd name="T84" fmla="*/ 83 w 102"/>
                  <a:gd name="T85" fmla="*/ 45 h 38"/>
                  <a:gd name="T86" fmla="*/ 93 w 102"/>
                  <a:gd name="T87" fmla="*/ 35 h 38"/>
                  <a:gd name="T88" fmla="*/ 103 w 102"/>
                  <a:gd name="T89" fmla="*/ 35 h 38"/>
                  <a:gd name="T90" fmla="*/ 108 w 102"/>
                  <a:gd name="T91" fmla="*/ 27 h 38"/>
                  <a:gd name="T92" fmla="*/ 121 w 102"/>
                  <a:gd name="T93" fmla="*/ 19 h 3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02"/>
                  <a:gd name="T142" fmla="*/ 0 h 38"/>
                  <a:gd name="T143" fmla="*/ 102 w 102"/>
                  <a:gd name="T144" fmla="*/ 38 h 3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02" h="38">
                    <a:moveTo>
                      <a:pt x="101" y="16"/>
                    </a:moveTo>
                    <a:cubicBezTo>
                      <a:pt x="102" y="16"/>
                      <a:pt x="102" y="13"/>
                      <a:pt x="101" y="13"/>
                    </a:cubicBezTo>
                    <a:cubicBezTo>
                      <a:pt x="97" y="11"/>
                      <a:pt x="93" y="11"/>
                      <a:pt x="89" y="10"/>
                    </a:cubicBezTo>
                    <a:cubicBezTo>
                      <a:pt x="86" y="9"/>
                      <a:pt x="82" y="7"/>
                      <a:pt x="79" y="6"/>
                    </a:cubicBezTo>
                    <a:cubicBezTo>
                      <a:pt x="76" y="6"/>
                      <a:pt x="74" y="4"/>
                      <a:pt x="72" y="5"/>
                    </a:cubicBezTo>
                    <a:cubicBezTo>
                      <a:pt x="69" y="6"/>
                      <a:pt x="68" y="8"/>
                      <a:pt x="66" y="9"/>
                    </a:cubicBezTo>
                    <a:cubicBezTo>
                      <a:pt x="65" y="10"/>
                      <a:pt x="62" y="11"/>
                      <a:pt x="60" y="10"/>
                    </a:cubicBezTo>
                    <a:cubicBezTo>
                      <a:pt x="59" y="10"/>
                      <a:pt x="60" y="8"/>
                      <a:pt x="60" y="6"/>
                    </a:cubicBezTo>
                    <a:cubicBezTo>
                      <a:pt x="58" y="4"/>
                      <a:pt x="57" y="1"/>
                      <a:pt x="55" y="0"/>
                    </a:cubicBezTo>
                    <a:cubicBezTo>
                      <a:pt x="54" y="0"/>
                      <a:pt x="55" y="3"/>
                      <a:pt x="54" y="4"/>
                    </a:cubicBezTo>
                    <a:cubicBezTo>
                      <a:pt x="54" y="5"/>
                      <a:pt x="52" y="4"/>
                      <a:pt x="52" y="4"/>
                    </a:cubicBezTo>
                    <a:cubicBezTo>
                      <a:pt x="52" y="8"/>
                      <a:pt x="54" y="11"/>
                      <a:pt x="54" y="14"/>
                    </a:cubicBezTo>
                    <a:cubicBezTo>
                      <a:pt x="53" y="15"/>
                      <a:pt x="51" y="15"/>
                      <a:pt x="50" y="14"/>
                    </a:cubicBezTo>
                    <a:cubicBezTo>
                      <a:pt x="48" y="13"/>
                      <a:pt x="47" y="9"/>
                      <a:pt x="45" y="8"/>
                    </a:cubicBezTo>
                    <a:cubicBezTo>
                      <a:pt x="42" y="7"/>
                      <a:pt x="38" y="9"/>
                      <a:pt x="34" y="8"/>
                    </a:cubicBezTo>
                    <a:cubicBezTo>
                      <a:pt x="32" y="7"/>
                      <a:pt x="31" y="4"/>
                      <a:pt x="28" y="2"/>
                    </a:cubicBezTo>
                    <a:cubicBezTo>
                      <a:pt x="26" y="2"/>
                      <a:pt x="23" y="1"/>
                      <a:pt x="22" y="2"/>
                    </a:cubicBezTo>
                    <a:cubicBezTo>
                      <a:pt x="22" y="6"/>
                      <a:pt x="28" y="9"/>
                      <a:pt x="26" y="12"/>
                    </a:cubicBezTo>
                    <a:cubicBezTo>
                      <a:pt x="24" y="14"/>
                      <a:pt x="21" y="8"/>
                      <a:pt x="18" y="7"/>
                    </a:cubicBezTo>
                    <a:cubicBezTo>
                      <a:pt x="17" y="6"/>
                      <a:pt x="16" y="3"/>
                      <a:pt x="15" y="4"/>
                    </a:cubicBezTo>
                    <a:cubicBezTo>
                      <a:pt x="15" y="7"/>
                      <a:pt x="19" y="10"/>
                      <a:pt x="17" y="12"/>
                    </a:cubicBezTo>
                    <a:cubicBezTo>
                      <a:pt x="15" y="14"/>
                      <a:pt x="14" y="8"/>
                      <a:pt x="12" y="7"/>
                    </a:cubicBezTo>
                    <a:cubicBezTo>
                      <a:pt x="10" y="6"/>
                      <a:pt x="7" y="7"/>
                      <a:pt x="4" y="6"/>
                    </a:cubicBezTo>
                    <a:cubicBezTo>
                      <a:pt x="3" y="6"/>
                      <a:pt x="0" y="6"/>
                      <a:pt x="0" y="7"/>
                    </a:cubicBezTo>
                    <a:cubicBezTo>
                      <a:pt x="3" y="9"/>
                      <a:pt x="7" y="9"/>
                      <a:pt x="10" y="11"/>
                    </a:cubicBezTo>
                    <a:cubicBezTo>
                      <a:pt x="11" y="12"/>
                      <a:pt x="8" y="13"/>
                      <a:pt x="9" y="14"/>
                    </a:cubicBezTo>
                    <a:cubicBezTo>
                      <a:pt x="10" y="15"/>
                      <a:pt x="13" y="14"/>
                      <a:pt x="15" y="15"/>
                    </a:cubicBezTo>
                    <a:cubicBezTo>
                      <a:pt x="15" y="15"/>
                      <a:pt x="15" y="16"/>
                      <a:pt x="15" y="16"/>
                    </a:cubicBezTo>
                    <a:cubicBezTo>
                      <a:pt x="13" y="17"/>
                      <a:pt x="9" y="16"/>
                      <a:pt x="9" y="18"/>
                    </a:cubicBezTo>
                    <a:cubicBezTo>
                      <a:pt x="8" y="20"/>
                      <a:pt x="12" y="21"/>
                      <a:pt x="14" y="21"/>
                    </a:cubicBezTo>
                    <a:cubicBezTo>
                      <a:pt x="17" y="22"/>
                      <a:pt x="19" y="22"/>
                      <a:pt x="22" y="21"/>
                    </a:cubicBezTo>
                    <a:cubicBezTo>
                      <a:pt x="26" y="21"/>
                      <a:pt x="29" y="20"/>
                      <a:pt x="33" y="19"/>
                    </a:cubicBezTo>
                    <a:cubicBezTo>
                      <a:pt x="38" y="19"/>
                      <a:pt x="43" y="18"/>
                      <a:pt x="48" y="19"/>
                    </a:cubicBezTo>
                    <a:cubicBezTo>
                      <a:pt x="49" y="19"/>
                      <a:pt x="49" y="22"/>
                      <a:pt x="48" y="22"/>
                    </a:cubicBezTo>
                    <a:cubicBezTo>
                      <a:pt x="44" y="24"/>
                      <a:pt x="40" y="22"/>
                      <a:pt x="36" y="23"/>
                    </a:cubicBezTo>
                    <a:cubicBezTo>
                      <a:pt x="35" y="23"/>
                      <a:pt x="35" y="25"/>
                      <a:pt x="34" y="25"/>
                    </a:cubicBezTo>
                    <a:cubicBezTo>
                      <a:pt x="32" y="25"/>
                      <a:pt x="30" y="23"/>
                      <a:pt x="27" y="23"/>
                    </a:cubicBezTo>
                    <a:cubicBezTo>
                      <a:pt x="27" y="23"/>
                      <a:pt x="26" y="25"/>
                      <a:pt x="27" y="25"/>
                    </a:cubicBezTo>
                    <a:cubicBezTo>
                      <a:pt x="30" y="27"/>
                      <a:pt x="33" y="25"/>
                      <a:pt x="35" y="27"/>
                    </a:cubicBezTo>
                    <a:cubicBezTo>
                      <a:pt x="37" y="28"/>
                      <a:pt x="36" y="32"/>
                      <a:pt x="38" y="32"/>
                    </a:cubicBezTo>
                    <a:cubicBezTo>
                      <a:pt x="44" y="33"/>
                      <a:pt x="49" y="29"/>
                      <a:pt x="55" y="30"/>
                    </a:cubicBezTo>
                    <a:cubicBezTo>
                      <a:pt x="56" y="30"/>
                      <a:pt x="55" y="34"/>
                      <a:pt x="56" y="34"/>
                    </a:cubicBezTo>
                    <a:cubicBezTo>
                      <a:pt x="60" y="36"/>
                      <a:pt x="65" y="38"/>
                      <a:pt x="69" y="37"/>
                    </a:cubicBezTo>
                    <a:cubicBezTo>
                      <a:pt x="73" y="36"/>
                      <a:pt x="74" y="31"/>
                      <a:pt x="78" y="29"/>
                    </a:cubicBezTo>
                    <a:cubicBezTo>
                      <a:pt x="80" y="28"/>
                      <a:pt x="84" y="31"/>
                      <a:pt x="86" y="29"/>
                    </a:cubicBezTo>
                    <a:cubicBezTo>
                      <a:pt x="88" y="28"/>
                      <a:pt x="87" y="24"/>
                      <a:pt x="90" y="22"/>
                    </a:cubicBezTo>
                    <a:cubicBezTo>
                      <a:pt x="93" y="19"/>
                      <a:pt x="98" y="19"/>
                      <a:pt x="101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4" name="Freeform 3145"/>
              <p:cNvSpPr>
                <a:spLocks noChangeAspect="1"/>
              </p:cNvSpPr>
              <p:nvPr/>
            </p:nvSpPr>
            <p:spPr bwMode="auto">
              <a:xfrm>
                <a:off x="5101225" y="1318643"/>
                <a:ext cx="35983" cy="9745"/>
              </a:xfrm>
              <a:custGeom>
                <a:avLst/>
                <a:gdLst>
                  <a:gd name="T0" fmla="*/ 1 w 18"/>
                  <a:gd name="T1" fmla="*/ 2 h 5"/>
                  <a:gd name="T2" fmla="*/ 1 w 18"/>
                  <a:gd name="T3" fmla="*/ 5 h 5"/>
                  <a:gd name="T4" fmla="*/ 16 w 18"/>
                  <a:gd name="T5" fmla="*/ 4 h 5"/>
                  <a:gd name="T6" fmla="*/ 21 w 18"/>
                  <a:gd name="T7" fmla="*/ 2 h 5"/>
                  <a:gd name="T8" fmla="*/ 21 w 18"/>
                  <a:gd name="T9" fmla="*/ 0 h 5"/>
                  <a:gd name="T10" fmla="*/ 6 w 18"/>
                  <a:gd name="T11" fmla="*/ 2 h 5"/>
                  <a:gd name="T12" fmla="*/ 1 w 18"/>
                  <a:gd name="T13" fmla="*/ 2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5"/>
                  <a:gd name="T23" fmla="*/ 18 w 18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5">
                    <a:moveTo>
                      <a:pt x="1" y="2"/>
                    </a:moveTo>
                    <a:cubicBezTo>
                      <a:pt x="0" y="2"/>
                      <a:pt x="0" y="4"/>
                      <a:pt x="1" y="4"/>
                    </a:cubicBezTo>
                    <a:cubicBezTo>
                      <a:pt x="5" y="5"/>
                      <a:pt x="9" y="3"/>
                      <a:pt x="13" y="3"/>
                    </a:cubicBezTo>
                    <a:cubicBezTo>
                      <a:pt x="14" y="3"/>
                      <a:pt x="16" y="3"/>
                      <a:pt x="17" y="2"/>
                    </a:cubicBezTo>
                    <a:cubicBezTo>
                      <a:pt x="18" y="2"/>
                      <a:pt x="17" y="0"/>
                      <a:pt x="17" y="0"/>
                    </a:cubicBezTo>
                    <a:cubicBezTo>
                      <a:pt x="13" y="0"/>
                      <a:pt x="9" y="1"/>
                      <a:pt x="5" y="2"/>
                    </a:cubicBezTo>
                    <a:cubicBezTo>
                      <a:pt x="3" y="2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5" name="Freeform 3146"/>
              <p:cNvSpPr>
                <a:spLocks noChangeAspect="1"/>
              </p:cNvSpPr>
              <p:nvPr/>
            </p:nvSpPr>
            <p:spPr bwMode="auto">
              <a:xfrm>
                <a:off x="5025988" y="1378737"/>
                <a:ext cx="42525" cy="9745"/>
              </a:xfrm>
              <a:custGeom>
                <a:avLst/>
                <a:gdLst>
                  <a:gd name="T0" fmla="*/ 1 w 21"/>
                  <a:gd name="T1" fmla="*/ 1 h 5"/>
                  <a:gd name="T2" fmla="*/ 4 w 21"/>
                  <a:gd name="T3" fmla="*/ 5 h 5"/>
                  <a:gd name="T4" fmla="*/ 12 w 21"/>
                  <a:gd name="T5" fmla="*/ 2 h 5"/>
                  <a:gd name="T6" fmla="*/ 22 w 21"/>
                  <a:gd name="T7" fmla="*/ 6 h 5"/>
                  <a:gd name="T8" fmla="*/ 26 w 21"/>
                  <a:gd name="T9" fmla="*/ 4 h 5"/>
                  <a:gd name="T10" fmla="*/ 24 w 21"/>
                  <a:gd name="T11" fmla="*/ 2 h 5"/>
                  <a:gd name="T12" fmla="*/ 17 w 21"/>
                  <a:gd name="T13" fmla="*/ 0 h 5"/>
                  <a:gd name="T14" fmla="*/ 5 w 21"/>
                  <a:gd name="T15" fmla="*/ 1 h 5"/>
                  <a:gd name="T16" fmla="*/ 1 w 21"/>
                  <a:gd name="T17" fmla="*/ 1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5"/>
                  <a:gd name="T29" fmla="*/ 21 w 21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5">
                    <a:moveTo>
                      <a:pt x="1" y="1"/>
                    </a:moveTo>
                    <a:cubicBezTo>
                      <a:pt x="0" y="3"/>
                      <a:pt x="2" y="4"/>
                      <a:pt x="3" y="4"/>
                    </a:cubicBezTo>
                    <a:cubicBezTo>
                      <a:pt x="6" y="5"/>
                      <a:pt x="8" y="2"/>
                      <a:pt x="10" y="2"/>
                    </a:cubicBezTo>
                    <a:cubicBezTo>
                      <a:pt x="13" y="3"/>
                      <a:pt x="15" y="5"/>
                      <a:pt x="18" y="5"/>
                    </a:cubicBezTo>
                    <a:cubicBezTo>
                      <a:pt x="19" y="5"/>
                      <a:pt x="21" y="4"/>
                      <a:pt x="21" y="3"/>
                    </a:cubicBezTo>
                    <a:cubicBezTo>
                      <a:pt x="21" y="2"/>
                      <a:pt x="19" y="2"/>
                      <a:pt x="19" y="2"/>
                    </a:cubicBezTo>
                    <a:cubicBezTo>
                      <a:pt x="17" y="1"/>
                      <a:pt x="15" y="0"/>
                      <a:pt x="14" y="0"/>
                    </a:cubicBezTo>
                    <a:cubicBezTo>
                      <a:pt x="10" y="0"/>
                      <a:pt x="7" y="1"/>
                      <a:pt x="4" y="1"/>
                    </a:cubicBezTo>
                    <a:cubicBezTo>
                      <a:pt x="3" y="1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6" name="Freeform 3147"/>
              <p:cNvSpPr>
                <a:spLocks noChangeAspect="1"/>
              </p:cNvSpPr>
              <p:nvPr/>
            </p:nvSpPr>
            <p:spPr bwMode="auto">
              <a:xfrm>
                <a:off x="7610217" y="2351591"/>
                <a:ext cx="22898" cy="19490"/>
              </a:xfrm>
              <a:custGeom>
                <a:avLst/>
                <a:gdLst>
                  <a:gd name="T0" fmla="*/ 13 w 12"/>
                  <a:gd name="T1" fmla="*/ 2 h 10"/>
                  <a:gd name="T2" fmla="*/ 11 w 12"/>
                  <a:gd name="T3" fmla="*/ 10 h 10"/>
                  <a:gd name="T4" fmla="*/ 2 w 12"/>
                  <a:gd name="T5" fmla="*/ 10 h 10"/>
                  <a:gd name="T6" fmla="*/ 6 w 12"/>
                  <a:gd name="T7" fmla="*/ 1 h 10"/>
                  <a:gd name="T8" fmla="*/ 13 w 12"/>
                  <a:gd name="T9" fmla="*/ 2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0"/>
                  <a:gd name="T17" fmla="*/ 12 w 12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0">
                    <a:moveTo>
                      <a:pt x="11" y="2"/>
                    </a:moveTo>
                    <a:cubicBezTo>
                      <a:pt x="12" y="4"/>
                      <a:pt x="11" y="7"/>
                      <a:pt x="9" y="8"/>
                    </a:cubicBezTo>
                    <a:cubicBezTo>
                      <a:pt x="7" y="9"/>
                      <a:pt x="3" y="10"/>
                      <a:pt x="2" y="8"/>
                    </a:cubicBezTo>
                    <a:cubicBezTo>
                      <a:pt x="0" y="6"/>
                      <a:pt x="3" y="2"/>
                      <a:pt x="5" y="1"/>
                    </a:cubicBezTo>
                    <a:cubicBezTo>
                      <a:pt x="7" y="0"/>
                      <a:pt x="10" y="0"/>
                      <a:pt x="1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7" name="Freeform 3148"/>
              <p:cNvSpPr>
                <a:spLocks noChangeAspect="1"/>
              </p:cNvSpPr>
              <p:nvPr/>
            </p:nvSpPr>
            <p:spPr bwMode="auto">
              <a:xfrm>
                <a:off x="8169588" y="2210292"/>
                <a:ext cx="22898" cy="24362"/>
              </a:xfrm>
              <a:custGeom>
                <a:avLst/>
                <a:gdLst>
                  <a:gd name="T0" fmla="*/ 12 w 12"/>
                  <a:gd name="T1" fmla="*/ 1 h 13"/>
                  <a:gd name="T2" fmla="*/ 12 w 12"/>
                  <a:gd name="T3" fmla="*/ 8 h 13"/>
                  <a:gd name="T4" fmla="*/ 0 w 12"/>
                  <a:gd name="T5" fmla="*/ 14 h 13"/>
                  <a:gd name="T6" fmla="*/ 2 w 12"/>
                  <a:gd name="T7" fmla="*/ 3 h 13"/>
                  <a:gd name="T8" fmla="*/ 12 w 12"/>
                  <a:gd name="T9" fmla="*/ 1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3"/>
                  <a:gd name="T17" fmla="*/ 12 w 12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3">
                    <a:moveTo>
                      <a:pt x="10" y="1"/>
                    </a:moveTo>
                    <a:cubicBezTo>
                      <a:pt x="12" y="2"/>
                      <a:pt x="11" y="5"/>
                      <a:pt x="10" y="7"/>
                    </a:cubicBezTo>
                    <a:cubicBezTo>
                      <a:pt x="8" y="10"/>
                      <a:pt x="4" y="13"/>
                      <a:pt x="0" y="12"/>
                    </a:cubicBezTo>
                    <a:cubicBezTo>
                      <a:pt x="1" y="10"/>
                      <a:pt x="0" y="5"/>
                      <a:pt x="2" y="3"/>
                    </a:cubicBezTo>
                    <a:cubicBezTo>
                      <a:pt x="4" y="1"/>
                      <a:pt x="8" y="0"/>
                      <a:pt x="1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8" name="Freeform 3149"/>
              <p:cNvSpPr>
                <a:spLocks noChangeAspect="1"/>
              </p:cNvSpPr>
              <p:nvPr/>
            </p:nvSpPr>
            <p:spPr bwMode="auto">
              <a:xfrm>
                <a:off x="5505215" y="1804259"/>
                <a:ext cx="39254" cy="34107"/>
              </a:xfrm>
              <a:custGeom>
                <a:avLst/>
                <a:gdLst>
                  <a:gd name="T0" fmla="*/ 22 w 20"/>
                  <a:gd name="T1" fmla="*/ 6 h 17"/>
                  <a:gd name="T2" fmla="*/ 24 w 20"/>
                  <a:gd name="T3" fmla="*/ 9 h 17"/>
                  <a:gd name="T4" fmla="*/ 19 w 20"/>
                  <a:gd name="T5" fmla="*/ 15 h 17"/>
                  <a:gd name="T6" fmla="*/ 7 w 20"/>
                  <a:gd name="T7" fmla="*/ 21 h 17"/>
                  <a:gd name="T8" fmla="*/ 2 w 20"/>
                  <a:gd name="T9" fmla="*/ 20 h 17"/>
                  <a:gd name="T10" fmla="*/ 0 w 20"/>
                  <a:gd name="T11" fmla="*/ 11 h 17"/>
                  <a:gd name="T12" fmla="*/ 2 w 20"/>
                  <a:gd name="T13" fmla="*/ 1 h 17"/>
                  <a:gd name="T14" fmla="*/ 10 w 20"/>
                  <a:gd name="T15" fmla="*/ 1 h 17"/>
                  <a:gd name="T16" fmla="*/ 17 w 20"/>
                  <a:gd name="T17" fmla="*/ 5 h 17"/>
                  <a:gd name="T18" fmla="*/ 22 w 20"/>
                  <a:gd name="T19" fmla="*/ 6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17"/>
                  <a:gd name="T32" fmla="*/ 20 w 20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17">
                    <a:moveTo>
                      <a:pt x="18" y="5"/>
                    </a:moveTo>
                    <a:cubicBezTo>
                      <a:pt x="19" y="6"/>
                      <a:pt x="20" y="6"/>
                      <a:pt x="20" y="7"/>
                    </a:cubicBezTo>
                    <a:cubicBezTo>
                      <a:pt x="19" y="9"/>
                      <a:pt x="17" y="11"/>
                      <a:pt x="16" y="12"/>
                    </a:cubicBezTo>
                    <a:cubicBezTo>
                      <a:pt x="13" y="14"/>
                      <a:pt x="10" y="16"/>
                      <a:pt x="6" y="17"/>
                    </a:cubicBezTo>
                    <a:cubicBezTo>
                      <a:pt x="5" y="17"/>
                      <a:pt x="3" y="17"/>
                      <a:pt x="2" y="16"/>
                    </a:cubicBezTo>
                    <a:cubicBezTo>
                      <a:pt x="0" y="14"/>
                      <a:pt x="0" y="12"/>
                      <a:pt x="0" y="9"/>
                    </a:cubicBezTo>
                    <a:cubicBezTo>
                      <a:pt x="0" y="6"/>
                      <a:pt x="0" y="3"/>
                      <a:pt x="2" y="1"/>
                    </a:cubicBezTo>
                    <a:cubicBezTo>
                      <a:pt x="4" y="0"/>
                      <a:pt x="6" y="1"/>
                      <a:pt x="8" y="1"/>
                    </a:cubicBezTo>
                    <a:cubicBezTo>
                      <a:pt x="10" y="1"/>
                      <a:pt x="12" y="3"/>
                      <a:pt x="14" y="4"/>
                    </a:cubicBezTo>
                    <a:cubicBezTo>
                      <a:pt x="15" y="4"/>
                      <a:pt x="17" y="4"/>
                      <a:pt x="18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39" name="Freeform 3150"/>
              <p:cNvSpPr>
                <a:spLocks noChangeAspect="1"/>
              </p:cNvSpPr>
              <p:nvPr/>
            </p:nvSpPr>
            <p:spPr bwMode="auto">
              <a:xfrm>
                <a:off x="5716206" y="1757159"/>
                <a:ext cx="49068" cy="38979"/>
              </a:xfrm>
              <a:custGeom>
                <a:avLst/>
                <a:gdLst>
                  <a:gd name="T0" fmla="*/ 8 w 25"/>
                  <a:gd name="T1" fmla="*/ 1 h 20"/>
                  <a:gd name="T2" fmla="*/ 22 w 25"/>
                  <a:gd name="T3" fmla="*/ 12 h 20"/>
                  <a:gd name="T4" fmla="*/ 25 w 25"/>
                  <a:gd name="T5" fmla="*/ 12 h 20"/>
                  <a:gd name="T6" fmla="*/ 30 w 25"/>
                  <a:gd name="T7" fmla="*/ 18 h 20"/>
                  <a:gd name="T8" fmla="*/ 29 w 25"/>
                  <a:gd name="T9" fmla="*/ 20 h 20"/>
                  <a:gd name="T10" fmla="*/ 20 w 25"/>
                  <a:gd name="T11" fmla="*/ 23 h 20"/>
                  <a:gd name="T12" fmla="*/ 14 w 25"/>
                  <a:gd name="T13" fmla="*/ 17 h 20"/>
                  <a:gd name="T14" fmla="*/ 8 w 25"/>
                  <a:gd name="T15" fmla="*/ 17 h 20"/>
                  <a:gd name="T16" fmla="*/ 1 w 25"/>
                  <a:gd name="T17" fmla="*/ 10 h 20"/>
                  <a:gd name="T18" fmla="*/ 1 w 25"/>
                  <a:gd name="T19" fmla="*/ 4 h 20"/>
                  <a:gd name="T20" fmla="*/ 5 w 25"/>
                  <a:gd name="T21" fmla="*/ 4 h 20"/>
                  <a:gd name="T22" fmla="*/ 8 w 25"/>
                  <a:gd name="T23" fmla="*/ 1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5"/>
                  <a:gd name="T37" fmla="*/ 0 h 20"/>
                  <a:gd name="T38" fmla="*/ 25 w 25"/>
                  <a:gd name="T39" fmla="*/ 20 h 2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5" h="20">
                    <a:moveTo>
                      <a:pt x="7" y="1"/>
                    </a:moveTo>
                    <a:cubicBezTo>
                      <a:pt x="11" y="3"/>
                      <a:pt x="14" y="7"/>
                      <a:pt x="18" y="10"/>
                    </a:cubicBezTo>
                    <a:cubicBezTo>
                      <a:pt x="19" y="10"/>
                      <a:pt x="20" y="9"/>
                      <a:pt x="21" y="10"/>
                    </a:cubicBezTo>
                    <a:cubicBezTo>
                      <a:pt x="23" y="11"/>
                      <a:pt x="24" y="13"/>
                      <a:pt x="25" y="15"/>
                    </a:cubicBezTo>
                    <a:cubicBezTo>
                      <a:pt x="25" y="15"/>
                      <a:pt x="25" y="16"/>
                      <a:pt x="24" y="17"/>
                    </a:cubicBezTo>
                    <a:cubicBezTo>
                      <a:pt x="22" y="18"/>
                      <a:pt x="19" y="20"/>
                      <a:pt x="17" y="19"/>
                    </a:cubicBezTo>
                    <a:cubicBezTo>
                      <a:pt x="15" y="19"/>
                      <a:pt x="14" y="16"/>
                      <a:pt x="12" y="14"/>
                    </a:cubicBezTo>
                    <a:cubicBezTo>
                      <a:pt x="11" y="14"/>
                      <a:pt x="9" y="15"/>
                      <a:pt x="7" y="14"/>
                    </a:cubicBezTo>
                    <a:cubicBezTo>
                      <a:pt x="5" y="13"/>
                      <a:pt x="3" y="11"/>
                      <a:pt x="1" y="8"/>
                    </a:cubicBezTo>
                    <a:cubicBezTo>
                      <a:pt x="0" y="6"/>
                      <a:pt x="0" y="4"/>
                      <a:pt x="1" y="3"/>
                    </a:cubicBezTo>
                    <a:cubicBezTo>
                      <a:pt x="2" y="2"/>
                      <a:pt x="3" y="3"/>
                      <a:pt x="4" y="3"/>
                    </a:cubicBezTo>
                    <a:cubicBezTo>
                      <a:pt x="5" y="2"/>
                      <a:pt x="6" y="0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0" name="Freeform 3151"/>
              <p:cNvSpPr>
                <a:spLocks noChangeAspect="1"/>
              </p:cNvSpPr>
              <p:nvPr/>
            </p:nvSpPr>
            <p:spPr bwMode="auto">
              <a:xfrm>
                <a:off x="5595173" y="1471312"/>
                <a:ext cx="302584" cy="167286"/>
              </a:xfrm>
              <a:custGeom>
                <a:avLst/>
                <a:gdLst>
                  <a:gd name="T0" fmla="*/ 184 w 154"/>
                  <a:gd name="T1" fmla="*/ 16 h 86"/>
                  <a:gd name="T2" fmla="*/ 171 w 154"/>
                  <a:gd name="T3" fmla="*/ 25 h 86"/>
                  <a:gd name="T4" fmla="*/ 127 w 154"/>
                  <a:gd name="T5" fmla="*/ 38 h 86"/>
                  <a:gd name="T6" fmla="*/ 120 w 154"/>
                  <a:gd name="T7" fmla="*/ 37 h 86"/>
                  <a:gd name="T8" fmla="*/ 112 w 154"/>
                  <a:gd name="T9" fmla="*/ 43 h 86"/>
                  <a:gd name="T10" fmla="*/ 105 w 154"/>
                  <a:gd name="T11" fmla="*/ 47 h 86"/>
                  <a:gd name="T12" fmla="*/ 95 w 154"/>
                  <a:gd name="T13" fmla="*/ 55 h 86"/>
                  <a:gd name="T14" fmla="*/ 83 w 154"/>
                  <a:gd name="T15" fmla="*/ 55 h 86"/>
                  <a:gd name="T16" fmla="*/ 83 w 154"/>
                  <a:gd name="T17" fmla="*/ 61 h 86"/>
                  <a:gd name="T18" fmla="*/ 73 w 154"/>
                  <a:gd name="T19" fmla="*/ 66 h 86"/>
                  <a:gd name="T20" fmla="*/ 65 w 154"/>
                  <a:gd name="T21" fmla="*/ 66 h 86"/>
                  <a:gd name="T22" fmla="*/ 61 w 154"/>
                  <a:gd name="T23" fmla="*/ 77 h 86"/>
                  <a:gd name="T24" fmla="*/ 56 w 154"/>
                  <a:gd name="T25" fmla="*/ 85 h 86"/>
                  <a:gd name="T26" fmla="*/ 50 w 154"/>
                  <a:gd name="T27" fmla="*/ 81 h 86"/>
                  <a:gd name="T28" fmla="*/ 50 w 154"/>
                  <a:gd name="T29" fmla="*/ 85 h 86"/>
                  <a:gd name="T30" fmla="*/ 54 w 154"/>
                  <a:gd name="T31" fmla="*/ 92 h 86"/>
                  <a:gd name="T32" fmla="*/ 46 w 154"/>
                  <a:gd name="T33" fmla="*/ 91 h 86"/>
                  <a:gd name="T34" fmla="*/ 49 w 154"/>
                  <a:gd name="T35" fmla="*/ 97 h 86"/>
                  <a:gd name="T36" fmla="*/ 38 w 154"/>
                  <a:gd name="T37" fmla="*/ 103 h 86"/>
                  <a:gd name="T38" fmla="*/ 26 w 154"/>
                  <a:gd name="T39" fmla="*/ 98 h 86"/>
                  <a:gd name="T40" fmla="*/ 12 w 154"/>
                  <a:gd name="T41" fmla="*/ 98 h 86"/>
                  <a:gd name="T42" fmla="*/ 7 w 154"/>
                  <a:gd name="T43" fmla="*/ 98 h 86"/>
                  <a:gd name="T44" fmla="*/ 13 w 154"/>
                  <a:gd name="T45" fmla="*/ 93 h 86"/>
                  <a:gd name="T46" fmla="*/ 1 w 154"/>
                  <a:gd name="T47" fmla="*/ 95 h 86"/>
                  <a:gd name="T48" fmla="*/ 10 w 154"/>
                  <a:gd name="T49" fmla="*/ 86 h 86"/>
                  <a:gd name="T50" fmla="*/ 17 w 154"/>
                  <a:gd name="T51" fmla="*/ 80 h 86"/>
                  <a:gd name="T52" fmla="*/ 24 w 154"/>
                  <a:gd name="T53" fmla="*/ 83 h 86"/>
                  <a:gd name="T54" fmla="*/ 18 w 154"/>
                  <a:gd name="T55" fmla="*/ 77 h 86"/>
                  <a:gd name="T56" fmla="*/ 31 w 154"/>
                  <a:gd name="T57" fmla="*/ 73 h 86"/>
                  <a:gd name="T58" fmla="*/ 20 w 154"/>
                  <a:gd name="T59" fmla="*/ 69 h 86"/>
                  <a:gd name="T60" fmla="*/ 31 w 154"/>
                  <a:gd name="T61" fmla="*/ 66 h 86"/>
                  <a:gd name="T62" fmla="*/ 25 w 154"/>
                  <a:gd name="T63" fmla="*/ 63 h 86"/>
                  <a:gd name="T64" fmla="*/ 25 w 154"/>
                  <a:gd name="T65" fmla="*/ 60 h 86"/>
                  <a:gd name="T66" fmla="*/ 18 w 154"/>
                  <a:gd name="T67" fmla="*/ 53 h 86"/>
                  <a:gd name="T68" fmla="*/ 22 w 154"/>
                  <a:gd name="T69" fmla="*/ 53 h 86"/>
                  <a:gd name="T70" fmla="*/ 25 w 154"/>
                  <a:gd name="T71" fmla="*/ 56 h 86"/>
                  <a:gd name="T72" fmla="*/ 35 w 154"/>
                  <a:gd name="T73" fmla="*/ 53 h 86"/>
                  <a:gd name="T74" fmla="*/ 46 w 154"/>
                  <a:gd name="T75" fmla="*/ 53 h 86"/>
                  <a:gd name="T76" fmla="*/ 48 w 154"/>
                  <a:gd name="T77" fmla="*/ 46 h 86"/>
                  <a:gd name="T78" fmla="*/ 48 w 154"/>
                  <a:gd name="T79" fmla="*/ 40 h 86"/>
                  <a:gd name="T80" fmla="*/ 58 w 154"/>
                  <a:gd name="T81" fmla="*/ 41 h 86"/>
                  <a:gd name="T82" fmla="*/ 61 w 154"/>
                  <a:gd name="T83" fmla="*/ 35 h 86"/>
                  <a:gd name="T84" fmla="*/ 73 w 154"/>
                  <a:gd name="T85" fmla="*/ 31 h 86"/>
                  <a:gd name="T86" fmla="*/ 77 w 154"/>
                  <a:gd name="T87" fmla="*/ 29 h 86"/>
                  <a:gd name="T88" fmla="*/ 82 w 154"/>
                  <a:gd name="T89" fmla="*/ 30 h 86"/>
                  <a:gd name="T90" fmla="*/ 83 w 154"/>
                  <a:gd name="T91" fmla="*/ 25 h 86"/>
                  <a:gd name="T92" fmla="*/ 102 w 154"/>
                  <a:gd name="T93" fmla="*/ 25 h 86"/>
                  <a:gd name="T94" fmla="*/ 105 w 154"/>
                  <a:gd name="T95" fmla="*/ 28 h 86"/>
                  <a:gd name="T96" fmla="*/ 109 w 154"/>
                  <a:gd name="T97" fmla="*/ 24 h 86"/>
                  <a:gd name="T98" fmla="*/ 120 w 154"/>
                  <a:gd name="T99" fmla="*/ 23 h 86"/>
                  <a:gd name="T100" fmla="*/ 131 w 154"/>
                  <a:gd name="T101" fmla="*/ 23 h 86"/>
                  <a:gd name="T102" fmla="*/ 135 w 154"/>
                  <a:gd name="T103" fmla="*/ 17 h 86"/>
                  <a:gd name="T104" fmla="*/ 144 w 154"/>
                  <a:gd name="T105" fmla="*/ 14 h 86"/>
                  <a:gd name="T106" fmla="*/ 145 w 154"/>
                  <a:gd name="T107" fmla="*/ 8 h 86"/>
                  <a:gd name="T108" fmla="*/ 166 w 154"/>
                  <a:gd name="T109" fmla="*/ 1 h 86"/>
                  <a:gd name="T110" fmla="*/ 175 w 154"/>
                  <a:gd name="T111" fmla="*/ 5 h 86"/>
                  <a:gd name="T112" fmla="*/ 181 w 154"/>
                  <a:gd name="T113" fmla="*/ 6 h 86"/>
                  <a:gd name="T114" fmla="*/ 185 w 154"/>
                  <a:gd name="T115" fmla="*/ 12 h 86"/>
                  <a:gd name="T116" fmla="*/ 184 w 154"/>
                  <a:gd name="T117" fmla="*/ 16 h 8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54"/>
                  <a:gd name="T178" fmla="*/ 0 h 86"/>
                  <a:gd name="T179" fmla="*/ 154 w 154"/>
                  <a:gd name="T180" fmla="*/ 86 h 8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54" h="86">
                    <a:moveTo>
                      <a:pt x="153" y="13"/>
                    </a:moveTo>
                    <a:cubicBezTo>
                      <a:pt x="149" y="16"/>
                      <a:pt x="146" y="19"/>
                      <a:pt x="142" y="21"/>
                    </a:cubicBezTo>
                    <a:cubicBezTo>
                      <a:pt x="130" y="25"/>
                      <a:pt x="118" y="29"/>
                      <a:pt x="106" y="32"/>
                    </a:cubicBezTo>
                    <a:cubicBezTo>
                      <a:pt x="104" y="32"/>
                      <a:pt x="102" y="30"/>
                      <a:pt x="100" y="31"/>
                    </a:cubicBezTo>
                    <a:cubicBezTo>
                      <a:pt x="97" y="32"/>
                      <a:pt x="96" y="35"/>
                      <a:pt x="93" y="36"/>
                    </a:cubicBezTo>
                    <a:cubicBezTo>
                      <a:pt x="91" y="38"/>
                      <a:pt x="89" y="38"/>
                      <a:pt x="87" y="39"/>
                    </a:cubicBezTo>
                    <a:cubicBezTo>
                      <a:pt x="84" y="41"/>
                      <a:pt x="83" y="45"/>
                      <a:pt x="79" y="46"/>
                    </a:cubicBezTo>
                    <a:cubicBezTo>
                      <a:pt x="76" y="48"/>
                      <a:pt x="72" y="45"/>
                      <a:pt x="69" y="46"/>
                    </a:cubicBezTo>
                    <a:cubicBezTo>
                      <a:pt x="68" y="47"/>
                      <a:pt x="70" y="50"/>
                      <a:pt x="69" y="51"/>
                    </a:cubicBezTo>
                    <a:cubicBezTo>
                      <a:pt x="67" y="53"/>
                      <a:pt x="64" y="54"/>
                      <a:pt x="61" y="55"/>
                    </a:cubicBezTo>
                    <a:cubicBezTo>
                      <a:pt x="59" y="55"/>
                      <a:pt x="56" y="54"/>
                      <a:pt x="54" y="55"/>
                    </a:cubicBezTo>
                    <a:cubicBezTo>
                      <a:pt x="52" y="57"/>
                      <a:pt x="52" y="61"/>
                      <a:pt x="51" y="64"/>
                    </a:cubicBezTo>
                    <a:cubicBezTo>
                      <a:pt x="50" y="66"/>
                      <a:pt x="50" y="70"/>
                      <a:pt x="47" y="71"/>
                    </a:cubicBezTo>
                    <a:cubicBezTo>
                      <a:pt x="46" y="72"/>
                      <a:pt x="44" y="68"/>
                      <a:pt x="42" y="68"/>
                    </a:cubicBezTo>
                    <a:cubicBezTo>
                      <a:pt x="41" y="68"/>
                      <a:pt x="42" y="70"/>
                      <a:pt x="42" y="71"/>
                    </a:cubicBezTo>
                    <a:cubicBezTo>
                      <a:pt x="43" y="73"/>
                      <a:pt x="47" y="76"/>
                      <a:pt x="45" y="77"/>
                    </a:cubicBezTo>
                    <a:cubicBezTo>
                      <a:pt x="44" y="79"/>
                      <a:pt x="40" y="74"/>
                      <a:pt x="38" y="76"/>
                    </a:cubicBezTo>
                    <a:cubicBezTo>
                      <a:pt x="36" y="77"/>
                      <a:pt x="42" y="79"/>
                      <a:pt x="41" y="81"/>
                    </a:cubicBezTo>
                    <a:cubicBezTo>
                      <a:pt x="39" y="84"/>
                      <a:pt x="36" y="85"/>
                      <a:pt x="32" y="86"/>
                    </a:cubicBezTo>
                    <a:cubicBezTo>
                      <a:pt x="29" y="86"/>
                      <a:pt x="26" y="83"/>
                      <a:pt x="22" y="82"/>
                    </a:cubicBezTo>
                    <a:cubicBezTo>
                      <a:pt x="18" y="82"/>
                      <a:pt x="14" y="82"/>
                      <a:pt x="10" y="82"/>
                    </a:cubicBezTo>
                    <a:cubicBezTo>
                      <a:pt x="9" y="82"/>
                      <a:pt x="6" y="83"/>
                      <a:pt x="6" y="82"/>
                    </a:cubicBezTo>
                    <a:cubicBezTo>
                      <a:pt x="7" y="80"/>
                      <a:pt x="13" y="79"/>
                      <a:pt x="11" y="78"/>
                    </a:cubicBezTo>
                    <a:cubicBezTo>
                      <a:pt x="8" y="76"/>
                      <a:pt x="3" y="81"/>
                      <a:pt x="1" y="79"/>
                    </a:cubicBezTo>
                    <a:cubicBezTo>
                      <a:pt x="0" y="76"/>
                      <a:pt x="6" y="74"/>
                      <a:pt x="8" y="72"/>
                    </a:cubicBezTo>
                    <a:cubicBezTo>
                      <a:pt x="10" y="70"/>
                      <a:pt x="11" y="68"/>
                      <a:pt x="14" y="67"/>
                    </a:cubicBezTo>
                    <a:cubicBezTo>
                      <a:pt x="16" y="67"/>
                      <a:pt x="19" y="71"/>
                      <a:pt x="20" y="69"/>
                    </a:cubicBezTo>
                    <a:cubicBezTo>
                      <a:pt x="20" y="67"/>
                      <a:pt x="14" y="66"/>
                      <a:pt x="15" y="64"/>
                    </a:cubicBezTo>
                    <a:cubicBezTo>
                      <a:pt x="18" y="61"/>
                      <a:pt x="24" y="64"/>
                      <a:pt x="26" y="61"/>
                    </a:cubicBezTo>
                    <a:cubicBezTo>
                      <a:pt x="27" y="58"/>
                      <a:pt x="17" y="61"/>
                      <a:pt x="17" y="58"/>
                    </a:cubicBezTo>
                    <a:cubicBezTo>
                      <a:pt x="17" y="55"/>
                      <a:pt x="24" y="57"/>
                      <a:pt x="26" y="55"/>
                    </a:cubicBezTo>
                    <a:cubicBezTo>
                      <a:pt x="27" y="54"/>
                      <a:pt x="22" y="54"/>
                      <a:pt x="21" y="53"/>
                    </a:cubicBezTo>
                    <a:cubicBezTo>
                      <a:pt x="20" y="52"/>
                      <a:pt x="21" y="51"/>
                      <a:pt x="21" y="50"/>
                    </a:cubicBezTo>
                    <a:cubicBezTo>
                      <a:pt x="19" y="47"/>
                      <a:pt x="16" y="46"/>
                      <a:pt x="15" y="44"/>
                    </a:cubicBezTo>
                    <a:cubicBezTo>
                      <a:pt x="15" y="43"/>
                      <a:pt x="17" y="44"/>
                      <a:pt x="18" y="44"/>
                    </a:cubicBezTo>
                    <a:cubicBezTo>
                      <a:pt x="19" y="45"/>
                      <a:pt x="20" y="47"/>
                      <a:pt x="21" y="47"/>
                    </a:cubicBezTo>
                    <a:cubicBezTo>
                      <a:pt x="24" y="47"/>
                      <a:pt x="26" y="44"/>
                      <a:pt x="29" y="44"/>
                    </a:cubicBezTo>
                    <a:cubicBezTo>
                      <a:pt x="32" y="43"/>
                      <a:pt x="35" y="45"/>
                      <a:pt x="38" y="44"/>
                    </a:cubicBezTo>
                    <a:cubicBezTo>
                      <a:pt x="39" y="43"/>
                      <a:pt x="39" y="40"/>
                      <a:pt x="40" y="38"/>
                    </a:cubicBezTo>
                    <a:cubicBezTo>
                      <a:pt x="40" y="36"/>
                      <a:pt x="39" y="34"/>
                      <a:pt x="40" y="33"/>
                    </a:cubicBezTo>
                    <a:cubicBezTo>
                      <a:pt x="43" y="32"/>
                      <a:pt x="46" y="35"/>
                      <a:pt x="48" y="34"/>
                    </a:cubicBezTo>
                    <a:cubicBezTo>
                      <a:pt x="50" y="33"/>
                      <a:pt x="49" y="30"/>
                      <a:pt x="51" y="29"/>
                    </a:cubicBezTo>
                    <a:cubicBezTo>
                      <a:pt x="54" y="28"/>
                      <a:pt x="58" y="28"/>
                      <a:pt x="61" y="26"/>
                    </a:cubicBezTo>
                    <a:cubicBezTo>
                      <a:pt x="62" y="26"/>
                      <a:pt x="62" y="24"/>
                      <a:pt x="64" y="24"/>
                    </a:cubicBezTo>
                    <a:cubicBezTo>
                      <a:pt x="65" y="23"/>
                      <a:pt x="67" y="26"/>
                      <a:pt x="68" y="25"/>
                    </a:cubicBezTo>
                    <a:cubicBezTo>
                      <a:pt x="69" y="24"/>
                      <a:pt x="67" y="21"/>
                      <a:pt x="69" y="21"/>
                    </a:cubicBezTo>
                    <a:cubicBezTo>
                      <a:pt x="74" y="19"/>
                      <a:pt x="80" y="20"/>
                      <a:pt x="85" y="21"/>
                    </a:cubicBezTo>
                    <a:cubicBezTo>
                      <a:pt x="86" y="21"/>
                      <a:pt x="86" y="23"/>
                      <a:pt x="87" y="23"/>
                    </a:cubicBezTo>
                    <a:cubicBezTo>
                      <a:pt x="89" y="23"/>
                      <a:pt x="89" y="21"/>
                      <a:pt x="91" y="20"/>
                    </a:cubicBezTo>
                    <a:cubicBezTo>
                      <a:pt x="94" y="19"/>
                      <a:pt x="97" y="19"/>
                      <a:pt x="100" y="19"/>
                    </a:cubicBezTo>
                    <a:cubicBezTo>
                      <a:pt x="103" y="19"/>
                      <a:pt x="106" y="20"/>
                      <a:pt x="109" y="19"/>
                    </a:cubicBezTo>
                    <a:cubicBezTo>
                      <a:pt x="111" y="18"/>
                      <a:pt x="110" y="15"/>
                      <a:pt x="112" y="14"/>
                    </a:cubicBezTo>
                    <a:cubicBezTo>
                      <a:pt x="114" y="13"/>
                      <a:pt x="118" y="13"/>
                      <a:pt x="120" y="12"/>
                    </a:cubicBezTo>
                    <a:cubicBezTo>
                      <a:pt x="121" y="11"/>
                      <a:pt x="120" y="8"/>
                      <a:pt x="121" y="7"/>
                    </a:cubicBezTo>
                    <a:cubicBezTo>
                      <a:pt x="126" y="4"/>
                      <a:pt x="132" y="2"/>
                      <a:pt x="138" y="1"/>
                    </a:cubicBezTo>
                    <a:cubicBezTo>
                      <a:pt x="140" y="0"/>
                      <a:pt x="143" y="3"/>
                      <a:pt x="146" y="4"/>
                    </a:cubicBezTo>
                    <a:cubicBezTo>
                      <a:pt x="147" y="4"/>
                      <a:pt x="149" y="4"/>
                      <a:pt x="151" y="5"/>
                    </a:cubicBezTo>
                    <a:cubicBezTo>
                      <a:pt x="152" y="6"/>
                      <a:pt x="153" y="8"/>
                      <a:pt x="154" y="10"/>
                    </a:cubicBezTo>
                    <a:cubicBezTo>
                      <a:pt x="154" y="11"/>
                      <a:pt x="154" y="12"/>
                      <a:pt x="153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1" name="Freeform 3152"/>
              <p:cNvSpPr>
                <a:spLocks noChangeAspect="1"/>
              </p:cNvSpPr>
              <p:nvPr/>
            </p:nvSpPr>
            <p:spPr bwMode="auto">
              <a:xfrm>
                <a:off x="5562461" y="1635349"/>
                <a:ext cx="129212" cy="125059"/>
              </a:xfrm>
              <a:custGeom>
                <a:avLst/>
                <a:gdLst>
                  <a:gd name="T0" fmla="*/ 59 w 66"/>
                  <a:gd name="T1" fmla="*/ 7 h 64"/>
                  <a:gd name="T2" fmla="*/ 54 w 66"/>
                  <a:gd name="T3" fmla="*/ 11 h 64"/>
                  <a:gd name="T4" fmla="*/ 55 w 66"/>
                  <a:gd name="T5" fmla="*/ 13 h 64"/>
                  <a:gd name="T6" fmla="*/ 48 w 66"/>
                  <a:gd name="T7" fmla="*/ 13 h 64"/>
                  <a:gd name="T8" fmla="*/ 51 w 66"/>
                  <a:gd name="T9" fmla="*/ 18 h 64"/>
                  <a:gd name="T10" fmla="*/ 51 w 66"/>
                  <a:gd name="T11" fmla="*/ 30 h 64"/>
                  <a:gd name="T12" fmla="*/ 53 w 66"/>
                  <a:gd name="T13" fmla="*/ 48 h 64"/>
                  <a:gd name="T14" fmla="*/ 75 w 66"/>
                  <a:gd name="T15" fmla="*/ 67 h 64"/>
                  <a:gd name="T16" fmla="*/ 79 w 66"/>
                  <a:gd name="T17" fmla="*/ 72 h 64"/>
                  <a:gd name="T18" fmla="*/ 74 w 66"/>
                  <a:gd name="T19" fmla="*/ 75 h 64"/>
                  <a:gd name="T20" fmla="*/ 67 w 66"/>
                  <a:gd name="T21" fmla="*/ 71 h 64"/>
                  <a:gd name="T22" fmla="*/ 65 w 66"/>
                  <a:gd name="T23" fmla="*/ 75 h 64"/>
                  <a:gd name="T24" fmla="*/ 56 w 66"/>
                  <a:gd name="T25" fmla="*/ 75 h 64"/>
                  <a:gd name="T26" fmla="*/ 51 w 66"/>
                  <a:gd name="T27" fmla="*/ 69 h 64"/>
                  <a:gd name="T28" fmla="*/ 48 w 66"/>
                  <a:gd name="T29" fmla="*/ 69 h 64"/>
                  <a:gd name="T30" fmla="*/ 53 w 66"/>
                  <a:gd name="T31" fmla="*/ 75 h 64"/>
                  <a:gd name="T32" fmla="*/ 48 w 66"/>
                  <a:gd name="T33" fmla="*/ 76 h 64"/>
                  <a:gd name="T34" fmla="*/ 43 w 66"/>
                  <a:gd name="T35" fmla="*/ 71 h 64"/>
                  <a:gd name="T36" fmla="*/ 29 w 66"/>
                  <a:gd name="T37" fmla="*/ 71 h 64"/>
                  <a:gd name="T38" fmla="*/ 31 w 66"/>
                  <a:gd name="T39" fmla="*/ 66 h 64"/>
                  <a:gd name="T40" fmla="*/ 30 w 66"/>
                  <a:gd name="T41" fmla="*/ 61 h 64"/>
                  <a:gd name="T42" fmla="*/ 36 w 66"/>
                  <a:gd name="T43" fmla="*/ 59 h 64"/>
                  <a:gd name="T44" fmla="*/ 30 w 66"/>
                  <a:gd name="T45" fmla="*/ 57 h 64"/>
                  <a:gd name="T46" fmla="*/ 25 w 66"/>
                  <a:gd name="T47" fmla="*/ 51 h 64"/>
                  <a:gd name="T48" fmla="*/ 18 w 66"/>
                  <a:gd name="T49" fmla="*/ 52 h 64"/>
                  <a:gd name="T50" fmla="*/ 14 w 66"/>
                  <a:gd name="T51" fmla="*/ 46 h 64"/>
                  <a:gd name="T52" fmla="*/ 10 w 66"/>
                  <a:gd name="T53" fmla="*/ 48 h 64"/>
                  <a:gd name="T54" fmla="*/ 2 w 66"/>
                  <a:gd name="T55" fmla="*/ 47 h 64"/>
                  <a:gd name="T56" fmla="*/ 1 w 66"/>
                  <a:gd name="T57" fmla="*/ 35 h 64"/>
                  <a:gd name="T58" fmla="*/ 7 w 66"/>
                  <a:gd name="T59" fmla="*/ 35 h 64"/>
                  <a:gd name="T60" fmla="*/ 10 w 66"/>
                  <a:gd name="T61" fmla="*/ 37 h 64"/>
                  <a:gd name="T62" fmla="*/ 12 w 66"/>
                  <a:gd name="T63" fmla="*/ 25 h 64"/>
                  <a:gd name="T64" fmla="*/ 13 w 66"/>
                  <a:gd name="T65" fmla="*/ 16 h 64"/>
                  <a:gd name="T66" fmla="*/ 19 w 66"/>
                  <a:gd name="T67" fmla="*/ 6 h 64"/>
                  <a:gd name="T68" fmla="*/ 24 w 66"/>
                  <a:gd name="T69" fmla="*/ 2 h 64"/>
                  <a:gd name="T70" fmla="*/ 36 w 66"/>
                  <a:gd name="T71" fmla="*/ 0 h 64"/>
                  <a:gd name="T72" fmla="*/ 47 w 66"/>
                  <a:gd name="T73" fmla="*/ 2 h 64"/>
                  <a:gd name="T74" fmla="*/ 59 w 66"/>
                  <a:gd name="T75" fmla="*/ 7 h 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66"/>
                  <a:gd name="T115" fmla="*/ 0 h 64"/>
                  <a:gd name="T116" fmla="*/ 66 w 66"/>
                  <a:gd name="T117" fmla="*/ 64 h 6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66" h="64">
                    <a:moveTo>
                      <a:pt x="49" y="6"/>
                    </a:moveTo>
                    <a:cubicBezTo>
                      <a:pt x="50" y="7"/>
                      <a:pt x="46" y="7"/>
                      <a:pt x="45" y="9"/>
                    </a:cubicBezTo>
                    <a:cubicBezTo>
                      <a:pt x="45" y="9"/>
                      <a:pt x="46" y="11"/>
                      <a:pt x="46" y="11"/>
                    </a:cubicBezTo>
                    <a:cubicBezTo>
                      <a:pt x="44" y="12"/>
                      <a:pt x="41" y="9"/>
                      <a:pt x="40" y="11"/>
                    </a:cubicBezTo>
                    <a:cubicBezTo>
                      <a:pt x="39" y="12"/>
                      <a:pt x="43" y="13"/>
                      <a:pt x="43" y="15"/>
                    </a:cubicBezTo>
                    <a:cubicBezTo>
                      <a:pt x="44" y="18"/>
                      <a:pt x="42" y="22"/>
                      <a:pt x="43" y="25"/>
                    </a:cubicBezTo>
                    <a:cubicBezTo>
                      <a:pt x="43" y="30"/>
                      <a:pt x="41" y="36"/>
                      <a:pt x="44" y="40"/>
                    </a:cubicBezTo>
                    <a:cubicBezTo>
                      <a:pt x="49" y="47"/>
                      <a:pt x="57" y="51"/>
                      <a:pt x="63" y="56"/>
                    </a:cubicBezTo>
                    <a:cubicBezTo>
                      <a:pt x="64" y="57"/>
                      <a:pt x="66" y="58"/>
                      <a:pt x="66" y="60"/>
                    </a:cubicBezTo>
                    <a:cubicBezTo>
                      <a:pt x="66" y="62"/>
                      <a:pt x="64" y="63"/>
                      <a:pt x="62" y="62"/>
                    </a:cubicBezTo>
                    <a:cubicBezTo>
                      <a:pt x="60" y="62"/>
                      <a:pt x="58" y="59"/>
                      <a:pt x="56" y="59"/>
                    </a:cubicBezTo>
                    <a:cubicBezTo>
                      <a:pt x="55" y="59"/>
                      <a:pt x="55" y="62"/>
                      <a:pt x="54" y="62"/>
                    </a:cubicBezTo>
                    <a:cubicBezTo>
                      <a:pt x="52" y="63"/>
                      <a:pt x="49" y="63"/>
                      <a:pt x="47" y="62"/>
                    </a:cubicBezTo>
                    <a:cubicBezTo>
                      <a:pt x="46" y="61"/>
                      <a:pt x="45" y="58"/>
                      <a:pt x="43" y="57"/>
                    </a:cubicBezTo>
                    <a:cubicBezTo>
                      <a:pt x="42" y="56"/>
                      <a:pt x="40" y="56"/>
                      <a:pt x="40" y="57"/>
                    </a:cubicBezTo>
                    <a:cubicBezTo>
                      <a:pt x="40" y="59"/>
                      <a:pt x="44" y="60"/>
                      <a:pt x="44" y="62"/>
                    </a:cubicBezTo>
                    <a:cubicBezTo>
                      <a:pt x="44" y="64"/>
                      <a:pt x="41" y="64"/>
                      <a:pt x="40" y="63"/>
                    </a:cubicBezTo>
                    <a:cubicBezTo>
                      <a:pt x="38" y="63"/>
                      <a:pt x="38" y="59"/>
                      <a:pt x="36" y="59"/>
                    </a:cubicBezTo>
                    <a:cubicBezTo>
                      <a:pt x="32" y="57"/>
                      <a:pt x="28" y="60"/>
                      <a:pt x="24" y="59"/>
                    </a:cubicBezTo>
                    <a:cubicBezTo>
                      <a:pt x="23" y="58"/>
                      <a:pt x="26" y="56"/>
                      <a:pt x="26" y="55"/>
                    </a:cubicBezTo>
                    <a:cubicBezTo>
                      <a:pt x="26" y="54"/>
                      <a:pt x="24" y="52"/>
                      <a:pt x="25" y="51"/>
                    </a:cubicBezTo>
                    <a:cubicBezTo>
                      <a:pt x="26" y="49"/>
                      <a:pt x="30" y="51"/>
                      <a:pt x="30" y="49"/>
                    </a:cubicBezTo>
                    <a:cubicBezTo>
                      <a:pt x="30" y="47"/>
                      <a:pt x="26" y="48"/>
                      <a:pt x="25" y="47"/>
                    </a:cubicBezTo>
                    <a:cubicBezTo>
                      <a:pt x="24" y="45"/>
                      <a:pt x="23" y="42"/>
                      <a:pt x="21" y="42"/>
                    </a:cubicBezTo>
                    <a:cubicBezTo>
                      <a:pt x="20" y="41"/>
                      <a:pt x="17" y="43"/>
                      <a:pt x="15" y="43"/>
                    </a:cubicBezTo>
                    <a:cubicBezTo>
                      <a:pt x="14" y="42"/>
                      <a:pt x="14" y="39"/>
                      <a:pt x="12" y="38"/>
                    </a:cubicBezTo>
                    <a:cubicBezTo>
                      <a:pt x="11" y="38"/>
                      <a:pt x="9" y="39"/>
                      <a:pt x="8" y="40"/>
                    </a:cubicBezTo>
                    <a:cubicBezTo>
                      <a:pt x="6" y="40"/>
                      <a:pt x="3" y="41"/>
                      <a:pt x="2" y="39"/>
                    </a:cubicBezTo>
                    <a:cubicBezTo>
                      <a:pt x="0" y="36"/>
                      <a:pt x="0" y="32"/>
                      <a:pt x="1" y="29"/>
                    </a:cubicBezTo>
                    <a:cubicBezTo>
                      <a:pt x="2" y="27"/>
                      <a:pt x="5" y="28"/>
                      <a:pt x="6" y="29"/>
                    </a:cubicBezTo>
                    <a:cubicBezTo>
                      <a:pt x="7" y="29"/>
                      <a:pt x="7" y="32"/>
                      <a:pt x="8" y="31"/>
                    </a:cubicBezTo>
                    <a:cubicBezTo>
                      <a:pt x="9" y="28"/>
                      <a:pt x="9" y="24"/>
                      <a:pt x="10" y="21"/>
                    </a:cubicBezTo>
                    <a:cubicBezTo>
                      <a:pt x="10" y="19"/>
                      <a:pt x="10" y="16"/>
                      <a:pt x="11" y="13"/>
                    </a:cubicBezTo>
                    <a:cubicBezTo>
                      <a:pt x="12" y="10"/>
                      <a:pt x="14" y="8"/>
                      <a:pt x="16" y="5"/>
                    </a:cubicBezTo>
                    <a:cubicBezTo>
                      <a:pt x="17" y="4"/>
                      <a:pt x="18" y="2"/>
                      <a:pt x="20" y="2"/>
                    </a:cubicBezTo>
                    <a:cubicBezTo>
                      <a:pt x="23" y="1"/>
                      <a:pt x="26" y="0"/>
                      <a:pt x="30" y="0"/>
                    </a:cubicBezTo>
                    <a:cubicBezTo>
                      <a:pt x="33" y="0"/>
                      <a:pt x="36" y="1"/>
                      <a:pt x="39" y="2"/>
                    </a:cubicBezTo>
                    <a:cubicBezTo>
                      <a:pt x="43" y="3"/>
                      <a:pt x="47" y="3"/>
                      <a:pt x="49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2" name="Freeform 3153"/>
              <p:cNvSpPr>
                <a:spLocks noChangeAspect="1"/>
              </p:cNvSpPr>
              <p:nvPr/>
            </p:nvSpPr>
            <p:spPr bwMode="auto">
              <a:xfrm>
                <a:off x="5582088" y="1721428"/>
                <a:ext cx="17992" cy="21114"/>
              </a:xfrm>
              <a:custGeom>
                <a:avLst/>
                <a:gdLst>
                  <a:gd name="T0" fmla="*/ 2 w 9"/>
                  <a:gd name="T1" fmla="*/ 1 h 11"/>
                  <a:gd name="T2" fmla="*/ 1 w 9"/>
                  <a:gd name="T3" fmla="*/ 2 h 11"/>
                  <a:gd name="T4" fmla="*/ 10 w 9"/>
                  <a:gd name="T5" fmla="*/ 12 h 11"/>
                  <a:gd name="T6" fmla="*/ 11 w 9"/>
                  <a:gd name="T7" fmla="*/ 8 h 11"/>
                  <a:gd name="T8" fmla="*/ 7 w 9"/>
                  <a:gd name="T9" fmla="*/ 4 h 11"/>
                  <a:gd name="T10" fmla="*/ 2 w 9"/>
                  <a:gd name="T11" fmla="*/ 1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11"/>
                  <a:gd name="T20" fmla="*/ 9 w 9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11">
                    <a:moveTo>
                      <a:pt x="2" y="1"/>
                    </a:moveTo>
                    <a:cubicBezTo>
                      <a:pt x="1" y="0"/>
                      <a:pt x="0" y="2"/>
                      <a:pt x="1" y="2"/>
                    </a:cubicBezTo>
                    <a:cubicBezTo>
                      <a:pt x="3" y="5"/>
                      <a:pt x="5" y="8"/>
                      <a:pt x="8" y="10"/>
                    </a:cubicBezTo>
                    <a:cubicBezTo>
                      <a:pt x="9" y="11"/>
                      <a:pt x="9" y="8"/>
                      <a:pt x="9" y="7"/>
                    </a:cubicBezTo>
                    <a:cubicBezTo>
                      <a:pt x="8" y="6"/>
                      <a:pt x="7" y="4"/>
                      <a:pt x="6" y="3"/>
                    </a:cubicBezTo>
                    <a:cubicBezTo>
                      <a:pt x="5" y="2"/>
                      <a:pt x="3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3" name="Freeform 3154"/>
              <p:cNvSpPr>
                <a:spLocks noChangeAspect="1"/>
              </p:cNvSpPr>
              <p:nvPr/>
            </p:nvSpPr>
            <p:spPr bwMode="auto">
              <a:xfrm>
                <a:off x="1134923" y="2150198"/>
                <a:ext cx="16356" cy="12993"/>
              </a:xfrm>
              <a:custGeom>
                <a:avLst/>
                <a:gdLst>
                  <a:gd name="T0" fmla="*/ 6 w 8"/>
                  <a:gd name="T1" fmla="*/ 6 h 7"/>
                  <a:gd name="T2" fmla="*/ 1 w 8"/>
                  <a:gd name="T3" fmla="*/ 7 h 7"/>
                  <a:gd name="T4" fmla="*/ 3 w 8"/>
                  <a:gd name="T5" fmla="*/ 3 h 7"/>
                  <a:gd name="T6" fmla="*/ 9 w 8"/>
                  <a:gd name="T7" fmla="*/ 1 h 7"/>
                  <a:gd name="T8" fmla="*/ 6 w 8"/>
                  <a:gd name="T9" fmla="*/ 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7"/>
                  <a:gd name="T17" fmla="*/ 8 w 8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7">
                    <a:moveTo>
                      <a:pt x="5" y="5"/>
                    </a:moveTo>
                    <a:cubicBezTo>
                      <a:pt x="4" y="6"/>
                      <a:pt x="2" y="7"/>
                      <a:pt x="1" y="6"/>
                    </a:cubicBezTo>
                    <a:cubicBezTo>
                      <a:pt x="0" y="5"/>
                      <a:pt x="1" y="4"/>
                      <a:pt x="2" y="3"/>
                    </a:cubicBezTo>
                    <a:cubicBezTo>
                      <a:pt x="4" y="2"/>
                      <a:pt x="6" y="0"/>
                      <a:pt x="7" y="1"/>
                    </a:cubicBezTo>
                    <a:cubicBezTo>
                      <a:pt x="8" y="2"/>
                      <a:pt x="6" y="4"/>
                      <a:pt x="5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4" name="Freeform 3155"/>
              <p:cNvSpPr>
                <a:spLocks noChangeAspect="1"/>
              </p:cNvSpPr>
              <p:nvPr/>
            </p:nvSpPr>
            <p:spPr bwMode="auto">
              <a:xfrm>
                <a:off x="4080618" y="1425836"/>
                <a:ext cx="9814" cy="14618"/>
              </a:xfrm>
              <a:custGeom>
                <a:avLst/>
                <a:gdLst>
                  <a:gd name="T0" fmla="*/ 4 w 5"/>
                  <a:gd name="T1" fmla="*/ 6 h 7"/>
                  <a:gd name="T2" fmla="*/ 1 w 5"/>
                  <a:gd name="T3" fmla="*/ 9 h 7"/>
                  <a:gd name="T4" fmla="*/ 1 w 5"/>
                  <a:gd name="T5" fmla="*/ 4 h 7"/>
                  <a:gd name="T6" fmla="*/ 5 w 5"/>
                  <a:gd name="T7" fmla="*/ 1 h 7"/>
                  <a:gd name="T8" fmla="*/ 4 w 5"/>
                  <a:gd name="T9" fmla="*/ 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3" y="5"/>
                    </a:moveTo>
                    <a:cubicBezTo>
                      <a:pt x="3" y="6"/>
                      <a:pt x="1" y="7"/>
                      <a:pt x="1" y="7"/>
                    </a:cubicBezTo>
                    <a:cubicBezTo>
                      <a:pt x="0" y="6"/>
                      <a:pt x="0" y="4"/>
                      <a:pt x="1" y="3"/>
                    </a:cubicBezTo>
                    <a:cubicBezTo>
                      <a:pt x="2" y="2"/>
                      <a:pt x="3" y="0"/>
                      <a:pt x="4" y="1"/>
                    </a:cubicBezTo>
                    <a:cubicBezTo>
                      <a:pt x="5" y="2"/>
                      <a:pt x="4" y="4"/>
                      <a:pt x="3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5" name="Freeform 3156"/>
              <p:cNvSpPr>
                <a:spLocks noChangeAspect="1"/>
              </p:cNvSpPr>
              <p:nvPr/>
            </p:nvSpPr>
            <p:spPr bwMode="auto">
              <a:xfrm>
                <a:off x="4026643" y="1217947"/>
                <a:ext cx="19627" cy="17866"/>
              </a:xfrm>
              <a:custGeom>
                <a:avLst/>
                <a:gdLst>
                  <a:gd name="T0" fmla="*/ 8 w 10"/>
                  <a:gd name="T1" fmla="*/ 5 h 9"/>
                  <a:gd name="T2" fmla="*/ 12 w 10"/>
                  <a:gd name="T3" fmla="*/ 11 h 9"/>
                  <a:gd name="T4" fmla="*/ 5 w 10"/>
                  <a:gd name="T5" fmla="*/ 7 h 9"/>
                  <a:gd name="T6" fmla="*/ 1 w 10"/>
                  <a:gd name="T7" fmla="*/ 0 h 9"/>
                  <a:gd name="T8" fmla="*/ 8 w 10"/>
                  <a:gd name="T9" fmla="*/ 5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9"/>
                  <a:gd name="T17" fmla="*/ 10 w 1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9">
                    <a:moveTo>
                      <a:pt x="7" y="4"/>
                    </a:moveTo>
                    <a:cubicBezTo>
                      <a:pt x="8" y="5"/>
                      <a:pt x="10" y="8"/>
                      <a:pt x="10" y="9"/>
                    </a:cubicBezTo>
                    <a:cubicBezTo>
                      <a:pt x="9" y="9"/>
                      <a:pt x="5" y="7"/>
                      <a:pt x="4" y="6"/>
                    </a:cubicBezTo>
                    <a:cubicBezTo>
                      <a:pt x="2" y="4"/>
                      <a:pt x="0" y="0"/>
                      <a:pt x="1" y="0"/>
                    </a:cubicBezTo>
                    <a:cubicBezTo>
                      <a:pt x="2" y="0"/>
                      <a:pt x="5" y="3"/>
                      <a:pt x="7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6" name="Freeform 3157"/>
              <p:cNvSpPr>
                <a:spLocks noChangeAspect="1"/>
              </p:cNvSpPr>
              <p:nvPr/>
            </p:nvSpPr>
            <p:spPr bwMode="auto">
              <a:xfrm>
                <a:off x="2651114" y="3493355"/>
                <a:ext cx="9814" cy="6497"/>
              </a:xfrm>
              <a:custGeom>
                <a:avLst/>
                <a:gdLst>
                  <a:gd name="T0" fmla="*/ 5 w 5"/>
                  <a:gd name="T1" fmla="*/ 2 h 4"/>
                  <a:gd name="T2" fmla="*/ 6 w 5"/>
                  <a:gd name="T3" fmla="*/ 4 h 4"/>
                  <a:gd name="T4" fmla="*/ 2 w 5"/>
                  <a:gd name="T5" fmla="*/ 3 h 4"/>
                  <a:gd name="T6" fmla="*/ 1 w 5"/>
                  <a:gd name="T7" fmla="*/ 0 h 4"/>
                  <a:gd name="T8" fmla="*/ 5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4" y="2"/>
                    </a:moveTo>
                    <a:cubicBezTo>
                      <a:pt x="4" y="2"/>
                      <a:pt x="5" y="3"/>
                      <a:pt x="5" y="4"/>
                    </a:cubicBezTo>
                    <a:cubicBezTo>
                      <a:pt x="4" y="4"/>
                      <a:pt x="3" y="3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7" name="Freeform 3158"/>
              <p:cNvSpPr>
                <a:spLocks noChangeAspect="1"/>
              </p:cNvSpPr>
              <p:nvPr/>
            </p:nvSpPr>
            <p:spPr bwMode="auto">
              <a:xfrm>
                <a:off x="6406424" y="1511915"/>
                <a:ext cx="6542" cy="12993"/>
              </a:xfrm>
              <a:custGeom>
                <a:avLst/>
                <a:gdLst>
                  <a:gd name="T0" fmla="*/ 3 w 3"/>
                  <a:gd name="T1" fmla="*/ 5 h 7"/>
                  <a:gd name="T2" fmla="*/ 1 w 3"/>
                  <a:gd name="T3" fmla="*/ 8 h 7"/>
                  <a:gd name="T4" fmla="*/ 0 w 3"/>
                  <a:gd name="T5" fmla="*/ 5 h 7"/>
                  <a:gd name="T6" fmla="*/ 1 w 3"/>
                  <a:gd name="T7" fmla="*/ 1 h 7"/>
                  <a:gd name="T8" fmla="*/ 3 w 3"/>
                  <a:gd name="T9" fmla="*/ 5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7"/>
                  <a:gd name="T17" fmla="*/ 3 w 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7">
                    <a:moveTo>
                      <a:pt x="2" y="4"/>
                    </a:moveTo>
                    <a:cubicBezTo>
                      <a:pt x="2" y="5"/>
                      <a:pt x="2" y="7"/>
                      <a:pt x="1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0" y="3"/>
                      <a:pt x="0" y="0"/>
                      <a:pt x="1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8" name="Freeform 3159"/>
              <p:cNvSpPr>
                <a:spLocks noChangeAspect="1"/>
              </p:cNvSpPr>
              <p:nvPr/>
            </p:nvSpPr>
            <p:spPr bwMode="auto">
              <a:xfrm>
                <a:off x="6062951" y="1625604"/>
                <a:ext cx="9814" cy="4873"/>
              </a:xfrm>
              <a:custGeom>
                <a:avLst/>
                <a:gdLst>
                  <a:gd name="T0" fmla="*/ 2 w 5"/>
                  <a:gd name="T1" fmla="*/ 3 h 3"/>
                  <a:gd name="T2" fmla="*/ 1 w 5"/>
                  <a:gd name="T3" fmla="*/ 3 h 3"/>
                  <a:gd name="T4" fmla="*/ 2 w 5"/>
                  <a:gd name="T5" fmla="*/ 1 h 3"/>
                  <a:gd name="T6" fmla="*/ 6 w 5"/>
                  <a:gd name="T7" fmla="*/ 1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1"/>
                      <a:pt x="5" y="0"/>
                      <a:pt x="5" y="1"/>
                    </a:cubicBezTo>
                    <a:cubicBezTo>
                      <a:pt x="5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49" name="Freeform 3160"/>
              <p:cNvSpPr>
                <a:spLocks noChangeAspect="1"/>
              </p:cNvSpPr>
              <p:nvPr/>
            </p:nvSpPr>
            <p:spPr bwMode="auto">
              <a:xfrm>
                <a:off x="7440116" y="3892892"/>
                <a:ext cx="6542" cy="6497"/>
              </a:xfrm>
              <a:custGeom>
                <a:avLst/>
                <a:gdLst>
                  <a:gd name="T0" fmla="*/ 2 w 4"/>
                  <a:gd name="T1" fmla="*/ 3 h 4"/>
                  <a:gd name="T2" fmla="*/ 0 w 4"/>
                  <a:gd name="T3" fmla="*/ 3 h 4"/>
                  <a:gd name="T4" fmla="*/ 1 w 4"/>
                  <a:gd name="T5" fmla="*/ 1 h 4"/>
                  <a:gd name="T6" fmla="*/ 3 w 4"/>
                  <a:gd name="T7" fmla="*/ 0 h 4"/>
                  <a:gd name="T8" fmla="*/ 2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4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0" name="Freeform 3161"/>
              <p:cNvSpPr>
                <a:spLocks noChangeAspect="1"/>
              </p:cNvSpPr>
              <p:nvPr/>
            </p:nvSpPr>
            <p:spPr bwMode="auto">
              <a:xfrm>
                <a:off x="1682846" y="3183146"/>
                <a:ext cx="11450" cy="11369"/>
              </a:xfrm>
              <a:custGeom>
                <a:avLst/>
                <a:gdLst>
                  <a:gd name="T0" fmla="*/ 5 w 6"/>
                  <a:gd name="T1" fmla="*/ 4 h 6"/>
                  <a:gd name="T2" fmla="*/ 6 w 6"/>
                  <a:gd name="T3" fmla="*/ 7 h 6"/>
                  <a:gd name="T4" fmla="*/ 2 w 6"/>
                  <a:gd name="T5" fmla="*/ 5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5" y="6"/>
                    </a:cubicBezTo>
                    <a:cubicBezTo>
                      <a:pt x="4" y="6"/>
                      <a:pt x="3" y="5"/>
                      <a:pt x="2" y="4"/>
                    </a:cubicBezTo>
                    <a:cubicBezTo>
                      <a:pt x="2" y="2"/>
                      <a:pt x="0" y="0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1" name="Freeform 3162"/>
              <p:cNvSpPr>
                <a:spLocks noChangeAspect="1"/>
              </p:cNvSpPr>
              <p:nvPr/>
            </p:nvSpPr>
            <p:spPr bwMode="auto">
              <a:xfrm>
                <a:off x="1641956" y="3214005"/>
                <a:ext cx="1636" cy="9745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6 h 5"/>
                  <a:gd name="T4" fmla="*/ 0 w 1"/>
                  <a:gd name="T5" fmla="*/ 4 h 5"/>
                  <a:gd name="T6" fmla="*/ 1 w 1"/>
                  <a:gd name="T7" fmla="*/ 1 h 5"/>
                  <a:gd name="T8" fmla="*/ 1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2" name="Freeform 3163"/>
              <p:cNvSpPr>
                <a:spLocks noChangeAspect="1"/>
              </p:cNvSpPr>
              <p:nvPr/>
            </p:nvSpPr>
            <p:spPr bwMode="auto">
              <a:xfrm>
                <a:off x="1566719" y="3194515"/>
                <a:ext cx="3271" cy="9745"/>
              </a:xfrm>
              <a:custGeom>
                <a:avLst/>
                <a:gdLst>
                  <a:gd name="T0" fmla="*/ 2 w 1"/>
                  <a:gd name="T1" fmla="*/ 4 h 5"/>
                  <a:gd name="T2" fmla="*/ 0 w 1"/>
                  <a:gd name="T3" fmla="*/ 6 h 5"/>
                  <a:gd name="T4" fmla="*/ 0 w 1"/>
                  <a:gd name="T5" fmla="*/ 4 h 5"/>
                  <a:gd name="T6" fmla="*/ 2 w 1"/>
                  <a:gd name="T7" fmla="*/ 0 h 5"/>
                  <a:gd name="T8" fmla="*/ 2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1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3" name="Freeform 3164"/>
              <p:cNvSpPr>
                <a:spLocks noChangeAspect="1"/>
              </p:cNvSpPr>
              <p:nvPr/>
            </p:nvSpPr>
            <p:spPr bwMode="auto">
              <a:xfrm>
                <a:off x="1571626" y="3097067"/>
                <a:ext cx="8178" cy="9745"/>
              </a:xfrm>
              <a:custGeom>
                <a:avLst/>
                <a:gdLst>
                  <a:gd name="T0" fmla="*/ 3 w 4"/>
                  <a:gd name="T1" fmla="*/ 4 h 5"/>
                  <a:gd name="T2" fmla="*/ 0 w 4"/>
                  <a:gd name="T3" fmla="*/ 5 h 5"/>
                  <a:gd name="T4" fmla="*/ 1 w 4"/>
                  <a:gd name="T5" fmla="*/ 2 h 5"/>
                  <a:gd name="T6" fmla="*/ 4 w 4"/>
                  <a:gd name="T7" fmla="*/ 1 h 5"/>
                  <a:gd name="T8" fmla="*/ 3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3"/>
                    </a:moveTo>
                    <a:cubicBezTo>
                      <a:pt x="1" y="4"/>
                      <a:pt x="0" y="5"/>
                      <a:pt x="0" y="4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3" y="0"/>
                      <a:pt x="3" y="1"/>
                    </a:cubicBezTo>
                    <a:cubicBezTo>
                      <a:pt x="4" y="2"/>
                      <a:pt x="2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4" name="Freeform 3165"/>
              <p:cNvSpPr>
                <a:spLocks noChangeAspect="1"/>
              </p:cNvSpPr>
              <p:nvPr/>
            </p:nvSpPr>
            <p:spPr bwMode="auto">
              <a:xfrm>
                <a:off x="585366" y="3430014"/>
                <a:ext cx="9814" cy="4873"/>
              </a:xfrm>
              <a:custGeom>
                <a:avLst/>
                <a:gdLst>
                  <a:gd name="T0" fmla="*/ 2 w 5"/>
                  <a:gd name="T1" fmla="*/ 3 h 2"/>
                  <a:gd name="T2" fmla="*/ 1 w 5"/>
                  <a:gd name="T3" fmla="*/ 2 h 2"/>
                  <a:gd name="T4" fmla="*/ 4 w 5"/>
                  <a:gd name="T5" fmla="*/ 0 h 2"/>
                  <a:gd name="T6" fmla="*/ 6 w 5"/>
                  <a:gd name="T7" fmla="*/ 2 h 2"/>
                  <a:gd name="T8" fmla="*/ 2 w 5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2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5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5" name="Freeform 3166"/>
              <p:cNvSpPr>
                <a:spLocks noChangeAspect="1"/>
              </p:cNvSpPr>
              <p:nvPr/>
            </p:nvSpPr>
            <p:spPr bwMode="auto">
              <a:xfrm>
                <a:off x="786544" y="2218412"/>
                <a:ext cx="14721" cy="11369"/>
              </a:xfrm>
              <a:custGeom>
                <a:avLst/>
                <a:gdLst>
                  <a:gd name="T0" fmla="*/ 3 w 8"/>
                  <a:gd name="T1" fmla="*/ 5 h 6"/>
                  <a:gd name="T2" fmla="*/ 0 w 8"/>
                  <a:gd name="T3" fmla="*/ 6 h 6"/>
                  <a:gd name="T4" fmla="*/ 3 w 8"/>
                  <a:gd name="T5" fmla="*/ 4 h 6"/>
                  <a:gd name="T6" fmla="*/ 9 w 8"/>
                  <a:gd name="T7" fmla="*/ 1 h 6"/>
                  <a:gd name="T8" fmla="*/ 3 w 8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6"/>
                  <a:gd name="T17" fmla="*/ 8 w 8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6">
                    <a:moveTo>
                      <a:pt x="3" y="4"/>
                    </a:moveTo>
                    <a:cubicBezTo>
                      <a:pt x="3" y="5"/>
                      <a:pt x="1" y="6"/>
                      <a:pt x="0" y="5"/>
                    </a:cubicBezTo>
                    <a:cubicBezTo>
                      <a:pt x="0" y="5"/>
                      <a:pt x="2" y="3"/>
                      <a:pt x="3" y="3"/>
                    </a:cubicBezTo>
                    <a:cubicBezTo>
                      <a:pt x="4" y="2"/>
                      <a:pt x="7" y="0"/>
                      <a:pt x="8" y="1"/>
                    </a:cubicBezTo>
                    <a:cubicBezTo>
                      <a:pt x="8" y="2"/>
                      <a:pt x="4" y="4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6" name="Freeform 3167"/>
              <p:cNvSpPr>
                <a:spLocks noChangeAspect="1"/>
              </p:cNvSpPr>
              <p:nvPr/>
            </p:nvSpPr>
            <p:spPr bwMode="auto">
              <a:xfrm>
                <a:off x="326943" y="2463656"/>
                <a:ext cx="8178" cy="8121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4 h 4"/>
                  <a:gd name="T4" fmla="*/ 1 w 4"/>
                  <a:gd name="T5" fmla="*/ 1 h 4"/>
                  <a:gd name="T6" fmla="*/ 5 w 4"/>
                  <a:gd name="T7" fmla="*/ 1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2" y="3"/>
                      <a:pt x="1" y="4"/>
                      <a:pt x="0" y="3"/>
                    </a:cubicBezTo>
                    <a:cubicBezTo>
                      <a:pt x="0" y="3"/>
                      <a:pt x="1" y="2"/>
                      <a:pt x="1" y="1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1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7" name="Freeform 3168"/>
              <p:cNvSpPr>
                <a:spLocks noChangeAspect="1"/>
              </p:cNvSpPr>
              <p:nvPr/>
            </p:nvSpPr>
            <p:spPr bwMode="auto">
              <a:xfrm>
                <a:off x="416901" y="2447415"/>
                <a:ext cx="21263" cy="6497"/>
              </a:xfrm>
              <a:custGeom>
                <a:avLst/>
                <a:gdLst>
                  <a:gd name="T0" fmla="*/ 5 w 11"/>
                  <a:gd name="T1" fmla="*/ 4 h 3"/>
                  <a:gd name="T2" fmla="*/ 1 w 11"/>
                  <a:gd name="T3" fmla="*/ 4 h 3"/>
                  <a:gd name="T4" fmla="*/ 6 w 11"/>
                  <a:gd name="T5" fmla="*/ 1 h 3"/>
                  <a:gd name="T6" fmla="*/ 13 w 11"/>
                  <a:gd name="T7" fmla="*/ 1 h 3"/>
                  <a:gd name="T8" fmla="*/ 5 w 11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3"/>
                  <a:gd name="T17" fmla="*/ 11 w 1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3">
                    <a:moveTo>
                      <a:pt x="4" y="3"/>
                    </a:moveTo>
                    <a:cubicBezTo>
                      <a:pt x="3" y="3"/>
                      <a:pt x="0" y="3"/>
                      <a:pt x="1" y="3"/>
                    </a:cubicBezTo>
                    <a:cubicBezTo>
                      <a:pt x="1" y="2"/>
                      <a:pt x="3" y="2"/>
                      <a:pt x="5" y="1"/>
                    </a:cubicBezTo>
                    <a:cubicBezTo>
                      <a:pt x="7" y="1"/>
                      <a:pt x="11" y="0"/>
                      <a:pt x="11" y="1"/>
                    </a:cubicBezTo>
                    <a:cubicBezTo>
                      <a:pt x="10" y="2"/>
                      <a:pt x="7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8" name="Freeform 3169"/>
              <p:cNvSpPr>
                <a:spLocks noChangeAspect="1"/>
              </p:cNvSpPr>
              <p:nvPr/>
            </p:nvSpPr>
            <p:spPr bwMode="auto">
              <a:xfrm>
                <a:off x="765281" y="2341846"/>
                <a:ext cx="6542" cy="9745"/>
              </a:xfrm>
              <a:custGeom>
                <a:avLst/>
                <a:gdLst>
                  <a:gd name="T0" fmla="*/ 2 w 4"/>
                  <a:gd name="T1" fmla="*/ 4 h 5"/>
                  <a:gd name="T2" fmla="*/ 0 w 4"/>
                  <a:gd name="T3" fmla="*/ 5 h 5"/>
                  <a:gd name="T4" fmla="*/ 1 w 4"/>
                  <a:gd name="T5" fmla="*/ 2 h 5"/>
                  <a:gd name="T6" fmla="*/ 3 w 4"/>
                  <a:gd name="T7" fmla="*/ 1 h 5"/>
                  <a:gd name="T8" fmla="*/ 2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3"/>
                    </a:moveTo>
                    <a:cubicBezTo>
                      <a:pt x="2" y="4"/>
                      <a:pt x="1" y="5"/>
                      <a:pt x="0" y="4"/>
                    </a:cubicBezTo>
                    <a:cubicBezTo>
                      <a:pt x="0" y="4"/>
                      <a:pt x="1" y="3"/>
                      <a:pt x="1" y="2"/>
                    </a:cubicBezTo>
                    <a:cubicBezTo>
                      <a:pt x="2" y="1"/>
                      <a:pt x="3" y="0"/>
                      <a:pt x="3" y="1"/>
                    </a:cubicBezTo>
                    <a:cubicBezTo>
                      <a:pt x="4" y="1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59" name="Freeform 3170"/>
              <p:cNvSpPr>
                <a:spLocks noChangeAspect="1"/>
              </p:cNvSpPr>
              <p:nvPr/>
            </p:nvSpPr>
            <p:spPr bwMode="auto">
              <a:xfrm>
                <a:off x="902670" y="2301243"/>
                <a:ext cx="9814" cy="6497"/>
              </a:xfrm>
              <a:custGeom>
                <a:avLst/>
                <a:gdLst>
                  <a:gd name="T0" fmla="*/ 2 w 5"/>
                  <a:gd name="T1" fmla="*/ 3 h 3"/>
                  <a:gd name="T2" fmla="*/ 1 w 5"/>
                  <a:gd name="T3" fmla="*/ 4 h 3"/>
                  <a:gd name="T4" fmla="*/ 2 w 5"/>
                  <a:gd name="T5" fmla="*/ 1 h 3"/>
                  <a:gd name="T6" fmla="*/ 5 w 5"/>
                  <a:gd name="T7" fmla="*/ 0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5" y="1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0" name="Freeform 3171"/>
              <p:cNvSpPr>
                <a:spLocks noChangeAspect="1"/>
              </p:cNvSpPr>
              <p:nvPr/>
            </p:nvSpPr>
            <p:spPr bwMode="auto">
              <a:xfrm>
                <a:off x="1179085" y="2172936"/>
                <a:ext cx="4907" cy="8121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5 h 4"/>
                  <a:gd name="T4" fmla="*/ 1 w 3"/>
                  <a:gd name="T5" fmla="*/ 3 h 4"/>
                  <a:gd name="T6" fmla="*/ 3 w 3"/>
                  <a:gd name="T7" fmla="*/ 0 h 4"/>
                  <a:gd name="T8" fmla="*/ 1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1" y="3"/>
                    </a:moveTo>
                    <a:cubicBezTo>
                      <a:pt x="1" y="4"/>
                      <a:pt x="0" y="4"/>
                      <a:pt x="0" y="4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1"/>
                      <a:pt x="2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1" name="Freeform 3172"/>
              <p:cNvSpPr>
                <a:spLocks noChangeAspect="1"/>
              </p:cNvSpPr>
              <p:nvPr/>
            </p:nvSpPr>
            <p:spPr bwMode="auto">
              <a:xfrm>
                <a:off x="1112025" y="2151823"/>
                <a:ext cx="6542" cy="9745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6 h 5"/>
                  <a:gd name="T4" fmla="*/ 1 w 3"/>
                  <a:gd name="T5" fmla="*/ 2 h 5"/>
                  <a:gd name="T6" fmla="*/ 4 w 3"/>
                  <a:gd name="T7" fmla="*/ 1 h 5"/>
                  <a:gd name="T8" fmla="*/ 3 w 3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4"/>
                    </a:moveTo>
                    <a:cubicBezTo>
                      <a:pt x="2" y="4"/>
                      <a:pt x="1" y="5"/>
                      <a:pt x="0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2"/>
                      <a:pt x="2" y="0"/>
                      <a:pt x="3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2" name="Freeform 3173"/>
              <p:cNvSpPr>
                <a:spLocks noChangeAspect="1"/>
              </p:cNvSpPr>
              <p:nvPr/>
            </p:nvSpPr>
            <p:spPr bwMode="auto">
              <a:xfrm>
                <a:off x="1385169" y="2346719"/>
                <a:ext cx="9814" cy="11369"/>
              </a:xfrm>
              <a:custGeom>
                <a:avLst/>
                <a:gdLst>
                  <a:gd name="T0" fmla="*/ 5 w 5"/>
                  <a:gd name="T1" fmla="*/ 5 h 6"/>
                  <a:gd name="T2" fmla="*/ 5 w 5"/>
                  <a:gd name="T3" fmla="*/ 7 h 6"/>
                  <a:gd name="T4" fmla="*/ 2 w 5"/>
                  <a:gd name="T5" fmla="*/ 5 h 6"/>
                  <a:gd name="T6" fmla="*/ 0 w 5"/>
                  <a:gd name="T7" fmla="*/ 0 h 6"/>
                  <a:gd name="T8" fmla="*/ 5 w 5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4" y="4"/>
                    </a:moveTo>
                    <a:cubicBezTo>
                      <a:pt x="4" y="4"/>
                      <a:pt x="5" y="6"/>
                      <a:pt x="4" y="6"/>
                    </a:cubicBezTo>
                    <a:cubicBezTo>
                      <a:pt x="4" y="6"/>
                      <a:pt x="3" y="5"/>
                      <a:pt x="2" y="4"/>
                    </a:cubicBezTo>
                    <a:cubicBezTo>
                      <a:pt x="1" y="3"/>
                      <a:pt x="0" y="0"/>
                      <a:pt x="0" y="0"/>
                    </a:cubicBezTo>
                    <a:cubicBezTo>
                      <a:pt x="1" y="0"/>
                      <a:pt x="3" y="2"/>
                      <a:pt x="4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3" name="Freeform 3174"/>
              <p:cNvSpPr>
                <a:spLocks noChangeAspect="1"/>
              </p:cNvSpPr>
              <p:nvPr/>
            </p:nvSpPr>
            <p:spPr bwMode="auto">
              <a:xfrm>
                <a:off x="1345915" y="2276881"/>
                <a:ext cx="3271" cy="9745"/>
              </a:xfrm>
              <a:custGeom>
                <a:avLst/>
                <a:gdLst>
                  <a:gd name="T0" fmla="*/ 1 w 2"/>
                  <a:gd name="T1" fmla="*/ 5 h 5"/>
                  <a:gd name="T2" fmla="*/ 0 w 2"/>
                  <a:gd name="T3" fmla="*/ 6 h 5"/>
                  <a:gd name="T4" fmla="*/ 0 w 2"/>
                  <a:gd name="T5" fmla="*/ 4 h 5"/>
                  <a:gd name="T6" fmla="*/ 1 w 2"/>
                  <a:gd name="T7" fmla="*/ 1 h 5"/>
                  <a:gd name="T8" fmla="*/ 1 w 2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1" y="4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1"/>
                    </a:cubicBezTo>
                    <a:cubicBezTo>
                      <a:pt x="2" y="1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4" name="Freeform 3175"/>
              <p:cNvSpPr>
                <a:spLocks noChangeAspect="1"/>
              </p:cNvSpPr>
              <p:nvPr/>
            </p:nvSpPr>
            <p:spPr bwMode="auto">
              <a:xfrm>
                <a:off x="1414610" y="2302867"/>
                <a:ext cx="8178" cy="8121"/>
              </a:xfrm>
              <a:custGeom>
                <a:avLst/>
                <a:gdLst>
                  <a:gd name="T0" fmla="*/ 4 w 4"/>
                  <a:gd name="T1" fmla="*/ 3 h 4"/>
                  <a:gd name="T2" fmla="*/ 4 w 4"/>
                  <a:gd name="T3" fmla="*/ 5 h 4"/>
                  <a:gd name="T4" fmla="*/ 1 w 4"/>
                  <a:gd name="T5" fmla="*/ 4 h 4"/>
                  <a:gd name="T6" fmla="*/ 0 w 4"/>
                  <a:gd name="T7" fmla="*/ 1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3"/>
                      <a:pt x="4" y="4"/>
                      <a:pt x="3" y="4"/>
                    </a:cubicBezTo>
                    <a:cubicBezTo>
                      <a:pt x="3" y="4"/>
                      <a:pt x="2" y="3"/>
                      <a:pt x="1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5" name="Freeform 3176"/>
              <p:cNvSpPr>
                <a:spLocks noChangeAspect="1"/>
              </p:cNvSpPr>
              <p:nvPr/>
            </p:nvSpPr>
            <p:spPr bwMode="auto">
              <a:xfrm>
                <a:off x="1439143" y="2398691"/>
                <a:ext cx="9814" cy="11369"/>
              </a:xfrm>
              <a:custGeom>
                <a:avLst/>
                <a:gdLst>
                  <a:gd name="T0" fmla="*/ 5 w 5"/>
                  <a:gd name="T1" fmla="*/ 4 h 6"/>
                  <a:gd name="T2" fmla="*/ 5 w 5"/>
                  <a:gd name="T3" fmla="*/ 7 h 6"/>
                  <a:gd name="T4" fmla="*/ 2 w 5"/>
                  <a:gd name="T5" fmla="*/ 5 h 6"/>
                  <a:gd name="T6" fmla="*/ 1 w 5"/>
                  <a:gd name="T7" fmla="*/ 0 h 6"/>
                  <a:gd name="T8" fmla="*/ 5 w 5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4" y="3"/>
                    </a:moveTo>
                    <a:cubicBezTo>
                      <a:pt x="4" y="4"/>
                      <a:pt x="5" y="5"/>
                      <a:pt x="4" y="6"/>
                    </a:cubicBezTo>
                    <a:cubicBezTo>
                      <a:pt x="3" y="6"/>
                      <a:pt x="2" y="4"/>
                      <a:pt x="2" y="4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6" name="Freeform 3177"/>
              <p:cNvSpPr>
                <a:spLocks noChangeAspect="1"/>
              </p:cNvSpPr>
              <p:nvPr/>
            </p:nvSpPr>
            <p:spPr bwMode="auto">
              <a:xfrm>
                <a:off x="1457135" y="2427925"/>
                <a:ext cx="6542" cy="9745"/>
              </a:xfrm>
              <a:custGeom>
                <a:avLst/>
                <a:gdLst>
                  <a:gd name="T0" fmla="*/ 4 w 3"/>
                  <a:gd name="T1" fmla="*/ 4 h 5"/>
                  <a:gd name="T2" fmla="*/ 4 w 3"/>
                  <a:gd name="T3" fmla="*/ 6 h 5"/>
                  <a:gd name="T4" fmla="*/ 1 w 3"/>
                  <a:gd name="T5" fmla="*/ 4 h 5"/>
                  <a:gd name="T6" fmla="*/ 1 w 3"/>
                  <a:gd name="T7" fmla="*/ 1 h 5"/>
                  <a:gd name="T8" fmla="*/ 4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3" y="3"/>
                    </a:moveTo>
                    <a:cubicBezTo>
                      <a:pt x="3" y="4"/>
                      <a:pt x="3" y="5"/>
                      <a:pt x="3" y="5"/>
                    </a:cubicBezTo>
                    <a:cubicBezTo>
                      <a:pt x="2" y="5"/>
                      <a:pt x="1" y="4"/>
                      <a:pt x="1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2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7" name="Freeform 3178"/>
              <p:cNvSpPr>
                <a:spLocks noChangeAspect="1"/>
              </p:cNvSpPr>
              <p:nvPr/>
            </p:nvSpPr>
            <p:spPr bwMode="auto">
              <a:xfrm>
                <a:off x="1571626" y="2580594"/>
                <a:ext cx="3271" cy="12993"/>
              </a:xfrm>
              <a:custGeom>
                <a:avLst/>
                <a:gdLst>
                  <a:gd name="T0" fmla="*/ 2 w 2"/>
                  <a:gd name="T1" fmla="*/ 5 h 7"/>
                  <a:gd name="T2" fmla="*/ 2 w 2"/>
                  <a:gd name="T3" fmla="*/ 7 h 7"/>
                  <a:gd name="T4" fmla="*/ 0 w 2"/>
                  <a:gd name="T5" fmla="*/ 5 h 7"/>
                  <a:gd name="T6" fmla="*/ 0 w 2"/>
                  <a:gd name="T7" fmla="*/ 0 h 7"/>
                  <a:gd name="T8" fmla="*/ 2 w 2"/>
                  <a:gd name="T9" fmla="*/ 5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7"/>
                  <a:gd name="T17" fmla="*/ 2 w 2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7">
                    <a:moveTo>
                      <a:pt x="2" y="4"/>
                    </a:moveTo>
                    <a:cubicBezTo>
                      <a:pt x="2" y="5"/>
                      <a:pt x="2" y="7"/>
                      <a:pt x="2" y="6"/>
                    </a:cubicBezTo>
                    <a:cubicBezTo>
                      <a:pt x="1" y="6"/>
                      <a:pt x="1" y="5"/>
                      <a:pt x="0" y="4"/>
                    </a:cubicBezTo>
                    <a:cubicBezTo>
                      <a:pt x="0" y="3"/>
                      <a:pt x="0" y="0"/>
                      <a:pt x="0" y="0"/>
                    </a:cubicBezTo>
                    <a:cubicBezTo>
                      <a:pt x="1" y="0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8" name="Freeform 3179"/>
              <p:cNvSpPr>
                <a:spLocks noChangeAspect="1"/>
              </p:cNvSpPr>
              <p:nvPr/>
            </p:nvSpPr>
            <p:spPr bwMode="auto">
              <a:xfrm>
                <a:off x="4054449" y="1216323"/>
                <a:ext cx="16356" cy="12993"/>
              </a:xfrm>
              <a:custGeom>
                <a:avLst/>
                <a:gdLst>
                  <a:gd name="T0" fmla="*/ 6 w 8"/>
                  <a:gd name="T1" fmla="*/ 5 h 7"/>
                  <a:gd name="T2" fmla="*/ 9 w 8"/>
                  <a:gd name="T3" fmla="*/ 8 h 7"/>
                  <a:gd name="T4" fmla="*/ 5 w 8"/>
                  <a:gd name="T5" fmla="*/ 6 h 7"/>
                  <a:gd name="T6" fmla="*/ 1 w 8"/>
                  <a:gd name="T7" fmla="*/ 0 h 7"/>
                  <a:gd name="T8" fmla="*/ 6 w 8"/>
                  <a:gd name="T9" fmla="*/ 5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7"/>
                  <a:gd name="T17" fmla="*/ 8 w 8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7">
                    <a:moveTo>
                      <a:pt x="5" y="4"/>
                    </a:moveTo>
                    <a:cubicBezTo>
                      <a:pt x="6" y="5"/>
                      <a:pt x="8" y="7"/>
                      <a:pt x="7" y="7"/>
                    </a:cubicBezTo>
                    <a:cubicBezTo>
                      <a:pt x="7" y="7"/>
                      <a:pt x="5" y="6"/>
                      <a:pt x="4" y="5"/>
                    </a:cubicBezTo>
                    <a:cubicBezTo>
                      <a:pt x="2" y="3"/>
                      <a:pt x="0" y="1"/>
                      <a:pt x="1" y="0"/>
                    </a:cubicBezTo>
                    <a:cubicBezTo>
                      <a:pt x="1" y="0"/>
                      <a:pt x="4" y="3"/>
                      <a:pt x="5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69" name="Freeform 3180"/>
              <p:cNvSpPr>
                <a:spLocks noChangeAspect="1"/>
              </p:cNvSpPr>
              <p:nvPr/>
            </p:nvSpPr>
            <p:spPr bwMode="auto">
              <a:xfrm>
                <a:off x="4062626" y="1235813"/>
                <a:ext cx="11450" cy="9745"/>
              </a:xfrm>
              <a:custGeom>
                <a:avLst/>
                <a:gdLst>
                  <a:gd name="T0" fmla="*/ 5 w 6"/>
                  <a:gd name="T1" fmla="*/ 2 h 5"/>
                  <a:gd name="T2" fmla="*/ 6 w 6"/>
                  <a:gd name="T3" fmla="*/ 6 h 5"/>
                  <a:gd name="T4" fmla="*/ 2 w 6"/>
                  <a:gd name="T5" fmla="*/ 4 h 5"/>
                  <a:gd name="T6" fmla="*/ 1 w 6"/>
                  <a:gd name="T7" fmla="*/ 0 h 5"/>
                  <a:gd name="T8" fmla="*/ 5 w 6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4" y="2"/>
                    </a:moveTo>
                    <a:cubicBezTo>
                      <a:pt x="4" y="3"/>
                      <a:pt x="6" y="5"/>
                      <a:pt x="5" y="5"/>
                    </a:cubicBezTo>
                    <a:cubicBezTo>
                      <a:pt x="5" y="5"/>
                      <a:pt x="3" y="4"/>
                      <a:pt x="2" y="3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0" name="Freeform 3181"/>
              <p:cNvSpPr>
                <a:spLocks noChangeAspect="1"/>
              </p:cNvSpPr>
              <p:nvPr/>
            </p:nvSpPr>
            <p:spPr bwMode="auto">
              <a:xfrm>
                <a:off x="3457459" y="1200082"/>
                <a:ext cx="8178" cy="6497"/>
              </a:xfrm>
              <a:custGeom>
                <a:avLst/>
                <a:gdLst>
                  <a:gd name="T0" fmla="*/ 4 w 4"/>
                  <a:gd name="T1" fmla="*/ 3 h 3"/>
                  <a:gd name="T2" fmla="*/ 5 w 4"/>
                  <a:gd name="T3" fmla="*/ 4 h 3"/>
                  <a:gd name="T4" fmla="*/ 3 w 4"/>
                  <a:gd name="T5" fmla="*/ 3 h 3"/>
                  <a:gd name="T6" fmla="*/ 0 w 4"/>
                  <a:gd name="T7" fmla="*/ 0 h 3"/>
                  <a:gd name="T8" fmla="*/ 4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2"/>
                    </a:moveTo>
                    <a:cubicBezTo>
                      <a:pt x="3" y="2"/>
                      <a:pt x="4" y="3"/>
                      <a:pt x="4" y="3"/>
                    </a:cubicBezTo>
                    <a:cubicBezTo>
                      <a:pt x="3" y="3"/>
                      <a:pt x="2" y="3"/>
                      <a:pt x="2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1" name="Freeform 3182"/>
              <p:cNvSpPr>
                <a:spLocks noChangeAspect="1"/>
              </p:cNvSpPr>
              <p:nvPr/>
            </p:nvSpPr>
            <p:spPr bwMode="auto">
              <a:xfrm>
                <a:off x="3480357" y="1182216"/>
                <a:ext cx="14721" cy="11369"/>
              </a:xfrm>
              <a:custGeom>
                <a:avLst/>
                <a:gdLst>
                  <a:gd name="T0" fmla="*/ 7 w 8"/>
                  <a:gd name="T1" fmla="*/ 4 h 6"/>
                  <a:gd name="T2" fmla="*/ 9 w 8"/>
                  <a:gd name="T3" fmla="*/ 7 h 6"/>
                  <a:gd name="T4" fmla="*/ 5 w 8"/>
                  <a:gd name="T5" fmla="*/ 5 h 6"/>
                  <a:gd name="T6" fmla="*/ 1 w 8"/>
                  <a:gd name="T7" fmla="*/ 1 h 6"/>
                  <a:gd name="T8" fmla="*/ 7 w 8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6"/>
                  <a:gd name="T17" fmla="*/ 8 w 8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6">
                    <a:moveTo>
                      <a:pt x="6" y="3"/>
                    </a:moveTo>
                    <a:cubicBezTo>
                      <a:pt x="7" y="3"/>
                      <a:pt x="8" y="5"/>
                      <a:pt x="8" y="6"/>
                    </a:cubicBezTo>
                    <a:cubicBezTo>
                      <a:pt x="7" y="6"/>
                      <a:pt x="5" y="5"/>
                      <a:pt x="4" y="4"/>
                    </a:cubicBezTo>
                    <a:cubicBezTo>
                      <a:pt x="2" y="4"/>
                      <a:pt x="0" y="1"/>
                      <a:pt x="1" y="1"/>
                    </a:cubicBezTo>
                    <a:cubicBezTo>
                      <a:pt x="2" y="0"/>
                      <a:pt x="4" y="2"/>
                      <a:pt x="6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2" name="Freeform 3183"/>
              <p:cNvSpPr>
                <a:spLocks noChangeAspect="1"/>
              </p:cNvSpPr>
              <p:nvPr/>
            </p:nvSpPr>
            <p:spPr bwMode="auto">
              <a:xfrm>
                <a:off x="3612840" y="1161103"/>
                <a:ext cx="29441" cy="11369"/>
              </a:xfrm>
              <a:custGeom>
                <a:avLst/>
                <a:gdLst>
                  <a:gd name="T0" fmla="*/ 11 w 15"/>
                  <a:gd name="T1" fmla="*/ 4 h 6"/>
                  <a:gd name="T2" fmla="*/ 17 w 15"/>
                  <a:gd name="T3" fmla="*/ 6 h 6"/>
                  <a:gd name="T4" fmla="*/ 10 w 15"/>
                  <a:gd name="T5" fmla="*/ 6 h 6"/>
                  <a:gd name="T6" fmla="*/ 1 w 15"/>
                  <a:gd name="T7" fmla="*/ 2 h 6"/>
                  <a:gd name="T8" fmla="*/ 11 w 15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6"/>
                  <a:gd name="T17" fmla="*/ 15 w 1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6">
                    <a:moveTo>
                      <a:pt x="9" y="3"/>
                    </a:moveTo>
                    <a:cubicBezTo>
                      <a:pt x="11" y="3"/>
                      <a:pt x="15" y="4"/>
                      <a:pt x="14" y="5"/>
                    </a:cubicBezTo>
                    <a:cubicBezTo>
                      <a:pt x="14" y="6"/>
                      <a:pt x="10" y="5"/>
                      <a:pt x="8" y="5"/>
                    </a:cubicBezTo>
                    <a:cubicBezTo>
                      <a:pt x="5" y="4"/>
                      <a:pt x="0" y="3"/>
                      <a:pt x="1" y="2"/>
                    </a:cubicBezTo>
                    <a:cubicBezTo>
                      <a:pt x="2" y="0"/>
                      <a:pt x="7" y="2"/>
                      <a:pt x="9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3" name="Freeform 3184"/>
              <p:cNvSpPr>
                <a:spLocks noChangeAspect="1"/>
              </p:cNvSpPr>
              <p:nvPr/>
            </p:nvSpPr>
            <p:spPr bwMode="auto">
              <a:xfrm>
                <a:off x="2374699" y="1576881"/>
                <a:ext cx="9814" cy="6497"/>
              </a:xfrm>
              <a:custGeom>
                <a:avLst/>
                <a:gdLst>
                  <a:gd name="T0" fmla="*/ 2 w 5"/>
                  <a:gd name="T1" fmla="*/ 3 h 4"/>
                  <a:gd name="T2" fmla="*/ 1 w 5"/>
                  <a:gd name="T3" fmla="*/ 4 h 4"/>
                  <a:gd name="T4" fmla="*/ 2 w 5"/>
                  <a:gd name="T5" fmla="*/ 2 h 4"/>
                  <a:gd name="T6" fmla="*/ 5 w 5"/>
                  <a:gd name="T7" fmla="*/ 1 h 4"/>
                  <a:gd name="T8" fmla="*/ 2 w 5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2" y="3"/>
                    </a:moveTo>
                    <a:cubicBezTo>
                      <a:pt x="2" y="4"/>
                      <a:pt x="1" y="4"/>
                      <a:pt x="1" y="4"/>
                    </a:cubicBezTo>
                    <a:cubicBezTo>
                      <a:pt x="0" y="3"/>
                      <a:pt x="1" y="2"/>
                      <a:pt x="2" y="2"/>
                    </a:cubicBezTo>
                    <a:cubicBezTo>
                      <a:pt x="3" y="1"/>
                      <a:pt x="4" y="0"/>
                      <a:pt x="4" y="1"/>
                    </a:cubicBezTo>
                    <a:cubicBezTo>
                      <a:pt x="5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4" name="Freeform 3185"/>
              <p:cNvSpPr>
                <a:spLocks noChangeAspect="1"/>
              </p:cNvSpPr>
              <p:nvPr/>
            </p:nvSpPr>
            <p:spPr bwMode="auto">
              <a:xfrm>
                <a:off x="2384513" y="1479433"/>
                <a:ext cx="9814" cy="3248"/>
              </a:xfrm>
              <a:custGeom>
                <a:avLst/>
                <a:gdLst>
                  <a:gd name="T0" fmla="*/ 2 w 5"/>
                  <a:gd name="T1" fmla="*/ 2 h 2"/>
                  <a:gd name="T2" fmla="*/ 0 w 5"/>
                  <a:gd name="T3" fmla="*/ 1 h 2"/>
                  <a:gd name="T4" fmla="*/ 2 w 5"/>
                  <a:gd name="T5" fmla="*/ 0 h 2"/>
                  <a:gd name="T6" fmla="*/ 5 w 5"/>
                  <a:gd name="T7" fmla="*/ 1 h 2"/>
                  <a:gd name="T8" fmla="*/ 2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0"/>
                      <a:pt x="4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5" name="Freeform 3186"/>
              <p:cNvSpPr>
                <a:spLocks noChangeAspect="1"/>
              </p:cNvSpPr>
              <p:nvPr/>
            </p:nvSpPr>
            <p:spPr bwMode="auto">
              <a:xfrm>
                <a:off x="2780325" y="2065744"/>
                <a:ext cx="16356" cy="6497"/>
              </a:xfrm>
              <a:custGeom>
                <a:avLst/>
                <a:gdLst>
                  <a:gd name="T0" fmla="*/ 7 w 8"/>
                  <a:gd name="T1" fmla="*/ 1 h 3"/>
                  <a:gd name="T2" fmla="*/ 10 w 8"/>
                  <a:gd name="T3" fmla="*/ 3 h 3"/>
                  <a:gd name="T4" fmla="*/ 5 w 8"/>
                  <a:gd name="T5" fmla="*/ 4 h 3"/>
                  <a:gd name="T6" fmla="*/ 1 w 8"/>
                  <a:gd name="T7" fmla="*/ 1 h 3"/>
                  <a:gd name="T8" fmla="*/ 7 w 8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6" y="1"/>
                    </a:moveTo>
                    <a:cubicBezTo>
                      <a:pt x="7" y="1"/>
                      <a:pt x="8" y="2"/>
                      <a:pt x="8" y="2"/>
                    </a:cubicBezTo>
                    <a:cubicBezTo>
                      <a:pt x="8" y="3"/>
                      <a:pt x="6" y="3"/>
                      <a:pt x="4" y="3"/>
                    </a:cubicBezTo>
                    <a:cubicBezTo>
                      <a:pt x="3" y="2"/>
                      <a:pt x="0" y="2"/>
                      <a:pt x="1" y="1"/>
                    </a:cubicBezTo>
                    <a:cubicBezTo>
                      <a:pt x="2" y="0"/>
                      <a:pt x="4" y="1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6" name="Freeform 3187"/>
              <p:cNvSpPr>
                <a:spLocks noChangeAspect="1"/>
              </p:cNvSpPr>
              <p:nvPr/>
            </p:nvSpPr>
            <p:spPr bwMode="auto">
              <a:xfrm>
                <a:off x="2572606" y="1940686"/>
                <a:ext cx="8178" cy="17866"/>
              </a:xfrm>
              <a:custGeom>
                <a:avLst/>
                <a:gdLst>
                  <a:gd name="T0" fmla="*/ 4 w 4"/>
                  <a:gd name="T1" fmla="*/ 6 h 9"/>
                  <a:gd name="T2" fmla="*/ 3 w 4"/>
                  <a:gd name="T3" fmla="*/ 11 h 9"/>
                  <a:gd name="T4" fmla="*/ 0 w 4"/>
                  <a:gd name="T5" fmla="*/ 6 h 9"/>
                  <a:gd name="T6" fmla="*/ 1 w 4"/>
                  <a:gd name="T7" fmla="*/ 0 h 9"/>
                  <a:gd name="T8" fmla="*/ 4 w 4"/>
                  <a:gd name="T9" fmla="*/ 6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9"/>
                  <a:gd name="T17" fmla="*/ 4 w 4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9">
                    <a:moveTo>
                      <a:pt x="3" y="5"/>
                    </a:moveTo>
                    <a:cubicBezTo>
                      <a:pt x="4" y="7"/>
                      <a:pt x="3" y="9"/>
                      <a:pt x="2" y="9"/>
                    </a:cubicBezTo>
                    <a:cubicBezTo>
                      <a:pt x="1" y="8"/>
                      <a:pt x="1" y="6"/>
                      <a:pt x="0" y="5"/>
                    </a:cubicBezTo>
                    <a:cubicBezTo>
                      <a:pt x="0" y="3"/>
                      <a:pt x="0" y="0"/>
                      <a:pt x="1" y="0"/>
                    </a:cubicBezTo>
                    <a:cubicBezTo>
                      <a:pt x="3" y="0"/>
                      <a:pt x="3" y="4"/>
                      <a:pt x="3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7" name="Freeform 3188"/>
              <p:cNvSpPr>
                <a:spLocks noChangeAspect="1"/>
              </p:cNvSpPr>
              <p:nvPr/>
            </p:nvSpPr>
            <p:spPr bwMode="auto">
              <a:xfrm>
                <a:off x="2294556" y="1854606"/>
                <a:ext cx="9814" cy="9745"/>
              </a:xfrm>
              <a:custGeom>
                <a:avLst/>
                <a:gdLst>
                  <a:gd name="T0" fmla="*/ 5 w 5"/>
                  <a:gd name="T1" fmla="*/ 4 h 5"/>
                  <a:gd name="T2" fmla="*/ 5 w 5"/>
                  <a:gd name="T3" fmla="*/ 6 h 5"/>
                  <a:gd name="T4" fmla="*/ 2 w 5"/>
                  <a:gd name="T5" fmla="*/ 4 h 5"/>
                  <a:gd name="T6" fmla="*/ 1 w 5"/>
                  <a:gd name="T7" fmla="*/ 0 h 5"/>
                  <a:gd name="T8" fmla="*/ 5 w 5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3"/>
                    </a:moveTo>
                    <a:cubicBezTo>
                      <a:pt x="4" y="3"/>
                      <a:pt x="5" y="4"/>
                      <a:pt x="4" y="5"/>
                    </a:cubicBezTo>
                    <a:cubicBezTo>
                      <a:pt x="3" y="5"/>
                      <a:pt x="2" y="4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8" name="Freeform 3189"/>
              <p:cNvSpPr>
                <a:spLocks noChangeAspect="1"/>
              </p:cNvSpPr>
              <p:nvPr/>
            </p:nvSpPr>
            <p:spPr bwMode="auto">
              <a:xfrm>
                <a:off x="2588962" y="3360177"/>
                <a:ext cx="6542" cy="8121"/>
              </a:xfrm>
              <a:custGeom>
                <a:avLst/>
                <a:gdLst>
                  <a:gd name="T0" fmla="*/ 3 w 4"/>
                  <a:gd name="T1" fmla="*/ 3 h 4"/>
                  <a:gd name="T2" fmla="*/ 4 w 4"/>
                  <a:gd name="T3" fmla="*/ 5 h 4"/>
                  <a:gd name="T4" fmla="*/ 1 w 4"/>
                  <a:gd name="T5" fmla="*/ 4 h 4"/>
                  <a:gd name="T6" fmla="*/ 0 w 4"/>
                  <a:gd name="T7" fmla="*/ 1 h 4"/>
                  <a:gd name="T8" fmla="*/ 3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3"/>
                      <a:pt x="4" y="4"/>
                      <a:pt x="4" y="4"/>
                    </a:cubicBezTo>
                    <a:cubicBezTo>
                      <a:pt x="3" y="4"/>
                      <a:pt x="2" y="4"/>
                      <a:pt x="1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2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79" name="Freeform 3190"/>
              <p:cNvSpPr>
                <a:spLocks noChangeAspect="1"/>
              </p:cNvSpPr>
              <p:nvPr/>
            </p:nvSpPr>
            <p:spPr bwMode="auto">
              <a:xfrm>
                <a:off x="2595504" y="3330942"/>
                <a:ext cx="13085" cy="11369"/>
              </a:xfrm>
              <a:custGeom>
                <a:avLst/>
                <a:gdLst>
                  <a:gd name="T0" fmla="*/ 5 w 6"/>
                  <a:gd name="T1" fmla="*/ 4 h 6"/>
                  <a:gd name="T2" fmla="*/ 8 w 6"/>
                  <a:gd name="T3" fmla="*/ 7 h 6"/>
                  <a:gd name="T4" fmla="*/ 4 w 6"/>
                  <a:gd name="T5" fmla="*/ 5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6" y="6"/>
                    </a:cubicBezTo>
                    <a:cubicBezTo>
                      <a:pt x="5" y="6"/>
                      <a:pt x="4" y="5"/>
                      <a:pt x="3" y="4"/>
                    </a:cubicBezTo>
                    <a:cubicBezTo>
                      <a:pt x="2" y="3"/>
                      <a:pt x="0" y="0"/>
                      <a:pt x="1" y="0"/>
                    </a:cubicBezTo>
                    <a:cubicBezTo>
                      <a:pt x="2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0" name="Freeform 3191"/>
              <p:cNvSpPr>
                <a:spLocks noChangeAspect="1"/>
              </p:cNvSpPr>
              <p:nvPr/>
            </p:nvSpPr>
            <p:spPr bwMode="auto">
              <a:xfrm>
                <a:off x="2608589" y="3368297"/>
                <a:ext cx="11450" cy="11369"/>
              </a:xfrm>
              <a:custGeom>
                <a:avLst/>
                <a:gdLst>
                  <a:gd name="T0" fmla="*/ 5 w 6"/>
                  <a:gd name="T1" fmla="*/ 4 h 6"/>
                  <a:gd name="T2" fmla="*/ 6 w 6"/>
                  <a:gd name="T3" fmla="*/ 7 h 6"/>
                  <a:gd name="T4" fmla="*/ 2 w 6"/>
                  <a:gd name="T5" fmla="*/ 4 h 6"/>
                  <a:gd name="T6" fmla="*/ 1 w 6"/>
                  <a:gd name="T7" fmla="*/ 0 h 6"/>
                  <a:gd name="T8" fmla="*/ 5 w 6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4" y="3"/>
                    </a:moveTo>
                    <a:cubicBezTo>
                      <a:pt x="5" y="4"/>
                      <a:pt x="6" y="6"/>
                      <a:pt x="5" y="6"/>
                    </a:cubicBezTo>
                    <a:cubicBezTo>
                      <a:pt x="4" y="6"/>
                      <a:pt x="3" y="5"/>
                      <a:pt x="2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1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1" name="Freeform 3192"/>
              <p:cNvSpPr>
                <a:spLocks noChangeAspect="1"/>
              </p:cNvSpPr>
              <p:nvPr/>
            </p:nvSpPr>
            <p:spPr bwMode="auto">
              <a:xfrm>
                <a:off x="2445030" y="3486859"/>
                <a:ext cx="9814" cy="3248"/>
              </a:xfrm>
              <a:custGeom>
                <a:avLst/>
                <a:gdLst>
                  <a:gd name="T0" fmla="*/ 4 w 5"/>
                  <a:gd name="T1" fmla="*/ 0 h 2"/>
                  <a:gd name="T2" fmla="*/ 6 w 5"/>
                  <a:gd name="T3" fmla="*/ 1 h 2"/>
                  <a:gd name="T4" fmla="*/ 2 w 5"/>
                  <a:gd name="T5" fmla="*/ 2 h 2"/>
                  <a:gd name="T6" fmla="*/ 0 w 5"/>
                  <a:gd name="T7" fmla="*/ 0 h 2"/>
                  <a:gd name="T8" fmla="*/ 4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0"/>
                    </a:moveTo>
                    <a:cubicBezTo>
                      <a:pt x="4" y="0"/>
                      <a:pt x="5" y="1"/>
                      <a:pt x="5" y="1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2" name="Freeform 3193"/>
              <p:cNvSpPr>
                <a:spLocks noChangeAspect="1"/>
              </p:cNvSpPr>
              <p:nvPr/>
            </p:nvSpPr>
            <p:spPr bwMode="auto">
              <a:xfrm>
                <a:off x="2317454" y="3566441"/>
                <a:ext cx="9814" cy="6497"/>
              </a:xfrm>
              <a:custGeom>
                <a:avLst/>
                <a:gdLst>
                  <a:gd name="T0" fmla="*/ 4 w 5"/>
                  <a:gd name="T1" fmla="*/ 1 h 3"/>
                  <a:gd name="T2" fmla="*/ 6 w 5"/>
                  <a:gd name="T3" fmla="*/ 1 h 3"/>
                  <a:gd name="T4" fmla="*/ 4 w 5"/>
                  <a:gd name="T5" fmla="*/ 3 h 3"/>
                  <a:gd name="T6" fmla="*/ 0 w 5"/>
                  <a:gd name="T7" fmla="*/ 4 h 3"/>
                  <a:gd name="T8" fmla="*/ 4 w 5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3" y="1"/>
                    </a:moveTo>
                    <a:cubicBezTo>
                      <a:pt x="3" y="1"/>
                      <a:pt x="4" y="0"/>
                      <a:pt x="5" y="1"/>
                    </a:cubicBezTo>
                    <a:cubicBezTo>
                      <a:pt x="5" y="1"/>
                      <a:pt x="4" y="2"/>
                      <a:pt x="3" y="2"/>
                    </a:cubicBezTo>
                    <a:cubicBezTo>
                      <a:pt x="2" y="3"/>
                      <a:pt x="1" y="3"/>
                      <a:pt x="0" y="3"/>
                    </a:cubicBezTo>
                    <a:cubicBezTo>
                      <a:pt x="0" y="2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3" name="Freeform 3194"/>
              <p:cNvSpPr>
                <a:spLocks noChangeAspect="1"/>
              </p:cNvSpPr>
              <p:nvPr/>
            </p:nvSpPr>
            <p:spPr bwMode="auto">
              <a:xfrm>
                <a:off x="2315818" y="3454376"/>
                <a:ext cx="8178" cy="4873"/>
              </a:xfrm>
              <a:custGeom>
                <a:avLst/>
                <a:gdLst>
                  <a:gd name="T0" fmla="*/ 3 w 4"/>
                  <a:gd name="T1" fmla="*/ 1 h 3"/>
                  <a:gd name="T2" fmla="*/ 5 w 4"/>
                  <a:gd name="T3" fmla="*/ 0 h 3"/>
                  <a:gd name="T4" fmla="*/ 3 w 4"/>
                  <a:gd name="T5" fmla="*/ 2 h 3"/>
                  <a:gd name="T6" fmla="*/ 0 w 4"/>
                  <a:gd name="T7" fmla="*/ 3 h 3"/>
                  <a:gd name="T8" fmla="*/ 3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1"/>
                    </a:moveTo>
                    <a:cubicBezTo>
                      <a:pt x="2" y="0"/>
                      <a:pt x="3" y="0"/>
                      <a:pt x="4" y="0"/>
                    </a:cubicBezTo>
                    <a:cubicBezTo>
                      <a:pt x="4" y="1"/>
                      <a:pt x="3" y="2"/>
                      <a:pt x="2" y="2"/>
                    </a:cubicBezTo>
                    <a:cubicBezTo>
                      <a:pt x="2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4" name="Freeform 3195"/>
              <p:cNvSpPr>
                <a:spLocks noChangeAspect="1"/>
              </p:cNvSpPr>
              <p:nvPr/>
            </p:nvSpPr>
            <p:spPr bwMode="auto">
              <a:xfrm>
                <a:off x="2288014" y="3533958"/>
                <a:ext cx="6542" cy="8121"/>
              </a:xfrm>
              <a:custGeom>
                <a:avLst/>
                <a:gdLst>
                  <a:gd name="T0" fmla="*/ 3 w 3"/>
                  <a:gd name="T1" fmla="*/ 1 h 4"/>
                  <a:gd name="T2" fmla="*/ 4 w 3"/>
                  <a:gd name="T3" fmla="*/ 1 h 4"/>
                  <a:gd name="T4" fmla="*/ 3 w 3"/>
                  <a:gd name="T5" fmla="*/ 3 h 4"/>
                  <a:gd name="T6" fmla="*/ 1 w 3"/>
                  <a:gd name="T7" fmla="*/ 4 h 4"/>
                  <a:gd name="T8" fmla="*/ 3 w 3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1"/>
                    </a:moveTo>
                    <a:cubicBezTo>
                      <a:pt x="2" y="1"/>
                      <a:pt x="3" y="0"/>
                      <a:pt x="3" y="1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1" y="2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5" name="Freeform 3196"/>
              <p:cNvSpPr>
                <a:spLocks noChangeAspect="1"/>
              </p:cNvSpPr>
              <p:nvPr/>
            </p:nvSpPr>
            <p:spPr bwMode="auto">
              <a:xfrm>
                <a:off x="2657657" y="3392659"/>
                <a:ext cx="14721" cy="4873"/>
              </a:xfrm>
              <a:custGeom>
                <a:avLst/>
                <a:gdLst>
                  <a:gd name="T0" fmla="*/ 6 w 8"/>
                  <a:gd name="T1" fmla="*/ 2 h 2"/>
                  <a:gd name="T2" fmla="*/ 9 w 8"/>
                  <a:gd name="T3" fmla="*/ 3 h 2"/>
                  <a:gd name="T4" fmla="*/ 5 w 8"/>
                  <a:gd name="T5" fmla="*/ 3 h 2"/>
                  <a:gd name="T6" fmla="*/ 0 w 8"/>
                  <a:gd name="T7" fmla="*/ 2 h 2"/>
                  <a:gd name="T8" fmla="*/ 6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5" y="1"/>
                    </a:moveTo>
                    <a:cubicBezTo>
                      <a:pt x="6" y="1"/>
                      <a:pt x="8" y="1"/>
                      <a:pt x="8" y="2"/>
                    </a:cubicBezTo>
                    <a:cubicBezTo>
                      <a:pt x="7" y="2"/>
                      <a:pt x="5" y="2"/>
                      <a:pt x="4" y="2"/>
                    </a:cubicBezTo>
                    <a:cubicBezTo>
                      <a:pt x="3" y="2"/>
                      <a:pt x="0" y="2"/>
                      <a:pt x="0" y="1"/>
                    </a:cubicBezTo>
                    <a:cubicBezTo>
                      <a:pt x="1" y="0"/>
                      <a:pt x="4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6" name="Freeform 3197"/>
              <p:cNvSpPr>
                <a:spLocks noChangeAspect="1"/>
              </p:cNvSpPr>
              <p:nvPr/>
            </p:nvSpPr>
            <p:spPr bwMode="auto">
              <a:xfrm>
                <a:off x="2631487" y="3391035"/>
                <a:ext cx="9814" cy="14618"/>
              </a:xfrm>
              <a:custGeom>
                <a:avLst/>
                <a:gdLst>
                  <a:gd name="T0" fmla="*/ 4 w 5"/>
                  <a:gd name="T1" fmla="*/ 3 h 7"/>
                  <a:gd name="T2" fmla="*/ 6 w 5"/>
                  <a:gd name="T3" fmla="*/ 0 h 7"/>
                  <a:gd name="T4" fmla="*/ 4 w 5"/>
                  <a:gd name="T5" fmla="*/ 4 h 7"/>
                  <a:gd name="T6" fmla="*/ 0 w 5"/>
                  <a:gd name="T7" fmla="*/ 8 h 7"/>
                  <a:gd name="T8" fmla="*/ 4 w 5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3" y="2"/>
                    </a:moveTo>
                    <a:cubicBezTo>
                      <a:pt x="4" y="1"/>
                      <a:pt x="5" y="0"/>
                      <a:pt x="5" y="0"/>
                    </a:cubicBezTo>
                    <a:cubicBezTo>
                      <a:pt x="5" y="1"/>
                      <a:pt x="4" y="2"/>
                      <a:pt x="3" y="3"/>
                    </a:cubicBezTo>
                    <a:cubicBezTo>
                      <a:pt x="3" y="5"/>
                      <a:pt x="1" y="7"/>
                      <a:pt x="0" y="6"/>
                    </a:cubicBezTo>
                    <a:cubicBezTo>
                      <a:pt x="0" y="5"/>
                      <a:pt x="2" y="3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7" name="Freeform 3198"/>
              <p:cNvSpPr>
                <a:spLocks noChangeAspect="1"/>
              </p:cNvSpPr>
              <p:nvPr/>
            </p:nvSpPr>
            <p:spPr bwMode="auto">
              <a:xfrm>
                <a:off x="2947155" y="3616789"/>
                <a:ext cx="8178" cy="9745"/>
              </a:xfrm>
              <a:custGeom>
                <a:avLst/>
                <a:gdLst>
                  <a:gd name="T0" fmla="*/ 4 w 4"/>
                  <a:gd name="T1" fmla="*/ 4 h 5"/>
                  <a:gd name="T2" fmla="*/ 5 w 4"/>
                  <a:gd name="T3" fmla="*/ 6 h 5"/>
                  <a:gd name="T4" fmla="*/ 3 w 4"/>
                  <a:gd name="T5" fmla="*/ 4 h 5"/>
                  <a:gd name="T6" fmla="*/ 1 w 4"/>
                  <a:gd name="T7" fmla="*/ 0 h 5"/>
                  <a:gd name="T8" fmla="*/ 4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3" y="3"/>
                    </a:moveTo>
                    <a:cubicBezTo>
                      <a:pt x="4" y="4"/>
                      <a:pt x="4" y="5"/>
                      <a:pt x="4" y="5"/>
                    </a:cubicBezTo>
                    <a:cubicBezTo>
                      <a:pt x="3" y="5"/>
                      <a:pt x="2" y="4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8" name="Freeform 3199"/>
              <p:cNvSpPr>
                <a:spLocks noChangeAspect="1"/>
              </p:cNvSpPr>
              <p:nvPr/>
            </p:nvSpPr>
            <p:spPr bwMode="auto">
              <a:xfrm>
                <a:off x="2932435" y="3571314"/>
                <a:ext cx="1636" cy="11369"/>
              </a:xfrm>
              <a:custGeom>
                <a:avLst/>
                <a:gdLst>
                  <a:gd name="T0" fmla="*/ 1 w 1"/>
                  <a:gd name="T1" fmla="*/ 5 h 6"/>
                  <a:gd name="T2" fmla="*/ 0 w 1"/>
                  <a:gd name="T3" fmla="*/ 7 h 6"/>
                  <a:gd name="T4" fmla="*/ 0 w 1"/>
                  <a:gd name="T5" fmla="*/ 4 h 6"/>
                  <a:gd name="T6" fmla="*/ 0 w 1"/>
                  <a:gd name="T7" fmla="*/ 0 h 6"/>
                  <a:gd name="T8" fmla="*/ 1 w 1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6"/>
                  <a:gd name="T17" fmla="*/ 1 w 1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6">
                    <a:moveTo>
                      <a:pt x="1" y="4"/>
                    </a:moveTo>
                    <a:cubicBezTo>
                      <a:pt x="1" y="5"/>
                      <a:pt x="1" y="6"/>
                      <a:pt x="0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1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89" name="Freeform 3200"/>
              <p:cNvSpPr>
                <a:spLocks noChangeAspect="1"/>
              </p:cNvSpPr>
              <p:nvPr/>
            </p:nvSpPr>
            <p:spPr bwMode="auto">
              <a:xfrm>
                <a:off x="2948791" y="3636279"/>
                <a:ext cx="3271" cy="9745"/>
              </a:xfrm>
              <a:custGeom>
                <a:avLst/>
                <a:gdLst>
                  <a:gd name="T0" fmla="*/ 2 w 1"/>
                  <a:gd name="T1" fmla="*/ 4 h 5"/>
                  <a:gd name="T2" fmla="*/ 0 w 1"/>
                  <a:gd name="T3" fmla="*/ 6 h 5"/>
                  <a:gd name="T4" fmla="*/ 0 w 1"/>
                  <a:gd name="T5" fmla="*/ 4 h 5"/>
                  <a:gd name="T6" fmla="*/ 2 w 1"/>
                  <a:gd name="T7" fmla="*/ 0 h 5"/>
                  <a:gd name="T8" fmla="*/ 2 w 1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1" y="3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1" y="0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rgbClr val="92D05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0" name="Freeform 3201"/>
              <p:cNvSpPr>
                <a:spLocks noChangeAspect="1"/>
              </p:cNvSpPr>
              <p:nvPr/>
            </p:nvSpPr>
            <p:spPr bwMode="auto">
              <a:xfrm>
                <a:off x="2742707" y="3689875"/>
                <a:ext cx="13085" cy="4873"/>
              </a:xfrm>
              <a:custGeom>
                <a:avLst/>
                <a:gdLst>
                  <a:gd name="T0" fmla="*/ 5 w 6"/>
                  <a:gd name="T1" fmla="*/ 1 h 3"/>
                  <a:gd name="T2" fmla="*/ 8 w 6"/>
                  <a:gd name="T3" fmla="*/ 3 h 3"/>
                  <a:gd name="T4" fmla="*/ 4 w 6"/>
                  <a:gd name="T5" fmla="*/ 3 h 3"/>
                  <a:gd name="T6" fmla="*/ 0 w 6"/>
                  <a:gd name="T7" fmla="*/ 1 h 3"/>
                  <a:gd name="T8" fmla="*/ 5 w 6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4" y="1"/>
                    </a:moveTo>
                    <a:cubicBezTo>
                      <a:pt x="5" y="2"/>
                      <a:pt x="6" y="2"/>
                      <a:pt x="6" y="3"/>
                    </a:cubicBezTo>
                    <a:cubicBezTo>
                      <a:pt x="5" y="3"/>
                      <a:pt x="4" y="3"/>
                      <a:pt x="3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1" y="0"/>
                      <a:pt x="3" y="1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1" name="Freeform 3202"/>
              <p:cNvSpPr>
                <a:spLocks noChangeAspect="1"/>
              </p:cNvSpPr>
              <p:nvPr/>
            </p:nvSpPr>
            <p:spPr bwMode="auto">
              <a:xfrm>
                <a:off x="3190858" y="4039064"/>
                <a:ext cx="8178" cy="9745"/>
              </a:xfrm>
              <a:custGeom>
                <a:avLst/>
                <a:gdLst>
                  <a:gd name="T0" fmla="*/ 3 w 4"/>
                  <a:gd name="T1" fmla="*/ 5 h 5"/>
                  <a:gd name="T2" fmla="*/ 1 w 4"/>
                  <a:gd name="T3" fmla="*/ 6 h 5"/>
                  <a:gd name="T4" fmla="*/ 1 w 4"/>
                  <a:gd name="T5" fmla="*/ 4 h 5"/>
                  <a:gd name="T6" fmla="*/ 5 w 4"/>
                  <a:gd name="T7" fmla="*/ 1 h 5"/>
                  <a:gd name="T8" fmla="*/ 3 w 4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2" y="4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4"/>
                      <a:pt x="1" y="3"/>
                      <a:pt x="1" y="3"/>
                    </a:cubicBezTo>
                    <a:cubicBezTo>
                      <a:pt x="2" y="2"/>
                      <a:pt x="3" y="0"/>
                      <a:pt x="4" y="1"/>
                    </a:cubicBezTo>
                    <a:cubicBezTo>
                      <a:pt x="4" y="2"/>
                      <a:pt x="3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2" name="Freeform 3203"/>
              <p:cNvSpPr>
                <a:spLocks noChangeAspect="1"/>
              </p:cNvSpPr>
              <p:nvPr/>
            </p:nvSpPr>
            <p:spPr bwMode="auto">
              <a:xfrm>
                <a:off x="3189222" y="4032567"/>
                <a:ext cx="9814" cy="11369"/>
              </a:xfrm>
              <a:custGeom>
                <a:avLst/>
                <a:gdLst>
                  <a:gd name="T0" fmla="*/ 4 w 5"/>
                  <a:gd name="T1" fmla="*/ 5 h 6"/>
                  <a:gd name="T2" fmla="*/ 1 w 5"/>
                  <a:gd name="T3" fmla="*/ 6 h 6"/>
                  <a:gd name="T4" fmla="*/ 2 w 5"/>
                  <a:gd name="T5" fmla="*/ 4 h 6"/>
                  <a:gd name="T6" fmla="*/ 5 w 5"/>
                  <a:gd name="T7" fmla="*/ 1 h 6"/>
                  <a:gd name="T8" fmla="*/ 4 w 5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3" y="4"/>
                    </a:moveTo>
                    <a:cubicBezTo>
                      <a:pt x="2" y="5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3"/>
                    </a:cubicBezTo>
                    <a:cubicBezTo>
                      <a:pt x="2" y="2"/>
                      <a:pt x="4" y="0"/>
                      <a:pt x="4" y="1"/>
                    </a:cubicBezTo>
                    <a:cubicBezTo>
                      <a:pt x="5" y="2"/>
                      <a:pt x="4" y="3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3" name="Freeform 3204"/>
              <p:cNvSpPr>
                <a:spLocks noChangeAspect="1"/>
              </p:cNvSpPr>
              <p:nvPr/>
            </p:nvSpPr>
            <p:spPr bwMode="auto">
              <a:xfrm>
                <a:off x="3205578" y="3967602"/>
                <a:ext cx="4907" cy="8121"/>
              </a:xfrm>
              <a:custGeom>
                <a:avLst/>
                <a:gdLst>
                  <a:gd name="T0" fmla="*/ 3 w 3"/>
                  <a:gd name="T1" fmla="*/ 3 h 4"/>
                  <a:gd name="T2" fmla="*/ 3 w 3"/>
                  <a:gd name="T3" fmla="*/ 5 h 4"/>
                  <a:gd name="T4" fmla="*/ 1 w 3"/>
                  <a:gd name="T5" fmla="*/ 4 h 4"/>
                  <a:gd name="T6" fmla="*/ 0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3"/>
                      <a:pt x="3" y="4"/>
                      <a:pt x="3" y="4"/>
                    </a:cubicBezTo>
                    <a:cubicBezTo>
                      <a:pt x="2" y="4"/>
                      <a:pt x="1" y="3"/>
                      <a:pt x="1" y="3"/>
                    </a:cubicBezTo>
                    <a:cubicBezTo>
                      <a:pt x="1" y="2"/>
                      <a:pt x="0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4" name="Freeform 3205"/>
              <p:cNvSpPr>
                <a:spLocks noChangeAspect="1"/>
              </p:cNvSpPr>
              <p:nvPr/>
            </p:nvSpPr>
            <p:spPr bwMode="auto">
              <a:xfrm>
                <a:off x="2232404" y="4050432"/>
                <a:ext cx="8178" cy="8121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4 h 4"/>
                  <a:gd name="T4" fmla="*/ 1 w 4"/>
                  <a:gd name="T5" fmla="*/ 3 h 4"/>
                  <a:gd name="T6" fmla="*/ 5 w 4"/>
                  <a:gd name="T7" fmla="*/ 1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5" name="Freeform 3206"/>
              <p:cNvSpPr>
                <a:spLocks noChangeAspect="1"/>
              </p:cNvSpPr>
              <p:nvPr/>
            </p:nvSpPr>
            <p:spPr bwMode="auto">
              <a:xfrm>
                <a:off x="2703453" y="5377348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3 w 2"/>
                  <a:gd name="T3" fmla="*/ 6 h 5"/>
                  <a:gd name="T4" fmla="*/ 0 w 2"/>
                  <a:gd name="T5" fmla="*/ 4 h 5"/>
                  <a:gd name="T6" fmla="*/ 0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6" name="Freeform 3207"/>
              <p:cNvSpPr>
                <a:spLocks noChangeAspect="1"/>
              </p:cNvSpPr>
              <p:nvPr/>
            </p:nvSpPr>
            <p:spPr bwMode="auto">
              <a:xfrm>
                <a:off x="2703453" y="5323751"/>
                <a:ext cx="8178" cy="4873"/>
              </a:xfrm>
              <a:custGeom>
                <a:avLst/>
                <a:gdLst>
                  <a:gd name="T0" fmla="*/ 3 w 4"/>
                  <a:gd name="T1" fmla="*/ 3 h 3"/>
                  <a:gd name="T2" fmla="*/ 0 w 4"/>
                  <a:gd name="T3" fmla="*/ 3 h 3"/>
                  <a:gd name="T4" fmla="*/ 1 w 4"/>
                  <a:gd name="T5" fmla="*/ 1 h 3"/>
                  <a:gd name="T6" fmla="*/ 5 w 4"/>
                  <a:gd name="T7" fmla="*/ 1 h 3"/>
                  <a:gd name="T8" fmla="*/ 3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3"/>
                    </a:move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1"/>
                      <a:pt x="4" y="0"/>
                      <a:pt x="4" y="1"/>
                    </a:cubicBezTo>
                    <a:cubicBezTo>
                      <a:pt x="4" y="2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7" name="Freeform 3208"/>
              <p:cNvSpPr>
                <a:spLocks noChangeAspect="1"/>
              </p:cNvSpPr>
              <p:nvPr/>
            </p:nvSpPr>
            <p:spPr bwMode="auto">
              <a:xfrm>
                <a:off x="2693639" y="5318879"/>
                <a:ext cx="9814" cy="9745"/>
              </a:xfrm>
              <a:custGeom>
                <a:avLst/>
                <a:gdLst>
                  <a:gd name="T0" fmla="*/ 2 w 5"/>
                  <a:gd name="T1" fmla="*/ 5 h 5"/>
                  <a:gd name="T2" fmla="*/ 0 w 5"/>
                  <a:gd name="T3" fmla="*/ 5 h 5"/>
                  <a:gd name="T4" fmla="*/ 2 w 5"/>
                  <a:gd name="T5" fmla="*/ 2 h 5"/>
                  <a:gd name="T6" fmla="*/ 6 w 5"/>
                  <a:gd name="T7" fmla="*/ 1 h 5"/>
                  <a:gd name="T8" fmla="*/ 2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2" y="4"/>
                    </a:moveTo>
                    <a:cubicBezTo>
                      <a:pt x="2" y="4"/>
                      <a:pt x="0" y="5"/>
                      <a:pt x="0" y="4"/>
                    </a:cubicBezTo>
                    <a:cubicBezTo>
                      <a:pt x="0" y="3"/>
                      <a:pt x="1" y="2"/>
                      <a:pt x="2" y="2"/>
                    </a:cubicBezTo>
                    <a:cubicBezTo>
                      <a:pt x="3" y="1"/>
                      <a:pt x="5" y="0"/>
                      <a:pt x="5" y="1"/>
                    </a:cubicBezTo>
                    <a:cubicBezTo>
                      <a:pt x="5" y="2"/>
                      <a:pt x="4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8" name="Freeform 3209"/>
              <p:cNvSpPr>
                <a:spLocks noChangeAspect="1"/>
              </p:cNvSpPr>
              <p:nvPr/>
            </p:nvSpPr>
            <p:spPr bwMode="auto">
              <a:xfrm>
                <a:off x="2698546" y="5455306"/>
                <a:ext cx="8178" cy="9745"/>
              </a:xfrm>
              <a:custGeom>
                <a:avLst/>
                <a:gdLst>
                  <a:gd name="T0" fmla="*/ 4 w 4"/>
                  <a:gd name="T1" fmla="*/ 4 h 5"/>
                  <a:gd name="T2" fmla="*/ 4 w 4"/>
                  <a:gd name="T3" fmla="*/ 6 h 5"/>
                  <a:gd name="T4" fmla="*/ 1 w 4"/>
                  <a:gd name="T5" fmla="*/ 4 h 5"/>
                  <a:gd name="T6" fmla="*/ 1 w 4"/>
                  <a:gd name="T7" fmla="*/ 1 h 5"/>
                  <a:gd name="T8" fmla="*/ 4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3" y="3"/>
                    </a:moveTo>
                    <a:cubicBezTo>
                      <a:pt x="3" y="3"/>
                      <a:pt x="4" y="4"/>
                      <a:pt x="3" y="5"/>
                    </a:cubicBezTo>
                    <a:cubicBezTo>
                      <a:pt x="2" y="5"/>
                      <a:pt x="2" y="4"/>
                      <a:pt x="1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2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899" name="Freeform 3210"/>
              <p:cNvSpPr>
                <a:spLocks noChangeAspect="1"/>
              </p:cNvSpPr>
              <p:nvPr/>
            </p:nvSpPr>
            <p:spPr bwMode="auto">
              <a:xfrm>
                <a:off x="2713267" y="5572243"/>
                <a:ext cx="6542" cy="9745"/>
              </a:xfrm>
              <a:custGeom>
                <a:avLst/>
                <a:gdLst>
                  <a:gd name="T0" fmla="*/ 3 w 3"/>
                  <a:gd name="T1" fmla="*/ 4 h 5"/>
                  <a:gd name="T2" fmla="*/ 0 w 3"/>
                  <a:gd name="T3" fmla="*/ 5 h 5"/>
                  <a:gd name="T4" fmla="*/ 1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1" y="4"/>
                      <a:pt x="1" y="5"/>
                      <a:pt x="0" y="4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0" name="Freeform 3211"/>
              <p:cNvSpPr>
                <a:spLocks noChangeAspect="1"/>
              </p:cNvSpPr>
              <p:nvPr/>
            </p:nvSpPr>
            <p:spPr bwMode="auto">
              <a:xfrm>
                <a:off x="2696911" y="5518647"/>
                <a:ext cx="4907" cy="8121"/>
              </a:xfrm>
              <a:custGeom>
                <a:avLst/>
                <a:gdLst>
                  <a:gd name="T0" fmla="*/ 3 w 3"/>
                  <a:gd name="T1" fmla="*/ 3 h 4"/>
                  <a:gd name="T2" fmla="*/ 3 w 3"/>
                  <a:gd name="T3" fmla="*/ 5 h 4"/>
                  <a:gd name="T4" fmla="*/ 1 w 3"/>
                  <a:gd name="T5" fmla="*/ 3 h 4"/>
                  <a:gd name="T6" fmla="*/ 1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3"/>
                      <a:pt x="3" y="4"/>
                      <a:pt x="3" y="4"/>
                    </a:cubicBezTo>
                    <a:cubicBezTo>
                      <a:pt x="2" y="4"/>
                      <a:pt x="2" y="3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1" name="Freeform 3212"/>
              <p:cNvSpPr>
                <a:spLocks noChangeAspect="1"/>
              </p:cNvSpPr>
              <p:nvPr/>
            </p:nvSpPr>
            <p:spPr bwMode="auto">
              <a:xfrm>
                <a:off x="2726351" y="5547881"/>
                <a:ext cx="6542" cy="9745"/>
              </a:xfrm>
              <a:custGeom>
                <a:avLst/>
                <a:gdLst>
                  <a:gd name="T0" fmla="*/ 3 w 4"/>
                  <a:gd name="T1" fmla="*/ 4 h 5"/>
                  <a:gd name="T2" fmla="*/ 3 w 4"/>
                  <a:gd name="T3" fmla="*/ 6 h 5"/>
                  <a:gd name="T4" fmla="*/ 2 w 4"/>
                  <a:gd name="T5" fmla="*/ 4 h 5"/>
                  <a:gd name="T6" fmla="*/ 1 w 4"/>
                  <a:gd name="T7" fmla="*/ 1 h 5"/>
                  <a:gd name="T8" fmla="*/ 3 w 4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3" y="3"/>
                    </a:moveTo>
                    <a:cubicBezTo>
                      <a:pt x="3" y="3"/>
                      <a:pt x="4" y="4"/>
                      <a:pt x="3" y="5"/>
                    </a:cubicBezTo>
                    <a:cubicBezTo>
                      <a:pt x="3" y="5"/>
                      <a:pt x="2" y="4"/>
                      <a:pt x="2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2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2" name="Freeform 3213"/>
              <p:cNvSpPr>
                <a:spLocks noChangeAspect="1"/>
              </p:cNvSpPr>
              <p:nvPr/>
            </p:nvSpPr>
            <p:spPr bwMode="auto">
              <a:xfrm>
                <a:off x="2721444" y="5572243"/>
                <a:ext cx="8178" cy="6497"/>
              </a:xfrm>
              <a:custGeom>
                <a:avLst/>
                <a:gdLst>
                  <a:gd name="T0" fmla="*/ 3 w 4"/>
                  <a:gd name="T1" fmla="*/ 3 h 3"/>
                  <a:gd name="T2" fmla="*/ 0 w 4"/>
                  <a:gd name="T3" fmla="*/ 3 h 3"/>
                  <a:gd name="T4" fmla="*/ 3 w 4"/>
                  <a:gd name="T5" fmla="*/ 1 h 3"/>
                  <a:gd name="T6" fmla="*/ 5 w 4"/>
                  <a:gd name="T7" fmla="*/ 0 h 3"/>
                  <a:gd name="T8" fmla="*/ 3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2" y="0"/>
                      <a:pt x="4" y="0"/>
                      <a:pt x="4" y="0"/>
                    </a:cubicBezTo>
                    <a:cubicBezTo>
                      <a:pt x="4" y="1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3" name="Freeform 3214"/>
              <p:cNvSpPr>
                <a:spLocks noChangeAspect="1"/>
              </p:cNvSpPr>
              <p:nvPr/>
            </p:nvSpPr>
            <p:spPr bwMode="auto">
              <a:xfrm>
                <a:off x="2721444" y="5581988"/>
                <a:ext cx="4907" cy="17866"/>
              </a:xfrm>
              <a:custGeom>
                <a:avLst/>
                <a:gdLst>
                  <a:gd name="T0" fmla="*/ 2 w 2"/>
                  <a:gd name="T1" fmla="*/ 7 h 9"/>
                  <a:gd name="T2" fmla="*/ 0 w 2"/>
                  <a:gd name="T3" fmla="*/ 11 h 9"/>
                  <a:gd name="T4" fmla="*/ 0 w 2"/>
                  <a:gd name="T5" fmla="*/ 6 h 9"/>
                  <a:gd name="T6" fmla="*/ 2 w 2"/>
                  <a:gd name="T7" fmla="*/ 1 h 9"/>
                  <a:gd name="T8" fmla="*/ 2 w 2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9"/>
                  <a:gd name="T17" fmla="*/ 2 w 2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9">
                    <a:moveTo>
                      <a:pt x="1" y="6"/>
                    </a:moveTo>
                    <a:cubicBezTo>
                      <a:pt x="1" y="7"/>
                      <a:pt x="1" y="9"/>
                      <a:pt x="0" y="9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3"/>
                      <a:pt x="1" y="0"/>
                      <a:pt x="1" y="1"/>
                    </a:cubicBezTo>
                    <a:cubicBezTo>
                      <a:pt x="2" y="1"/>
                      <a:pt x="2" y="4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4" name="Freeform 3215"/>
              <p:cNvSpPr>
                <a:spLocks noChangeAspect="1"/>
              </p:cNvSpPr>
              <p:nvPr/>
            </p:nvSpPr>
            <p:spPr bwMode="auto">
              <a:xfrm>
                <a:off x="2727986" y="5588485"/>
                <a:ext cx="1636" cy="11369"/>
              </a:xfrm>
              <a:custGeom>
                <a:avLst/>
                <a:gdLst>
                  <a:gd name="T0" fmla="*/ 1 w 1"/>
                  <a:gd name="T1" fmla="*/ 5 h 6"/>
                  <a:gd name="T2" fmla="*/ 0 w 1"/>
                  <a:gd name="T3" fmla="*/ 7 h 6"/>
                  <a:gd name="T4" fmla="*/ 0 w 1"/>
                  <a:gd name="T5" fmla="*/ 4 h 6"/>
                  <a:gd name="T6" fmla="*/ 0 w 1"/>
                  <a:gd name="T7" fmla="*/ 0 h 6"/>
                  <a:gd name="T8" fmla="*/ 1 w 1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6"/>
                  <a:gd name="T17" fmla="*/ 1 w 1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6">
                    <a:moveTo>
                      <a:pt x="1" y="4"/>
                    </a:moveTo>
                    <a:cubicBezTo>
                      <a:pt x="1" y="5"/>
                      <a:pt x="1" y="6"/>
                      <a:pt x="0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0" y="0"/>
                    </a:cubicBezTo>
                    <a:cubicBezTo>
                      <a:pt x="1" y="0"/>
                      <a:pt x="1" y="3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5" name="Freeform 3216"/>
              <p:cNvSpPr>
                <a:spLocks noChangeAspect="1"/>
              </p:cNvSpPr>
              <p:nvPr/>
            </p:nvSpPr>
            <p:spPr bwMode="auto">
              <a:xfrm>
                <a:off x="2745978" y="5604726"/>
                <a:ext cx="6542" cy="6497"/>
              </a:xfrm>
              <a:custGeom>
                <a:avLst/>
                <a:gdLst>
                  <a:gd name="T0" fmla="*/ 3 w 4"/>
                  <a:gd name="T1" fmla="*/ 2 h 4"/>
                  <a:gd name="T2" fmla="*/ 4 w 4"/>
                  <a:gd name="T3" fmla="*/ 3 h 4"/>
                  <a:gd name="T4" fmla="*/ 2 w 4"/>
                  <a:gd name="T5" fmla="*/ 3 h 4"/>
                  <a:gd name="T6" fmla="*/ 1 w 4"/>
                  <a:gd name="T7" fmla="*/ 0 h 4"/>
                  <a:gd name="T8" fmla="*/ 3 w 4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3" y="4"/>
                      <a:pt x="2" y="3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6" name="Freeform 3217"/>
              <p:cNvSpPr>
                <a:spLocks noChangeAspect="1"/>
              </p:cNvSpPr>
              <p:nvPr/>
            </p:nvSpPr>
            <p:spPr bwMode="auto">
              <a:xfrm>
                <a:off x="2741071" y="5594981"/>
                <a:ext cx="9814" cy="6497"/>
              </a:xfrm>
              <a:custGeom>
                <a:avLst/>
                <a:gdLst>
                  <a:gd name="T0" fmla="*/ 4 w 5"/>
                  <a:gd name="T1" fmla="*/ 2 h 4"/>
                  <a:gd name="T2" fmla="*/ 5 w 5"/>
                  <a:gd name="T3" fmla="*/ 4 h 4"/>
                  <a:gd name="T4" fmla="*/ 2 w 5"/>
                  <a:gd name="T5" fmla="*/ 3 h 4"/>
                  <a:gd name="T6" fmla="*/ 1 w 5"/>
                  <a:gd name="T7" fmla="*/ 1 h 4"/>
                  <a:gd name="T8" fmla="*/ 4 w 5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3" y="2"/>
                    </a:moveTo>
                    <a:cubicBezTo>
                      <a:pt x="4" y="2"/>
                      <a:pt x="5" y="3"/>
                      <a:pt x="4" y="4"/>
                    </a:cubicBezTo>
                    <a:cubicBezTo>
                      <a:pt x="4" y="4"/>
                      <a:pt x="3" y="3"/>
                      <a:pt x="2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7" name="Freeform 3218"/>
              <p:cNvSpPr>
                <a:spLocks noChangeAspect="1"/>
              </p:cNvSpPr>
              <p:nvPr/>
            </p:nvSpPr>
            <p:spPr bwMode="auto">
              <a:xfrm>
                <a:off x="2731257" y="5586860"/>
                <a:ext cx="8178" cy="8121"/>
              </a:xfrm>
              <a:custGeom>
                <a:avLst/>
                <a:gdLst>
                  <a:gd name="T0" fmla="*/ 4 w 4"/>
                  <a:gd name="T1" fmla="*/ 3 h 4"/>
                  <a:gd name="T2" fmla="*/ 5 w 4"/>
                  <a:gd name="T3" fmla="*/ 4 h 4"/>
                  <a:gd name="T4" fmla="*/ 3 w 4"/>
                  <a:gd name="T5" fmla="*/ 3 h 4"/>
                  <a:gd name="T6" fmla="*/ 1 w 4"/>
                  <a:gd name="T7" fmla="*/ 0 h 4"/>
                  <a:gd name="T8" fmla="*/ 4 w 4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4" y="4"/>
                      <a:pt x="3" y="3"/>
                      <a:pt x="2" y="2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8" name="Freeform 3219"/>
              <p:cNvSpPr>
                <a:spLocks noChangeAspect="1"/>
              </p:cNvSpPr>
              <p:nvPr/>
            </p:nvSpPr>
            <p:spPr bwMode="auto">
              <a:xfrm>
                <a:off x="2768877" y="5685933"/>
                <a:ext cx="9814" cy="3248"/>
              </a:xfrm>
              <a:custGeom>
                <a:avLst/>
                <a:gdLst>
                  <a:gd name="T0" fmla="*/ 2 w 5"/>
                  <a:gd name="T1" fmla="*/ 2 h 2"/>
                  <a:gd name="T2" fmla="*/ 0 w 5"/>
                  <a:gd name="T3" fmla="*/ 1 h 2"/>
                  <a:gd name="T4" fmla="*/ 2 w 5"/>
                  <a:gd name="T5" fmla="*/ 0 h 2"/>
                  <a:gd name="T6" fmla="*/ 6 w 5"/>
                  <a:gd name="T7" fmla="*/ 1 h 2"/>
                  <a:gd name="T8" fmla="*/ 2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2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09" name="Freeform 3220"/>
              <p:cNvSpPr>
                <a:spLocks noChangeAspect="1"/>
              </p:cNvSpPr>
              <p:nvPr/>
            </p:nvSpPr>
            <p:spPr bwMode="auto">
              <a:xfrm>
                <a:off x="5539563" y="1299154"/>
                <a:ext cx="3271" cy="8121"/>
              </a:xfrm>
              <a:custGeom>
                <a:avLst/>
                <a:gdLst>
                  <a:gd name="T0" fmla="*/ 2 w 2"/>
                  <a:gd name="T1" fmla="*/ 4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3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0" name="Freeform 3221"/>
              <p:cNvSpPr>
                <a:spLocks noChangeAspect="1"/>
              </p:cNvSpPr>
              <p:nvPr/>
            </p:nvSpPr>
            <p:spPr bwMode="auto">
              <a:xfrm>
                <a:off x="5595173" y="1307275"/>
                <a:ext cx="8178" cy="6497"/>
              </a:xfrm>
              <a:custGeom>
                <a:avLst/>
                <a:gdLst>
                  <a:gd name="T0" fmla="*/ 4 w 4"/>
                  <a:gd name="T1" fmla="*/ 1 h 3"/>
                  <a:gd name="T2" fmla="*/ 5 w 4"/>
                  <a:gd name="T3" fmla="*/ 4 h 3"/>
                  <a:gd name="T4" fmla="*/ 3 w 4"/>
                  <a:gd name="T5" fmla="*/ 4 h 3"/>
                  <a:gd name="T6" fmla="*/ 0 w 4"/>
                  <a:gd name="T7" fmla="*/ 1 h 3"/>
                  <a:gd name="T8" fmla="*/ 4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1"/>
                    </a:moveTo>
                    <a:cubicBezTo>
                      <a:pt x="3" y="2"/>
                      <a:pt x="4" y="2"/>
                      <a:pt x="4" y="3"/>
                    </a:cubicBezTo>
                    <a:cubicBezTo>
                      <a:pt x="4" y="3"/>
                      <a:pt x="3" y="3"/>
                      <a:pt x="2" y="3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1" name="Freeform 3222"/>
              <p:cNvSpPr>
                <a:spLocks noChangeAspect="1"/>
              </p:cNvSpPr>
              <p:nvPr/>
            </p:nvSpPr>
            <p:spPr bwMode="auto">
              <a:xfrm>
                <a:off x="5622977" y="1299154"/>
                <a:ext cx="9814" cy="4873"/>
              </a:xfrm>
              <a:custGeom>
                <a:avLst/>
                <a:gdLst>
                  <a:gd name="T0" fmla="*/ 4 w 5"/>
                  <a:gd name="T1" fmla="*/ 0 h 2"/>
                  <a:gd name="T2" fmla="*/ 6 w 5"/>
                  <a:gd name="T3" fmla="*/ 2 h 2"/>
                  <a:gd name="T4" fmla="*/ 4 w 5"/>
                  <a:gd name="T5" fmla="*/ 3 h 2"/>
                  <a:gd name="T6" fmla="*/ 0 w 5"/>
                  <a:gd name="T7" fmla="*/ 2 h 2"/>
                  <a:gd name="T8" fmla="*/ 4 w 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0"/>
                    </a:moveTo>
                    <a:cubicBezTo>
                      <a:pt x="4" y="0"/>
                      <a:pt x="5" y="1"/>
                      <a:pt x="5" y="1"/>
                    </a:cubicBezTo>
                    <a:cubicBezTo>
                      <a:pt x="5" y="2"/>
                      <a:pt x="3" y="2"/>
                      <a:pt x="3" y="2"/>
                    </a:cubicBezTo>
                    <a:cubicBezTo>
                      <a:pt x="2" y="2"/>
                      <a:pt x="0" y="2"/>
                      <a:pt x="0" y="1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2" name="Freeform 3223"/>
              <p:cNvSpPr>
                <a:spLocks noChangeAspect="1"/>
              </p:cNvSpPr>
              <p:nvPr/>
            </p:nvSpPr>
            <p:spPr bwMode="auto">
              <a:xfrm>
                <a:off x="5649147" y="1299154"/>
                <a:ext cx="8178" cy="4873"/>
              </a:xfrm>
              <a:custGeom>
                <a:avLst/>
                <a:gdLst>
                  <a:gd name="T0" fmla="*/ 3 w 4"/>
                  <a:gd name="T1" fmla="*/ 0 h 2"/>
                  <a:gd name="T2" fmla="*/ 5 w 4"/>
                  <a:gd name="T3" fmla="*/ 2 h 2"/>
                  <a:gd name="T4" fmla="*/ 3 w 4"/>
                  <a:gd name="T5" fmla="*/ 3 h 2"/>
                  <a:gd name="T6" fmla="*/ 0 w 4"/>
                  <a:gd name="T7" fmla="*/ 2 h 2"/>
                  <a:gd name="T8" fmla="*/ 3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0"/>
                    </a:moveTo>
                    <a:cubicBezTo>
                      <a:pt x="3" y="0"/>
                      <a:pt x="4" y="0"/>
                      <a:pt x="4" y="1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3" name="Freeform 3224"/>
              <p:cNvSpPr>
                <a:spLocks noChangeAspect="1"/>
              </p:cNvSpPr>
              <p:nvPr/>
            </p:nvSpPr>
            <p:spPr bwMode="auto">
              <a:xfrm>
                <a:off x="6030239" y="1349502"/>
                <a:ext cx="17992" cy="9745"/>
              </a:xfrm>
              <a:custGeom>
                <a:avLst/>
                <a:gdLst>
                  <a:gd name="T0" fmla="*/ 4 w 9"/>
                  <a:gd name="T1" fmla="*/ 5 h 5"/>
                  <a:gd name="T2" fmla="*/ 0 w 9"/>
                  <a:gd name="T3" fmla="*/ 1 h 5"/>
                  <a:gd name="T4" fmla="*/ 6 w 9"/>
                  <a:gd name="T5" fmla="*/ 1 h 5"/>
                  <a:gd name="T6" fmla="*/ 11 w 9"/>
                  <a:gd name="T7" fmla="*/ 5 h 5"/>
                  <a:gd name="T8" fmla="*/ 4 w 9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5"/>
                  <a:gd name="T17" fmla="*/ 9 w 9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5">
                    <a:moveTo>
                      <a:pt x="3" y="4"/>
                    </a:moveTo>
                    <a:cubicBezTo>
                      <a:pt x="2" y="3"/>
                      <a:pt x="0" y="2"/>
                      <a:pt x="0" y="1"/>
                    </a:cubicBezTo>
                    <a:cubicBezTo>
                      <a:pt x="1" y="0"/>
                      <a:pt x="3" y="1"/>
                      <a:pt x="5" y="1"/>
                    </a:cubicBezTo>
                    <a:cubicBezTo>
                      <a:pt x="6" y="1"/>
                      <a:pt x="9" y="3"/>
                      <a:pt x="9" y="4"/>
                    </a:cubicBezTo>
                    <a:cubicBezTo>
                      <a:pt x="8" y="5"/>
                      <a:pt x="5" y="4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4" name="Freeform 3225"/>
              <p:cNvSpPr>
                <a:spLocks noChangeAspect="1"/>
              </p:cNvSpPr>
              <p:nvPr/>
            </p:nvSpPr>
            <p:spPr bwMode="auto">
              <a:xfrm>
                <a:off x="8030563" y="2630941"/>
                <a:ext cx="13085" cy="17866"/>
              </a:xfrm>
              <a:custGeom>
                <a:avLst/>
                <a:gdLst>
                  <a:gd name="T0" fmla="*/ 3 w 7"/>
                  <a:gd name="T1" fmla="*/ 7 h 9"/>
                  <a:gd name="T2" fmla="*/ 1 w 7"/>
                  <a:gd name="T3" fmla="*/ 10 h 9"/>
                  <a:gd name="T4" fmla="*/ 2 w 7"/>
                  <a:gd name="T5" fmla="*/ 5 h 9"/>
                  <a:gd name="T6" fmla="*/ 7 w 7"/>
                  <a:gd name="T7" fmla="*/ 1 h 9"/>
                  <a:gd name="T8" fmla="*/ 3 w 7"/>
                  <a:gd name="T9" fmla="*/ 7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9"/>
                  <a:gd name="T17" fmla="*/ 7 w 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9">
                    <a:moveTo>
                      <a:pt x="3" y="6"/>
                    </a:moveTo>
                    <a:cubicBezTo>
                      <a:pt x="3" y="7"/>
                      <a:pt x="1" y="9"/>
                      <a:pt x="1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3" y="3"/>
                      <a:pt x="5" y="0"/>
                      <a:pt x="6" y="1"/>
                    </a:cubicBezTo>
                    <a:cubicBezTo>
                      <a:pt x="7" y="2"/>
                      <a:pt x="5" y="5"/>
                      <a:pt x="3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5" name="Freeform 3226"/>
              <p:cNvSpPr>
                <a:spLocks noChangeAspect="1"/>
              </p:cNvSpPr>
              <p:nvPr/>
            </p:nvSpPr>
            <p:spPr bwMode="auto">
              <a:xfrm>
                <a:off x="7991309" y="2663424"/>
                <a:ext cx="17992" cy="22738"/>
              </a:xfrm>
              <a:custGeom>
                <a:avLst/>
                <a:gdLst>
                  <a:gd name="T0" fmla="*/ 5 w 9"/>
                  <a:gd name="T1" fmla="*/ 9 h 11"/>
                  <a:gd name="T2" fmla="*/ 0 w 9"/>
                  <a:gd name="T3" fmla="*/ 13 h 11"/>
                  <a:gd name="T4" fmla="*/ 4 w 9"/>
                  <a:gd name="T5" fmla="*/ 6 h 11"/>
                  <a:gd name="T6" fmla="*/ 10 w 9"/>
                  <a:gd name="T7" fmla="*/ 1 h 11"/>
                  <a:gd name="T8" fmla="*/ 5 w 9"/>
                  <a:gd name="T9" fmla="*/ 9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1"/>
                  <a:gd name="T17" fmla="*/ 9 w 9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1">
                    <a:moveTo>
                      <a:pt x="4" y="7"/>
                    </a:moveTo>
                    <a:cubicBezTo>
                      <a:pt x="3" y="9"/>
                      <a:pt x="1" y="11"/>
                      <a:pt x="0" y="10"/>
                    </a:cubicBezTo>
                    <a:cubicBezTo>
                      <a:pt x="0" y="9"/>
                      <a:pt x="1" y="7"/>
                      <a:pt x="3" y="5"/>
                    </a:cubicBezTo>
                    <a:cubicBezTo>
                      <a:pt x="4" y="3"/>
                      <a:pt x="7" y="0"/>
                      <a:pt x="8" y="1"/>
                    </a:cubicBezTo>
                    <a:cubicBezTo>
                      <a:pt x="9" y="2"/>
                      <a:pt x="6" y="5"/>
                      <a:pt x="4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6" name="Freeform 3227"/>
              <p:cNvSpPr>
                <a:spLocks noChangeAspect="1"/>
              </p:cNvSpPr>
              <p:nvPr/>
            </p:nvSpPr>
            <p:spPr bwMode="auto">
              <a:xfrm>
                <a:off x="8073088" y="2551359"/>
                <a:ext cx="6542" cy="9745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6 h 5"/>
                  <a:gd name="T4" fmla="*/ 1 w 3"/>
                  <a:gd name="T5" fmla="*/ 4 h 5"/>
                  <a:gd name="T6" fmla="*/ 3 w 3"/>
                  <a:gd name="T7" fmla="*/ 1 h 5"/>
                  <a:gd name="T8" fmla="*/ 3 w 3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4"/>
                    </a:moveTo>
                    <a:cubicBezTo>
                      <a:pt x="1" y="4"/>
                      <a:pt x="1" y="5"/>
                      <a:pt x="0" y="5"/>
                    </a:cubicBezTo>
                    <a:cubicBezTo>
                      <a:pt x="0" y="5"/>
                      <a:pt x="0" y="3"/>
                      <a:pt x="1" y="3"/>
                    </a:cubicBezTo>
                    <a:cubicBezTo>
                      <a:pt x="1" y="2"/>
                      <a:pt x="2" y="0"/>
                      <a:pt x="2" y="1"/>
                    </a:cubicBezTo>
                    <a:cubicBezTo>
                      <a:pt x="3" y="1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7" name="Freeform 3228"/>
              <p:cNvSpPr>
                <a:spLocks noChangeAspect="1"/>
              </p:cNvSpPr>
              <p:nvPr/>
            </p:nvSpPr>
            <p:spPr bwMode="auto">
              <a:xfrm>
                <a:off x="8064911" y="2572473"/>
                <a:ext cx="6542" cy="9745"/>
              </a:xfrm>
              <a:custGeom>
                <a:avLst/>
                <a:gdLst>
                  <a:gd name="T0" fmla="*/ 3 w 3"/>
                  <a:gd name="T1" fmla="*/ 4 h 5"/>
                  <a:gd name="T2" fmla="*/ 0 w 3"/>
                  <a:gd name="T3" fmla="*/ 5 h 5"/>
                  <a:gd name="T4" fmla="*/ 0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1" y="4"/>
                      <a:pt x="0" y="5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8" name="Freeform 3229"/>
              <p:cNvSpPr>
                <a:spLocks noChangeAspect="1"/>
              </p:cNvSpPr>
              <p:nvPr/>
            </p:nvSpPr>
            <p:spPr bwMode="auto">
              <a:xfrm>
                <a:off x="7337074" y="1606115"/>
                <a:ext cx="14721" cy="11369"/>
              </a:xfrm>
              <a:custGeom>
                <a:avLst/>
                <a:gdLst>
                  <a:gd name="T0" fmla="*/ 6 w 7"/>
                  <a:gd name="T1" fmla="*/ 4 h 6"/>
                  <a:gd name="T2" fmla="*/ 8 w 7"/>
                  <a:gd name="T3" fmla="*/ 6 h 6"/>
                  <a:gd name="T4" fmla="*/ 4 w 7"/>
                  <a:gd name="T5" fmla="*/ 5 h 6"/>
                  <a:gd name="T6" fmla="*/ 1 w 7"/>
                  <a:gd name="T7" fmla="*/ 1 h 6"/>
                  <a:gd name="T8" fmla="*/ 6 w 7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5" y="3"/>
                    </a:moveTo>
                    <a:cubicBezTo>
                      <a:pt x="6" y="3"/>
                      <a:pt x="7" y="5"/>
                      <a:pt x="6" y="5"/>
                    </a:cubicBezTo>
                    <a:cubicBezTo>
                      <a:pt x="6" y="6"/>
                      <a:pt x="4" y="5"/>
                      <a:pt x="3" y="4"/>
                    </a:cubicBezTo>
                    <a:cubicBezTo>
                      <a:pt x="2" y="3"/>
                      <a:pt x="0" y="2"/>
                      <a:pt x="1" y="1"/>
                    </a:cubicBezTo>
                    <a:cubicBezTo>
                      <a:pt x="2" y="0"/>
                      <a:pt x="4" y="2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19" name="Freeform 3230"/>
              <p:cNvSpPr>
                <a:spLocks noChangeAspect="1"/>
              </p:cNvSpPr>
              <p:nvPr/>
            </p:nvSpPr>
            <p:spPr bwMode="auto">
              <a:xfrm>
                <a:off x="6908549" y="1593122"/>
                <a:ext cx="6542" cy="8121"/>
              </a:xfrm>
              <a:custGeom>
                <a:avLst/>
                <a:gdLst>
                  <a:gd name="T0" fmla="*/ 3 w 3"/>
                  <a:gd name="T1" fmla="*/ 4 h 4"/>
                  <a:gd name="T2" fmla="*/ 0 w 3"/>
                  <a:gd name="T3" fmla="*/ 5 h 4"/>
                  <a:gd name="T4" fmla="*/ 1 w 3"/>
                  <a:gd name="T5" fmla="*/ 3 h 4"/>
                  <a:gd name="T6" fmla="*/ 3 w 3"/>
                  <a:gd name="T7" fmla="*/ 0 h 4"/>
                  <a:gd name="T8" fmla="*/ 3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3"/>
                    </a:moveTo>
                    <a:cubicBezTo>
                      <a:pt x="2" y="3"/>
                      <a:pt x="1" y="4"/>
                      <a:pt x="0" y="4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0" name="Freeform 3231"/>
              <p:cNvSpPr>
                <a:spLocks noChangeAspect="1"/>
              </p:cNvSpPr>
              <p:nvPr/>
            </p:nvSpPr>
            <p:spPr bwMode="auto">
              <a:xfrm>
                <a:off x="6805508" y="1490801"/>
                <a:ext cx="9814" cy="9745"/>
              </a:xfrm>
              <a:custGeom>
                <a:avLst/>
                <a:gdLst>
                  <a:gd name="T0" fmla="*/ 5 w 5"/>
                  <a:gd name="T1" fmla="*/ 2 h 5"/>
                  <a:gd name="T2" fmla="*/ 5 w 5"/>
                  <a:gd name="T3" fmla="*/ 5 h 5"/>
                  <a:gd name="T4" fmla="*/ 2 w 5"/>
                  <a:gd name="T5" fmla="*/ 4 h 5"/>
                  <a:gd name="T6" fmla="*/ 1 w 5"/>
                  <a:gd name="T7" fmla="*/ 1 h 5"/>
                  <a:gd name="T8" fmla="*/ 5 w 5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4" y="2"/>
                    </a:moveTo>
                    <a:cubicBezTo>
                      <a:pt x="4" y="3"/>
                      <a:pt x="5" y="4"/>
                      <a:pt x="4" y="4"/>
                    </a:cubicBezTo>
                    <a:cubicBezTo>
                      <a:pt x="4" y="5"/>
                      <a:pt x="3" y="4"/>
                      <a:pt x="2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3" y="2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1" name="Freeform 3232"/>
              <p:cNvSpPr>
                <a:spLocks noChangeAspect="1"/>
              </p:cNvSpPr>
              <p:nvPr/>
            </p:nvSpPr>
            <p:spPr bwMode="auto">
              <a:xfrm>
                <a:off x="6182348" y="1521660"/>
                <a:ext cx="8178" cy="3248"/>
              </a:xfrm>
              <a:custGeom>
                <a:avLst/>
                <a:gdLst>
                  <a:gd name="T0" fmla="*/ 3 w 4"/>
                  <a:gd name="T1" fmla="*/ 2 h 2"/>
                  <a:gd name="T2" fmla="*/ 0 w 4"/>
                  <a:gd name="T3" fmla="*/ 1 h 2"/>
                  <a:gd name="T4" fmla="*/ 3 w 4"/>
                  <a:gd name="T5" fmla="*/ 0 h 2"/>
                  <a:gd name="T6" fmla="*/ 5 w 4"/>
                  <a:gd name="T7" fmla="*/ 0 h 2"/>
                  <a:gd name="T8" fmla="*/ 3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4" y="1"/>
                      <a:pt x="3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2" name="Freeform 3233"/>
              <p:cNvSpPr>
                <a:spLocks noChangeAspect="1"/>
              </p:cNvSpPr>
              <p:nvPr/>
            </p:nvSpPr>
            <p:spPr bwMode="auto">
              <a:xfrm>
                <a:off x="6211789" y="1601242"/>
                <a:ext cx="9814" cy="4873"/>
              </a:xfrm>
              <a:custGeom>
                <a:avLst/>
                <a:gdLst>
                  <a:gd name="T0" fmla="*/ 4 w 5"/>
                  <a:gd name="T1" fmla="*/ 2 h 2"/>
                  <a:gd name="T2" fmla="*/ 5 w 5"/>
                  <a:gd name="T3" fmla="*/ 3 h 2"/>
                  <a:gd name="T4" fmla="*/ 2 w 5"/>
                  <a:gd name="T5" fmla="*/ 3 h 2"/>
                  <a:gd name="T6" fmla="*/ 0 w 5"/>
                  <a:gd name="T7" fmla="*/ 2 h 2"/>
                  <a:gd name="T8" fmla="*/ 4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1"/>
                    </a:moveTo>
                    <a:cubicBezTo>
                      <a:pt x="3" y="1"/>
                      <a:pt x="5" y="1"/>
                      <a:pt x="4" y="2"/>
                    </a:cubicBez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3" name="Freeform 3234"/>
              <p:cNvSpPr>
                <a:spLocks noChangeAspect="1"/>
              </p:cNvSpPr>
              <p:nvPr/>
            </p:nvSpPr>
            <p:spPr bwMode="auto">
              <a:xfrm>
                <a:off x="6254314" y="1572008"/>
                <a:ext cx="11450" cy="4873"/>
              </a:xfrm>
              <a:custGeom>
                <a:avLst/>
                <a:gdLst>
                  <a:gd name="T0" fmla="*/ 5 w 6"/>
                  <a:gd name="T1" fmla="*/ 2 h 2"/>
                  <a:gd name="T2" fmla="*/ 7 w 6"/>
                  <a:gd name="T3" fmla="*/ 3 h 2"/>
                  <a:gd name="T4" fmla="*/ 4 w 6"/>
                  <a:gd name="T5" fmla="*/ 3 h 2"/>
                  <a:gd name="T6" fmla="*/ 0 w 6"/>
                  <a:gd name="T7" fmla="*/ 2 h 2"/>
                  <a:gd name="T8" fmla="*/ 5 w 6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"/>
                  <a:gd name="T17" fmla="*/ 6 w 6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">
                    <a:moveTo>
                      <a:pt x="4" y="1"/>
                    </a:moveTo>
                    <a:cubicBezTo>
                      <a:pt x="5" y="1"/>
                      <a:pt x="6" y="1"/>
                      <a:pt x="6" y="2"/>
                    </a:cubicBezTo>
                    <a:cubicBezTo>
                      <a:pt x="5" y="2"/>
                      <a:pt x="4" y="2"/>
                      <a:pt x="3" y="2"/>
                    </a:cubicBezTo>
                    <a:cubicBezTo>
                      <a:pt x="2" y="2"/>
                      <a:pt x="0" y="2"/>
                      <a:pt x="0" y="1"/>
                    </a:cubicBezTo>
                    <a:cubicBezTo>
                      <a:pt x="1" y="0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4" name="Freeform 3235"/>
              <p:cNvSpPr>
                <a:spLocks noChangeAspect="1"/>
              </p:cNvSpPr>
              <p:nvPr/>
            </p:nvSpPr>
            <p:spPr bwMode="auto">
              <a:xfrm>
                <a:off x="7481005" y="3855536"/>
                <a:ext cx="9814" cy="4873"/>
              </a:xfrm>
              <a:custGeom>
                <a:avLst/>
                <a:gdLst>
                  <a:gd name="T0" fmla="*/ 2 w 5"/>
                  <a:gd name="T1" fmla="*/ 3 h 3"/>
                  <a:gd name="T2" fmla="*/ 0 w 5"/>
                  <a:gd name="T3" fmla="*/ 2 h 3"/>
                  <a:gd name="T4" fmla="*/ 2 w 5"/>
                  <a:gd name="T5" fmla="*/ 1 h 3"/>
                  <a:gd name="T6" fmla="*/ 6 w 5"/>
                  <a:gd name="T7" fmla="*/ 2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0" y="3"/>
                      <a:pt x="0" y="2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3" y="1"/>
                      <a:pt x="5" y="0"/>
                      <a:pt x="5" y="2"/>
                    </a:cubicBezTo>
                    <a:cubicBezTo>
                      <a:pt x="5" y="3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5" name="Freeform 3236"/>
              <p:cNvSpPr>
                <a:spLocks noChangeAspect="1"/>
              </p:cNvSpPr>
              <p:nvPr/>
            </p:nvSpPr>
            <p:spPr bwMode="auto">
              <a:xfrm>
                <a:off x="7461378" y="3873402"/>
                <a:ext cx="4907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6" name="Freeform 3237"/>
              <p:cNvSpPr>
                <a:spLocks noChangeAspect="1"/>
              </p:cNvSpPr>
              <p:nvPr/>
            </p:nvSpPr>
            <p:spPr bwMode="auto">
              <a:xfrm>
                <a:off x="1709015" y="3194515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7" name="Freeform 3238"/>
              <p:cNvSpPr>
                <a:spLocks noChangeAspect="1"/>
              </p:cNvSpPr>
              <p:nvPr/>
            </p:nvSpPr>
            <p:spPr bwMode="auto">
              <a:xfrm>
                <a:off x="104503" y="2414932"/>
                <a:ext cx="8178" cy="4873"/>
              </a:xfrm>
              <a:custGeom>
                <a:avLst/>
                <a:gdLst>
                  <a:gd name="T0" fmla="*/ 3 w 4"/>
                  <a:gd name="T1" fmla="*/ 3 h 3"/>
                  <a:gd name="T2" fmla="*/ 1 w 4"/>
                  <a:gd name="T3" fmla="*/ 2 h 3"/>
                  <a:gd name="T4" fmla="*/ 1 w 4"/>
                  <a:gd name="T5" fmla="*/ 1 h 3"/>
                  <a:gd name="T6" fmla="*/ 5 w 4"/>
                  <a:gd name="T7" fmla="*/ 1 h 3"/>
                  <a:gd name="T8" fmla="*/ 3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3"/>
                    </a:move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2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8" name="Freeform 3239"/>
              <p:cNvSpPr>
                <a:spLocks noChangeAspect="1"/>
              </p:cNvSpPr>
              <p:nvPr/>
            </p:nvSpPr>
            <p:spPr bwMode="auto">
              <a:xfrm>
                <a:off x="755467" y="2340222"/>
                <a:ext cx="4907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4 h 3"/>
                  <a:gd name="T4" fmla="*/ 0 w 3"/>
                  <a:gd name="T5" fmla="*/ 1 h 3"/>
                  <a:gd name="T6" fmla="*/ 2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29" name="Freeform 3240"/>
              <p:cNvSpPr>
                <a:spLocks noChangeAspect="1"/>
              </p:cNvSpPr>
              <p:nvPr/>
            </p:nvSpPr>
            <p:spPr bwMode="auto">
              <a:xfrm>
                <a:off x="1435872" y="2380825"/>
                <a:ext cx="3271" cy="8121"/>
              </a:xfrm>
              <a:custGeom>
                <a:avLst/>
                <a:gdLst>
                  <a:gd name="T0" fmla="*/ 2 w 2"/>
                  <a:gd name="T1" fmla="*/ 4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3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0" name="Freeform 3241"/>
              <p:cNvSpPr>
                <a:spLocks noChangeAspect="1"/>
              </p:cNvSpPr>
              <p:nvPr/>
            </p:nvSpPr>
            <p:spPr bwMode="auto">
              <a:xfrm>
                <a:off x="1403160" y="2302867"/>
                <a:ext cx="4907" cy="6497"/>
              </a:xfrm>
              <a:custGeom>
                <a:avLst/>
                <a:gdLst>
                  <a:gd name="T0" fmla="*/ 2 w 3"/>
                  <a:gd name="T1" fmla="*/ 3 h 3"/>
                  <a:gd name="T2" fmla="*/ 0 w 3"/>
                  <a:gd name="T3" fmla="*/ 4 h 3"/>
                  <a:gd name="T4" fmla="*/ 0 w 3"/>
                  <a:gd name="T5" fmla="*/ 1 h 3"/>
                  <a:gd name="T6" fmla="*/ 2 w 3"/>
                  <a:gd name="T7" fmla="*/ 0 h 3"/>
                  <a:gd name="T8" fmla="*/ 2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1" name="Freeform 3242"/>
              <p:cNvSpPr>
                <a:spLocks noChangeAspect="1"/>
              </p:cNvSpPr>
              <p:nvPr/>
            </p:nvSpPr>
            <p:spPr bwMode="auto">
              <a:xfrm>
                <a:off x="4052813" y="1573632"/>
                <a:ext cx="8178" cy="6497"/>
              </a:xfrm>
              <a:custGeom>
                <a:avLst/>
                <a:gdLst>
                  <a:gd name="T0" fmla="*/ 4 w 4"/>
                  <a:gd name="T1" fmla="*/ 3 h 3"/>
                  <a:gd name="T2" fmla="*/ 3 w 4"/>
                  <a:gd name="T3" fmla="*/ 4 h 3"/>
                  <a:gd name="T4" fmla="*/ 1 w 4"/>
                  <a:gd name="T5" fmla="*/ 3 h 3"/>
                  <a:gd name="T6" fmla="*/ 3 w 4"/>
                  <a:gd name="T7" fmla="*/ 0 h 3"/>
                  <a:gd name="T8" fmla="*/ 4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2"/>
                    </a:moveTo>
                    <a:cubicBezTo>
                      <a:pt x="3" y="3"/>
                      <a:pt x="3" y="3"/>
                      <a:pt x="2" y="3"/>
                    </a:cubicBezTo>
                    <a:cubicBezTo>
                      <a:pt x="1" y="3"/>
                      <a:pt x="0" y="2"/>
                      <a:pt x="1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4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2" name="Freeform 3243"/>
              <p:cNvSpPr>
                <a:spLocks noChangeAspect="1"/>
              </p:cNvSpPr>
              <p:nvPr/>
            </p:nvSpPr>
            <p:spPr bwMode="auto">
              <a:xfrm>
                <a:off x="4085524" y="1364119"/>
                <a:ext cx="9814" cy="11369"/>
              </a:xfrm>
              <a:custGeom>
                <a:avLst/>
                <a:gdLst>
                  <a:gd name="T0" fmla="*/ 4 w 5"/>
                  <a:gd name="T1" fmla="*/ 5 h 6"/>
                  <a:gd name="T2" fmla="*/ 1 w 5"/>
                  <a:gd name="T3" fmla="*/ 6 h 6"/>
                  <a:gd name="T4" fmla="*/ 1 w 5"/>
                  <a:gd name="T5" fmla="*/ 4 h 6"/>
                  <a:gd name="T6" fmla="*/ 4 w 5"/>
                  <a:gd name="T7" fmla="*/ 1 h 6"/>
                  <a:gd name="T8" fmla="*/ 4 w 5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3" y="4"/>
                    </a:moveTo>
                    <a:cubicBezTo>
                      <a:pt x="3" y="5"/>
                      <a:pt x="2" y="6"/>
                      <a:pt x="1" y="5"/>
                    </a:cubicBezTo>
                    <a:cubicBezTo>
                      <a:pt x="0" y="5"/>
                      <a:pt x="1" y="4"/>
                      <a:pt x="1" y="3"/>
                    </a:cubicBezTo>
                    <a:cubicBezTo>
                      <a:pt x="1" y="2"/>
                      <a:pt x="2" y="0"/>
                      <a:pt x="3" y="1"/>
                    </a:cubicBezTo>
                    <a:cubicBezTo>
                      <a:pt x="5" y="2"/>
                      <a:pt x="4" y="3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3" name="Freeform 3244"/>
              <p:cNvSpPr>
                <a:spLocks noChangeAspect="1"/>
              </p:cNvSpPr>
              <p:nvPr/>
            </p:nvSpPr>
            <p:spPr bwMode="auto">
              <a:xfrm>
                <a:off x="4049541" y="1315395"/>
                <a:ext cx="9814" cy="9745"/>
              </a:xfrm>
              <a:custGeom>
                <a:avLst/>
                <a:gdLst>
                  <a:gd name="T0" fmla="*/ 4 w 5"/>
                  <a:gd name="T1" fmla="*/ 5 h 5"/>
                  <a:gd name="T2" fmla="*/ 1 w 5"/>
                  <a:gd name="T3" fmla="*/ 5 h 5"/>
                  <a:gd name="T4" fmla="*/ 2 w 5"/>
                  <a:gd name="T5" fmla="*/ 2 h 5"/>
                  <a:gd name="T6" fmla="*/ 6 w 5"/>
                  <a:gd name="T7" fmla="*/ 1 h 5"/>
                  <a:gd name="T8" fmla="*/ 4 w 5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3" y="4"/>
                    </a:moveTo>
                    <a:cubicBezTo>
                      <a:pt x="2" y="4"/>
                      <a:pt x="1" y="5"/>
                      <a:pt x="1" y="4"/>
                    </a:cubicBezTo>
                    <a:cubicBezTo>
                      <a:pt x="0" y="3"/>
                      <a:pt x="1" y="2"/>
                      <a:pt x="2" y="2"/>
                    </a:cubicBezTo>
                    <a:cubicBezTo>
                      <a:pt x="3" y="1"/>
                      <a:pt x="5" y="0"/>
                      <a:pt x="5" y="1"/>
                    </a:cubicBezTo>
                    <a:cubicBezTo>
                      <a:pt x="5" y="2"/>
                      <a:pt x="4" y="3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4" name="Freeform 3245"/>
              <p:cNvSpPr>
                <a:spLocks noChangeAspect="1"/>
              </p:cNvSpPr>
              <p:nvPr/>
            </p:nvSpPr>
            <p:spPr bwMode="auto">
              <a:xfrm>
                <a:off x="3630831" y="1157855"/>
                <a:ext cx="8178" cy="4873"/>
              </a:xfrm>
              <a:custGeom>
                <a:avLst/>
                <a:gdLst>
                  <a:gd name="T0" fmla="*/ 4 w 4"/>
                  <a:gd name="T1" fmla="*/ 1 h 3"/>
                  <a:gd name="T2" fmla="*/ 5 w 4"/>
                  <a:gd name="T3" fmla="*/ 3 h 3"/>
                  <a:gd name="T4" fmla="*/ 3 w 4"/>
                  <a:gd name="T5" fmla="*/ 3 h 3"/>
                  <a:gd name="T6" fmla="*/ 1 w 4"/>
                  <a:gd name="T7" fmla="*/ 1 h 3"/>
                  <a:gd name="T8" fmla="*/ 4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1"/>
                    </a:moveTo>
                    <a:cubicBezTo>
                      <a:pt x="3" y="1"/>
                      <a:pt x="4" y="2"/>
                      <a:pt x="4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5" name="Freeform 3246"/>
              <p:cNvSpPr>
                <a:spLocks noChangeAspect="1"/>
              </p:cNvSpPr>
              <p:nvPr/>
            </p:nvSpPr>
            <p:spPr bwMode="auto">
              <a:xfrm>
                <a:off x="3432925" y="1187089"/>
                <a:ext cx="4907" cy="4873"/>
              </a:xfrm>
              <a:custGeom>
                <a:avLst/>
                <a:gdLst>
                  <a:gd name="T0" fmla="*/ 2 w 3"/>
                  <a:gd name="T1" fmla="*/ 1 h 3"/>
                  <a:gd name="T2" fmla="*/ 3 w 3"/>
                  <a:gd name="T3" fmla="*/ 2 h 3"/>
                  <a:gd name="T4" fmla="*/ 1 w 3"/>
                  <a:gd name="T5" fmla="*/ 3 h 3"/>
                  <a:gd name="T6" fmla="*/ 0 w 3"/>
                  <a:gd name="T7" fmla="*/ 1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2" y="1"/>
                      <a:pt x="3" y="1"/>
                      <a:pt x="3" y="2"/>
                    </a:cubicBezTo>
                    <a:cubicBezTo>
                      <a:pt x="3" y="3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6" name="Freeform 3247"/>
              <p:cNvSpPr>
                <a:spLocks noChangeAspect="1"/>
              </p:cNvSpPr>
              <p:nvPr/>
            </p:nvSpPr>
            <p:spPr bwMode="auto">
              <a:xfrm>
                <a:off x="3295536" y="1718179"/>
                <a:ext cx="8178" cy="12993"/>
              </a:xfrm>
              <a:custGeom>
                <a:avLst/>
                <a:gdLst>
                  <a:gd name="T0" fmla="*/ 4 w 4"/>
                  <a:gd name="T1" fmla="*/ 5 h 6"/>
                  <a:gd name="T2" fmla="*/ 3 w 4"/>
                  <a:gd name="T3" fmla="*/ 8 h 6"/>
                  <a:gd name="T4" fmla="*/ 0 w 4"/>
                  <a:gd name="T5" fmla="*/ 4 h 6"/>
                  <a:gd name="T6" fmla="*/ 3 w 4"/>
                  <a:gd name="T7" fmla="*/ 0 h 6"/>
                  <a:gd name="T8" fmla="*/ 4 w 4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3" y="4"/>
                    </a:moveTo>
                    <a:cubicBezTo>
                      <a:pt x="3" y="5"/>
                      <a:pt x="3" y="6"/>
                      <a:pt x="2" y="6"/>
                    </a:cubicBezTo>
                    <a:cubicBezTo>
                      <a:pt x="0" y="6"/>
                      <a:pt x="0" y="4"/>
                      <a:pt x="0" y="3"/>
                    </a:cubicBezTo>
                    <a:cubicBezTo>
                      <a:pt x="0" y="2"/>
                      <a:pt x="0" y="0"/>
                      <a:pt x="2" y="0"/>
                    </a:cubicBezTo>
                    <a:cubicBezTo>
                      <a:pt x="4" y="1"/>
                      <a:pt x="3" y="3"/>
                      <a:pt x="3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7" name="Freeform 3248"/>
              <p:cNvSpPr>
                <a:spLocks noChangeAspect="1"/>
              </p:cNvSpPr>
              <p:nvPr/>
            </p:nvSpPr>
            <p:spPr bwMode="auto">
              <a:xfrm>
                <a:off x="3339696" y="1783145"/>
                <a:ext cx="8178" cy="11369"/>
              </a:xfrm>
              <a:custGeom>
                <a:avLst/>
                <a:gdLst>
                  <a:gd name="T0" fmla="*/ 5 w 4"/>
                  <a:gd name="T1" fmla="*/ 4 h 6"/>
                  <a:gd name="T2" fmla="*/ 3 w 4"/>
                  <a:gd name="T3" fmla="*/ 6 h 6"/>
                  <a:gd name="T4" fmla="*/ 1 w 4"/>
                  <a:gd name="T5" fmla="*/ 4 h 6"/>
                  <a:gd name="T6" fmla="*/ 3 w 4"/>
                  <a:gd name="T7" fmla="*/ 0 h 6"/>
                  <a:gd name="T8" fmla="*/ 5 w 4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3"/>
                    </a:moveTo>
                    <a:cubicBezTo>
                      <a:pt x="4" y="4"/>
                      <a:pt x="3" y="6"/>
                      <a:pt x="2" y="5"/>
                    </a:cubicBezTo>
                    <a:cubicBezTo>
                      <a:pt x="1" y="5"/>
                      <a:pt x="0" y="4"/>
                      <a:pt x="1" y="3"/>
                    </a:cubicBezTo>
                    <a:cubicBezTo>
                      <a:pt x="1" y="2"/>
                      <a:pt x="1" y="0"/>
                      <a:pt x="2" y="0"/>
                    </a:cubicBezTo>
                    <a:cubicBezTo>
                      <a:pt x="4" y="0"/>
                      <a:pt x="4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8" name="Freeform 3249"/>
              <p:cNvSpPr>
                <a:spLocks noChangeAspect="1"/>
              </p:cNvSpPr>
              <p:nvPr/>
            </p:nvSpPr>
            <p:spPr bwMode="auto">
              <a:xfrm>
                <a:off x="3306984" y="1716556"/>
                <a:ext cx="13085" cy="9745"/>
              </a:xfrm>
              <a:custGeom>
                <a:avLst/>
                <a:gdLst>
                  <a:gd name="T0" fmla="*/ 6 w 7"/>
                  <a:gd name="T1" fmla="*/ 1 h 5"/>
                  <a:gd name="T2" fmla="*/ 7 w 7"/>
                  <a:gd name="T3" fmla="*/ 4 h 5"/>
                  <a:gd name="T4" fmla="*/ 3 w 7"/>
                  <a:gd name="T5" fmla="*/ 5 h 5"/>
                  <a:gd name="T6" fmla="*/ 1 w 7"/>
                  <a:gd name="T7" fmla="*/ 2 h 5"/>
                  <a:gd name="T8" fmla="*/ 6 w 7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5"/>
                  <a:gd name="T17" fmla="*/ 7 w 7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5">
                    <a:moveTo>
                      <a:pt x="5" y="1"/>
                    </a:moveTo>
                    <a:cubicBezTo>
                      <a:pt x="5" y="1"/>
                      <a:pt x="7" y="2"/>
                      <a:pt x="6" y="3"/>
                    </a:cubicBezTo>
                    <a:cubicBezTo>
                      <a:pt x="6" y="5"/>
                      <a:pt x="4" y="5"/>
                      <a:pt x="3" y="4"/>
                    </a:cubicBezTo>
                    <a:cubicBezTo>
                      <a:pt x="2" y="4"/>
                      <a:pt x="0" y="3"/>
                      <a:pt x="1" y="2"/>
                    </a:cubicBezTo>
                    <a:cubicBezTo>
                      <a:pt x="1" y="0"/>
                      <a:pt x="3" y="1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39" name="Freeform 3250"/>
              <p:cNvSpPr>
                <a:spLocks noChangeAspect="1"/>
              </p:cNvSpPr>
              <p:nvPr/>
            </p:nvSpPr>
            <p:spPr bwMode="auto">
              <a:xfrm>
                <a:off x="3257917" y="1653214"/>
                <a:ext cx="11450" cy="11369"/>
              </a:xfrm>
              <a:custGeom>
                <a:avLst/>
                <a:gdLst>
                  <a:gd name="T0" fmla="*/ 4 w 6"/>
                  <a:gd name="T1" fmla="*/ 1 h 6"/>
                  <a:gd name="T2" fmla="*/ 6 w 6"/>
                  <a:gd name="T3" fmla="*/ 1 h 6"/>
                  <a:gd name="T4" fmla="*/ 6 w 6"/>
                  <a:gd name="T5" fmla="*/ 5 h 6"/>
                  <a:gd name="T6" fmla="*/ 1 w 6"/>
                  <a:gd name="T7" fmla="*/ 6 h 6"/>
                  <a:gd name="T8" fmla="*/ 4 w 6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3" y="1"/>
                    </a:moveTo>
                    <a:cubicBezTo>
                      <a:pt x="3" y="0"/>
                      <a:pt x="4" y="0"/>
                      <a:pt x="5" y="1"/>
                    </a:cubicBezTo>
                    <a:cubicBezTo>
                      <a:pt x="6" y="2"/>
                      <a:pt x="5" y="3"/>
                      <a:pt x="5" y="4"/>
                    </a:cubicBezTo>
                    <a:cubicBezTo>
                      <a:pt x="4" y="5"/>
                      <a:pt x="2" y="6"/>
                      <a:pt x="1" y="5"/>
                    </a:cubicBezTo>
                    <a:cubicBezTo>
                      <a:pt x="0" y="3"/>
                      <a:pt x="2" y="2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0" name="Freeform 3251"/>
              <p:cNvSpPr>
                <a:spLocks noChangeAspect="1"/>
              </p:cNvSpPr>
              <p:nvPr/>
            </p:nvSpPr>
            <p:spPr bwMode="auto">
              <a:xfrm>
                <a:off x="2227496" y="1740917"/>
                <a:ext cx="8178" cy="6497"/>
              </a:xfrm>
              <a:custGeom>
                <a:avLst/>
                <a:gdLst>
                  <a:gd name="T0" fmla="*/ 4 w 4"/>
                  <a:gd name="T1" fmla="*/ 2 h 4"/>
                  <a:gd name="T2" fmla="*/ 4 w 4"/>
                  <a:gd name="T3" fmla="*/ 3 h 4"/>
                  <a:gd name="T4" fmla="*/ 3 w 4"/>
                  <a:gd name="T5" fmla="*/ 3 h 4"/>
                  <a:gd name="T6" fmla="*/ 1 w 4"/>
                  <a:gd name="T7" fmla="*/ 1 h 4"/>
                  <a:gd name="T8" fmla="*/ 4 w 4"/>
                  <a:gd name="T9" fmla="*/ 2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3" y="2"/>
                    </a:moveTo>
                    <a:cubicBezTo>
                      <a:pt x="3" y="2"/>
                      <a:pt x="4" y="3"/>
                      <a:pt x="3" y="3"/>
                    </a:cubicBezTo>
                    <a:cubicBezTo>
                      <a:pt x="3" y="4"/>
                      <a:pt x="2" y="3"/>
                      <a:pt x="2" y="3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1" name="Freeform 3252"/>
              <p:cNvSpPr>
                <a:spLocks noChangeAspect="1"/>
              </p:cNvSpPr>
              <p:nvPr/>
            </p:nvSpPr>
            <p:spPr bwMode="auto">
              <a:xfrm>
                <a:off x="2281471" y="1745790"/>
                <a:ext cx="6542" cy="9745"/>
              </a:xfrm>
              <a:custGeom>
                <a:avLst/>
                <a:gdLst>
                  <a:gd name="T0" fmla="*/ 3 w 3"/>
                  <a:gd name="T1" fmla="*/ 4 h 5"/>
                  <a:gd name="T2" fmla="*/ 1 w 3"/>
                  <a:gd name="T3" fmla="*/ 5 h 5"/>
                  <a:gd name="T4" fmla="*/ 0 w 3"/>
                  <a:gd name="T5" fmla="*/ 2 h 5"/>
                  <a:gd name="T6" fmla="*/ 3 w 3"/>
                  <a:gd name="T7" fmla="*/ 0 h 5"/>
                  <a:gd name="T8" fmla="*/ 3 w 3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5"/>
                  <a:gd name="T17" fmla="*/ 3 w 3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5">
                    <a:moveTo>
                      <a:pt x="2" y="3"/>
                    </a:moveTo>
                    <a:cubicBezTo>
                      <a:pt x="2" y="4"/>
                      <a:pt x="2" y="5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3" y="1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2" name="Freeform 3253"/>
              <p:cNvSpPr>
                <a:spLocks noChangeAspect="1"/>
              </p:cNvSpPr>
              <p:nvPr/>
            </p:nvSpPr>
            <p:spPr bwMode="auto">
              <a:xfrm>
                <a:off x="2422132" y="1576881"/>
                <a:ext cx="6542" cy="4873"/>
              </a:xfrm>
              <a:custGeom>
                <a:avLst/>
                <a:gdLst>
                  <a:gd name="T0" fmla="*/ 3 w 4"/>
                  <a:gd name="T1" fmla="*/ 1 h 3"/>
                  <a:gd name="T2" fmla="*/ 3 w 4"/>
                  <a:gd name="T3" fmla="*/ 3 h 3"/>
                  <a:gd name="T4" fmla="*/ 2 w 4"/>
                  <a:gd name="T5" fmla="*/ 2 h 3"/>
                  <a:gd name="T6" fmla="*/ 1 w 4"/>
                  <a:gd name="T7" fmla="*/ 1 h 3"/>
                  <a:gd name="T8" fmla="*/ 3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1"/>
                    </a:moveTo>
                    <a:cubicBezTo>
                      <a:pt x="3" y="2"/>
                      <a:pt x="4" y="2"/>
                      <a:pt x="3" y="3"/>
                    </a:cubicBezTo>
                    <a:cubicBezTo>
                      <a:pt x="3" y="3"/>
                      <a:pt x="2" y="3"/>
                      <a:pt x="2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2" y="0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3" name="Freeform 3254"/>
              <p:cNvSpPr>
                <a:spLocks noChangeAspect="1"/>
              </p:cNvSpPr>
              <p:nvPr/>
            </p:nvSpPr>
            <p:spPr bwMode="auto">
              <a:xfrm>
                <a:off x="2876825" y="1706811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4" name="Freeform 3255"/>
              <p:cNvSpPr>
                <a:spLocks noChangeAspect="1"/>
              </p:cNvSpPr>
              <p:nvPr/>
            </p:nvSpPr>
            <p:spPr bwMode="auto">
              <a:xfrm>
                <a:off x="2729622" y="1833493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0 w 3"/>
                  <a:gd name="T3" fmla="*/ 4 h 3"/>
                  <a:gd name="T4" fmla="*/ 0 w 3"/>
                  <a:gd name="T5" fmla="*/ 1 h 3"/>
                  <a:gd name="T6" fmla="*/ 3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5" name="Freeform 3256"/>
              <p:cNvSpPr>
                <a:spLocks noChangeAspect="1"/>
              </p:cNvSpPr>
              <p:nvPr/>
            </p:nvSpPr>
            <p:spPr bwMode="auto">
              <a:xfrm>
                <a:off x="2997859" y="2072240"/>
                <a:ext cx="13085" cy="9745"/>
              </a:xfrm>
              <a:custGeom>
                <a:avLst/>
                <a:gdLst>
                  <a:gd name="T0" fmla="*/ 4 w 6"/>
                  <a:gd name="T1" fmla="*/ 6 h 5"/>
                  <a:gd name="T2" fmla="*/ 0 w 6"/>
                  <a:gd name="T3" fmla="*/ 5 h 5"/>
                  <a:gd name="T4" fmla="*/ 3 w 6"/>
                  <a:gd name="T5" fmla="*/ 1 h 5"/>
                  <a:gd name="T6" fmla="*/ 8 w 6"/>
                  <a:gd name="T7" fmla="*/ 2 h 5"/>
                  <a:gd name="T8" fmla="*/ 4 w 6"/>
                  <a:gd name="T9" fmla="*/ 6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3" y="5"/>
                    </a:moveTo>
                    <a:cubicBezTo>
                      <a:pt x="2" y="5"/>
                      <a:pt x="1" y="5"/>
                      <a:pt x="0" y="4"/>
                    </a:cubicBezTo>
                    <a:cubicBezTo>
                      <a:pt x="0" y="3"/>
                      <a:pt x="1" y="2"/>
                      <a:pt x="2" y="1"/>
                    </a:cubicBezTo>
                    <a:cubicBezTo>
                      <a:pt x="3" y="1"/>
                      <a:pt x="5" y="0"/>
                      <a:pt x="6" y="2"/>
                    </a:cubicBezTo>
                    <a:cubicBezTo>
                      <a:pt x="6" y="3"/>
                      <a:pt x="4" y="4"/>
                      <a:pt x="3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6" name="Freeform 3257"/>
              <p:cNvSpPr>
                <a:spLocks noChangeAspect="1"/>
              </p:cNvSpPr>
              <p:nvPr/>
            </p:nvSpPr>
            <p:spPr bwMode="auto">
              <a:xfrm>
                <a:off x="2546437" y="3352056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0 w 2"/>
                  <a:gd name="T5" fmla="*/ 2 h 5"/>
                  <a:gd name="T6" fmla="*/ 2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2" y="5"/>
                      <a:pt x="1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7" name="Freeform 3258"/>
              <p:cNvSpPr>
                <a:spLocks noChangeAspect="1"/>
              </p:cNvSpPr>
              <p:nvPr/>
            </p:nvSpPr>
            <p:spPr bwMode="auto">
              <a:xfrm>
                <a:off x="2628216" y="3386163"/>
                <a:ext cx="6542" cy="3248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1 h 2"/>
                  <a:gd name="T4" fmla="*/ 2 w 4"/>
                  <a:gd name="T5" fmla="*/ 0 h 2"/>
                  <a:gd name="T6" fmla="*/ 4 w 4"/>
                  <a:gd name="T7" fmla="*/ 1 h 2"/>
                  <a:gd name="T8" fmla="*/ 2 w 4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2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4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8" name="Freeform 3259"/>
              <p:cNvSpPr>
                <a:spLocks noChangeAspect="1"/>
              </p:cNvSpPr>
              <p:nvPr/>
            </p:nvSpPr>
            <p:spPr bwMode="auto">
              <a:xfrm>
                <a:off x="2935706" y="3566441"/>
                <a:ext cx="6542" cy="8121"/>
              </a:xfrm>
              <a:custGeom>
                <a:avLst/>
                <a:gdLst>
                  <a:gd name="T0" fmla="*/ 4 w 3"/>
                  <a:gd name="T1" fmla="*/ 3 h 4"/>
                  <a:gd name="T2" fmla="*/ 4 w 3"/>
                  <a:gd name="T3" fmla="*/ 4 h 4"/>
                  <a:gd name="T4" fmla="*/ 1 w 3"/>
                  <a:gd name="T5" fmla="*/ 4 h 4"/>
                  <a:gd name="T6" fmla="*/ 1 w 3"/>
                  <a:gd name="T7" fmla="*/ 1 h 4"/>
                  <a:gd name="T8" fmla="*/ 4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2"/>
                      <a:pt x="3" y="3"/>
                      <a:pt x="3" y="3"/>
                    </a:cubicBezTo>
                    <a:cubicBezTo>
                      <a:pt x="2" y="4"/>
                      <a:pt x="2" y="3"/>
                      <a:pt x="1" y="3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49" name="Freeform 3260"/>
              <p:cNvSpPr>
                <a:spLocks noChangeAspect="1"/>
              </p:cNvSpPr>
              <p:nvPr/>
            </p:nvSpPr>
            <p:spPr bwMode="auto">
              <a:xfrm>
                <a:off x="2934070" y="3595675"/>
                <a:ext cx="4907" cy="8121"/>
              </a:xfrm>
              <a:custGeom>
                <a:avLst/>
                <a:gdLst>
                  <a:gd name="T0" fmla="*/ 3 w 3"/>
                  <a:gd name="T1" fmla="*/ 3 h 4"/>
                  <a:gd name="T2" fmla="*/ 2 w 3"/>
                  <a:gd name="T3" fmla="*/ 5 h 4"/>
                  <a:gd name="T4" fmla="*/ 0 w 3"/>
                  <a:gd name="T5" fmla="*/ 3 h 4"/>
                  <a:gd name="T6" fmla="*/ 1 w 3"/>
                  <a:gd name="T7" fmla="*/ 0 h 4"/>
                  <a:gd name="T8" fmla="*/ 3 w 3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3" y="2"/>
                    </a:moveTo>
                    <a:cubicBezTo>
                      <a:pt x="3" y="3"/>
                      <a:pt x="3" y="4"/>
                      <a:pt x="2" y="4"/>
                    </a:cubicBezTo>
                    <a:cubicBezTo>
                      <a:pt x="1" y="4"/>
                      <a:pt x="1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0" name="Freeform 3261"/>
              <p:cNvSpPr>
                <a:spLocks noChangeAspect="1"/>
              </p:cNvSpPr>
              <p:nvPr/>
            </p:nvSpPr>
            <p:spPr bwMode="auto">
              <a:xfrm>
                <a:off x="2721444" y="3681755"/>
                <a:ext cx="9814" cy="3248"/>
              </a:xfrm>
              <a:custGeom>
                <a:avLst/>
                <a:gdLst>
                  <a:gd name="T0" fmla="*/ 5 w 5"/>
                  <a:gd name="T1" fmla="*/ 2 h 2"/>
                  <a:gd name="T2" fmla="*/ 2 w 5"/>
                  <a:gd name="T3" fmla="*/ 2 h 2"/>
                  <a:gd name="T4" fmla="*/ 1 w 5"/>
                  <a:gd name="T5" fmla="*/ 1 h 2"/>
                  <a:gd name="T6" fmla="*/ 4 w 5"/>
                  <a:gd name="T7" fmla="*/ 0 h 2"/>
                  <a:gd name="T8" fmla="*/ 5 w 5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4" y="2"/>
                    </a:moveTo>
                    <a:cubicBezTo>
                      <a:pt x="4" y="2"/>
                      <a:pt x="3" y="2"/>
                      <a:pt x="2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3" y="0"/>
                    </a:cubicBezTo>
                    <a:cubicBezTo>
                      <a:pt x="5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1" name="Freeform 3262"/>
              <p:cNvSpPr>
                <a:spLocks noChangeAspect="1"/>
              </p:cNvSpPr>
              <p:nvPr/>
            </p:nvSpPr>
            <p:spPr bwMode="auto">
              <a:xfrm>
                <a:off x="2767240" y="3691499"/>
                <a:ext cx="4907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4 h 3"/>
                  <a:gd name="T4" fmla="*/ 0 w 3"/>
                  <a:gd name="T5" fmla="*/ 1 h 3"/>
                  <a:gd name="T6" fmla="*/ 2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3"/>
                      <a:pt x="2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2" y="1"/>
                    </a:cubicBezTo>
                    <a:cubicBezTo>
                      <a:pt x="3" y="1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2" name="Freeform 3263"/>
              <p:cNvSpPr>
                <a:spLocks noChangeAspect="1"/>
              </p:cNvSpPr>
              <p:nvPr/>
            </p:nvSpPr>
            <p:spPr bwMode="auto">
              <a:xfrm>
                <a:off x="3225205" y="4030942"/>
                <a:ext cx="9814" cy="4873"/>
              </a:xfrm>
              <a:custGeom>
                <a:avLst/>
                <a:gdLst>
                  <a:gd name="T0" fmla="*/ 2 w 5"/>
                  <a:gd name="T1" fmla="*/ 3 h 3"/>
                  <a:gd name="T2" fmla="*/ 0 w 5"/>
                  <a:gd name="T3" fmla="*/ 2 h 3"/>
                  <a:gd name="T4" fmla="*/ 2 w 5"/>
                  <a:gd name="T5" fmla="*/ 0 h 3"/>
                  <a:gd name="T6" fmla="*/ 6 w 5"/>
                  <a:gd name="T7" fmla="*/ 1 h 3"/>
                  <a:gd name="T8" fmla="*/ 2 w 5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5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3" name="Freeform 3264"/>
              <p:cNvSpPr>
                <a:spLocks noChangeAspect="1"/>
              </p:cNvSpPr>
              <p:nvPr/>
            </p:nvSpPr>
            <p:spPr bwMode="auto">
              <a:xfrm>
                <a:off x="2209505" y="4043935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4" name="Freeform 3265"/>
              <p:cNvSpPr>
                <a:spLocks noChangeAspect="1"/>
              </p:cNvSpPr>
              <p:nvPr/>
            </p:nvSpPr>
            <p:spPr bwMode="auto">
              <a:xfrm>
                <a:off x="2703453" y="5538136"/>
                <a:ext cx="8178" cy="4873"/>
              </a:xfrm>
              <a:custGeom>
                <a:avLst/>
                <a:gdLst>
                  <a:gd name="T0" fmla="*/ 3 w 4"/>
                  <a:gd name="T1" fmla="*/ 2 h 3"/>
                  <a:gd name="T2" fmla="*/ 1 w 4"/>
                  <a:gd name="T3" fmla="*/ 3 h 3"/>
                  <a:gd name="T4" fmla="*/ 1 w 4"/>
                  <a:gd name="T5" fmla="*/ 1 h 3"/>
                  <a:gd name="T6" fmla="*/ 4 w 4"/>
                  <a:gd name="T7" fmla="*/ 0 h 3"/>
                  <a:gd name="T8" fmla="*/ 3 w 4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1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5" name="Freeform 3266"/>
              <p:cNvSpPr>
                <a:spLocks noChangeAspect="1"/>
              </p:cNvSpPr>
              <p:nvPr/>
            </p:nvSpPr>
            <p:spPr bwMode="auto">
              <a:xfrm>
                <a:off x="2706724" y="5546257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6 h 5"/>
                  <a:gd name="T4" fmla="*/ 0 w 2"/>
                  <a:gd name="T5" fmla="*/ 4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1" y="4"/>
                      <a:pt x="1" y="5"/>
                      <a:pt x="1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6" name="Freeform 3267"/>
              <p:cNvSpPr>
                <a:spLocks noChangeAspect="1"/>
              </p:cNvSpPr>
              <p:nvPr/>
            </p:nvSpPr>
            <p:spPr bwMode="auto">
              <a:xfrm>
                <a:off x="2750885" y="5616094"/>
                <a:ext cx="4907" cy="8121"/>
              </a:xfrm>
              <a:custGeom>
                <a:avLst/>
                <a:gdLst>
                  <a:gd name="T0" fmla="*/ 3 w 2"/>
                  <a:gd name="T1" fmla="*/ 4 h 4"/>
                  <a:gd name="T2" fmla="*/ 2 w 2"/>
                  <a:gd name="T3" fmla="*/ 5 h 4"/>
                  <a:gd name="T4" fmla="*/ 0 w 2"/>
                  <a:gd name="T5" fmla="*/ 3 h 4"/>
                  <a:gd name="T6" fmla="*/ 2 w 2"/>
                  <a:gd name="T7" fmla="*/ 0 h 4"/>
                  <a:gd name="T8" fmla="*/ 3 w 2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3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7" name="Freeform 3268"/>
              <p:cNvSpPr>
                <a:spLocks noChangeAspect="1"/>
              </p:cNvSpPr>
              <p:nvPr/>
            </p:nvSpPr>
            <p:spPr bwMode="auto">
              <a:xfrm>
                <a:off x="2916079" y="5734657"/>
                <a:ext cx="3271" cy="8121"/>
              </a:xfrm>
              <a:custGeom>
                <a:avLst/>
                <a:gdLst>
                  <a:gd name="T0" fmla="*/ 2 w 2"/>
                  <a:gd name="T1" fmla="*/ 3 h 4"/>
                  <a:gd name="T2" fmla="*/ 1 w 2"/>
                  <a:gd name="T3" fmla="*/ 5 h 4"/>
                  <a:gd name="T4" fmla="*/ 0 w 2"/>
                  <a:gd name="T5" fmla="*/ 3 h 4"/>
                  <a:gd name="T6" fmla="*/ 1 w 2"/>
                  <a:gd name="T7" fmla="*/ 0 h 4"/>
                  <a:gd name="T8" fmla="*/ 2 w 2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4"/>
                  <a:gd name="T17" fmla="*/ 2 w 2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4">
                    <a:moveTo>
                      <a:pt x="2" y="2"/>
                    </a:moveTo>
                    <a:cubicBezTo>
                      <a:pt x="2" y="3"/>
                      <a:pt x="2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8" name="Freeform 3269"/>
              <p:cNvSpPr>
                <a:spLocks noChangeAspect="1"/>
              </p:cNvSpPr>
              <p:nvPr/>
            </p:nvSpPr>
            <p:spPr bwMode="auto">
              <a:xfrm>
                <a:off x="2821215" y="5702174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3 w 3"/>
                  <a:gd name="T5" fmla="*/ 2 h 2"/>
                  <a:gd name="T6" fmla="*/ 0 w 3"/>
                  <a:gd name="T7" fmla="*/ 1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3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59" name="Freeform 3270"/>
              <p:cNvSpPr>
                <a:spLocks noChangeAspect="1"/>
              </p:cNvSpPr>
              <p:nvPr/>
            </p:nvSpPr>
            <p:spPr bwMode="auto">
              <a:xfrm>
                <a:off x="5580452" y="1315395"/>
                <a:ext cx="4907" cy="8121"/>
              </a:xfrm>
              <a:custGeom>
                <a:avLst/>
                <a:gdLst>
                  <a:gd name="T0" fmla="*/ 2 w 3"/>
                  <a:gd name="T1" fmla="*/ 4 h 4"/>
                  <a:gd name="T2" fmla="*/ 1 w 3"/>
                  <a:gd name="T3" fmla="*/ 4 h 4"/>
                  <a:gd name="T4" fmla="*/ 1 w 3"/>
                  <a:gd name="T5" fmla="*/ 3 h 4"/>
                  <a:gd name="T6" fmla="*/ 2 w 3"/>
                  <a:gd name="T7" fmla="*/ 1 h 4"/>
                  <a:gd name="T8" fmla="*/ 2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3"/>
                    </a:moveTo>
                    <a:cubicBezTo>
                      <a:pt x="2" y="3"/>
                      <a:pt x="1" y="4"/>
                      <a:pt x="1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3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0" name="Freeform 3271"/>
              <p:cNvSpPr>
                <a:spLocks noChangeAspect="1"/>
              </p:cNvSpPr>
              <p:nvPr/>
            </p:nvSpPr>
            <p:spPr bwMode="auto">
              <a:xfrm>
                <a:off x="7602039" y="2358087"/>
                <a:ext cx="8178" cy="6497"/>
              </a:xfrm>
              <a:custGeom>
                <a:avLst/>
                <a:gdLst>
                  <a:gd name="T0" fmla="*/ 5 w 4"/>
                  <a:gd name="T1" fmla="*/ 3 h 3"/>
                  <a:gd name="T2" fmla="*/ 3 w 4"/>
                  <a:gd name="T3" fmla="*/ 4 h 3"/>
                  <a:gd name="T4" fmla="*/ 0 w 4"/>
                  <a:gd name="T5" fmla="*/ 3 h 3"/>
                  <a:gd name="T6" fmla="*/ 3 w 4"/>
                  <a:gd name="T7" fmla="*/ 0 h 3"/>
                  <a:gd name="T8" fmla="*/ 5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4" y="2"/>
                    </a:moveTo>
                    <a:cubicBezTo>
                      <a:pt x="4" y="3"/>
                      <a:pt x="3" y="3"/>
                      <a:pt x="2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4" y="0"/>
                      <a:pt x="4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1" name="Freeform 3272"/>
              <p:cNvSpPr>
                <a:spLocks noChangeAspect="1"/>
              </p:cNvSpPr>
              <p:nvPr/>
            </p:nvSpPr>
            <p:spPr bwMode="auto">
              <a:xfrm>
                <a:off x="7922614" y="1752287"/>
                <a:ext cx="8178" cy="11369"/>
              </a:xfrm>
              <a:custGeom>
                <a:avLst/>
                <a:gdLst>
                  <a:gd name="T0" fmla="*/ 5 w 4"/>
                  <a:gd name="T1" fmla="*/ 4 h 6"/>
                  <a:gd name="T2" fmla="*/ 4 w 4"/>
                  <a:gd name="T3" fmla="*/ 7 h 6"/>
                  <a:gd name="T4" fmla="*/ 1 w 4"/>
                  <a:gd name="T5" fmla="*/ 5 h 6"/>
                  <a:gd name="T6" fmla="*/ 1 w 4"/>
                  <a:gd name="T7" fmla="*/ 0 h 6"/>
                  <a:gd name="T8" fmla="*/ 5 w 4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3"/>
                    </a:moveTo>
                    <a:cubicBezTo>
                      <a:pt x="4" y="4"/>
                      <a:pt x="4" y="5"/>
                      <a:pt x="3" y="6"/>
                    </a:cubicBezTo>
                    <a:cubicBezTo>
                      <a:pt x="2" y="6"/>
                      <a:pt x="1" y="4"/>
                      <a:pt x="1" y="4"/>
                    </a:cubicBezTo>
                    <a:cubicBezTo>
                      <a:pt x="1" y="3"/>
                      <a:pt x="0" y="0"/>
                      <a:pt x="1" y="0"/>
                    </a:cubicBezTo>
                    <a:cubicBezTo>
                      <a:pt x="3" y="0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2" name="Oval 3273"/>
              <p:cNvSpPr>
                <a:spLocks noChangeAspect="1" noChangeArrowheads="1"/>
              </p:cNvSpPr>
              <p:nvPr/>
            </p:nvSpPr>
            <p:spPr bwMode="auto">
              <a:xfrm>
                <a:off x="7657649" y="1513539"/>
                <a:ext cx="3271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3" name="Freeform 3274"/>
              <p:cNvSpPr>
                <a:spLocks noChangeAspect="1"/>
              </p:cNvSpPr>
              <p:nvPr/>
            </p:nvSpPr>
            <p:spPr bwMode="auto">
              <a:xfrm>
                <a:off x="6695923" y="1456695"/>
                <a:ext cx="4907" cy="6497"/>
              </a:xfrm>
              <a:custGeom>
                <a:avLst/>
                <a:gdLst>
                  <a:gd name="T0" fmla="*/ 3 w 3"/>
                  <a:gd name="T1" fmla="*/ 3 h 3"/>
                  <a:gd name="T2" fmla="*/ 2 w 3"/>
                  <a:gd name="T3" fmla="*/ 4 h 3"/>
                  <a:gd name="T4" fmla="*/ 0 w 3"/>
                  <a:gd name="T5" fmla="*/ 1 h 3"/>
                  <a:gd name="T6" fmla="*/ 2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4" name="Freeform 3275"/>
              <p:cNvSpPr>
                <a:spLocks noChangeAspect="1"/>
              </p:cNvSpPr>
              <p:nvPr/>
            </p:nvSpPr>
            <p:spPr bwMode="auto">
              <a:xfrm>
                <a:off x="6323009" y="1459943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5" name="Freeform 3276"/>
              <p:cNvSpPr>
                <a:spLocks noChangeAspect="1"/>
              </p:cNvSpPr>
              <p:nvPr/>
            </p:nvSpPr>
            <p:spPr bwMode="auto">
              <a:xfrm>
                <a:off x="6270670" y="1586625"/>
                <a:ext cx="4907" cy="4873"/>
              </a:xfrm>
              <a:custGeom>
                <a:avLst/>
                <a:gdLst>
                  <a:gd name="T0" fmla="*/ 2 w 2"/>
                  <a:gd name="T1" fmla="*/ 2 h 3"/>
                  <a:gd name="T2" fmla="*/ 0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6" name="Freeform 3277"/>
              <p:cNvSpPr>
                <a:spLocks noChangeAspect="1"/>
              </p:cNvSpPr>
              <p:nvPr/>
            </p:nvSpPr>
            <p:spPr bwMode="auto">
              <a:xfrm>
                <a:off x="6260857" y="1583377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3 w 3"/>
                  <a:gd name="T3" fmla="*/ 4 h 3"/>
                  <a:gd name="T4" fmla="*/ 1 w 3"/>
                  <a:gd name="T5" fmla="*/ 3 h 3"/>
                  <a:gd name="T6" fmla="*/ 3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3" y="3"/>
                      <a:pt x="2" y="3"/>
                    </a:cubicBezTo>
                    <a:cubicBezTo>
                      <a:pt x="1" y="3"/>
                      <a:pt x="0" y="2"/>
                      <a:pt x="1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7" name="Freeform 3278"/>
              <p:cNvSpPr>
                <a:spLocks noChangeAspect="1"/>
              </p:cNvSpPr>
              <p:nvPr/>
            </p:nvSpPr>
            <p:spPr bwMode="auto">
              <a:xfrm>
                <a:off x="5915748" y="1805883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8" name="Freeform 3279"/>
              <p:cNvSpPr>
                <a:spLocks noChangeAspect="1"/>
              </p:cNvSpPr>
              <p:nvPr/>
            </p:nvSpPr>
            <p:spPr bwMode="auto">
              <a:xfrm>
                <a:off x="7364879" y="3834423"/>
                <a:ext cx="6542" cy="4873"/>
              </a:xfrm>
              <a:custGeom>
                <a:avLst/>
                <a:gdLst>
                  <a:gd name="T0" fmla="*/ 1 w 3"/>
                  <a:gd name="T1" fmla="*/ 2 h 3"/>
                  <a:gd name="T2" fmla="*/ 0 w 3"/>
                  <a:gd name="T3" fmla="*/ 2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rgbClr val="7030A0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69" name="Freeform 3280"/>
              <p:cNvSpPr>
                <a:spLocks noChangeAspect="1"/>
              </p:cNvSpPr>
              <p:nvPr/>
            </p:nvSpPr>
            <p:spPr bwMode="auto">
              <a:xfrm>
                <a:off x="5349835" y="5427695"/>
                <a:ext cx="4907" cy="6497"/>
              </a:xfrm>
              <a:custGeom>
                <a:avLst/>
                <a:gdLst>
                  <a:gd name="T0" fmla="*/ 2 w 2"/>
                  <a:gd name="T1" fmla="*/ 3 h 3"/>
                  <a:gd name="T2" fmla="*/ 0 w 2"/>
                  <a:gd name="T3" fmla="*/ 3 h 3"/>
                  <a:gd name="T4" fmla="*/ 2 w 2"/>
                  <a:gd name="T5" fmla="*/ 1 h 3"/>
                  <a:gd name="T6" fmla="*/ 3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0" name="Freeform 3281"/>
              <p:cNvSpPr>
                <a:spLocks noChangeAspect="1"/>
              </p:cNvSpPr>
              <p:nvPr/>
            </p:nvSpPr>
            <p:spPr bwMode="auto">
              <a:xfrm>
                <a:off x="515036" y="3407276"/>
                <a:ext cx="3271" cy="487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3 h 3"/>
                  <a:gd name="T4" fmla="*/ 0 w 2"/>
                  <a:gd name="T5" fmla="*/ 1 h 3"/>
                  <a:gd name="T6" fmla="*/ 1 w 2"/>
                  <a:gd name="T7" fmla="*/ 1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1" name="Freeform 3282"/>
              <p:cNvSpPr>
                <a:spLocks noChangeAspect="1"/>
              </p:cNvSpPr>
              <p:nvPr/>
            </p:nvSpPr>
            <p:spPr bwMode="auto">
              <a:xfrm>
                <a:off x="587002" y="3439759"/>
                <a:ext cx="6542" cy="4873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3 h 2"/>
                  <a:gd name="T4" fmla="*/ 1 w 3"/>
                  <a:gd name="T5" fmla="*/ 3 h 2"/>
                  <a:gd name="T6" fmla="*/ 0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2" name="Freeform 3283"/>
              <p:cNvSpPr>
                <a:spLocks noChangeAspect="1"/>
              </p:cNvSpPr>
              <p:nvPr/>
            </p:nvSpPr>
            <p:spPr bwMode="auto">
              <a:xfrm>
                <a:off x="119224" y="2426301"/>
                <a:ext cx="4907" cy="6497"/>
              </a:xfrm>
              <a:custGeom>
                <a:avLst/>
                <a:gdLst>
                  <a:gd name="T0" fmla="*/ 2 w 3"/>
                  <a:gd name="T1" fmla="*/ 3 h 3"/>
                  <a:gd name="T2" fmla="*/ 0 w 3"/>
                  <a:gd name="T3" fmla="*/ 3 h 3"/>
                  <a:gd name="T4" fmla="*/ 1 w 3"/>
                  <a:gd name="T5" fmla="*/ 1 h 3"/>
                  <a:gd name="T6" fmla="*/ 3 w 3"/>
                  <a:gd name="T7" fmla="*/ 1 h 3"/>
                  <a:gd name="T8" fmla="*/ 2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3"/>
                      <a:pt x="1" y="3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3" name="Freeform 3284"/>
              <p:cNvSpPr>
                <a:spLocks noChangeAspect="1"/>
              </p:cNvSpPr>
              <p:nvPr/>
            </p:nvSpPr>
            <p:spPr bwMode="auto">
              <a:xfrm>
                <a:off x="555925" y="2268760"/>
                <a:ext cx="11450" cy="4873"/>
              </a:xfrm>
              <a:custGeom>
                <a:avLst/>
                <a:gdLst>
                  <a:gd name="T0" fmla="*/ 4 w 6"/>
                  <a:gd name="T1" fmla="*/ 2 h 3"/>
                  <a:gd name="T2" fmla="*/ 1 w 6"/>
                  <a:gd name="T3" fmla="*/ 3 h 3"/>
                  <a:gd name="T4" fmla="*/ 2 w 6"/>
                  <a:gd name="T5" fmla="*/ 1 h 3"/>
                  <a:gd name="T6" fmla="*/ 6 w 6"/>
                  <a:gd name="T7" fmla="*/ 0 h 3"/>
                  <a:gd name="T8" fmla="*/ 4 w 6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3" y="2"/>
                    </a:moveTo>
                    <a:cubicBezTo>
                      <a:pt x="3" y="3"/>
                      <a:pt x="1" y="3"/>
                      <a:pt x="1" y="3"/>
                    </a:cubicBezTo>
                    <a:cubicBezTo>
                      <a:pt x="0" y="2"/>
                      <a:pt x="2" y="1"/>
                      <a:pt x="2" y="1"/>
                    </a:cubicBezTo>
                    <a:cubicBezTo>
                      <a:pt x="4" y="0"/>
                      <a:pt x="5" y="0"/>
                      <a:pt x="5" y="0"/>
                    </a:cubicBezTo>
                    <a:cubicBezTo>
                      <a:pt x="6" y="1"/>
                      <a:pt x="5" y="2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4" name="Oval 3285"/>
              <p:cNvSpPr>
                <a:spLocks noChangeAspect="1" noChangeArrowheads="1"/>
              </p:cNvSpPr>
              <p:nvPr/>
            </p:nvSpPr>
            <p:spPr bwMode="auto">
              <a:xfrm>
                <a:off x="564104" y="2291498"/>
                <a:ext cx="6542" cy="1625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5" name="Freeform 3286"/>
              <p:cNvSpPr>
                <a:spLocks noChangeAspect="1"/>
              </p:cNvSpPr>
              <p:nvPr/>
            </p:nvSpPr>
            <p:spPr bwMode="auto">
              <a:xfrm>
                <a:off x="447976" y="2439294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3 h 3"/>
                  <a:gd name="T4" fmla="*/ 1 w 3"/>
                  <a:gd name="T5" fmla="*/ 1 h 3"/>
                  <a:gd name="T6" fmla="*/ 4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2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1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6" name="Freeform 3287"/>
              <p:cNvSpPr>
                <a:spLocks noChangeAspect="1"/>
              </p:cNvSpPr>
              <p:nvPr/>
            </p:nvSpPr>
            <p:spPr bwMode="auto">
              <a:xfrm>
                <a:off x="251706" y="2449039"/>
                <a:ext cx="6542" cy="8121"/>
              </a:xfrm>
              <a:custGeom>
                <a:avLst/>
                <a:gdLst>
                  <a:gd name="T0" fmla="*/ 3 w 3"/>
                  <a:gd name="T1" fmla="*/ 4 h 4"/>
                  <a:gd name="T2" fmla="*/ 0 w 3"/>
                  <a:gd name="T3" fmla="*/ 4 h 4"/>
                  <a:gd name="T4" fmla="*/ 0 w 3"/>
                  <a:gd name="T5" fmla="*/ 3 h 4"/>
                  <a:gd name="T6" fmla="*/ 3 w 3"/>
                  <a:gd name="T7" fmla="*/ 1 h 4"/>
                  <a:gd name="T8" fmla="*/ 3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3"/>
                    </a:moveTo>
                    <a:cubicBezTo>
                      <a:pt x="1" y="3"/>
                      <a:pt x="1" y="4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7" name="Freeform 3288"/>
              <p:cNvSpPr>
                <a:spLocks noChangeAspect="1"/>
              </p:cNvSpPr>
              <p:nvPr/>
            </p:nvSpPr>
            <p:spPr bwMode="auto">
              <a:xfrm>
                <a:off x="624620" y="2377577"/>
                <a:ext cx="4907" cy="1625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  <a:gd name="T6" fmla="*/ 3 w 2"/>
                  <a:gd name="T7" fmla="*/ 1 h 1"/>
                  <a:gd name="T8" fmla="*/ 0 w 2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1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8" name="Freeform 3289"/>
              <p:cNvSpPr>
                <a:spLocks noChangeAspect="1"/>
              </p:cNvSpPr>
              <p:nvPr/>
            </p:nvSpPr>
            <p:spPr bwMode="auto">
              <a:xfrm>
                <a:off x="516671" y="2427925"/>
                <a:ext cx="4907" cy="4873"/>
              </a:xfrm>
              <a:custGeom>
                <a:avLst/>
                <a:gdLst>
                  <a:gd name="T0" fmla="*/ 2 w 2"/>
                  <a:gd name="T1" fmla="*/ 3 h 2"/>
                  <a:gd name="T2" fmla="*/ 0 w 2"/>
                  <a:gd name="T3" fmla="*/ 2 h 2"/>
                  <a:gd name="T4" fmla="*/ 2 w 2"/>
                  <a:gd name="T5" fmla="*/ 0 h 2"/>
                  <a:gd name="T6" fmla="*/ 3 w 2"/>
                  <a:gd name="T7" fmla="*/ 2 h 2"/>
                  <a:gd name="T8" fmla="*/ 2 w 2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79" name="Freeform 3290"/>
              <p:cNvSpPr>
                <a:spLocks noChangeAspect="1"/>
              </p:cNvSpPr>
              <p:nvPr/>
            </p:nvSpPr>
            <p:spPr bwMode="auto">
              <a:xfrm>
                <a:off x="879772" y="2320733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2 w 2"/>
                  <a:gd name="T5" fmla="*/ 3 h 3"/>
                  <a:gd name="T6" fmla="*/ 3 w 2"/>
                  <a:gd name="T7" fmla="*/ 1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0" name="Freeform 3291"/>
              <p:cNvSpPr>
                <a:spLocks noChangeAspect="1"/>
              </p:cNvSpPr>
              <p:nvPr/>
            </p:nvSpPr>
            <p:spPr bwMode="auto">
              <a:xfrm>
                <a:off x="1437508" y="2364584"/>
                <a:ext cx="1636" cy="487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2 h 3"/>
                  <a:gd name="T4" fmla="*/ 0 w 1"/>
                  <a:gd name="T5" fmla="*/ 1 h 3"/>
                  <a:gd name="T6" fmla="*/ 0 w 1"/>
                  <a:gd name="T7" fmla="*/ 0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1" name="Oval 3292"/>
              <p:cNvSpPr>
                <a:spLocks noChangeAspect="1" noChangeArrowheads="1"/>
              </p:cNvSpPr>
              <p:nvPr/>
            </p:nvSpPr>
            <p:spPr bwMode="auto">
              <a:xfrm>
                <a:off x="1426058" y="2346719"/>
                <a:ext cx="3271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2" name="Freeform 3293"/>
              <p:cNvSpPr>
                <a:spLocks noChangeAspect="1"/>
              </p:cNvSpPr>
              <p:nvPr/>
            </p:nvSpPr>
            <p:spPr bwMode="auto">
              <a:xfrm>
                <a:off x="1419516" y="2341846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3 h 3"/>
                  <a:gd name="T4" fmla="*/ 0 w 2"/>
                  <a:gd name="T5" fmla="*/ 1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3" name="Freeform 3294"/>
              <p:cNvSpPr>
                <a:spLocks noChangeAspect="1"/>
              </p:cNvSpPr>
              <p:nvPr/>
            </p:nvSpPr>
            <p:spPr bwMode="auto">
              <a:xfrm>
                <a:off x="1473491" y="2468528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4" name="Freeform 3295"/>
              <p:cNvSpPr>
                <a:spLocks noChangeAspect="1"/>
              </p:cNvSpPr>
              <p:nvPr/>
            </p:nvSpPr>
            <p:spPr bwMode="auto">
              <a:xfrm>
                <a:off x="1565084" y="2574097"/>
                <a:ext cx="1636" cy="4873"/>
              </a:xfrm>
              <a:custGeom>
                <a:avLst/>
                <a:gdLst>
                  <a:gd name="T0" fmla="*/ 1 w 1"/>
                  <a:gd name="T1" fmla="*/ 2 h 2"/>
                  <a:gd name="T2" fmla="*/ 1 w 1"/>
                  <a:gd name="T3" fmla="*/ 3 h 2"/>
                  <a:gd name="T4" fmla="*/ 0 w 1"/>
                  <a:gd name="T5" fmla="*/ 2 h 2"/>
                  <a:gd name="T6" fmla="*/ 0 w 1"/>
                  <a:gd name="T7" fmla="*/ 0 h 2"/>
                  <a:gd name="T8" fmla="*/ 1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1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5" name="Freeform 3296"/>
              <p:cNvSpPr>
                <a:spLocks noChangeAspect="1"/>
              </p:cNvSpPr>
              <p:nvPr/>
            </p:nvSpPr>
            <p:spPr bwMode="auto">
              <a:xfrm>
                <a:off x="3614475" y="1952054"/>
                <a:ext cx="9814" cy="8121"/>
              </a:xfrm>
              <a:custGeom>
                <a:avLst/>
                <a:gdLst>
                  <a:gd name="T0" fmla="*/ 5 w 5"/>
                  <a:gd name="T1" fmla="*/ 3 h 4"/>
                  <a:gd name="T2" fmla="*/ 5 w 5"/>
                  <a:gd name="T3" fmla="*/ 5 h 4"/>
                  <a:gd name="T4" fmla="*/ 2 w 5"/>
                  <a:gd name="T5" fmla="*/ 4 h 4"/>
                  <a:gd name="T6" fmla="*/ 1 w 5"/>
                  <a:gd name="T7" fmla="*/ 0 h 4"/>
                  <a:gd name="T8" fmla="*/ 5 w 5"/>
                  <a:gd name="T9" fmla="*/ 3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"/>
                  <a:gd name="T17" fmla="*/ 5 w 5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">
                    <a:moveTo>
                      <a:pt x="4" y="2"/>
                    </a:moveTo>
                    <a:cubicBezTo>
                      <a:pt x="4" y="2"/>
                      <a:pt x="5" y="3"/>
                      <a:pt x="4" y="4"/>
                    </a:cubicBezTo>
                    <a:cubicBezTo>
                      <a:pt x="3" y="4"/>
                      <a:pt x="2" y="4"/>
                      <a:pt x="2" y="3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2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6" name="Freeform 3297"/>
              <p:cNvSpPr>
                <a:spLocks noChangeAspect="1"/>
              </p:cNvSpPr>
              <p:nvPr/>
            </p:nvSpPr>
            <p:spPr bwMode="auto">
              <a:xfrm>
                <a:off x="4026643" y="1495674"/>
                <a:ext cx="6542" cy="4873"/>
              </a:xfrm>
              <a:custGeom>
                <a:avLst/>
                <a:gdLst>
                  <a:gd name="T0" fmla="*/ 1 w 3"/>
                  <a:gd name="T1" fmla="*/ 3 h 2"/>
                  <a:gd name="T2" fmla="*/ 0 w 3"/>
                  <a:gd name="T3" fmla="*/ 2 h 2"/>
                  <a:gd name="T4" fmla="*/ 3 w 3"/>
                  <a:gd name="T5" fmla="*/ 0 h 2"/>
                  <a:gd name="T6" fmla="*/ 4 w 3"/>
                  <a:gd name="T7" fmla="*/ 2 h 2"/>
                  <a:gd name="T8" fmla="*/ 1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7" name="Freeform 3298"/>
              <p:cNvSpPr>
                <a:spLocks noChangeAspect="1"/>
              </p:cNvSpPr>
              <p:nvPr/>
            </p:nvSpPr>
            <p:spPr bwMode="auto">
              <a:xfrm>
                <a:off x="4016830" y="1490801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3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8" name="Freeform 3299"/>
              <p:cNvSpPr>
                <a:spLocks noChangeAspect="1"/>
              </p:cNvSpPr>
              <p:nvPr/>
            </p:nvSpPr>
            <p:spPr bwMode="auto">
              <a:xfrm>
                <a:off x="4007016" y="1485929"/>
                <a:ext cx="6542" cy="4873"/>
              </a:xfrm>
              <a:custGeom>
                <a:avLst/>
                <a:gdLst>
                  <a:gd name="T0" fmla="*/ 1 w 3"/>
                  <a:gd name="T1" fmla="*/ 3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3 h 2"/>
                  <a:gd name="T8" fmla="*/ 1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1"/>
                      <a:pt x="3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89" name="Freeform 3300"/>
              <p:cNvSpPr>
                <a:spLocks noChangeAspect="1"/>
              </p:cNvSpPr>
              <p:nvPr/>
            </p:nvSpPr>
            <p:spPr bwMode="auto">
              <a:xfrm>
                <a:off x="4064262" y="1572008"/>
                <a:ext cx="4907" cy="4873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3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0" name="Freeform 3301"/>
              <p:cNvSpPr>
                <a:spLocks noChangeAspect="1"/>
              </p:cNvSpPr>
              <p:nvPr/>
            </p:nvSpPr>
            <p:spPr bwMode="auto">
              <a:xfrm>
                <a:off x="4044635" y="1403098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1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1" name="Freeform 3302"/>
              <p:cNvSpPr>
                <a:spLocks noChangeAspect="1"/>
              </p:cNvSpPr>
              <p:nvPr/>
            </p:nvSpPr>
            <p:spPr bwMode="auto">
              <a:xfrm>
                <a:off x="4051178" y="1401474"/>
                <a:ext cx="3271" cy="487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1 w 2"/>
                  <a:gd name="T5" fmla="*/ 2 h 3"/>
                  <a:gd name="T6" fmla="*/ 1 w 2"/>
                  <a:gd name="T7" fmla="*/ 0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3"/>
                      <a:pt x="2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2" name="Freeform 3303"/>
              <p:cNvSpPr>
                <a:spLocks noChangeAspect="1"/>
              </p:cNvSpPr>
              <p:nvPr/>
            </p:nvSpPr>
            <p:spPr bwMode="auto">
              <a:xfrm>
                <a:off x="4059355" y="1416091"/>
                <a:ext cx="4907" cy="6497"/>
              </a:xfrm>
              <a:custGeom>
                <a:avLst/>
                <a:gdLst>
                  <a:gd name="T0" fmla="*/ 2 w 3"/>
                  <a:gd name="T1" fmla="*/ 3 h 3"/>
                  <a:gd name="T2" fmla="*/ 1 w 3"/>
                  <a:gd name="T3" fmla="*/ 4 h 3"/>
                  <a:gd name="T4" fmla="*/ 1 w 3"/>
                  <a:gd name="T5" fmla="*/ 1 h 3"/>
                  <a:gd name="T6" fmla="*/ 2 w 3"/>
                  <a:gd name="T7" fmla="*/ 1 h 3"/>
                  <a:gd name="T8" fmla="*/ 2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3" name="Freeform 3304"/>
              <p:cNvSpPr>
                <a:spLocks noChangeAspect="1"/>
              </p:cNvSpPr>
              <p:nvPr/>
            </p:nvSpPr>
            <p:spPr bwMode="auto">
              <a:xfrm>
                <a:off x="4029914" y="1412843"/>
                <a:ext cx="4907" cy="1625"/>
              </a:xfrm>
              <a:custGeom>
                <a:avLst/>
                <a:gdLst>
                  <a:gd name="T0" fmla="*/ 1 w 3"/>
                  <a:gd name="T1" fmla="*/ 1 h 1"/>
                  <a:gd name="T2" fmla="*/ 0 w 3"/>
                  <a:gd name="T3" fmla="*/ 1 h 1"/>
                  <a:gd name="T4" fmla="*/ 1 w 3"/>
                  <a:gd name="T5" fmla="*/ 0 h 1"/>
                  <a:gd name="T6" fmla="*/ 3 w 3"/>
                  <a:gd name="T7" fmla="*/ 0 h 1"/>
                  <a:gd name="T8" fmla="*/ 1 w 3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1" y="1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1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4" name="Freeform 3305"/>
              <p:cNvSpPr>
                <a:spLocks noChangeAspect="1"/>
              </p:cNvSpPr>
              <p:nvPr/>
            </p:nvSpPr>
            <p:spPr bwMode="auto">
              <a:xfrm>
                <a:off x="4056084" y="1404723"/>
                <a:ext cx="6542" cy="6497"/>
              </a:xfrm>
              <a:custGeom>
                <a:avLst/>
                <a:gdLst>
                  <a:gd name="T0" fmla="*/ 3 w 3"/>
                  <a:gd name="T1" fmla="*/ 4 h 3"/>
                  <a:gd name="T2" fmla="*/ 1 w 3"/>
                  <a:gd name="T3" fmla="*/ 4 h 3"/>
                  <a:gd name="T4" fmla="*/ 1 w 3"/>
                  <a:gd name="T5" fmla="*/ 3 h 3"/>
                  <a:gd name="T6" fmla="*/ 3 w 3"/>
                  <a:gd name="T7" fmla="*/ 1 h 3"/>
                  <a:gd name="T8" fmla="*/ 3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3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5" name="Freeform 3306"/>
              <p:cNvSpPr>
                <a:spLocks noChangeAspect="1"/>
              </p:cNvSpPr>
              <p:nvPr/>
            </p:nvSpPr>
            <p:spPr bwMode="auto">
              <a:xfrm>
                <a:off x="4074076" y="1391730"/>
                <a:ext cx="4907" cy="4873"/>
              </a:xfrm>
              <a:custGeom>
                <a:avLst/>
                <a:gdLst>
                  <a:gd name="T0" fmla="*/ 2 w 2"/>
                  <a:gd name="T1" fmla="*/ 2 h 3"/>
                  <a:gd name="T2" fmla="*/ 0 w 2"/>
                  <a:gd name="T3" fmla="*/ 3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6" name="Freeform 3307"/>
              <p:cNvSpPr>
                <a:spLocks noChangeAspect="1"/>
              </p:cNvSpPr>
              <p:nvPr/>
            </p:nvSpPr>
            <p:spPr bwMode="auto">
              <a:xfrm>
                <a:off x="4052813" y="1378737"/>
                <a:ext cx="6542" cy="8121"/>
              </a:xfrm>
              <a:custGeom>
                <a:avLst/>
                <a:gdLst>
                  <a:gd name="T0" fmla="*/ 3 w 3"/>
                  <a:gd name="T1" fmla="*/ 4 h 4"/>
                  <a:gd name="T2" fmla="*/ 1 w 3"/>
                  <a:gd name="T3" fmla="*/ 5 h 4"/>
                  <a:gd name="T4" fmla="*/ 0 w 3"/>
                  <a:gd name="T5" fmla="*/ 3 h 4"/>
                  <a:gd name="T6" fmla="*/ 3 w 3"/>
                  <a:gd name="T7" fmla="*/ 1 h 4"/>
                  <a:gd name="T8" fmla="*/ 3 w 3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2" y="3"/>
                    </a:moveTo>
                    <a:cubicBezTo>
                      <a:pt x="2" y="3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3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7" name="Freeform 3308"/>
              <p:cNvSpPr>
                <a:spLocks noChangeAspect="1"/>
              </p:cNvSpPr>
              <p:nvPr/>
            </p:nvSpPr>
            <p:spPr bwMode="auto">
              <a:xfrm>
                <a:off x="3254646" y="1606115"/>
                <a:ext cx="4907" cy="3248"/>
              </a:xfrm>
              <a:custGeom>
                <a:avLst/>
                <a:gdLst>
                  <a:gd name="T0" fmla="*/ 2 w 3"/>
                  <a:gd name="T1" fmla="*/ 0 h 2"/>
                  <a:gd name="T2" fmla="*/ 3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2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1"/>
                      <a:pt x="3" y="1"/>
                      <a:pt x="3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8" name="Freeform 3309"/>
              <p:cNvSpPr>
                <a:spLocks noChangeAspect="1"/>
              </p:cNvSpPr>
              <p:nvPr/>
            </p:nvSpPr>
            <p:spPr bwMode="auto">
              <a:xfrm>
                <a:off x="2073751" y="1459943"/>
                <a:ext cx="6542" cy="3248"/>
              </a:xfrm>
              <a:custGeom>
                <a:avLst/>
                <a:gdLst>
                  <a:gd name="T0" fmla="*/ 3 w 3"/>
                  <a:gd name="T1" fmla="*/ 1 h 2"/>
                  <a:gd name="T2" fmla="*/ 3 w 3"/>
                  <a:gd name="T3" fmla="*/ 2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8999" name="Freeform 3310"/>
              <p:cNvSpPr>
                <a:spLocks noChangeAspect="1"/>
              </p:cNvSpPr>
              <p:nvPr/>
            </p:nvSpPr>
            <p:spPr bwMode="auto">
              <a:xfrm>
                <a:off x="2278200" y="1461567"/>
                <a:ext cx="3271" cy="3248"/>
              </a:xfrm>
              <a:custGeom>
                <a:avLst/>
                <a:gdLst>
                  <a:gd name="T0" fmla="*/ 1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1 h 2"/>
                  <a:gd name="T8" fmla="*/ 1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0" name="Freeform 3311"/>
              <p:cNvSpPr>
                <a:spLocks noChangeAspect="1"/>
              </p:cNvSpPr>
              <p:nvPr/>
            </p:nvSpPr>
            <p:spPr bwMode="auto">
              <a:xfrm>
                <a:off x="2409047" y="1469688"/>
                <a:ext cx="4907" cy="3248"/>
              </a:xfrm>
              <a:custGeom>
                <a:avLst/>
                <a:gdLst>
                  <a:gd name="T0" fmla="*/ 2 w 2"/>
                  <a:gd name="T1" fmla="*/ 0 h 2"/>
                  <a:gd name="T2" fmla="*/ 3 w 2"/>
                  <a:gd name="T3" fmla="*/ 0 h 2"/>
                  <a:gd name="T4" fmla="*/ 3 w 2"/>
                  <a:gd name="T5" fmla="*/ 1 h 2"/>
                  <a:gd name="T6" fmla="*/ 0 w 2"/>
                  <a:gd name="T7" fmla="*/ 1 h 2"/>
                  <a:gd name="T8" fmla="*/ 2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1" name="Freeform 3312"/>
              <p:cNvSpPr>
                <a:spLocks noChangeAspect="1"/>
              </p:cNvSpPr>
              <p:nvPr/>
            </p:nvSpPr>
            <p:spPr bwMode="auto">
              <a:xfrm>
                <a:off x="2435217" y="1513539"/>
                <a:ext cx="3271" cy="4873"/>
              </a:xfrm>
              <a:custGeom>
                <a:avLst/>
                <a:gdLst>
                  <a:gd name="T0" fmla="*/ 0 w 2"/>
                  <a:gd name="T1" fmla="*/ 2 h 2"/>
                  <a:gd name="T2" fmla="*/ 1 w 2"/>
                  <a:gd name="T3" fmla="*/ 0 h 2"/>
                  <a:gd name="T4" fmla="*/ 2 w 2"/>
                  <a:gd name="T5" fmla="*/ 2 h 2"/>
                  <a:gd name="T6" fmla="*/ 1 w 2"/>
                  <a:gd name="T7" fmla="*/ 3 h 2"/>
                  <a:gd name="T8" fmla="*/ 0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2" name="Freeform 3313"/>
              <p:cNvSpPr>
                <a:spLocks noChangeAspect="1"/>
              </p:cNvSpPr>
              <p:nvPr/>
            </p:nvSpPr>
            <p:spPr bwMode="auto">
              <a:xfrm>
                <a:off x="2487555" y="1407971"/>
                <a:ext cx="4907" cy="6497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1 h 3"/>
                  <a:gd name="T4" fmla="*/ 3 w 2"/>
                  <a:gd name="T5" fmla="*/ 1 h 3"/>
                  <a:gd name="T6" fmla="*/ 3 w 2"/>
                  <a:gd name="T7" fmla="*/ 4 h 3"/>
                  <a:gd name="T8" fmla="*/ 0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0" y="2"/>
                    </a:move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ubicBezTo>
                      <a:pt x="2" y="2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3" name="Freeform 3314"/>
              <p:cNvSpPr>
                <a:spLocks noChangeAspect="1"/>
              </p:cNvSpPr>
              <p:nvPr/>
            </p:nvSpPr>
            <p:spPr bwMode="auto">
              <a:xfrm>
                <a:off x="2484284" y="1307275"/>
                <a:ext cx="11450" cy="9745"/>
              </a:xfrm>
              <a:custGeom>
                <a:avLst/>
                <a:gdLst>
                  <a:gd name="T0" fmla="*/ 2 w 6"/>
                  <a:gd name="T1" fmla="*/ 5 h 5"/>
                  <a:gd name="T2" fmla="*/ 1 w 6"/>
                  <a:gd name="T3" fmla="*/ 1 h 5"/>
                  <a:gd name="T4" fmla="*/ 4 w 6"/>
                  <a:gd name="T5" fmla="*/ 1 h 5"/>
                  <a:gd name="T6" fmla="*/ 6 w 6"/>
                  <a:gd name="T7" fmla="*/ 5 h 5"/>
                  <a:gd name="T8" fmla="*/ 2 w 6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5"/>
                  <a:gd name="T17" fmla="*/ 6 w 6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5">
                    <a:moveTo>
                      <a:pt x="2" y="4"/>
                    </a:move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3" y="0"/>
                      <a:pt x="3" y="1"/>
                    </a:cubicBezTo>
                    <a:cubicBezTo>
                      <a:pt x="4" y="1"/>
                      <a:pt x="6" y="2"/>
                      <a:pt x="5" y="4"/>
                    </a:cubicBezTo>
                    <a:cubicBezTo>
                      <a:pt x="5" y="5"/>
                      <a:pt x="3" y="4"/>
                      <a:pt x="2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4" name="Freeform 3315"/>
              <p:cNvSpPr>
                <a:spLocks noChangeAspect="1"/>
              </p:cNvSpPr>
              <p:nvPr/>
            </p:nvSpPr>
            <p:spPr bwMode="auto">
              <a:xfrm>
                <a:off x="2907901" y="1385233"/>
                <a:ext cx="8178" cy="6497"/>
              </a:xfrm>
              <a:custGeom>
                <a:avLst/>
                <a:gdLst>
                  <a:gd name="T0" fmla="*/ 1 w 4"/>
                  <a:gd name="T1" fmla="*/ 3 h 3"/>
                  <a:gd name="T2" fmla="*/ 1 w 4"/>
                  <a:gd name="T3" fmla="*/ 0 h 3"/>
                  <a:gd name="T4" fmla="*/ 3 w 4"/>
                  <a:gd name="T5" fmla="*/ 0 h 3"/>
                  <a:gd name="T6" fmla="*/ 4 w 4"/>
                  <a:gd name="T7" fmla="*/ 3 h 3"/>
                  <a:gd name="T8" fmla="*/ 1 w 4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2"/>
                    </a:move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4" y="1"/>
                      <a:pt x="3" y="2"/>
                    </a:cubicBezTo>
                    <a:cubicBezTo>
                      <a:pt x="3" y="3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5" name="Freeform 3316"/>
              <p:cNvSpPr>
                <a:spLocks noChangeAspect="1"/>
              </p:cNvSpPr>
              <p:nvPr/>
            </p:nvSpPr>
            <p:spPr bwMode="auto">
              <a:xfrm>
                <a:off x="2670741" y="1443702"/>
                <a:ext cx="8178" cy="8121"/>
              </a:xfrm>
              <a:custGeom>
                <a:avLst/>
                <a:gdLst>
                  <a:gd name="T0" fmla="*/ 1 w 4"/>
                  <a:gd name="T1" fmla="*/ 4 h 4"/>
                  <a:gd name="T2" fmla="*/ 0 w 4"/>
                  <a:gd name="T3" fmla="*/ 1 h 4"/>
                  <a:gd name="T4" fmla="*/ 3 w 4"/>
                  <a:gd name="T5" fmla="*/ 1 h 4"/>
                  <a:gd name="T6" fmla="*/ 5 w 4"/>
                  <a:gd name="T7" fmla="*/ 4 h 4"/>
                  <a:gd name="T8" fmla="*/ 1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1" y="3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ubicBezTo>
                      <a:pt x="3" y="1"/>
                      <a:pt x="4" y="2"/>
                      <a:pt x="4" y="3"/>
                    </a:cubicBezTo>
                    <a:cubicBezTo>
                      <a:pt x="4" y="4"/>
                      <a:pt x="2" y="3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6" name="Freeform 3317"/>
              <p:cNvSpPr>
                <a:spLocks noChangeAspect="1"/>
              </p:cNvSpPr>
              <p:nvPr/>
            </p:nvSpPr>
            <p:spPr bwMode="auto">
              <a:xfrm>
                <a:off x="2314183" y="1411219"/>
                <a:ext cx="4907" cy="6497"/>
              </a:xfrm>
              <a:custGeom>
                <a:avLst/>
                <a:gdLst>
                  <a:gd name="T0" fmla="*/ 1 w 3"/>
                  <a:gd name="T1" fmla="*/ 1 h 4"/>
                  <a:gd name="T2" fmla="*/ 3 w 3"/>
                  <a:gd name="T3" fmla="*/ 0 h 4"/>
                  <a:gd name="T4" fmla="*/ 2 w 3"/>
                  <a:gd name="T5" fmla="*/ 2 h 4"/>
                  <a:gd name="T6" fmla="*/ 1 w 3"/>
                  <a:gd name="T7" fmla="*/ 3 h 4"/>
                  <a:gd name="T8" fmla="*/ 1 w 3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4"/>
                  <a:gd name="T17" fmla="*/ 3 w 3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4">
                    <a:moveTo>
                      <a:pt x="1" y="1"/>
                    </a:move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3" y="2"/>
                      <a:pt x="2" y="2"/>
                    </a:cubicBezTo>
                    <a:cubicBezTo>
                      <a:pt x="2" y="3"/>
                      <a:pt x="1" y="4"/>
                      <a:pt x="1" y="3"/>
                    </a:cubicBezTo>
                    <a:cubicBezTo>
                      <a:pt x="0" y="2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7" name="Freeform 3318"/>
              <p:cNvSpPr>
                <a:spLocks noChangeAspect="1"/>
              </p:cNvSpPr>
              <p:nvPr/>
            </p:nvSpPr>
            <p:spPr bwMode="auto">
              <a:xfrm>
                <a:off x="2085201" y="1461567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3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8" name="Freeform 3319"/>
              <p:cNvSpPr>
                <a:spLocks noChangeAspect="1"/>
              </p:cNvSpPr>
              <p:nvPr/>
            </p:nvSpPr>
            <p:spPr bwMode="auto">
              <a:xfrm>
                <a:off x="1954354" y="1861103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09" name="Freeform 3320"/>
              <p:cNvSpPr>
                <a:spLocks noChangeAspect="1"/>
              </p:cNvSpPr>
              <p:nvPr/>
            </p:nvSpPr>
            <p:spPr bwMode="auto">
              <a:xfrm>
                <a:off x="2003421" y="1849735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1 w 2"/>
                  <a:gd name="T5" fmla="*/ 1 h 2"/>
                  <a:gd name="T6" fmla="*/ 2 w 2"/>
                  <a:gd name="T7" fmla="*/ 1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0" name="Freeform 3321"/>
              <p:cNvSpPr>
                <a:spLocks noChangeAspect="1"/>
              </p:cNvSpPr>
              <p:nvPr/>
            </p:nvSpPr>
            <p:spPr bwMode="auto">
              <a:xfrm>
                <a:off x="1965802" y="1861103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1" name="Freeform 3322"/>
              <p:cNvSpPr>
                <a:spLocks noChangeAspect="1"/>
              </p:cNvSpPr>
              <p:nvPr/>
            </p:nvSpPr>
            <p:spPr bwMode="auto">
              <a:xfrm>
                <a:off x="2268387" y="1810755"/>
                <a:ext cx="3271" cy="9745"/>
              </a:xfrm>
              <a:custGeom>
                <a:avLst/>
                <a:gdLst>
                  <a:gd name="T0" fmla="*/ 2 w 2"/>
                  <a:gd name="T1" fmla="*/ 4 h 5"/>
                  <a:gd name="T2" fmla="*/ 1 w 2"/>
                  <a:gd name="T3" fmla="*/ 5 h 5"/>
                  <a:gd name="T4" fmla="*/ 0 w 2"/>
                  <a:gd name="T5" fmla="*/ 2 h 5"/>
                  <a:gd name="T6" fmla="*/ 1 w 2"/>
                  <a:gd name="T7" fmla="*/ 0 h 5"/>
                  <a:gd name="T8" fmla="*/ 2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3"/>
                      <a:pt x="2" y="5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2" name="Freeform 3323"/>
              <p:cNvSpPr>
                <a:spLocks noChangeAspect="1"/>
              </p:cNvSpPr>
              <p:nvPr/>
            </p:nvSpPr>
            <p:spPr bwMode="auto">
              <a:xfrm>
                <a:off x="2129361" y="1684073"/>
                <a:ext cx="1636" cy="487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3 h 3"/>
                  <a:gd name="T4" fmla="*/ 0 w 1"/>
                  <a:gd name="T5" fmla="*/ 2 h 3"/>
                  <a:gd name="T6" fmla="*/ 0 w 1"/>
                  <a:gd name="T7" fmla="*/ 1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1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3" name="Freeform 3324"/>
              <p:cNvSpPr>
                <a:spLocks noChangeAspect="1"/>
              </p:cNvSpPr>
              <p:nvPr/>
            </p:nvSpPr>
            <p:spPr bwMode="auto">
              <a:xfrm>
                <a:off x="2150624" y="1619108"/>
                <a:ext cx="6542" cy="3248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1 w 3"/>
                  <a:gd name="T5" fmla="*/ 1 h 2"/>
                  <a:gd name="T6" fmla="*/ 4 w 3"/>
                  <a:gd name="T7" fmla="*/ 1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2" y="1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4" name="Freeform 3325"/>
              <p:cNvSpPr>
                <a:spLocks noChangeAspect="1"/>
              </p:cNvSpPr>
              <p:nvPr/>
            </p:nvSpPr>
            <p:spPr bwMode="auto">
              <a:xfrm>
                <a:off x="1905286" y="1521660"/>
                <a:ext cx="6542" cy="3248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2 h 2"/>
                  <a:gd name="T4" fmla="*/ 1 w 3"/>
                  <a:gd name="T5" fmla="*/ 1 h 2"/>
                  <a:gd name="T6" fmla="*/ 4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5" name="Freeform 3326"/>
              <p:cNvSpPr>
                <a:spLocks noChangeAspect="1"/>
              </p:cNvSpPr>
              <p:nvPr/>
            </p:nvSpPr>
            <p:spPr bwMode="auto">
              <a:xfrm>
                <a:off x="2268387" y="1760407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2 h 2"/>
                  <a:gd name="T4" fmla="*/ 1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6" name="Freeform 3327"/>
              <p:cNvSpPr>
                <a:spLocks noChangeAspect="1"/>
              </p:cNvSpPr>
              <p:nvPr/>
            </p:nvSpPr>
            <p:spPr bwMode="auto">
              <a:xfrm>
                <a:off x="2323997" y="1606115"/>
                <a:ext cx="4907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7" name="Freeform 3328"/>
              <p:cNvSpPr>
                <a:spLocks noChangeAspect="1"/>
              </p:cNvSpPr>
              <p:nvPr/>
            </p:nvSpPr>
            <p:spPr bwMode="auto">
              <a:xfrm>
                <a:off x="2379607" y="1653214"/>
                <a:ext cx="6542" cy="4873"/>
              </a:xfrm>
              <a:custGeom>
                <a:avLst/>
                <a:gdLst>
                  <a:gd name="T0" fmla="*/ 3 w 3"/>
                  <a:gd name="T1" fmla="*/ 2 h 3"/>
                  <a:gd name="T2" fmla="*/ 1 w 3"/>
                  <a:gd name="T3" fmla="*/ 3 h 3"/>
                  <a:gd name="T4" fmla="*/ 0 w 3"/>
                  <a:gd name="T5" fmla="*/ 1 h 3"/>
                  <a:gd name="T6" fmla="*/ 1 w 3"/>
                  <a:gd name="T7" fmla="*/ 0 h 3"/>
                  <a:gd name="T8" fmla="*/ 3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3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8" name="Freeform 3329"/>
              <p:cNvSpPr>
                <a:spLocks noChangeAspect="1"/>
              </p:cNvSpPr>
              <p:nvPr/>
            </p:nvSpPr>
            <p:spPr bwMode="auto">
              <a:xfrm>
                <a:off x="2536623" y="1597994"/>
                <a:ext cx="6542" cy="1625"/>
              </a:xfrm>
              <a:custGeom>
                <a:avLst/>
                <a:gdLst>
                  <a:gd name="T0" fmla="*/ 3 w 3"/>
                  <a:gd name="T1" fmla="*/ 0 h 1"/>
                  <a:gd name="T2" fmla="*/ 4 w 3"/>
                  <a:gd name="T3" fmla="*/ 1 h 1"/>
                  <a:gd name="T4" fmla="*/ 1 w 3"/>
                  <a:gd name="T5" fmla="*/ 1 h 1"/>
                  <a:gd name="T6" fmla="*/ 0 w 3"/>
                  <a:gd name="T7" fmla="*/ 1 h 1"/>
                  <a:gd name="T8" fmla="*/ 3 w 3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2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19" name="Freeform 3330"/>
              <p:cNvSpPr>
                <a:spLocks noChangeAspect="1"/>
              </p:cNvSpPr>
              <p:nvPr/>
            </p:nvSpPr>
            <p:spPr bwMode="auto">
              <a:xfrm>
                <a:off x="2755792" y="1669456"/>
                <a:ext cx="4907" cy="4873"/>
              </a:xfrm>
              <a:custGeom>
                <a:avLst/>
                <a:gdLst>
                  <a:gd name="T0" fmla="*/ 1 w 3"/>
                  <a:gd name="T1" fmla="*/ 3 h 2"/>
                  <a:gd name="T2" fmla="*/ 0 w 3"/>
                  <a:gd name="T3" fmla="*/ 2 h 2"/>
                  <a:gd name="T4" fmla="*/ 2 w 3"/>
                  <a:gd name="T5" fmla="*/ 2 h 2"/>
                  <a:gd name="T6" fmla="*/ 3 w 3"/>
                  <a:gd name="T7" fmla="*/ 2 h 2"/>
                  <a:gd name="T8" fmla="*/ 1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0" name="Freeform 3331"/>
              <p:cNvSpPr>
                <a:spLocks noChangeAspect="1"/>
              </p:cNvSpPr>
              <p:nvPr/>
            </p:nvSpPr>
            <p:spPr bwMode="auto">
              <a:xfrm>
                <a:off x="2986409" y="1791266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0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1" name="Freeform 3332"/>
              <p:cNvSpPr>
                <a:spLocks noChangeAspect="1"/>
              </p:cNvSpPr>
              <p:nvPr/>
            </p:nvSpPr>
            <p:spPr bwMode="auto">
              <a:xfrm>
                <a:off x="2976596" y="1786393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3 h 3"/>
                  <a:gd name="T4" fmla="*/ 1 w 3"/>
                  <a:gd name="T5" fmla="*/ 1 h 3"/>
                  <a:gd name="T6" fmla="*/ 4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2" name="Freeform 3333"/>
              <p:cNvSpPr>
                <a:spLocks noChangeAspect="1"/>
              </p:cNvSpPr>
              <p:nvPr/>
            </p:nvSpPr>
            <p:spPr bwMode="auto">
              <a:xfrm>
                <a:off x="3017486" y="2025141"/>
                <a:ext cx="4907" cy="4873"/>
              </a:xfrm>
              <a:custGeom>
                <a:avLst/>
                <a:gdLst>
                  <a:gd name="T0" fmla="*/ 3 w 2"/>
                  <a:gd name="T1" fmla="*/ 1 h 3"/>
                  <a:gd name="T2" fmla="*/ 3 w 2"/>
                  <a:gd name="T3" fmla="*/ 2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1" y="3"/>
                      <a:pt x="1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3" name="Freeform 3334"/>
              <p:cNvSpPr>
                <a:spLocks noChangeAspect="1"/>
              </p:cNvSpPr>
              <p:nvPr/>
            </p:nvSpPr>
            <p:spPr bwMode="auto">
              <a:xfrm>
                <a:off x="3010944" y="2008899"/>
                <a:ext cx="4907" cy="6497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3 h 3"/>
                  <a:gd name="T4" fmla="*/ 1 w 3"/>
                  <a:gd name="T5" fmla="*/ 3 h 3"/>
                  <a:gd name="T6" fmla="*/ 1 w 3"/>
                  <a:gd name="T7" fmla="*/ 0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4" name="Freeform 3335"/>
              <p:cNvSpPr>
                <a:spLocks noChangeAspect="1"/>
              </p:cNvSpPr>
              <p:nvPr/>
            </p:nvSpPr>
            <p:spPr bwMode="auto">
              <a:xfrm>
                <a:off x="2955334" y="2052751"/>
                <a:ext cx="3271" cy="487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2 h 3"/>
                  <a:gd name="T4" fmla="*/ 1 w 2"/>
                  <a:gd name="T5" fmla="*/ 2 h 3"/>
                  <a:gd name="T6" fmla="*/ 1 w 2"/>
                  <a:gd name="T7" fmla="*/ 0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5" name="Freeform 3336"/>
              <p:cNvSpPr>
                <a:spLocks noChangeAspect="1"/>
              </p:cNvSpPr>
              <p:nvPr/>
            </p:nvSpPr>
            <p:spPr bwMode="auto">
              <a:xfrm>
                <a:off x="2997859" y="1991034"/>
                <a:ext cx="6542" cy="6497"/>
              </a:xfrm>
              <a:custGeom>
                <a:avLst/>
                <a:gdLst>
                  <a:gd name="T0" fmla="*/ 3 w 3"/>
                  <a:gd name="T1" fmla="*/ 4 h 3"/>
                  <a:gd name="T2" fmla="*/ 0 w 3"/>
                  <a:gd name="T3" fmla="*/ 4 h 3"/>
                  <a:gd name="T4" fmla="*/ 1 w 3"/>
                  <a:gd name="T5" fmla="*/ 1 h 3"/>
                  <a:gd name="T6" fmla="*/ 3 w 3"/>
                  <a:gd name="T7" fmla="*/ 1 h 3"/>
                  <a:gd name="T8" fmla="*/ 3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6" name="Freeform 3337"/>
              <p:cNvSpPr>
                <a:spLocks noChangeAspect="1"/>
              </p:cNvSpPr>
              <p:nvPr/>
            </p:nvSpPr>
            <p:spPr bwMode="auto">
              <a:xfrm>
                <a:off x="3069825" y="1890337"/>
                <a:ext cx="6542" cy="6497"/>
              </a:xfrm>
              <a:custGeom>
                <a:avLst/>
                <a:gdLst>
                  <a:gd name="T0" fmla="*/ 3 w 4"/>
                  <a:gd name="T1" fmla="*/ 4 h 3"/>
                  <a:gd name="T2" fmla="*/ 1 w 4"/>
                  <a:gd name="T3" fmla="*/ 4 h 3"/>
                  <a:gd name="T4" fmla="*/ 2 w 4"/>
                  <a:gd name="T5" fmla="*/ 1 h 3"/>
                  <a:gd name="T6" fmla="*/ 4 w 4"/>
                  <a:gd name="T7" fmla="*/ 0 h 3"/>
                  <a:gd name="T8" fmla="*/ 3 w 4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3" y="3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4" y="1"/>
                      <a:pt x="3" y="2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7" name="Freeform 3338"/>
              <p:cNvSpPr>
                <a:spLocks noChangeAspect="1"/>
              </p:cNvSpPr>
              <p:nvPr/>
            </p:nvSpPr>
            <p:spPr bwMode="auto">
              <a:xfrm>
                <a:off x="2651114" y="1783145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3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8" name="Freeform 3339"/>
              <p:cNvSpPr>
                <a:spLocks noChangeAspect="1"/>
              </p:cNvSpPr>
              <p:nvPr/>
            </p:nvSpPr>
            <p:spPr bwMode="auto">
              <a:xfrm>
                <a:off x="2669105" y="1799386"/>
                <a:ext cx="9814" cy="3248"/>
              </a:xfrm>
              <a:custGeom>
                <a:avLst/>
                <a:gdLst>
                  <a:gd name="T0" fmla="*/ 4 w 5"/>
                  <a:gd name="T1" fmla="*/ 1 h 2"/>
                  <a:gd name="T2" fmla="*/ 6 w 5"/>
                  <a:gd name="T3" fmla="*/ 2 h 2"/>
                  <a:gd name="T4" fmla="*/ 4 w 5"/>
                  <a:gd name="T5" fmla="*/ 2 h 2"/>
                  <a:gd name="T6" fmla="*/ 1 w 5"/>
                  <a:gd name="T7" fmla="*/ 1 h 2"/>
                  <a:gd name="T8" fmla="*/ 4 w 5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"/>
                  <a:gd name="T17" fmla="*/ 5 w 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">
                    <a:moveTo>
                      <a:pt x="3" y="1"/>
                    </a:moveTo>
                    <a:cubicBezTo>
                      <a:pt x="4" y="1"/>
                      <a:pt x="5" y="1"/>
                      <a:pt x="5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2" y="2"/>
                      <a:pt x="0" y="2"/>
                      <a:pt x="1" y="1"/>
                    </a:cubicBezTo>
                    <a:cubicBezTo>
                      <a:pt x="1" y="0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29" name="Freeform 3340"/>
              <p:cNvSpPr>
                <a:spLocks noChangeAspect="1"/>
              </p:cNvSpPr>
              <p:nvPr/>
            </p:nvSpPr>
            <p:spPr bwMode="auto">
              <a:xfrm>
                <a:off x="2991316" y="2142078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2 h 2"/>
                  <a:gd name="T4" fmla="*/ 1 w 2"/>
                  <a:gd name="T5" fmla="*/ 2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0" name="Freeform 3341"/>
              <p:cNvSpPr>
                <a:spLocks noChangeAspect="1"/>
              </p:cNvSpPr>
              <p:nvPr/>
            </p:nvSpPr>
            <p:spPr bwMode="auto">
              <a:xfrm>
                <a:off x="2718173" y="2018644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1" name="Freeform 3342"/>
              <p:cNvSpPr>
                <a:spLocks noChangeAspect="1"/>
              </p:cNvSpPr>
              <p:nvPr/>
            </p:nvSpPr>
            <p:spPr bwMode="auto">
              <a:xfrm>
                <a:off x="2991316" y="2098226"/>
                <a:ext cx="3271" cy="6497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1 w 2"/>
                  <a:gd name="T5" fmla="*/ 3 h 3"/>
                  <a:gd name="T6" fmla="*/ 0 w 2"/>
                  <a:gd name="T7" fmla="*/ 1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2" name="Freeform 3343"/>
              <p:cNvSpPr>
                <a:spLocks noChangeAspect="1"/>
              </p:cNvSpPr>
              <p:nvPr/>
            </p:nvSpPr>
            <p:spPr bwMode="auto">
              <a:xfrm>
                <a:off x="2644572" y="2306115"/>
                <a:ext cx="4907" cy="9745"/>
              </a:xfrm>
              <a:custGeom>
                <a:avLst/>
                <a:gdLst>
                  <a:gd name="T0" fmla="*/ 3 w 2"/>
                  <a:gd name="T1" fmla="*/ 4 h 5"/>
                  <a:gd name="T2" fmla="*/ 2 w 2"/>
                  <a:gd name="T3" fmla="*/ 6 h 5"/>
                  <a:gd name="T4" fmla="*/ 2 w 2"/>
                  <a:gd name="T5" fmla="*/ 2 h 5"/>
                  <a:gd name="T6" fmla="*/ 3 w 2"/>
                  <a:gd name="T7" fmla="*/ 0 h 5"/>
                  <a:gd name="T8" fmla="*/ 3 w 2"/>
                  <a:gd name="T9" fmla="*/ 4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5"/>
                  <a:gd name="T17" fmla="*/ 2 w 2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5">
                    <a:moveTo>
                      <a:pt x="2" y="3"/>
                    </a:moveTo>
                    <a:cubicBezTo>
                      <a:pt x="2" y="4"/>
                      <a:pt x="1" y="5"/>
                      <a:pt x="1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3" name="Freeform 3344"/>
              <p:cNvSpPr>
                <a:spLocks noChangeAspect="1"/>
              </p:cNvSpPr>
              <p:nvPr/>
            </p:nvSpPr>
            <p:spPr bwMode="auto">
              <a:xfrm>
                <a:off x="2600410" y="2457160"/>
                <a:ext cx="9814" cy="6497"/>
              </a:xfrm>
              <a:custGeom>
                <a:avLst/>
                <a:gdLst>
                  <a:gd name="T0" fmla="*/ 2 w 5"/>
                  <a:gd name="T1" fmla="*/ 4 h 3"/>
                  <a:gd name="T2" fmla="*/ 1 w 5"/>
                  <a:gd name="T3" fmla="*/ 4 h 3"/>
                  <a:gd name="T4" fmla="*/ 4 w 5"/>
                  <a:gd name="T5" fmla="*/ 1 h 3"/>
                  <a:gd name="T6" fmla="*/ 6 w 5"/>
                  <a:gd name="T7" fmla="*/ 1 h 3"/>
                  <a:gd name="T8" fmla="*/ 2 w 5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"/>
                  <a:gd name="T17" fmla="*/ 5 w 5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">
                    <a:moveTo>
                      <a:pt x="2" y="3"/>
                    </a:moveTo>
                    <a:cubicBezTo>
                      <a:pt x="2" y="3"/>
                      <a:pt x="0" y="3"/>
                      <a:pt x="1" y="3"/>
                    </a:cubicBezTo>
                    <a:cubicBezTo>
                      <a:pt x="1" y="2"/>
                      <a:pt x="2" y="1"/>
                      <a:pt x="3" y="1"/>
                    </a:cubicBezTo>
                    <a:cubicBezTo>
                      <a:pt x="3" y="1"/>
                      <a:pt x="5" y="0"/>
                      <a:pt x="5" y="1"/>
                    </a:cubicBezTo>
                    <a:cubicBezTo>
                      <a:pt x="5" y="2"/>
                      <a:pt x="3" y="3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4" name="Freeform 3345"/>
              <p:cNvSpPr>
                <a:spLocks noChangeAspect="1"/>
              </p:cNvSpPr>
              <p:nvPr/>
            </p:nvSpPr>
            <p:spPr bwMode="auto">
              <a:xfrm>
                <a:off x="2615131" y="2302867"/>
                <a:ext cx="8178" cy="8121"/>
              </a:xfrm>
              <a:custGeom>
                <a:avLst/>
                <a:gdLst>
                  <a:gd name="T0" fmla="*/ 3 w 4"/>
                  <a:gd name="T1" fmla="*/ 4 h 4"/>
                  <a:gd name="T2" fmla="*/ 0 w 4"/>
                  <a:gd name="T3" fmla="*/ 4 h 4"/>
                  <a:gd name="T4" fmla="*/ 1 w 4"/>
                  <a:gd name="T5" fmla="*/ 1 h 4"/>
                  <a:gd name="T6" fmla="*/ 5 w 4"/>
                  <a:gd name="T7" fmla="*/ 0 h 4"/>
                  <a:gd name="T8" fmla="*/ 3 w 4"/>
                  <a:gd name="T9" fmla="*/ 4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4"/>
                  <a:gd name="T17" fmla="*/ 4 w 4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4">
                    <a:moveTo>
                      <a:pt x="2" y="3"/>
                    </a:moveTo>
                    <a:cubicBezTo>
                      <a:pt x="1" y="3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1"/>
                    </a:cubicBezTo>
                    <a:cubicBezTo>
                      <a:pt x="2" y="1"/>
                      <a:pt x="3" y="0"/>
                      <a:pt x="4" y="0"/>
                    </a:cubicBezTo>
                    <a:cubicBezTo>
                      <a:pt x="4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5" name="Oval 3346"/>
              <p:cNvSpPr>
                <a:spLocks noChangeAspect="1" noChangeArrowheads="1"/>
              </p:cNvSpPr>
              <p:nvPr/>
            </p:nvSpPr>
            <p:spPr bwMode="auto">
              <a:xfrm>
                <a:off x="3123799" y="2629318"/>
                <a:ext cx="1636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6" name="Freeform 3347"/>
              <p:cNvSpPr>
                <a:spLocks noChangeAspect="1"/>
              </p:cNvSpPr>
              <p:nvPr/>
            </p:nvSpPr>
            <p:spPr bwMode="auto">
              <a:xfrm>
                <a:off x="3184316" y="2531870"/>
                <a:ext cx="6542" cy="4873"/>
              </a:xfrm>
              <a:custGeom>
                <a:avLst/>
                <a:gdLst>
                  <a:gd name="T0" fmla="*/ 1 w 3"/>
                  <a:gd name="T1" fmla="*/ 2 h 3"/>
                  <a:gd name="T2" fmla="*/ 0 w 3"/>
                  <a:gd name="T3" fmla="*/ 2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2"/>
                    </a:move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7" name="Oval 3348"/>
              <p:cNvSpPr>
                <a:spLocks noChangeAspect="1" noChangeArrowheads="1"/>
              </p:cNvSpPr>
              <p:nvPr/>
            </p:nvSpPr>
            <p:spPr bwMode="auto">
              <a:xfrm>
                <a:off x="2880096" y="3098691"/>
                <a:ext cx="3271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8" name="Oval 3349"/>
              <p:cNvSpPr>
                <a:spLocks noChangeAspect="1" noChangeArrowheads="1"/>
              </p:cNvSpPr>
              <p:nvPr/>
            </p:nvSpPr>
            <p:spPr bwMode="auto">
              <a:xfrm>
                <a:off x="2628216" y="3342311"/>
                <a:ext cx="1636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39" name="Freeform 3350"/>
              <p:cNvSpPr>
                <a:spLocks noChangeAspect="1"/>
              </p:cNvSpPr>
              <p:nvPr/>
            </p:nvSpPr>
            <p:spPr bwMode="auto">
              <a:xfrm>
                <a:off x="2446665" y="3420269"/>
                <a:ext cx="6542" cy="4873"/>
              </a:xfrm>
              <a:custGeom>
                <a:avLst/>
                <a:gdLst>
                  <a:gd name="T0" fmla="*/ 3 w 3"/>
                  <a:gd name="T1" fmla="*/ 3 h 2"/>
                  <a:gd name="T2" fmla="*/ 1 w 3"/>
                  <a:gd name="T3" fmla="*/ 3 h 2"/>
                  <a:gd name="T4" fmla="*/ 1 w 3"/>
                  <a:gd name="T5" fmla="*/ 0 h 2"/>
                  <a:gd name="T6" fmla="*/ 4 w 3"/>
                  <a:gd name="T7" fmla="*/ 0 h 2"/>
                  <a:gd name="T8" fmla="*/ 3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0" name="Freeform 3351"/>
              <p:cNvSpPr>
                <a:spLocks noChangeAspect="1"/>
              </p:cNvSpPr>
              <p:nvPr/>
            </p:nvSpPr>
            <p:spPr bwMode="auto">
              <a:xfrm>
                <a:off x="2521902" y="3391035"/>
                <a:ext cx="4907" cy="4873"/>
              </a:xfrm>
              <a:custGeom>
                <a:avLst/>
                <a:gdLst>
                  <a:gd name="T0" fmla="*/ 2 w 3"/>
                  <a:gd name="T1" fmla="*/ 3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2 h 2"/>
                  <a:gd name="T8" fmla="*/ 2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1" name="Freeform 3352"/>
              <p:cNvSpPr>
                <a:spLocks noChangeAspect="1"/>
              </p:cNvSpPr>
              <p:nvPr/>
            </p:nvSpPr>
            <p:spPr bwMode="auto">
              <a:xfrm>
                <a:off x="2335445" y="3564817"/>
                <a:ext cx="4907" cy="3248"/>
              </a:xfrm>
              <a:custGeom>
                <a:avLst/>
                <a:gdLst>
                  <a:gd name="T0" fmla="*/ 2 w 3"/>
                  <a:gd name="T1" fmla="*/ 2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1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2" name="Freeform 3353"/>
              <p:cNvSpPr>
                <a:spLocks noChangeAspect="1"/>
              </p:cNvSpPr>
              <p:nvPr/>
            </p:nvSpPr>
            <p:spPr bwMode="auto">
              <a:xfrm>
                <a:off x="2659292" y="3421894"/>
                <a:ext cx="4907" cy="4873"/>
              </a:xfrm>
              <a:custGeom>
                <a:avLst/>
                <a:gdLst>
                  <a:gd name="T0" fmla="*/ 2 w 3"/>
                  <a:gd name="T1" fmla="*/ 3 h 2"/>
                  <a:gd name="T2" fmla="*/ 1 w 3"/>
                  <a:gd name="T3" fmla="*/ 3 h 2"/>
                  <a:gd name="T4" fmla="*/ 1 w 3"/>
                  <a:gd name="T5" fmla="*/ 2 h 2"/>
                  <a:gd name="T6" fmla="*/ 2 w 3"/>
                  <a:gd name="T7" fmla="*/ 0 h 2"/>
                  <a:gd name="T8" fmla="*/ 2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3" name="Freeform 3354"/>
              <p:cNvSpPr>
                <a:spLocks noChangeAspect="1"/>
              </p:cNvSpPr>
              <p:nvPr/>
            </p:nvSpPr>
            <p:spPr bwMode="auto">
              <a:xfrm>
                <a:off x="2639665" y="3386163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1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4" name="Freeform 3355"/>
              <p:cNvSpPr>
                <a:spLocks noChangeAspect="1"/>
              </p:cNvSpPr>
              <p:nvPr/>
            </p:nvSpPr>
            <p:spPr bwMode="auto">
              <a:xfrm>
                <a:off x="2693639" y="3415397"/>
                <a:ext cx="6542" cy="3248"/>
              </a:xfrm>
              <a:custGeom>
                <a:avLst/>
                <a:gdLst>
                  <a:gd name="T0" fmla="*/ 3 w 3"/>
                  <a:gd name="T1" fmla="*/ 1 h 2"/>
                  <a:gd name="T2" fmla="*/ 3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1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5" name="Freeform 3356"/>
              <p:cNvSpPr>
                <a:spLocks noChangeAspect="1"/>
              </p:cNvSpPr>
              <p:nvPr/>
            </p:nvSpPr>
            <p:spPr bwMode="auto">
              <a:xfrm>
                <a:off x="2678919" y="3415397"/>
                <a:ext cx="3271" cy="1625"/>
              </a:xfrm>
              <a:custGeom>
                <a:avLst/>
                <a:gdLst>
                  <a:gd name="T0" fmla="*/ 1 w 2"/>
                  <a:gd name="T1" fmla="*/ 0 h 1"/>
                  <a:gd name="T2" fmla="*/ 2 w 2"/>
                  <a:gd name="T3" fmla="*/ 0 h 1"/>
                  <a:gd name="T4" fmla="*/ 1 w 2"/>
                  <a:gd name="T5" fmla="*/ 1 h 1"/>
                  <a:gd name="T6" fmla="*/ 0 w 2"/>
                  <a:gd name="T7" fmla="*/ 1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1" y="0"/>
                    </a:move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6" name="Oval 3357"/>
              <p:cNvSpPr>
                <a:spLocks noChangeAspect="1" noChangeArrowheads="1"/>
              </p:cNvSpPr>
              <p:nvPr/>
            </p:nvSpPr>
            <p:spPr bwMode="auto">
              <a:xfrm>
                <a:off x="2855562" y="3529086"/>
                <a:ext cx="3271" cy="3248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7" name="Freeform 3358"/>
              <p:cNvSpPr>
                <a:spLocks noChangeAspect="1"/>
              </p:cNvSpPr>
              <p:nvPr/>
            </p:nvSpPr>
            <p:spPr bwMode="auto">
              <a:xfrm>
                <a:off x="2896452" y="3519342"/>
                <a:ext cx="6542" cy="6497"/>
              </a:xfrm>
              <a:custGeom>
                <a:avLst/>
                <a:gdLst>
                  <a:gd name="T0" fmla="*/ 1 w 3"/>
                  <a:gd name="T1" fmla="*/ 4 h 3"/>
                  <a:gd name="T2" fmla="*/ 0 w 3"/>
                  <a:gd name="T3" fmla="*/ 4 h 3"/>
                  <a:gd name="T4" fmla="*/ 1 w 3"/>
                  <a:gd name="T5" fmla="*/ 1 h 3"/>
                  <a:gd name="T6" fmla="*/ 3 w 3"/>
                  <a:gd name="T7" fmla="*/ 1 h 3"/>
                  <a:gd name="T8" fmla="*/ 1 w 3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8" name="Freeform 3359"/>
              <p:cNvSpPr>
                <a:spLocks noChangeAspect="1"/>
              </p:cNvSpPr>
              <p:nvPr/>
            </p:nvSpPr>
            <p:spPr bwMode="auto">
              <a:xfrm>
                <a:off x="2929164" y="3551824"/>
                <a:ext cx="4907" cy="3248"/>
              </a:xfrm>
              <a:custGeom>
                <a:avLst/>
                <a:gdLst>
                  <a:gd name="T0" fmla="*/ 2 w 2"/>
                  <a:gd name="T1" fmla="*/ 1 h 2"/>
                  <a:gd name="T2" fmla="*/ 0 w 2"/>
                  <a:gd name="T3" fmla="*/ 1 h 2"/>
                  <a:gd name="T4" fmla="*/ 2 w 2"/>
                  <a:gd name="T5" fmla="*/ 0 h 2"/>
                  <a:gd name="T6" fmla="*/ 3 w 2"/>
                  <a:gd name="T7" fmla="*/ 1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1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49" name="Freeform 3360"/>
              <p:cNvSpPr>
                <a:spLocks noChangeAspect="1"/>
              </p:cNvSpPr>
              <p:nvPr/>
            </p:nvSpPr>
            <p:spPr bwMode="auto">
              <a:xfrm>
                <a:off x="2929164" y="3533958"/>
                <a:ext cx="4907" cy="3248"/>
              </a:xfrm>
              <a:custGeom>
                <a:avLst/>
                <a:gdLst>
                  <a:gd name="T0" fmla="*/ 3 w 2"/>
                  <a:gd name="T1" fmla="*/ 1 h 2"/>
                  <a:gd name="T2" fmla="*/ 3 w 2"/>
                  <a:gd name="T3" fmla="*/ 2 h 2"/>
                  <a:gd name="T4" fmla="*/ 2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0" name="Freeform 3361"/>
              <p:cNvSpPr>
                <a:spLocks noChangeAspect="1"/>
              </p:cNvSpPr>
              <p:nvPr/>
            </p:nvSpPr>
            <p:spPr bwMode="auto">
              <a:xfrm>
                <a:off x="2858833" y="3701244"/>
                <a:ext cx="4907" cy="3248"/>
              </a:xfrm>
              <a:custGeom>
                <a:avLst/>
                <a:gdLst>
                  <a:gd name="T0" fmla="*/ 3 w 2"/>
                  <a:gd name="T1" fmla="*/ 1 h 2"/>
                  <a:gd name="T2" fmla="*/ 2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1" name="Freeform 3362"/>
              <p:cNvSpPr>
                <a:spLocks noChangeAspect="1"/>
              </p:cNvSpPr>
              <p:nvPr/>
            </p:nvSpPr>
            <p:spPr bwMode="auto">
              <a:xfrm>
                <a:off x="2934070" y="3681755"/>
                <a:ext cx="1636" cy="6497"/>
              </a:xfrm>
              <a:custGeom>
                <a:avLst/>
                <a:gdLst>
                  <a:gd name="T0" fmla="*/ 1 w 1"/>
                  <a:gd name="T1" fmla="*/ 3 h 3"/>
                  <a:gd name="T2" fmla="*/ 1 w 1"/>
                  <a:gd name="T3" fmla="*/ 4 h 3"/>
                  <a:gd name="T4" fmla="*/ 0 w 1"/>
                  <a:gd name="T5" fmla="*/ 1 h 3"/>
                  <a:gd name="T6" fmla="*/ 1 w 1"/>
                  <a:gd name="T7" fmla="*/ 0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2" name="Freeform 3363"/>
              <p:cNvSpPr>
                <a:spLocks noChangeAspect="1"/>
              </p:cNvSpPr>
              <p:nvPr/>
            </p:nvSpPr>
            <p:spPr bwMode="auto">
              <a:xfrm>
                <a:off x="2942249" y="3659017"/>
                <a:ext cx="1636" cy="4873"/>
              </a:xfrm>
              <a:custGeom>
                <a:avLst/>
                <a:gdLst>
                  <a:gd name="T0" fmla="*/ 1 w 1"/>
                  <a:gd name="T1" fmla="*/ 2 h 3"/>
                  <a:gd name="T2" fmla="*/ 0 w 1"/>
                  <a:gd name="T3" fmla="*/ 3 h 3"/>
                  <a:gd name="T4" fmla="*/ 0 w 1"/>
                  <a:gd name="T5" fmla="*/ 2 h 3"/>
                  <a:gd name="T6" fmla="*/ 1 w 1"/>
                  <a:gd name="T7" fmla="*/ 1 h 3"/>
                  <a:gd name="T8" fmla="*/ 1 w 1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1" y="1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3" name="Freeform 3364"/>
              <p:cNvSpPr>
                <a:spLocks noChangeAspect="1"/>
              </p:cNvSpPr>
              <p:nvPr/>
            </p:nvSpPr>
            <p:spPr bwMode="auto">
              <a:xfrm>
                <a:off x="2929164" y="3691499"/>
                <a:ext cx="4907" cy="6497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1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4" name="Freeform 3365"/>
              <p:cNvSpPr>
                <a:spLocks noChangeAspect="1"/>
              </p:cNvSpPr>
              <p:nvPr/>
            </p:nvSpPr>
            <p:spPr bwMode="auto">
              <a:xfrm>
                <a:off x="2952062" y="3714237"/>
                <a:ext cx="4907" cy="6497"/>
              </a:xfrm>
              <a:custGeom>
                <a:avLst/>
                <a:gdLst>
                  <a:gd name="T0" fmla="*/ 2 w 3"/>
                  <a:gd name="T1" fmla="*/ 3 h 3"/>
                  <a:gd name="T2" fmla="*/ 0 w 3"/>
                  <a:gd name="T3" fmla="*/ 3 h 3"/>
                  <a:gd name="T4" fmla="*/ 1 w 3"/>
                  <a:gd name="T5" fmla="*/ 1 h 3"/>
                  <a:gd name="T6" fmla="*/ 2 w 3"/>
                  <a:gd name="T7" fmla="*/ 1 h 3"/>
                  <a:gd name="T8" fmla="*/ 2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5" name="Freeform 3366"/>
              <p:cNvSpPr>
                <a:spLocks noChangeAspect="1"/>
              </p:cNvSpPr>
              <p:nvPr/>
            </p:nvSpPr>
            <p:spPr bwMode="auto">
              <a:xfrm>
                <a:off x="3210485" y="4013077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3 h 3"/>
                  <a:gd name="T4" fmla="*/ 1 w 3"/>
                  <a:gd name="T5" fmla="*/ 1 h 3"/>
                  <a:gd name="T6" fmla="*/ 3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3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6" name="Freeform 3367"/>
              <p:cNvSpPr>
                <a:spLocks noChangeAspect="1"/>
              </p:cNvSpPr>
              <p:nvPr/>
            </p:nvSpPr>
            <p:spPr bwMode="auto">
              <a:xfrm>
                <a:off x="2180065" y="4040687"/>
                <a:ext cx="3271" cy="4873"/>
              </a:xfrm>
              <a:custGeom>
                <a:avLst/>
                <a:gdLst>
                  <a:gd name="T0" fmla="*/ 1 w 2"/>
                  <a:gd name="T1" fmla="*/ 2 h 3"/>
                  <a:gd name="T2" fmla="*/ 0 w 2"/>
                  <a:gd name="T3" fmla="*/ 2 h 3"/>
                  <a:gd name="T4" fmla="*/ 0 w 2"/>
                  <a:gd name="T5" fmla="*/ 1 h 3"/>
                  <a:gd name="T6" fmla="*/ 1 w 2"/>
                  <a:gd name="T7" fmla="*/ 0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7" name="Freeform 3368"/>
              <p:cNvSpPr>
                <a:spLocks noChangeAspect="1"/>
              </p:cNvSpPr>
              <p:nvPr/>
            </p:nvSpPr>
            <p:spPr bwMode="auto">
              <a:xfrm>
                <a:off x="2201327" y="4034191"/>
                <a:ext cx="4907" cy="6497"/>
              </a:xfrm>
              <a:custGeom>
                <a:avLst/>
                <a:gdLst>
                  <a:gd name="T0" fmla="*/ 3 w 2"/>
                  <a:gd name="T1" fmla="*/ 1 h 3"/>
                  <a:gd name="T2" fmla="*/ 3 w 2"/>
                  <a:gd name="T3" fmla="*/ 4 h 3"/>
                  <a:gd name="T4" fmla="*/ 2 w 2"/>
                  <a:gd name="T5" fmla="*/ 3 h 3"/>
                  <a:gd name="T6" fmla="*/ 0 w 2"/>
                  <a:gd name="T7" fmla="*/ 1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2" y="3"/>
                    </a:cubicBezTo>
                    <a:cubicBezTo>
                      <a:pt x="1" y="3"/>
                      <a:pt x="1" y="3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8" name="Freeform 3369"/>
              <p:cNvSpPr>
                <a:spLocks noChangeAspect="1"/>
              </p:cNvSpPr>
              <p:nvPr/>
            </p:nvSpPr>
            <p:spPr bwMode="auto">
              <a:xfrm>
                <a:off x="2463021" y="4110525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1 w 2"/>
                  <a:gd name="T5" fmla="*/ 0 h 2"/>
                  <a:gd name="T6" fmla="*/ 2 w 2"/>
                  <a:gd name="T7" fmla="*/ 1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59" name="Freeform 3370"/>
              <p:cNvSpPr>
                <a:spLocks noChangeAspect="1"/>
              </p:cNvSpPr>
              <p:nvPr/>
            </p:nvSpPr>
            <p:spPr bwMode="auto">
              <a:xfrm>
                <a:off x="2467928" y="4107277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0" name="Freeform 3371"/>
              <p:cNvSpPr>
                <a:spLocks noChangeAspect="1"/>
              </p:cNvSpPr>
              <p:nvPr/>
            </p:nvSpPr>
            <p:spPr bwMode="auto">
              <a:xfrm>
                <a:off x="2719809" y="5391964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1 w 2"/>
                  <a:gd name="T3" fmla="*/ 2 h 2"/>
                  <a:gd name="T4" fmla="*/ 0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1" y="2"/>
                      <a:pt x="1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1" name="Freeform 3372"/>
              <p:cNvSpPr>
                <a:spLocks noChangeAspect="1"/>
              </p:cNvSpPr>
              <p:nvPr/>
            </p:nvSpPr>
            <p:spPr bwMode="auto">
              <a:xfrm>
                <a:off x="2721444" y="5276652"/>
                <a:ext cx="4907" cy="4873"/>
              </a:xfrm>
              <a:custGeom>
                <a:avLst/>
                <a:gdLst>
                  <a:gd name="T0" fmla="*/ 3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3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2" name="Freeform 3373"/>
              <p:cNvSpPr>
                <a:spLocks noChangeAspect="1"/>
              </p:cNvSpPr>
              <p:nvPr/>
            </p:nvSpPr>
            <p:spPr bwMode="auto">
              <a:xfrm>
                <a:off x="2698546" y="5344865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3" name="Freeform 3374"/>
              <p:cNvSpPr>
                <a:spLocks noChangeAspect="1"/>
              </p:cNvSpPr>
              <p:nvPr/>
            </p:nvSpPr>
            <p:spPr bwMode="auto">
              <a:xfrm>
                <a:off x="2706724" y="5362730"/>
                <a:ext cx="4907" cy="3248"/>
              </a:xfrm>
              <a:custGeom>
                <a:avLst/>
                <a:gdLst>
                  <a:gd name="T0" fmla="*/ 2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4" name="Freeform 3375"/>
              <p:cNvSpPr>
                <a:spLocks noChangeAspect="1"/>
              </p:cNvSpPr>
              <p:nvPr/>
            </p:nvSpPr>
            <p:spPr bwMode="auto">
              <a:xfrm>
                <a:off x="2701817" y="5369227"/>
                <a:ext cx="6542" cy="4873"/>
              </a:xfrm>
              <a:custGeom>
                <a:avLst/>
                <a:gdLst>
                  <a:gd name="T0" fmla="*/ 1 w 3"/>
                  <a:gd name="T1" fmla="*/ 3 h 2"/>
                  <a:gd name="T2" fmla="*/ 0 w 3"/>
                  <a:gd name="T3" fmla="*/ 3 h 2"/>
                  <a:gd name="T4" fmla="*/ 1 w 3"/>
                  <a:gd name="T5" fmla="*/ 2 h 2"/>
                  <a:gd name="T6" fmla="*/ 3 w 3"/>
                  <a:gd name="T7" fmla="*/ 0 h 2"/>
                  <a:gd name="T8" fmla="*/ 1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5" name="Freeform 3376"/>
              <p:cNvSpPr>
                <a:spLocks noChangeAspect="1"/>
              </p:cNvSpPr>
              <p:nvPr/>
            </p:nvSpPr>
            <p:spPr bwMode="auto">
              <a:xfrm>
                <a:off x="2718173" y="5352985"/>
                <a:ext cx="3271" cy="4873"/>
              </a:xfrm>
              <a:custGeom>
                <a:avLst/>
                <a:gdLst>
                  <a:gd name="T0" fmla="*/ 1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6" name="Oval 3377"/>
              <p:cNvSpPr>
                <a:spLocks noChangeAspect="1" noChangeArrowheads="1"/>
              </p:cNvSpPr>
              <p:nvPr/>
            </p:nvSpPr>
            <p:spPr bwMode="auto">
              <a:xfrm>
                <a:off x="2716538" y="5357858"/>
                <a:ext cx="1636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7" name="Freeform 3378"/>
              <p:cNvSpPr>
                <a:spLocks noChangeAspect="1"/>
              </p:cNvSpPr>
              <p:nvPr/>
            </p:nvSpPr>
            <p:spPr bwMode="auto">
              <a:xfrm>
                <a:off x="2716538" y="5330247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2" y="3"/>
                    </a:cubicBezTo>
                    <a:cubicBezTo>
                      <a:pt x="1" y="3"/>
                      <a:pt x="1" y="3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8" name="Freeform 3379"/>
              <p:cNvSpPr>
                <a:spLocks noChangeAspect="1"/>
              </p:cNvSpPr>
              <p:nvPr/>
            </p:nvSpPr>
            <p:spPr bwMode="auto">
              <a:xfrm>
                <a:off x="2713267" y="5378971"/>
                <a:ext cx="4907" cy="4873"/>
              </a:xfrm>
              <a:custGeom>
                <a:avLst/>
                <a:gdLst>
                  <a:gd name="T0" fmla="*/ 2 w 2"/>
                  <a:gd name="T1" fmla="*/ 0 h 2"/>
                  <a:gd name="T2" fmla="*/ 3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0"/>
                    </a:moveTo>
                    <a:cubicBezTo>
                      <a:pt x="2" y="0"/>
                      <a:pt x="2" y="1"/>
                      <a:pt x="2" y="1"/>
                    </a:cubicBezTo>
                    <a:cubicBezTo>
                      <a:pt x="2" y="2"/>
                      <a:pt x="1" y="2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69" name="Freeform 3380"/>
              <p:cNvSpPr>
                <a:spLocks noChangeAspect="1"/>
              </p:cNvSpPr>
              <p:nvPr/>
            </p:nvSpPr>
            <p:spPr bwMode="auto">
              <a:xfrm>
                <a:off x="2711630" y="5374099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1 h 2"/>
                  <a:gd name="T4" fmla="*/ 1 w 3"/>
                  <a:gd name="T5" fmla="*/ 1 h 2"/>
                  <a:gd name="T6" fmla="*/ 0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2"/>
                      <a:pt x="2" y="2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0" name="Freeform 3381"/>
              <p:cNvSpPr>
                <a:spLocks noChangeAspect="1"/>
              </p:cNvSpPr>
              <p:nvPr/>
            </p:nvSpPr>
            <p:spPr bwMode="auto">
              <a:xfrm>
                <a:off x="2711630" y="5367603"/>
                <a:ext cx="6542" cy="4873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2 h 2"/>
                  <a:gd name="T4" fmla="*/ 3 w 3"/>
                  <a:gd name="T5" fmla="*/ 3 h 2"/>
                  <a:gd name="T6" fmla="*/ 0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3" y="0"/>
                      <a:pt x="3" y="1"/>
                      <a:pt x="3" y="1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1" name="Oval 3382"/>
              <p:cNvSpPr>
                <a:spLocks noChangeAspect="1" noChangeArrowheads="1"/>
              </p:cNvSpPr>
              <p:nvPr/>
            </p:nvSpPr>
            <p:spPr bwMode="auto">
              <a:xfrm>
                <a:off x="2683826" y="5357858"/>
                <a:ext cx="3271" cy="4873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2" name="Freeform 3383"/>
              <p:cNvSpPr>
                <a:spLocks noChangeAspect="1"/>
              </p:cNvSpPr>
              <p:nvPr/>
            </p:nvSpPr>
            <p:spPr bwMode="auto">
              <a:xfrm>
                <a:off x="2683826" y="5318879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0 w 3"/>
                  <a:gd name="T3" fmla="*/ 3 h 3"/>
                  <a:gd name="T4" fmla="*/ 1 w 3"/>
                  <a:gd name="T5" fmla="*/ 1 h 3"/>
                  <a:gd name="T6" fmla="*/ 3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1" y="3"/>
                      <a:pt x="1" y="3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1"/>
                    </a:cubicBezTo>
                    <a:cubicBezTo>
                      <a:pt x="3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3" name="Freeform 3384"/>
              <p:cNvSpPr>
                <a:spLocks noChangeAspect="1"/>
              </p:cNvSpPr>
              <p:nvPr/>
            </p:nvSpPr>
            <p:spPr bwMode="auto">
              <a:xfrm>
                <a:off x="2732894" y="5456930"/>
                <a:ext cx="6542" cy="6497"/>
              </a:xfrm>
              <a:custGeom>
                <a:avLst/>
                <a:gdLst>
                  <a:gd name="T0" fmla="*/ 4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1 w 3"/>
                  <a:gd name="T7" fmla="*/ 0 h 3"/>
                  <a:gd name="T8" fmla="*/ 4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2"/>
                    </a:moveTo>
                    <a:cubicBezTo>
                      <a:pt x="3" y="2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3" y="0"/>
                      <a:pt x="3" y="1"/>
                      <a:pt x="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4" name="Freeform 3385"/>
              <p:cNvSpPr>
                <a:spLocks noChangeAspect="1"/>
              </p:cNvSpPr>
              <p:nvPr/>
            </p:nvSpPr>
            <p:spPr bwMode="auto">
              <a:xfrm>
                <a:off x="2693639" y="5491037"/>
                <a:ext cx="4907" cy="3248"/>
              </a:xfrm>
              <a:custGeom>
                <a:avLst/>
                <a:gdLst>
                  <a:gd name="T0" fmla="*/ 3 w 2"/>
                  <a:gd name="T1" fmla="*/ 1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5" name="Freeform 3386"/>
              <p:cNvSpPr>
                <a:spLocks noChangeAspect="1"/>
              </p:cNvSpPr>
              <p:nvPr/>
            </p:nvSpPr>
            <p:spPr bwMode="auto">
              <a:xfrm>
                <a:off x="2692003" y="5497533"/>
                <a:ext cx="4907" cy="487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3 h 3"/>
                  <a:gd name="T4" fmla="*/ 0 w 2"/>
                  <a:gd name="T5" fmla="*/ 2 h 3"/>
                  <a:gd name="T6" fmla="*/ 2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6" name="Freeform 3387"/>
              <p:cNvSpPr>
                <a:spLocks noChangeAspect="1"/>
              </p:cNvSpPr>
              <p:nvPr/>
            </p:nvSpPr>
            <p:spPr bwMode="auto">
              <a:xfrm>
                <a:off x="2698546" y="5487789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1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7" name="Freeform 3388"/>
              <p:cNvSpPr>
                <a:spLocks noChangeAspect="1"/>
              </p:cNvSpPr>
              <p:nvPr/>
            </p:nvSpPr>
            <p:spPr bwMode="auto">
              <a:xfrm>
                <a:off x="2700182" y="5481292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8" name="Freeform 3389"/>
              <p:cNvSpPr>
                <a:spLocks noChangeAspect="1"/>
              </p:cNvSpPr>
              <p:nvPr/>
            </p:nvSpPr>
            <p:spPr bwMode="auto">
              <a:xfrm>
                <a:off x="2701817" y="5494285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79" name="Oval 3390"/>
              <p:cNvSpPr>
                <a:spLocks noChangeAspect="1" noChangeArrowheads="1"/>
              </p:cNvSpPr>
              <p:nvPr/>
            </p:nvSpPr>
            <p:spPr bwMode="auto">
              <a:xfrm>
                <a:off x="2700182" y="5465051"/>
                <a:ext cx="1636" cy="6497"/>
              </a:xfrm>
              <a:prstGeom prst="ellipse">
                <a:avLst/>
              </a:pr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0" name="Freeform 3391"/>
              <p:cNvSpPr>
                <a:spLocks noChangeAspect="1"/>
              </p:cNvSpPr>
              <p:nvPr/>
            </p:nvSpPr>
            <p:spPr bwMode="auto">
              <a:xfrm>
                <a:off x="2693639" y="5450433"/>
                <a:ext cx="6542" cy="3248"/>
              </a:xfrm>
              <a:custGeom>
                <a:avLst/>
                <a:gdLst>
                  <a:gd name="T0" fmla="*/ 1 w 3"/>
                  <a:gd name="T1" fmla="*/ 1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0 h 2"/>
                  <a:gd name="T8" fmla="*/ 1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1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" y="1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1" name="Freeform 3392"/>
              <p:cNvSpPr>
                <a:spLocks noChangeAspect="1"/>
              </p:cNvSpPr>
              <p:nvPr/>
            </p:nvSpPr>
            <p:spPr bwMode="auto">
              <a:xfrm>
                <a:off x="2708359" y="5427695"/>
                <a:ext cx="3271" cy="6497"/>
              </a:xfrm>
              <a:custGeom>
                <a:avLst/>
                <a:gdLst>
                  <a:gd name="T0" fmla="*/ 1 w 2"/>
                  <a:gd name="T1" fmla="*/ 4 h 3"/>
                  <a:gd name="T2" fmla="*/ 0 w 2"/>
                  <a:gd name="T3" fmla="*/ 4 h 3"/>
                  <a:gd name="T4" fmla="*/ 0 w 2"/>
                  <a:gd name="T5" fmla="*/ 1 h 3"/>
                  <a:gd name="T6" fmla="*/ 2 w 2"/>
                  <a:gd name="T7" fmla="*/ 1 h 3"/>
                  <a:gd name="T8" fmla="*/ 1 w 2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2" name="Freeform 3393"/>
              <p:cNvSpPr>
                <a:spLocks noChangeAspect="1"/>
              </p:cNvSpPr>
              <p:nvPr/>
            </p:nvSpPr>
            <p:spPr bwMode="auto">
              <a:xfrm>
                <a:off x="2703453" y="5530016"/>
                <a:ext cx="6542" cy="3248"/>
              </a:xfrm>
              <a:custGeom>
                <a:avLst/>
                <a:gdLst>
                  <a:gd name="T0" fmla="*/ 3 w 3"/>
                  <a:gd name="T1" fmla="*/ 1 h 2"/>
                  <a:gd name="T2" fmla="*/ 3 w 3"/>
                  <a:gd name="T3" fmla="*/ 2 h 2"/>
                  <a:gd name="T4" fmla="*/ 1 w 3"/>
                  <a:gd name="T5" fmla="*/ 2 h 2"/>
                  <a:gd name="T6" fmla="*/ 0 w 3"/>
                  <a:gd name="T7" fmla="*/ 0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2" y="1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3" name="Freeform 3394"/>
              <p:cNvSpPr>
                <a:spLocks noChangeAspect="1"/>
              </p:cNvSpPr>
              <p:nvPr/>
            </p:nvSpPr>
            <p:spPr bwMode="auto">
              <a:xfrm>
                <a:off x="2736165" y="5572243"/>
                <a:ext cx="3271" cy="6497"/>
              </a:xfrm>
              <a:custGeom>
                <a:avLst/>
                <a:gdLst>
                  <a:gd name="T0" fmla="*/ 2 w 2"/>
                  <a:gd name="T1" fmla="*/ 1 h 3"/>
                  <a:gd name="T2" fmla="*/ 1 w 2"/>
                  <a:gd name="T3" fmla="*/ 4 h 3"/>
                  <a:gd name="T4" fmla="*/ 0 w 2"/>
                  <a:gd name="T5" fmla="*/ 3 h 3"/>
                  <a:gd name="T6" fmla="*/ 0 w 2"/>
                  <a:gd name="T7" fmla="*/ 0 h 3"/>
                  <a:gd name="T8" fmla="*/ 2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4" name="Freeform 3395"/>
              <p:cNvSpPr>
                <a:spLocks noChangeAspect="1"/>
              </p:cNvSpPr>
              <p:nvPr/>
            </p:nvSpPr>
            <p:spPr bwMode="auto">
              <a:xfrm>
                <a:off x="2718173" y="5541384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3 h 3"/>
                  <a:gd name="T4" fmla="*/ 1 w 2"/>
                  <a:gd name="T5" fmla="*/ 1 h 3"/>
                  <a:gd name="T6" fmla="*/ 2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5" name="Freeform 3396"/>
              <p:cNvSpPr>
                <a:spLocks noChangeAspect="1"/>
              </p:cNvSpPr>
              <p:nvPr/>
            </p:nvSpPr>
            <p:spPr bwMode="auto">
              <a:xfrm>
                <a:off x="2726351" y="5604726"/>
                <a:ext cx="4907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3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2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6" name="Freeform 3397"/>
              <p:cNvSpPr>
                <a:spLocks noChangeAspect="1"/>
              </p:cNvSpPr>
              <p:nvPr/>
            </p:nvSpPr>
            <p:spPr bwMode="auto">
              <a:xfrm>
                <a:off x="2919351" y="5716791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3 h 3"/>
                  <a:gd name="T4" fmla="*/ 1 w 3"/>
                  <a:gd name="T5" fmla="*/ 1 h 3"/>
                  <a:gd name="T6" fmla="*/ 3 w 3"/>
                  <a:gd name="T7" fmla="*/ 0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2"/>
                      <a:pt x="1" y="3"/>
                      <a:pt x="1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7" name="Freeform 3398"/>
              <p:cNvSpPr>
                <a:spLocks noChangeAspect="1"/>
              </p:cNvSpPr>
              <p:nvPr/>
            </p:nvSpPr>
            <p:spPr bwMode="auto">
              <a:xfrm>
                <a:off x="2907901" y="5742777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2 h 2"/>
                  <a:gd name="T4" fmla="*/ 1 w 3"/>
                  <a:gd name="T5" fmla="*/ 0 h 2"/>
                  <a:gd name="T6" fmla="*/ 3 w 3"/>
                  <a:gd name="T7" fmla="*/ 0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8" name="Freeform 3399"/>
              <p:cNvSpPr>
                <a:spLocks noChangeAspect="1"/>
              </p:cNvSpPr>
              <p:nvPr/>
            </p:nvSpPr>
            <p:spPr bwMode="auto">
              <a:xfrm>
                <a:off x="5465961" y="1326764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89" name="Freeform 3400"/>
              <p:cNvSpPr>
                <a:spLocks noChangeAspect="1"/>
              </p:cNvSpPr>
              <p:nvPr/>
            </p:nvSpPr>
            <p:spPr bwMode="auto">
              <a:xfrm>
                <a:off x="5560825" y="1317020"/>
                <a:ext cx="1636" cy="6497"/>
              </a:xfrm>
              <a:custGeom>
                <a:avLst/>
                <a:gdLst>
                  <a:gd name="T0" fmla="*/ 1 w 1"/>
                  <a:gd name="T1" fmla="*/ 3 h 3"/>
                  <a:gd name="T2" fmla="*/ 0 w 1"/>
                  <a:gd name="T3" fmla="*/ 3 h 3"/>
                  <a:gd name="T4" fmla="*/ 0 w 1"/>
                  <a:gd name="T5" fmla="*/ 1 h 3"/>
                  <a:gd name="T6" fmla="*/ 1 w 1"/>
                  <a:gd name="T7" fmla="*/ 0 h 3"/>
                  <a:gd name="T8" fmla="*/ 1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0" name="Freeform 3401"/>
              <p:cNvSpPr>
                <a:spLocks noChangeAspect="1"/>
              </p:cNvSpPr>
              <p:nvPr/>
            </p:nvSpPr>
            <p:spPr bwMode="auto">
              <a:xfrm>
                <a:off x="5580452" y="1308898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0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1" name="Freeform 3402"/>
              <p:cNvSpPr>
                <a:spLocks noChangeAspect="1"/>
              </p:cNvSpPr>
              <p:nvPr/>
            </p:nvSpPr>
            <p:spPr bwMode="auto">
              <a:xfrm>
                <a:off x="5572274" y="1304027"/>
                <a:ext cx="3271" cy="3248"/>
              </a:xfrm>
              <a:custGeom>
                <a:avLst/>
                <a:gdLst>
                  <a:gd name="T0" fmla="*/ 2 w 2"/>
                  <a:gd name="T1" fmla="*/ 1 h 2"/>
                  <a:gd name="T2" fmla="*/ 2 w 2"/>
                  <a:gd name="T3" fmla="*/ 2 h 2"/>
                  <a:gd name="T4" fmla="*/ 1 w 2"/>
                  <a:gd name="T5" fmla="*/ 1 h 2"/>
                  <a:gd name="T6" fmla="*/ 1 w 2"/>
                  <a:gd name="T7" fmla="*/ 0 h 2"/>
                  <a:gd name="T8" fmla="*/ 2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1" y="2"/>
                      <a:pt x="1" y="2"/>
                      <a:pt x="1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2" name="Freeform 3403"/>
              <p:cNvSpPr>
                <a:spLocks noChangeAspect="1"/>
              </p:cNvSpPr>
              <p:nvPr/>
            </p:nvSpPr>
            <p:spPr bwMode="auto">
              <a:xfrm>
                <a:off x="5580452" y="1300778"/>
                <a:ext cx="4907" cy="4873"/>
              </a:xfrm>
              <a:custGeom>
                <a:avLst/>
                <a:gdLst>
                  <a:gd name="T0" fmla="*/ 2 w 3"/>
                  <a:gd name="T1" fmla="*/ 2 h 2"/>
                  <a:gd name="T2" fmla="*/ 2 w 3"/>
                  <a:gd name="T3" fmla="*/ 3 h 2"/>
                  <a:gd name="T4" fmla="*/ 1 w 3"/>
                  <a:gd name="T5" fmla="*/ 3 h 2"/>
                  <a:gd name="T6" fmla="*/ 1 w 3"/>
                  <a:gd name="T7" fmla="*/ 0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3" y="1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3" name="Freeform 3404"/>
              <p:cNvSpPr>
                <a:spLocks noChangeAspect="1"/>
              </p:cNvSpPr>
              <p:nvPr/>
            </p:nvSpPr>
            <p:spPr bwMode="auto">
              <a:xfrm>
                <a:off x="5688401" y="1269919"/>
                <a:ext cx="4907" cy="6497"/>
              </a:xfrm>
              <a:custGeom>
                <a:avLst/>
                <a:gdLst>
                  <a:gd name="T0" fmla="*/ 2 w 3"/>
                  <a:gd name="T1" fmla="*/ 1 h 3"/>
                  <a:gd name="T2" fmla="*/ 2 w 3"/>
                  <a:gd name="T3" fmla="*/ 3 h 3"/>
                  <a:gd name="T4" fmla="*/ 1 w 3"/>
                  <a:gd name="T5" fmla="*/ 3 h 3"/>
                  <a:gd name="T6" fmla="*/ 1 w 3"/>
                  <a:gd name="T7" fmla="*/ 0 h 3"/>
                  <a:gd name="T8" fmla="*/ 2 w 3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1"/>
                    </a:moveTo>
                    <a:cubicBezTo>
                      <a:pt x="3" y="2"/>
                      <a:pt x="3" y="2"/>
                      <a:pt x="2" y="2"/>
                    </a:cubicBezTo>
                    <a:cubicBezTo>
                      <a:pt x="2" y="3"/>
                      <a:pt x="1" y="2"/>
                      <a:pt x="1" y="2"/>
                    </a:cubicBezTo>
                    <a:cubicBezTo>
                      <a:pt x="1" y="1"/>
                      <a:pt x="0" y="1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4" name="Freeform 3405"/>
              <p:cNvSpPr>
                <a:spLocks noChangeAspect="1"/>
              </p:cNvSpPr>
              <p:nvPr/>
            </p:nvSpPr>
            <p:spPr bwMode="auto">
              <a:xfrm>
                <a:off x="5716206" y="1258551"/>
                <a:ext cx="4907" cy="3248"/>
              </a:xfrm>
              <a:custGeom>
                <a:avLst/>
                <a:gdLst>
                  <a:gd name="T0" fmla="*/ 2 w 3"/>
                  <a:gd name="T1" fmla="*/ 2 h 2"/>
                  <a:gd name="T2" fmla="*/ 1 w 3"/>
                  <a:gd name="T3" fmla="*/ 2 h 2"/>
                  <a:gd name="T4" fmla="*/ 1 w 3"/>
                  <a:gd name="T5" fmla="*/ 1 h 2"/>
                  <a:gd name="T6" fmla="*/ 2 w 3"/>
                  <a:gd name="T7" fmla="*/ 0 h 2"/>
                  <a:gd name="T8" fmla="*/ 2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5" name="Freeform 3406"/>
              <p:cNvSpPr>
                <a:spLocks noChangeAspect="1"/>
              </p:cNvSpPr>
              <p:nvPr/>
            </p:nvSpPr>
            <p:spPr bwMode="auto">
              <a:xfrm>
                <a:off x="5569003" y="1308898"/>
                <a:ext cx="3271" cy="6497"/>
              </a:xfrm>
              <a:custGeom>
                <a:avLst/>
                <a:gdLst>
                  <a:gd name="T0" fmla="*/ 2 w 2"/>
                  <a:gd name="T1" fmla="*/ 4 h 3"/>
                  <a:gd name="T2" fmla="*/ 1 w 2"/>
                  <a:gd name="T3" fmla="*/ 4 h 3"/>
                  <a:gd name="T4" fmla="*/ 1 w 2"/>
                  <a:gd name="T5" fmla="*/ 3 h 3"/>
                  <a:gd name="T6" fmla="*/ 2 w 2"/>
                  <a:gd name="T7" fmla="*/ 1 h 3"/>
                  <a:gd name="T8" fmla="*/ 2 w 2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3"/>
                    </a:move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2" y="1"/>
                      <a:pt x="2" y="2"/>
                      <a:pt x="2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6" name="Freeform 3407"/>
              <p:cNvSpPr>
                <a:spLocks noChangeAspect="1"/>
              </p:cNvSpPr>
              <p:nvPr/>
            </p:nvSpPr>
            <p:spPr bwMode="auto">
              <a:xfrm>
                <a:off x="5660596" y="1336509"/>
                <a:ext cx="6542" cy="3248"/>
              </a:xfrm>
              <a:custGeom>
                <a:avLst/>
                <a:gdLst>
                  <a:gd name="T0" fmla="*/ 3 w 3"/>
                  <a:gd name="T1" fmla="*/ 1 h 2"/>
                  <a:gd name="T2" fmla="*/ 4 w 3"/>
                  <a:gd name="T3" fmla="*/ 2 h 2"/>
                  <a:gd name="T4" fmla="*/ 1 w 3"/>
                  <a:gd name="T5" fmla="*/ 2 h 2"/>
                  <a:gd name="T6" fmla="*/ 1 w 3"/>
                  <a:gd name="T7" fmla="*/ 0 h 2"/>
                  <a:gd name="T8" fmla="*/ 3 w 3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3" y="1"/>
                      <a:pt x="3" y="2"/>
                      <a:pt x="3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7" name="Freeform 3408"/>
              <p:cNvSpPr>
                <a:spLocks noChangeAspect="1"/>
              </p:cNvSpPr>
              <p:nvPr/>
            </p:nvSpPr>
            <p:spPr bwMode="auto">
              <a:xfrm>
                <a:off x="5680223" y="1323516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3 w 3"/>
                  <a:gd name="T3" fmla="*/ 2 h 2"/>
                  <a:gd name="T4" fmla="*/ 1 w 3"/>
                  <a:gd name="T5" fmla="*/ 2 h 2"/>
                  <a:gd name="T6" fmla="*/ 0 w 3"/>
                  <a:gd name="T7" fmla="*/ 0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1"/>
                      <a:pt x="3" y="1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8" name="Freeform 3409"/>
              <p:cNvSpPr>
                <a:spLocks noChangeAspect="1"/>
              </p:cNvSpPr>
              <p:nvPr/>
            </p:nvSpPr>
            <p:spPr bwMode="auto">
              <a:xfrm>
                <a:off x="8097622" y="2507507"/>
                <a:ext cx="3271" cy="4873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3 h 2"/>
                  <a:gd name="T4" fmla="*/ 0 w 2"/>
                  <a:gd name="T5" fmla="*/ 2 h 2"/>
                  <a:gd name="T6" fmla="*/ 1 w 2"/>
                  <a:gd name="T7" fmla="*/ 0 h 2"/>
                  <a:gd name="T8" fmla="*/ 2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099" name="Freeform 3410"/>
              <p:cNvSpPr>
                <a:spLocks noChangeAspect="1"/>
              </p:cNvSpPr>
              <p:nvPr/>
            </p:nvSpPr>
            <p:spPr bwMode="auto">
              <a:xfrm>
                <a:off x="8051826" y="2611452"/>
                <a:ext cx="1636" cy="3248"/>
              </a:xfrm>
              <a:custGeom>
                <a:avLst/>
                <a:gdLst>
                  <a:gd name="T0" fmla="*/ 1 w 1"/>
                  <a:gd name="T1" fmla="*/ 1 h 2"/>
                  <a:gd name="T2" fmla="*/ 0 w 1"/>
                  <a:gd name="T3" fmla="*/ 2 h 2"/>
                  <a:gd name="T4" fmla="*/ 0 w 1"/>
                  <a:gd name="T5" fmla="*/ 1 h 2"/>
                  <a:gd name="T6" fmla="*/ 0 w 1"/>
                  <a:gd name="T7" fmla="*/ 0 h 2"/>
                  <a:gd name="T8" fmla="*/ 1 w 1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0" name="Freeform 3411"/>
              <p:cNvSpPr>
                <a:spLocks noChangeAspect="1"/>
              </p:cNvSpPr>
              <p:nvPr/>
            </p:nvSpPr>
            <p:spPr bwMode="auto">
              <a:xfrm>
                <a:off x="7970047" y="1770152"/>
                <a:ext cx="3271" cy="4873"/>
              </a:xfrm>
              <a:custGeom>
                <a:avLst/>
                <a:gdLst>
                  <a:gd name="T0" fmla="*/ 1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1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1" name="Freeform 3412"/>
              <p:cNvSpPr>
                <a:spLocks noChangeAspect="1"/>
              </p:cNvSpPr>
              <p:nvPr/>
            </p:nvSpPr>
            <p:spPr bwMode="auto">
              <a:xfrm>
                <a:off x="7947148" y="1757159"/>
                <a:ext cx="3271" cy="6497"/>
              </a:xfrm>
              <a:custGeom>
                <a:avLst/>
                <a:gdLst>
                  <a:gd name="T0" fmla="*/ 2 w 1"/>
                  <a:gd name="T1" fmla="*/ 3 h 3"/>
                  <a:gd name="T2" fmla="*/ 0 w 1"/>
                  <a:gd name="T3" fmla="*/ 4 h 3"/>
                  <a:gd name="T4" fmla="*/ 0 w 1"/>
                  <a:gd name="T5" fmla="*/ 1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2" name="Freeform 3413"/>
              <p:cNvSpPr>
                <a:spLocks noChangeAspect="1"/>
              </p:cNvSpPr>
              <p:nvPr/>
            </p:nvSpPr>
            <p:spPr bwMode="auto">
              <a:xfrm>
                <a:off x="7943877" y="1747414"/>
                <a:ext cx="6542" cy="6497"/>
              </a:xfrm>
              <a:custGeom>
                <a:avLst/>
                <a:gdLst>
                  <a:gd name="T0" fmla="*/ 3 w 3"/>
                  <a:gd name="T1" fmla="*/ 3 h 3"/>
                  <a:gd name="T2" fmla="*/ 1 w 3"/>
                  <a:gd name="T3" fmla="*/ 4 h 3"/>
                  <a:gd name="T4" fmla="*/ 0 w 3"/>
                  <a:gd name="T5" fmla="*/ 3 h 3"/>
                  <a:gd name="T6" fmla="*/ 1 w 3"/>
                  <a:gd name="T7" fmla="*/ 1 h 3"/>
                  <a:gd name="T8" fmla="*/ 3 w 3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2" y="3"/>
                      <a:pt x="2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1"/>
                    </a:cubicBezTo>
                    <a:cubicBezTo>
                      <a:pt x="3" y="1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3" name="Freeform 3414"/>
              <p:cNvSpPr>
                <a:spLocks noChangeAspect="1"/>
              </p:cNvSpPr>
              <p:nvPr/>
            </p:nvSpPr>
            <p:spPr bwMode="auto">
              <a:xfrm>
                <a:off x="7534980" y="1505419"/>
                <a:ext cx="3271" cy="6497"/>
              </a:xfrm>
              <a:custGeom>
                <a:avLst/>
                <a:gdLst>
                  <a:gd name="T0" fmla="*/ 2 w 1"/>
                  <a:gd name="T1" fmla="*/ 3 h 3"/>
                  <a:gd name="T2" fmla="*/ 2 w 1"/>
                  <a:gd name="T3" fmla="*/ 4 h 3"/>
                  <a:gd name="T4" fmla="*/ 0 w 1"/>
                  <a:gd name="T5" fmla="*/ 1 h 3"/>
                  <a:gd name="T6" fmla="*/ 2 w 1"/>
                  <a:gd name="T7" fmla="*/ 0 h 3"/>
                  <a:gd name="T8" fmla="*/ 2 w 1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3"/>
                  <a:gd name="T17" fmla="*/ 1 w 1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3">
                    <a:moveTo>
                      <a:pt x="1" y="2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4" name="Freeform 3415"/>
              <p:cNvSpPr>
                <a:spLocks noChangeAspect="1"/>
              </p:cNvSpPr>
              <p:nvPr/>
            </p:nvSpPr>
            <p:spPr bwMode="auto">
              <a:xfrm>
                <a:off x="6828406" y="1502171"/>
                <a:ext cx="4907" cy="3248"/>
              </a:xfrm>
              <a:custGeom>
                <a:avLst/>
                <a:gdLst>
                  <a:gd name="T0" fmla="*/ 3 w 2"/>
                  <a:gd name="T1" fmla="*/ 1 h 2"/>
                  <a:gd name="T2" fmla="*/ 3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  <a:gd name="T8" fmla="*/ 3 w 2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2" y="1"/>
                    </a:move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5" name="Freeform 3416"/>
              <p:cNvSpPr>
                <a:spLocks noChangeAspect="1"/>
              </p:cNvSpPr>
              <p:nvPr/>
            </p:nvSpPr>
            <p:spPr bwMode="auto">
              <a:xfrm>
                <a:off x="6345907" y="1355999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6" name="Freeform 3417"/>
              <p:cNvSpPr>
                <a:spLocks noChangeAspect="1"/>
              </p:cNvSpPr>
              <p:nvPr/>
            </p:nvSpPr>
            <p:spPr bwMode="auto">
              <a:xfrm>
                <a:off x="6334459" y="1344629"/>
                <a:ext cx="4907" cy="3248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1 h 2"/>
                  <a:gd name="T4" fmla="*/ 1 w 3"/>
                  <a:gd name="T5" fmla="*/ 2 h 2"/>
                  <a:gd name="T6" fmla="*/ 0 w 3"/>
                  <a:gd name="T7" fmla="*/ 1 h 2"/>
                  <a:gd name="T8" fmla="*/ 2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7" name="Freeform 3418"/>
              <p:cNvSpPr>
                <a:spLocks noChangeAspect="1"/>
              </p:cNvSpPr>
              <p:nvPr/>
            </p:nvSpPr>
            <p:spPr bwMode="auto">
              <a:xfrm>
                <a:off x="6358992" y="1357622"/>
                <a:ext cx="6542" cy="4873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2 h 2"/>
                  <a:gd name="T4" fmla="*/ 3 w 3"/>
                  <a:gd name="T5" fmla="*/ 3 h 2"/>
                  <a:gd name="T6" fmla="*/ 0 w 3"/>
                  <a:gd name="T7" fmla="*/ 2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8" name="Freeform 3419"/>
              <p:cNvSpPr>
                <a:spLocks noChangeAspect="1"/>
              </p:cNvSpPr>
              <p:nvPr/>
            </p:nvSpPr>
            <p:spPr bwMode="auto">
              <a:xfrm>
                <a:off x="6679567" y="1445325"/>
                <a:ext cx="3271" cy="6497"/>
              </a:xfrm>
              <a:custGeom>
                <a:avLst/>
                <a:gdLst>
                  <a:gd name="T0" fmla="*/ 1 w 2"/>
                  <a:gd name="T1" fmla="*/ 4 h 3"/>
                  <a:gd name="T2" fmla="*/ 0 w 2"/>
                  <a:gd name="T3" fmla="*/ 4 h 3"/>
                  <a:gd name="T4" fmla="*/ 0 w 2"/>
                  <a:gd name="T5" fmla="*/ 3 h 3"/>
                  <a:gd name="T6" fmla="*/ 2 w 2"/>
                  <a:gd name="T7" fmla="*/ 1 h 3"/>
                  <a:gd name="T8" fmla="*/ 1 w 2"/>
                  <a:gd name="T9" fmla="*/ 4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2" y="1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09" name="Freeform 3420"/>
              <p:cNvSpPr>
                <a:spLocks noChangeAspect="1"/>
              </p:cNvSpPr>
              <p:nvPr/>
            </p:nvSpPr>
            <p:spPr bwMode="auto">
              <a:xfrm>
                <a:off x="6365534" y="1435581"/>
                <a:ext cx="1636" cy="4873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3 h 2"/>
                  <a:gd name="T4" fmla="*/ 0 w 1"/>
                  <a:gd name="T5" fmla="*/ 2 h 2"/>
                  <a:gd name="T6" fmla="*/ 0 w 1"/>
                  <a:gd name="T7" fmla="*/ 0 h 2"/>
                  <a:gd name="T8" fmla="*/ 1 w 1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1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0" name="Freeform 3421"/>
              <p:cNvSpPr>
                <a:spLocks noChangeAspect="1"/>
              </p:cNvSpPr>
              <p:nvPr/>
            </p:nvSpPr>
            <p:spPr bwMode="auto">
              <a:xfrm>
                <a:off x="6483297" y="1498922"/>
                <a:ext cx="3271" cy="4873"/>
              </a:xfrm>
              <a:custGeom>
                <a:avLst/>
                <a:gdLst>
                  <a:gd name="T0" fmla="*/ 2 w 2"/>
                  <a:gd name="T1" fmla="*/ 2 h 3"/>
                  <a:gd name="T2" fmla="*/ 1 w 2"/>
                  <a:gd name="T3" fmla="*/ 3 h 3"/>
                  <a:gd name="T4" fmla="*/ 0 w 2"/>
                  <a:gd name="T5" fmla="*/ 2 h 3"/>
                  <a:gd name="T6" fmla="*/ 1 w 2"/>
                  <a:gd name="T7" fmla="*/ 0 h 3"/>
                  <a:gd name="T8" fmla="*/ 2 w 2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1" name="Freeform 3422"/>
              <p:cNvSpPr>
                <a:spLocks noChangeAspect="1"/>
              </p:cNvSpPr>
              <p:nvPr/>
            </p:nvSpPr>
            <p:spPr bwMode="auto">
              <a:xfrm>
                <a:off x="6396611" y="1417716"/>
                <a:ext cx="6542" cy="4873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3 h 2"/>
                  <a:gd name="T4" fmla="*/ 1 w 3"/>
                  <a:gd name="T5" fmla="*/ 2 h 2"/>
                  <a:gd name="T6" fmla="*/ 1 w 3"/>
                  <a:gd name="T7" fmla="*/ 0 h 2"/>
                  <a:gd name="T8" fmla="*/ 3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1"/>
                    </a:moveTo>
                    <a:cubicBezTo>
                      <a:pt x="3" y="1"/>
                      <a:pt x="3" y="2"/>
                      <a:pt x="2" y="2"/>
                    </a:cubicBezTo>
                    <a:cubicBezTo>
                      <a:pt x="2" y="2"/>
                      <a:pt x="1" y="2"/>
                      <a:pt x="1" y="1"/>
                    </a:cubicBezTo>
                    <a:cubicBezTo>
                      <a:pt x="1" y="1"/>
                      <a:pt x="0" y="0"/>
                      <a:pt x="1" y="0"/>
                    </a:cubicBezTo>
                    <a:cubicBezTo>
                      <a:pt x="2" y="0"/>
                      <a:pt x="2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2" name="Freeform 3423"/>
              <p:cNvSpPr>
                <a:spLocks noChangeAspect="1"/>
              </p:cNvSpPr>
              <p:nvPr/>
            </p:nvSpPr>
            <p:spPr bwMode="auto">
              <a:xfrm>
                <a:off x="6442407" y="1489177"/>
                <a:ext cx="3271" cy="3248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2 h 2"/>
                  <a:gd name="T4" fmla="*/ 1 w 2"/>
                  <a:gd name="T5" fmla="*/ 0 h 2"/>
                  <a:gd name="T6" fmla="*/ 2 w 2"/>
                  <a:gd name="T7" fmla="*/ 0 h 2"/>
                  <a:gd name="T8" fmla="*/ 1 w 2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2"/>
                  <a:gd name="T17" fmla="*/ 2 w 2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2">
                    <a:moveTo>
                      <a:pt x="1" y="2"/>
                    </a:moveTo>
                    <a:cubicBezTo>
                      <a:pt x="1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2" y="1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3" name="Freeform 3424"/>
              <p:cNvSpPr>
                <a:spLocks noChangeAspect="1"/>
              </p:cNvSpPr>
              <p:nvPr/>
            </p:nvSpPr>
            <p:spPr bwMode="auto">
              <a:xfrm>
                <a:off x="6463669" y="1485929"/>
                <a:ext cx="6542" cy="4873"/>
              </a:xfrm>
              <a:custGeom>
                <a:avLst/>
                <a:gdLst>
                  <a:gd name="T0" fmla="*/ 3 w 3"/>
                  <a:gd name="T1" fmla="*/ 3 h 2"/>
                  <a:gd name="T2" fmla="*/ 0 w 3"/>
                  <a:gd name="T3" fmla="*/ 3 h 2"/>
                  <a:gd name="T4" fmla="*/ 1 w 3"/>
                  <a:gd name="T5" fmla="*/ 2 h 2"/>
                  <a:gd name="T6" fmla="*/ 3 w 3"/>
                  <a:gd name="T7" fmla="*/ 0 h 2"/>
                  <a:gd name="T8" fmla="*/ 3 w 3"/>
                  <a:gd name="T9" fmla="*/ 3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2"/>
                    </a:moveTo>
                    <a:cubicBezTo>
                      <a:pt x="1" y="2"/>
                      <a:pt x="1" y="2"/>
                      <a:pt x="0" y="2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3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4" name="Freeform 3425"/>
              <p:cNvSpPr>
                <a:spLocks noChangeAspect="1"/>
              </p:cNvSpPr>
              <p:nvPr/>
            </p:nvSpPr>
            <p:spPr bwMode="auto">
              <a:xfrm>
                <a:off x="6249408" y="1583377"/>
                <a:ext cx="4907" cy="6497"/>
              </a:xfrm>
              <a:custGeom>
                <a:avLst/>
                <a:gdLst>
                  <a:gd name="T0" fmla="*/ 3 w 2"/>
                  <a:gd name="T1" fmla="*/ 3 h 3"/>
                  <a:gd name="T2" fmla="*/ 2 w 2"/>
                  <a:gd name="T3" fmla="*/ 4 h 3"/>
                  <a:gd name="T4" fmla="*/ 0 w 2"/>
                  <a:gd name="T5" fmla="*/ 3 h 3"/>
                  <a:gd name="T6" fmla="*/ 2 w 2"/>
                  <a:gd name="T7" fmla="*/ 0 h 3"/>
                  <a:gd name="T8" fmla="*/ 3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1" y="3"/>
                      <a:pt x="1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1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5" name="Freeform 3426"/>
              <p:cNvSpPr>
                <a:spLocks noChangeAspect="1"/>
              </p:cNvSpPr>
              <p:nvPr/>
            </p:nvSpPr>
            <p:spPr bwMode="auto">
              <a:xfrm>
                <a:off x="6237958" y="1607739"/>
                <a:ext cx="6542" cy="3248"/>
              </a:xfrm>
              <a:custGeom>
                <a:avLst/>
                <a:gdLst>
                  <a:gd name="T0" fmla="*/ 3 w 3"/>
                  <a:gd name="T1" fmla="*/ 0 h 2"/>
                  <a:gd name="T2" fmla="*/ 4 w 3"/>
                  <a:gd name="T3" fmla="*/ 1 h 2"/>
                  <a:gd name="T4" fmla="*/ 3 w 3"/>
                  <a:gd name="T5" fmla="*/ 2 h 2"/>
                  <a:gd name="T6" fmla="*/ 0 w 3"/>
                  <a:gd name="T7" fmla="*/ 1 h 2"/>
                  <a:gd name="T8" fmla="*/ 3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6" name="Freeform 3427"/>
              <p:cNvSpPr>
                <a:spLocks noChangeAspect="1"/>
              </p:cNvSpPr>
              <p:nvPr/>
            </p:nvSpPr>
            <p:spPr bwMode="auto">
              <a:xfrm>
                <a:off x="6201975" y="1601242"/>
                <a:ext cx="4907" cy="6497"/>
              </a:xfrm>
              <a:custGeom>
                <a:avLst/>
                <a:gdLst>
                  <a:gd name="T0" fmla="*/ 3 w 2"/>
                  <a:gd name="T1" fmla="*/ 1 h 3"/>
                  <a:gd name="T2" fmla="*/ 2 w 2"/>
                  <a:gd name="T3" fmla="*/ 3 h 3"/>
                  <a:gd name="T4" fmla="*/ 0 w 2"/>
                  <a:gd name="T5" fmla="*/ 3 h 3"/>
                  <a:gd name="T6" fmla="*/ 0 w 2"/>
                  <a:gd name="T7" fmla="*/ 0 h 3"/>
                  <a:gd name="T8" fmla="*/ 3 w 2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1"/>
                    </a:moveTo>
                    <a:cubicBezTo>
                      <a:pt x="2" y="2"/>
                      <a:pt x="2" y="2"/>
                      <a:pt x="1" y="2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7" name="Freeform 3428"/>
              <p:cNvSpPr>
                <a:spLocks noChangeAspect="1"/>
              </p:cNvSpPr>
              <p:nvPr/>
            </p:nvSpPr>
            <p:spPr bwMode="auto">
              <a:xfrm>
                <a:off x="6139823" y="1581752"/>
                <a:ext cx="3271" cy="6497"/>
              </a:xfrm>
              <a:custGeom>
                <a:avLst/>
                <a:gdLst>
                  <a:gd name="T0" fmla="*/ 2 w 2"/>
                  <a:gd name="T1" fmla="*/ 3 h 3"/>
                  <a:gd name="T2" fmla="*/ 1 w 2"/>
                  <a:gd name="T3" fmla="*/ 4 h 3"/>
                  <a:gd name="T4" fmla="*/ 0 w 2"/>
                  <a:gd name="T5" fmla="*/ 3 h 3"/>
                  <a:gd name="T6" fmla="*/ 1 w 2"/>
                  <a:gd name="T7" fmla="*/ 1 h 3"/>
                  <a:gd name="T8" fmla="*/ 2 w 2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3"/>
                  <a:gd name="T17" fmla="*/ 2 w 2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3">
                    <a:moveTo>
                      <a:pt x="2" y="2"/>
                    </a:moveTo>
                    <a:cubicBezTo>
                      <a:pt x="2" y="2"/>
                      <a:pt x="2" y="3"/>
                      <a:pt x="1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1"/>
                    </a:cubicBezTo>
                    <a:cubicBezTo>
                      <a:pt x="2" y="1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8" name="Freeform 3429"/>
              <p:cNvSpPr>
                <a:spLocks noChangeAspect="1"/>
              </p:cNvSpPr>
              <p:nvPr/>
            </p:nvSpPr>
            <p:spPr bwMode="auto">
              <a:xfrm>
                <a:off x="6082578" y="1636973"/>
                <a:ext cx="6542" cy="3248"/>
              </a:xfrm>
              <a:custGeom>
                <a:avLst/>
                <a:gdLst>
                  <a:gd name="T0" fmla="*/ 1 w 3"/>
                  <a:gd name="T1" fmla="*/ 2 h 2"/>
                  <a:gd name="T2" fmla="*/ 0 w 3"/>
                  <a:gd name="T3" fmla="*/ 1 h 2"/>
                  <a:gd name="T4" fmla="*/ 1 w 3"/>
                  <a:gd name="T5" fmla="*/ 0 h 2"/>
                  <a:gd name="T6" fmla="*/ 4 w 3"/>
                  <a:gd name="T7" fmla="*/ 1 h 2"/>
                  <a:gd name="T8" fmla="*/ 1 w 3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1" y="2"/>
                    </a:moveTo>
                    <a:cubicBezTo>
                      <a:pt x="1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3" y="1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19" name="Freeform 3430"/>
              <p:cNvSpPr>
                <a:spLocks noChangeAspect="1"/>
              </p:cNvSpPr>
              <p:nvPr/>
            </p:nvSpPr>
            <p:spPr bwMode="auto">
              <a:xfrm>
                <a:off x="5910841" y="1812379"/>
                <a:ext cx="4907" cy="3248"/>
              </a:xfrm>
              <a:custGeom>
                <a:avLst/>
                <a:gdLst>
                  <a:gd name="T0" fmla="*/ 2 w 3"/>
                  <a:gd name="T1" fmla="*/ 0 h 2"/>
                  <a:gd name="T2" fmla="*/ 2 w 3"/>
                  <a:gd name="T3" fmla="*/ 1 h 2"/>
                  <a:gd name="T4" fmla="*/ 1 w 3"/>
                  <a:gd name="T5" fmla="*/ 2 h 2"/>
                  <a:gd name="T6" fmla="*/ 0 w 3"/>
                  <a:gd name="T7" fmla="*/ 0 h 2"/>
                  <a:gd name="T8" fmla="*/ 2 w 3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2"/>
                  <a:gd name="T17" fmla="*/ 3 w 3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2">
                    <a:moveTo>
                      <a:pt x="2" y="0"/>
                    </a:moveTo>
                    <a:cubicBezTo>
                      <a:pt x="2" y="0"/>
                      <a:pt x="3" y="1"/>
                      <a:pt x="2" y="1"/>
                    </a:cubicBezTo>
                    <a:cubicBezTo>
                      <a:pt x="2" y="2"/>
                      <a:pt x="1" y="2"/>
                      <a:pt x="1" y="2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0" name="Freeform 3431"/>
              <p:cNvSpPr>
                <a:spLocks noChangeAspect="1"/>
              </p:cNvSpPr>
              <p:nvPr/>
            </p:nvSpPr>
            <p:spPr bwMode="auto">
              <a:xfrm>
                <a:off x="5943552" y="1622356"/>
                <a:ext cx="40890" cy="27611"/>
              </a:xfrm>
              <a:custGeom>
                <a:avLst/>
                <a:gdLst>
                  <a:gd name="T0" fmla="*/ 8 w 21"/>
                  <a:gd name="T1" fmla="*/ 0 h 14"/>
                  <a:gd name="T2" fmla="*/ 13 w 21"/>
                  <a:gd name="T3" fmla="*/ 2 h 14"/>
                  <a:gd name="T4" fmla="*/ 14 w 21"/>
                  <a:gd name="T5" fmla="*/ 9 h 14"/>
                  <a:gd name="T6" fmla="*/ 18 w 21"/>
                  <a:gd name="T7" fmla="*/ 7 h 14"/>
                  <a:gd name="T8" fmla="*/ 23 w 21"/>
                  <a:gd name="T9" fmla="*/ 13 h 14"/>
                  <a:gd name="T10" fmla="*/ 12 w 21"/>
                  <a:gd name="T11" fmla="*/ 15 h 14"/>
                  <a:gd name="T12" fmla="*/ 5 w 21"/>
                  <a:gd name="T13" fmla="*/ 16 h 14"/>
                  <a:gd name="T14" fmla="*/ 4 w 21"/>
                  <a:gd name="T15" fmla="*/ 15 h 14"/>
                  <a:gd name="T16" fmla="*/ 1 w 21"/>
                  <a:gd name="T17" fmla="*/ 16 h 14"/>
                  <a:gd name="T18" fmla="*/ 1 w 21"/>
                  <a:gd name="T19" fmla="*/ 10 h 14"/>
                  <a:gd name="T20" fmla="*/ 1 w 21"/>
                  <a:gd name="T21" fmla="*/ 4 h 14"/>
                  <a:gd name="T22" fmla="*/ 8 w 21"/>
                  <a:gd name="T23" fmla="*/ 0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1"/>
                  <a:gd name="T37" fmla="*/ 0 h 14"/>
                  <a:gd name="T38" fmla="*/ 21 w 21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1" h="14">
                    <a:moveTo>
                      <a:pt x="7" y="0"/>
                    </a:moveTo>
                    <a:cubicBezTo>
                      <a:pt x="9" y="0"/>
                      <a:pt x="10" y="1"/>
                      <a:pt x="11" y="2"/>
                    </a:cubicBezTo>
                    <a:cubicBezTo>
                      <a:pt x="12" y="4"/>
                      <a:pt x="11" y="6"/>
                      <a:pt x="12" y="7"/>
                    </a:cubicBezTo>
                    <a:cubicBezTo>
                      <a:pt x="13" y="8"/>
                      <a:pt x="14" y="5"/>
                      <a:pt x="15" y="6"/>
                    </a:cubicBezTo>
                    <a:cubicBezTo>
                      <a:pt x="17" y="7"/>
                      <a:pt x="21" y="9"/>
                      <a:pt x="19" y="11"/>
                    </a:cubicBezTo>
                    <a:cubicBezTo>
                      <a:pt x="18" y="13"/>
                      <a:pt x="13" y="11"/>
                      <a:pt x="10" y="12"/>
                    </a:cubicBezTo>
                    <a:cubicBezTo>
                      <a:pt x="8" y="12"/>
                      <a:pt x="6" y="13"/>
                      <a:pt x="4" y="13"/>
                    </a:cubicBezTo>
                    <a:cubicBezTo>
                      <a:pt x="4" y="13"/>
                      <a:pt x="4" y="12"/>
                      <a:pt x="3" y="12"/>
                    </a:cubicBezTo>
                    <a:cubicBezTo>
                      <a:pt x="2" y="12"/>
                      <a:pt x="1" y="14"/>
                      <a:pt x="1" y="13"/>
                    </a:cubicBezTo>
                    <a:cubicBezTo>
                      <a:pt x="0" y="12"/>
                      <a:pt x="1" y="9"/>
                      <a:pt x="1" y="8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5" y="0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1" name="Freeform 3432"/>
              <p:cNvSpPr>
                <a:spLocks noChangeAspect="1"/>
              </p:cNvSpPr>
              <p:nvPr/>
            </p:nvSpPr>
            <p:spPr bwMode="auto">
              <a:xfrm>
                <a:off x="6043324" y="1646718"/>
                <a:ext cx="11450" cy="12993"/>
              </a:xfrm>
              <a:custGeom>
                <a:avLst/>
                <a:gdLst>
                  <a:gd name="T0" fmla="*/ 5 w 6"/>
                  <a:gd name="T1" fmla="*/ 1 h 7"/>
                  <a:gd name="T2" fmla="*/ 5 w 6"/>
                  <a:gd name="T3" fmla="*/ 7 h 7"/>
                  <a:gd name="T4" fmla="*/ 1 w 6"/>
                  <a:gd name="T5" fmla="*/ 3 h 7"/>
                  <a:gd name="T6" fmla="*/ 1 w 6"/>
                  <a:gd name="T7" fmla="*/ 0 h 7"/>
                  <a:gd name="T8" fmla="*/ 5 w 6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"/>
                  <a:gd name="T17" fmla="*/ 6 w 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">
                    <a:moveTo>
                      <a:pt x="4" y="1"/>
                    </a:moveTo>
                    <a:cubicBezTo>
                      <a:pt x="5" y="2"/>
                      <a:pt x="6" y="5"/>
                      <a:pt x="4" y="6"/>
                    </a:cubicBezTo>
                    <a:cubicBezTo>
                      <a:pt x="3" y="7"/>
                      <a:pt x="1" y="5"/>
                      <a:pt x="1" y="3"/>
                    </a:cubicBezTo>
                    <a:cubicBezTo>
                      <a:pt x="0" y="3"/>
                      <a:pt x="0" y="1"/>
                      <a:pt x="1" y="0"/>
                    </a:cubicBezTo>
                    <a:cubicBezTo>
                      <a:pt x="2" y="0"/>
                      <a:pt x="4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2" name="Freeform 3433"/>
              <p:cNvSpPr>
                <a:spLocks noChangeAspect="1"/>
              </p:cNvSpPr>
              <p:nvPr/>
            </p:nvSpPr>
            <p:spPr bwMode="auto">
              <a:xfrm>
                <a:off x="6133281" y="1640221"/>
                <a:ext cx="19627" cy="24362"/>
              </a:xfrm>
              <a:custGeom>
                <a:avLst/>
                <a:gdLst>
                  <a:gd name="T0" fmla="*/ 8 w 10"/>
                  <a:gd name="T1" fmla="*/ 1 h 12"/>
                  <a:gd name="T2" fmla="*/ 5 w 10"/>
                  <a:gd name="T3" fmla="*/ 0 h 12"/>
                  <a:gd name="T4" fmla="*/ 0 w 10"/>
                  <a:gd name="T5" fmla="*/ 10 h 12"/>
                  <a:gd name="T6" fmla="*/ 6 w 10"/>
                  <a:gd name="T7" fmla="*/ 15 h 12"/>
                  <a:gd name="T8" fmla="*/ 11 w 10"/>
                  <a:gd name="T9" fmla="*/ 14 h 12"/>
                  <a:gd name="T10" fmla="*/ 10 w 10"/>
                  <a:gd name="T11" fmla="*/ 10 h 12"/>
                  <a:gd name="T12" fmla="*/ 10 w 10"/>
                  <a:gd name="T13" fmla="*/ 5 h 12"/>
                  <a:gd name="T14" fmla="*/ 8 w 10"/>
                  <a:gd name="T15" fmla="*/ 1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12"/>
                  <a:gd name="T26" fmla="*/ 10 w 10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12">
                    <a:moveTo>
                      <a:pt x="7" y="1"/>
                    </a:moveTo>
                    <a:cubicBezTo>
                      <a:pt x="6" y="0"/>
                      <a:pt x="5" y="0"/>
                      <a:pt x="4" y="0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1" y="10"/>
                      <a:pt x="3" y="11"/>
                      <a:pt x="5" y="12"/>
                    </a:cubicBezTo>
                    <a:cubicBezTo>
                      <a:pt x="6" y="12"/>
                      <a:pt x="8" y="12"/>
                      <a:pt x="9" y="11"/>
                    </a:cubicBezTo>
                    <a:cubicBezTo>
                      <a:pt x="10" y="10"/>
                      <a:pt x="8" y="9"/>
                      <a:pt x="8" y="8"/>
                    </a:cubicBezTo>
                    <a:cubicBezTo>
                      <a:pt x="8" y="6"/>
                      <a:pt x="8" y="5"/>
                      <a:pt x="8" y="4"/>
                    </a:cubicBezTo>
                    <a:cubicBezTo>
                      <a:pt x="7" y="3"/>
                      <a:pt x="8" y="2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3" name="Freeform 3434"/>
              <p:cNvSpPr>
                <a:spLocks noChangeAspect="1"/>
              </p:cNvSpPr>
              <p:nvPr/>
            </p:nvSpPr>
            <p:spPr bwMode="auto">
              <a:xfrm>
                <a:off x="6102205" y="1664584"/>
                <a:ext cx="29441" cy="21114"/>
              </a:xfrm>
              <a:custGeom>
                <a:avLst/>
                <a:gdLst>
                  <a:gd name="T0" fmla="*/ 8 w 15"/>
                  <a:gd name="T1" fmla="*/ 1 h 11"/>
                  <a:gd name="T2" fmla="*/ 17 w 15"/>
                  <a:gd name="T3" fmla="*/ 2 h 11"/>
                  <a:gd name="T4" fmla="*/ 16 w 15"/>
                  <a:gd name="T5" fmla="*/ 6 h 11"/>
                  <a:gd name="T6" fmla="*/ 11 w 15"/>
                  <a:gd name="T7" fmla="*/ 11 h 11"/>
                  <a:gd name="T8" fmla="*/ 2 w 15"/>
                  <a:gd name="T9" fmla="*/ 13 h 11"/>
                  <a:gd name="T10" fmla="*/ 1 w 15"/>
                  <a:gd name="T11" fmla="*/ 11 h 11"/>
                  <a:gd name="T12" fmla="*/ 6 w 15"/>
                  <a:gd name="T13" fmla="*/ 5 h 11"/>
                  <a:gd name="T14" fmla="*/ 8 w 15"/>
                  <a:gd name="T15" fmla="*/ 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11"/>
                  <a:gd name="T26" fmla="*/ 15 w 15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11">
                    <a:moveTo>
                      <a:pt x="7" y="1"/>
                    </a:moveTo>
                    <a:cubicBezTo>
                      <a:pt x="9" y="0"/>
                      <a:pt x="12" y="1"/>
                      <a:pt x="14" y="2"/>
                    </a:cubicBezTo>
                    <a:cubicBezTo>
                      <a:pt x="15" y="3"/>
                      <a:pt x="14" y="4"/>
                      <a:pt x="13" y="5"/>
                    </a:cubicBezTo>
                    <a:cubicBezTo>
                      <a:pt x="12" y="7"/>
                      <a:pt x="11" y="9"/>
                      <a:pt x="9" y="9"/>
                    </a:cubicBezTo>
                    <a:cubicBezTo>
                      <a:pt x="7" y="11"/>
                      <a:pt x="4" y="11"/>
                      <a:pt x="2" y="11"/>
                    </a:cubicBezTo>
                    <a:cubicBezTo>
                      <a:pt x="1" y="11"/>
                      <a:pt x="0" y="9"/>
                      <a:pt x="1" y="9"/>
                    </a:cubicBezTo>
                    <a:cubicBezTo>
                      <a:pt x="1" y="7"/>
                      <a:pt x="3" y="5"/>
                      <a:pt x="5" y="4"/>
                    </a:cubicBezTo>
                    <a:cubicBezTo>
                      <a:pt x="5" y="3"/>
                      <a:pt x="6" y="1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4" name="Freeform 3435"/>
              <p:cNvSpPr>
                <a:spLocks noChangeAspect="1"/>
              </p:cNvSpPr>
              <p:nvPr/>
            </p:nvSpPr>
            <p:spPr bwMode="auto">
              <a:xfrm>
                <a:off x="6172535" y="1539525"/>
                <a:ext cx="16356" cy="21114"/>
              </a:xfrm>
              <a:custGeom>
                <a:avLst/>
                <a:gdLst>
                  <a:gd name="T0" fmla="*/ 7 w 8"/>
                  <a:gd name="T1" fmla="*/ 1 h 11"/>
                  <a:gd name="T2" fmla="*/ 9 w 8"/>
                  <a:gd name="T3" fmla="*/ 7 h 11"/>
                  <a:gd name="T4" fmla="*/ 6 w 8"/>
                  <a:gd name="T5" fmla="*/ 12 h 11"/>
                  <a:gd name="T6" fmla="*/ 3 w 8"/>
                  <a:gd name="T7" fmla="*/ 7 h 11"/>
                  <a:gd name="T8" fmla="*/ 7 w 8"/>
                  <a:gd name="T9" fmla="*/ 1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1"/>
                  <a:gd name="T17" fmla="*/ 8 w 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1">
                    <a:moveTo>
                      <a:pt x="6" y="1"/>
                    </a:moveTo>
                    <a:cubicBezTo>
                      <a:pt x="7" y="0"/>
                      <a:pt x="8" y="4"/>
                      <a:pt x="7" y="6"/>
                    </a:cubicBezTo>
                    <a:cubicBezTo>
                      <a:pt x="7" y="7"/>
                      <a:pt x="6" y="11"/>
                      <a:pt x="5" y="10"/>
                    </a:cubicBezTo>
                    <a:cubicBezTo>
                      <a:pt x="5" y="8"/>
                      <a:pt x="3" y="6"/>
                      <a:pt x="2" y="6"/>
                    </a:cubicBezTo>
                    <a:cubicBezTo>
                      <a:pt x="0" y="7"/>
                      <a:pt x="4" y="2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5" name="Freeform 3436"/>
              <p:cNvSpPr>
                <a:spLocks noChangeAspect="1"/>
              </p:cNvSpPr>
              <p:nvPr/>
            </p:nvSpPr>
            <p:spPr bwMode="auto">
              <a:xfrm>
                <a:off x="6426051" y="1463191"/>
                <a:ext cx="19627" cy="17866"/>
              </a:xfrm>
              <a:custGeom>
                <a:avLst/>
                <a:gdLst>
                  <a:gd name="T0" fmla="*/ 8 w 10"/>
                  <a:gd name="T1" fmla="*/ 0 h 9"/>
                  <a:gd name="T2" fmla="*/ 12 w 10"/>
                  <a:gd name="T3" fmla="*/ 1 h 9"/>
                  <a:gd name="T4" fmla="*/ 7 w 10"/>
                  <a:gd name="T5" fmla="*/ 11 h 9"/>
                  <a:gd name="T6" fmla="*/ 5 w 10"/>
                  <a:gd name="T7" fmla="*/ 9 h 9"/>
                  <a:gd name="T8" fmla="*/ 0 w 10"/>
                  <a:gd name="T9" fmla="*/ 7 h 9"/>
                  <a:gd name="T10" fmla="*/ 7 w 10"/>
                  <a:gd name="T11" fmla="*/ 4 h 9"/>
                  <a:gd name="T12" fmla="*/ 8 w 10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9"/>
                  <a:gd name="T23" fmla="*/ 10 w 10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9">
                    <a:moveTo>
                      <a:pt x="7" y="0"/>
                    </a:moveTo>
                    <a:cubicBezTo>
                      <a:pt x="8" y="0"/>
                      <a:pt x="10" y="0"/>
                      <a:pt x="10" y="1"/>
                    </a:cubicBezTo>
                    <a:cubicBezTo>
                      <a:pt x="10" y="4"/>
                      <a:pt x="8" y="7"/>
                      <a:pt x="6" y="9"/>
                    </a:cubicBezTo>
                    <a:cubicBezTo>
                      <a:pt x="5" y="9"/>
                      <a:pt x="5" y="7"/>
                      <a:pt x="4" y="7"/>
                    </a:cubicBezTo>
                    <a:cubicBezTo>
                      <a:pt x="3" y="6"/>
                      <a:pt x="0" y="8"/>
                      <a:pt x="0" y="6"/>
                    </a:cubicBezTo>
                    <a:cubicBezTo>
                      <a:pt x="1" y="4"/>
                      <a:pt x="4" y="4"/>
                      <a:pt x="6" y="3"/>
                    </a:cubicBezTo>
                    <a:cubicBezTo>
                      <a:pt x="7" y="2"/>
                      <a:pt x="6" y="1"/>
                      <a:pt x="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6" name="Freeform 3437"/>
              <p:cNvSpPr>
                <a:spLocks noChangeAspect="1"/>
              </p:cNvSpPr>
              <p:nvPr/>
            </p:nvSpPr>
            <p:spPr bwMode="auto">
              <a:xfrm>
                <a:off x="6457127" y="1500546"/>
                <a:ext cx="24534" cy="11369"/>
              </a:xfrm>
              <a:custGeom>
                <a:avLst/>
                <a:gdLst>
                  <a:gd name="T0" fmla="*/ 4 w 12"/>
                  <a:gd name="T1" fmla="*/ 0 h 6"/>
                  <a:gd name="T2" fmla="*/ 1 w 12"/>
                  <a:gd name="T3" fmla="*/ 5 h 6"/>
                  <a:gd name="T4" fmla="*/ 10 w 12"/>
                  <a:gd name="T5" fmla="*/ 7 h 6"/>
                  <a:gd name="T6" fmla="*/ 15 w 12"/>
                  <a:gd name="T7" fmla="*/ 6 h 6"/>
                  <a:gd name="T8" fmla="*/ 10 w 12"/>
                  <a:gd name="T9" fmla="*/ 2 h 6"/>
                  <a:gd name="T10" fmla="*/ 4 w 12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6"/>
                  <a:gd name="T20" fmla="*/ 12 w 12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6">
                    <a:moveTo>
                      <a:pt x="3" y="0"/>
                    </a:moveTo>
                    <a:cubicBezTo>
                      <a:pt x="2" y="1"/>
                      <a:pt x="0" y="3"/>
                      <a:pt x="1" y="4"/>
                    </a:cubicBezTo>
                    <a:cubicBezTo>
                      <a:pt x="3" y="5"/>
                      <a:pt x="6" y="6"/>
                      <a:pt x="8" y="6"/>
                    </a:cubicBezTo>
                    <a:cubicBezTo>
                      <a:pt x="10" y="6"/>
                      <a:pt x="12" y="6"/>
                      <a:pt x="12" y="5"/>
                    </a:cubicBezTo>
                    <a:cubicBezTo>
                      <a:pt x="12" y="3"/>
                      <a:pt x="10" y="2"/>
                      <a:pt x="8" y="2"/>
                    </a:cubicBezTo>
                    <a:cubicBezTo>
                      <a:pt x="7" y="1"/>
                      <a:pt x="5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7" name="Freeform 3438"/>
              <p:cNvSpPr>
                <a:spLocks noChangeAspect="1"/>
              </p:cNvSpPr>
              <p:nvPr/>
            </p:nvSpPr>
            <p:spPr bwMode="auto">
              <a:xfrm>
                <a:off x="6668118" y="1416091"/>
                <a:ext cx="24534" cy="11369"/>
              </a:xfrm>
              <a:custGeom>
                <a:avLst/>
                <a:gdLst>
                  <a:gd name="T0" fmla="*/ 13 w 13"/>
                  <a:gd name="T1" fmla="*/ 0 h 6"/>
                  <a:gd name="T2" fmla="*/ 15 w 13"/>
                  <a:gd name="T3" fmla="*/ 4 h 6"/>
                  <a:gd name="T4" fmla="*/ 13 w 13"/>
                  <a:gd name="T5" fmla="*/ 7 h 6"/>
                  <a:gd name="T6" fmla="*/ 8 w 13"/>
                  <a:gd name="T7" fmla="*/ 6 h 6"/>
                  <a:gd name="T8" fmla="*/ 1 w 13"/>
                  <a:gd name="T9" fmla="*/ 5 h 6"/>
                  <a:gd name="T10" fmla="*/ 0 w 13"/>
                  <a:gd name="T11" fmla="*/ 2 h 6"/>
                  <a:gd name="T12" fmla="*/ 5 w 13"/>
                  <a:gd name="T13" fmla="*/ 1 h 6"/>
                  <a:gd name="T14" fmla="*/ 8 w 13"/>
                  <a:gd name="T15" fmla="*/ 1 h 6"/>
                  <a:gd name="T16" fmla="*/ 13 w 13"/>
                  <a:gd name="T17" fmla="*/ 0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6"/>
                  <a:gd name="T29" fmla="*/ 13 w 13"/>
                  <a:gd name="T30" fmla="*/ 6 h 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6">
                    <a:moveTo>
                      <a:pt x="11" y="0"/>
                    </a:moveTo>
                    <a:cubicBezTo>
                      <a:pt x="12" y="0"/>
                      <a:pt x="13" y="2"/>
                      <a:pt x="13" y="3"/>
                    </a:cubicBezTo>
                    <a:cubicBezTo>
                      <a:pt x="13" y="4"/>
                      <a:pt x="12" y="6"/>
                      <a:pt x="11" y="6"/>
                    </a:cubicBezTo>
                    <a:cubicBezTo>
                      <a:pt x="9" y="6"/>
                      <a:pt x="8" y="5"/>
                      <a:pt x="7" y="5"/>
                    </a:cubicBezTo>
                    <a:cubicBezTo>
                      <a:pt x="5" y="4"/>
                      <a:pt x="3" y="5"/>
                      <a:pt x="1" y="4"/>
                    </a:cubicBezTo>
                    <a:cubicBezTo>
                      <a:pt x="0" y="4"/>
                      <a:pt x="0" y="2"/>
                      <a:pt x="0" y="2"/>
                    </a:cubicBezTo>
                    <a:cubicBezTo>
                      <a:pt x="1" y="1"/>
                      <a:pt x="3" y="1"/>
                      <a:pt x="4" y="1"/>
                    </a:cubicBezTo>
                    <a:cubicBezTo>
                      <a:pt x="5" y="1"/>
                      <a:pt x="6" y="1"/>
                      <a:pt x="7" y="1"/>
                    </a:cubicBezTo>
                    <a:cubicBezTo>
                      <a:pt x="9" y="1"/>
                      <a:pt x="10" y="0"/>
                      <a:pt x="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8" name="Freeform 3439"/>
              <p:cNvSpPr>
                <a:spLocks noChangeAspect="1"/>
              </p:cNvSpPr>
              <p:nvPr/>
            </p:nvSpPr>
            <p:spPr bwMode="auto">
              <a:xfrm>
                <a:off x="6656669" y="1407971"/>
                <a:ext cx="13085" cy="9745"/>
              </a:xfrm>
              <a:custGeom>
                <a:avLst/>
                <a:gdLst>
                  <a:gd name="T0" fmla="*/ 5 w 7"/>
                  <a:gd name="T1" fmla="*/ 0 h 5"/>
                  <a:gd name="T2" fmla="*/ 8 w 7"/>
                  <a:gd name="T3" fmla="*/ 2 h 5"/>
                  <a:gd name="T4" fmla="*/ 5 w 7"/>
                  <a:gd name="T5" fmla="*/ 4 h 5"/>
                  <a:gd name="T6" fmla="*/ 2 w 7"/>
                  <a:gd name="T7" fmla="*/ 6 h 5"/>
                  <a:gd name="T8" fmla="*/ 0 w 7"/>
                  <a:gd name="T9" fmla="*/ 4 h 5"/>
                  <a:gd name="T10" fmla="*/ 2 w 7"/>
                  <a:gd name="T11" fmla="*/ 1 h 5"/>
                  <a:gd name="T12" fmla="*/ 5 w 7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5"/>
                  <a:gd name="T23" fmla="*/ 7 w 7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5">
                    <a:moveTo>
                      <a:pt x="4" y="0"/>
                    </a:moveTo>
                    <a:cubicBezTo>
                      <a:pt x="5" y="0"/>
                      <a:pt x="7" y="1"/>
                      <a:pt x="7" y="2"/>
                    </a:cubicBezTo>
                    <a:cubicBezTo>
                      <a:pt x="7" y="3"/>
                      <a:pt x="5" y="2"/>
                      <a:pt x="4" y="3"/>
                    </a:cubicBezTo>
                    <a:cubicBezTo>
                      <a:pt x="3" y="3"/>
                      <a:pt x="3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2"/>
                      <a:pt x="2" y="2"/>
                      <a:pt x="2" y="1"/>
                    </a:cubicBezTo>
                    <a:cubicBezTo>
                      <a:pt x="3" y="1"/>
                      <a:pt x="3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29" name="Freeform 3440"/>
              <p:cNvSpPr>
                <a:spLocks noChangeAspect="1"/>
              </p:cNvSpPr>
              <p:nvPr/>
            </p:nvSpPr>
            <p:spPr bwMode="auto">
              <a:xfrm>
                <a:off x="6525822" y="1355999"/>
                <a:ext cx="112856" cy="77958"/>
              </a:xfrm>
              <a:custGeom>
                <a:avLst/>
                <a:gdLst>
                  <a:gd name="T0" fmla="*/ 64 w 57"/>
                  <a:gd name="T1" fmla="*/ 22 h 40"/>
                  <a:gd name="T2" fmla="*/ 65 w 57"/>
                  <a:gd name="T3" fmla="*/ 35 h 40"/>
                  <a:gd name="T4" fmla="*/ 40 w 57"/>
                  <a:gd name="T5" fmla="*/ 40 h 40"/>
                  <a:gd name="T6" fmla="*/ 19 w 57"/>
                  <a:gd name="T7" fmla="*/ 40 h 40"/>
                  <a:gd name="T8" fmla="*/ 5 w 57"/>
                  <a:gd name="T9" fmla="*/ 47 h 40"/>
                  <a:gd name="T10" fmla="*/ 1 w 57"/>
                  <a:gd name="T11" fmla="*/ 44 h 40"/>
                  <a:gd name="T12" fmla="*/ 1 w 57"/>
                  <a:gd name="T13" fmla="*/ 29 h 40"/>
                  <a:gd name="T14" fmla="*/ 6 w 57"/>
                  <a:gd name="T15" fmla="*/ 23 h 40"/>
                  <a:gd name="T16" fmla="*/ 11 w 57"/>
                  <a:gd name="T17" fmla="*/ 24 h 40"/>
                  <a:gd name="T18" fmla="*/ 8 w 57"/>
                  <a:gd name="T19" fmla="*/ 16 h 40"/>
                  <a:gd name="T20" fmla="*/ 16 w 57"/>
                  <a:gd name="T21" fmla="*/ 5 h 40"/>
                  <a:gd name="T22" fmla="*/ 22 w 57"/>
                  <a:gd name="T23" fmla="*/ 13 h 40"/>
                  <a:gd name="T24" fmla="*/ 23 w 57"/>
                  <a:gd name="T25" fmla="*/ 2 h 40"/>
                  <a:gd name="T26" fmla="*/ 29 w 57"/>
                  <a:gd name="T27" fmla="*/ 2 h 40"/>
                  <a:gd name="T28" fmla="*/ 31 w 57"/>
                  <a:gd name="T29" fmla="*/ 13 h 40"/>
                  <a:gd name="T30" fmla="*/ 36 w 57"/>
                  <a:gd name="T31" fmla="*/ 7 h 40"/>
                  <a:gd name="T32" fmla="*/ 40 w 57"/>
                  <a:gd name="T33" fmla="*/ 12 h 40"/>
                  <a:gd name="T34" fmla="*/ 44 w 57"/>
                  <a:gd name="T35" fmla="*/ 10 h 40"/>
                  <a:gd name="T36" fmla="*/ 54 w 57"/>
                  <a:gd name="T37" fmla="*/ 19 h 40"/>
                  <a:gd name="T38" fmla="*/ 56 w 57"/>
                  <a:gd name="T39" fmla="*/ 16 h 40"/>
                  <a:gd name="T40" fmla="*/ 64 w 57"/>
                  <a:gd name="T41" fmla="*/ 22 h 4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7"/>
                  <a:gd name="T64" fmla="*/ 0 h 40"/>
                  <a:gd name="T65" fmla="*/ 57 w 57"/>
                  <a:gd name="T66" fmla="*/ 40 h 4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7" h="40">
                    <a:moveTo>
                      <a:pt x="53" y="18"/>
                    </a:moveTo>
                    <a:cubicBezTo>
                      <a:pt x="55" y="21"/>
                      <a:pt x="57" y="27"/>
                      <a:pt x="54" y="29"/>
                    </a:cubicBezTo>
                    <a:cubicBezTo>
                      <a:pt x="48" y="30"/>
                      <a:pt x="40" y="31"/>
                      <a:pt x="33" y="33"/>
                    </a:cubicBezTo>
                    <a:cubicBezTo>
                      <a:pt x="28" y="35"/>
                      <a:pt x="22" y="32"/>
                      <a:pt x="16" y="33"/>
                    </a:cubicBezTo>
                    <a:cubicBezTo>
                      <a:pt x="12" y="34"/>
                      <a:pt x="8" y="38"/>
                      <a:pt x="4" y="39"/>
                    </a:cubicBezTo>
                    <a:cubicBezTo>
                      <a:pt x="3" y="40"/>
                      <a:pt x="1" y="38"/>
                      <a:pt x="1" y="37"/>
                    </a:cubicBezTo>
                    <a:cubicBezTo>
                      <a:pt x="0" y="33"/>
                      <a:pt x="0" y="28"/>
                      <a:pt x="1" y="24"/>
                    </a:cubicBezTo>
                    <a:cubicBezTo>
                      <a:pt x="1" y="22"/>
                      <a:pt x="3" y="20"/>
                      <a:pt x="5" y="19"/>
                    </a:cubicBezTo>
                    <a:cubicBezTo>
                      <a:pt x="6" y="19"/>
                      <a:pt x="8" y="21"/>
                      <a:pt x="9" y="20"/>
                    </a:cubicBezTo>
                    <a:cubicBezTo>
                      <a:pt x="10" y="17"/>
                      <a:pt x="7" y="15"/>
                      <a:pt x="7" y="13"/>
                    </a:cubicBezTo>
                    <a:cubicBezTo>
                      <a:pt x="8" y="10"/>
                      <a:pt x="10" y="5"/>
                      <a:pt x="13" y="4"/>
                    </a:cubicBezTo>
                    <a:cubicBezTo>
                      <a:pt x="16" y="4"/>
                      <a:pt x="15" y="12"/>
                      <a:pt x="18" y="11"/>
                    </a:cubicBezTo>
                    <a:cubicBezTo>
                      <a:pt x="20" y="10"/>
                      <a:pt x="17" y="4"/>
                      <a:pt x="19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4" y="10"/>
                      <a:pt x="26" y="11"/>
                    </a:cubicBezTo>
                    <a:cubicBezTo>
                      <a:pt x="28" y="13"/>
                      <a:pt x="28" y="6"/>
                      <a:pt x="30" y="6"/>
                    </a:cubicBezTo>
                    <a:cubicBezTo>
                      <a:pt x="32" y="5"/>
                      <a:pt x="32" y="9"/>
                      <a:pt x="33" y="10"/>
                    </a:cubicBezTo>
                    <a:cubicBezTo>
                      <a:pt x="35" y="10"/>
                      <a:pt x="35" y="7"/>
                      <a:pt x="36" y="8"/>
                    </a:cubicBezTo>
                    <a:cubicBezTo>
                      <a:pt x="40" y="9"/>
                      <a:pt x="41" y="14"/>
                      <a:pt x="45" y="16"/>
                    </a:cubicBezTo>
                    <a:cubicBezTo>
                      <a:pt x="46" y="16"/>
                      <a:pt x="45" y="13"/>
                      <a:pt x="46" y="13"/>
                    </a:cubicBezTo>
                    <a:cubicBezTo>
                      <a:pt x="49" y="14"/>
                      <a:pt x="52" y="16"/>
                      <a:pt x="53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0" name="Freeform 3441"/>
              <p:cNvSpPr>
                <a:spLocks noChangeAspect="1"/>
              </p:cNvSpPr>
              <p:nvPr/>
            </p:nvSpPr>
            <p:spPr bwMode="auto">
              <a:xfrm>
                <a:off x="6368805" y="1318643"/>
                <a:ext cx="153745" cy="79583"/>
              </a:xfrm>
              <a:custGeom>
                <a:avLst/>
                <a:gdLst>
                  <a:gd name="T0" fmla="*/ 78 w 78"/>
                  <a:gd name="T1" fmla="*/ 8 h 41"/>
                  <a:gd name="T2" fmla="*/ 88 w 78"/>
                  <a:gd name="T3" fmla="*/ 16 h 41"/>
                  <a:gd name="T4" fmla="*/ 89 w 78"/>
                  <a:gd name="T5" fmla="*/ 26 h 41"/>
                  <a:gd name="T6" fmla="*/ 80 w 78"/>
                  <a:gd name="T7" fmla="*/ 25 h 41"/>
                  <a:gd name="T8" fmla="*/ 80 w 78"/>
                  <a:gd name="T9" fmla="*/ 30 h 41"/>
                  <a:gd name="T10" fmla="*/ 92 w 78"/>
                  <a:gd name="T11" fmla="*/ 38 h 41"/>
                  <a:gd name="T12" fmla="*/ 92 w 78"/>
                  <a:gd name="T13" fmla="*/ 47 h 41"/>
                  <a:gd name="T14" fmla="*/ 69 w 78"/>
                  <a:gd name="T15" fmla="*/ 47 h 41"/>
                  <a:gd name="T16" fmla="*/ 54 w 78"/>
                  <a:gd name="T17" fmla="*/ 41 h 41"/>
                  <a:gd name="T18" fmla="*/ 42 w 78"/>
                  <a:gd name="T19" fmla="*/ 37 h 41"/>
                  <a:gd name="T20" fmla="*/ 36 w 78"/>
                  <a:gd name="T21" fmla="*/ 33 h 41"/>
                  <a:gd name="T22" fmla="*/ 30 w 78"/>
                  <a:gd name="T23" fmla="*/ 36 h 41"/>
                  <a:gd name="T24" fmla="*/ 16 w 78"/>
                  <a:gd name="T25" fmla="*/ 30 h 41"/>
                  <a:gd name="T26" fmla="*/ 16 w 78"/>
                  <a:gd name="T27" fmla="*/ 24 h 41"/>
                  <a:gd name="T28" fmla="*/ 1 w 78"/>
                  <a:gd name="T29" fmla="*/ 23 h 41"/>
                  <a:gd name="T30" fmla="*/ 1 w 78"/>
                  <a:gd name="T31" fmla="*/ 19 h 41"/>
                  <a:gd name="T32" fmla="*/ 17 w 78"/>
                  <a:gd name="T33" fmla="*/ 16 h 41"/>
                  <a:gd name="T34" fmla="*/ 18 w 78"/>
                  <a:gd name="T35" fmla="*/ 8 h 41"/>
                  <a:gd name="T36" fmla="*/ 28 w 78"/>
                  <a:gd name="T37" fmla="*/ 5 h 41"/>
                  <a:gd name="T38" fmla="*/ 41 w 78"/>
                  <a:gd name="T39" fmla="*/ 4 h 41"/>
                  <a:gd name="T40" fmla="*/ 49 w 78"/>
                  <a:gd name="T41" fmla="*/ 0 h 41"/>
                  <a:gd name="T42" fmla="*/ 60 w 78"/>
                  <a:gd name="T43" fmla="*/ 6 h 41"/>
                  <a:gd name="T44" fmla="*/ 60 w 78"/>
                  <a:gd name="T45" fmla="*/ 12 h 41"/>
                  <a:gd name="T46" fmla="*/ 57 w 78"/>
                  <a:gd name="T47" fmla="*/ 18 h 41"/>
                  <a:gd name="T48" fmla="*/ 60 w 78"/>
                  <a:gd name="T49" fmla="*/ 18 h 41"/>
                  <a:gd name="T50" fmla="*/ 65 w 78"/>
                  <a:gd name="T51" fmla="*/ 12 h 41"/>
                  <a:gd name="T52" fmla="*/ 66 w 78"/>
                  <a:gd name="T53" fmla="*/ 6 h 41"/>
                  <a:gd name="T54" fmla="*/ 72 w 78"/>
                  <a:gd name="T55" fmla="*/ 6 h 41"/>
                  <a:gd name="T56" fmla="*/ 75 w 78"/>
                  <a:gd name="T57" fmla="*/ 8 h 41"/>
                  <a:gd name="T58" fmla="*/ 78 w 78"/>
                  <a:gd name="T59" fmla="*/ 8 h 41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78"/>
                  <a:gd name="T91" fmla="*/ 0 h 41"/>
                  <a:gd name="T92" fmla="*/ 78 w 78"/>
                  <a:gd name="T93" fmla="*/ 41 h 41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78" h="41">
                    <a:moveTo>
                      <a:pt x="65" y="7"/>
                    </a:moveTo>
                    <a:cubicBezTo>
                      <a:pt x="68" y="8"/>
                      <a:pt x="71" y="10"/>
                      <a:pt x="73" y="13"/>
                    </a:cubicBezTo>
                    <a:cubicBezTo>
                      <a:pt x="75" y="15"/>
                      <a:pt x="76" y="20"/>
                      <a:pt x="74" y="22"/>
                    </a:cubicBezTo>
                    <a:cubicBezTo>
                      <a:pt x="73" y="24"/>
                      <a:pt x="69" y="20"/>
                      <a:pt x="66" y="21"/>
                    </a:cubicBezTo>
                    <a:cubicBezTo>
                      <a:pt x="65" y="22"/>
                      <a:pt x="65" y="24"/>
                      <a:pt x="66" y="25"/>
                    </a:cubicBezTo>
                    <a:cubicBezTo>
                      <a:pt x="69" y="28"/>
                      <a:pt x="73" y="29"/>
                      <a:pt x="76" y="32"/>
                    </a:cubicBezTo>
                    <a:cubicBezTo>
                      <a:pt x="77" y="34"/>
                      <a:pt x="78" y="38"/>
                      <a:pt x="76" y="39"/>
                    </a:cubicBezTo>
                    <a:cubicBezTo>
                      <a:pt x="70" y="41"/>
                      <a:pt x="63" y="40"/>
                      <a:pt x="57" y="39"/>
                    </a:cubicBezTo>
                    <a:cubicBezTo>
                      <a:pt x="53" y="38"/>
                      <a:pt x="49" y="36"/>
                      <a:pt x="45" y="34"/>
                    </a:cubicBezTo>
                    <a:cubicBezTo>
                      <a:pt x="41" y="33"/>
                      <a:pt x="38" y="33"/>
                      <a:pt x="35" y="31"/>
                    </a:cubicBezTo>
                    <a:cubicBezTo>
                      <a:pt x="33" y="30"/>
                      <a:pt x="32" y="28"/>
                      <a:pt x="30" y="28"/>
                    </a:cubicBezTo>
                    <a:cubicBezTo>
                      <a:pt x="28" y="27"/>
                      <a:pt x="26" y="30"/>
                      <a:pt x="25" y="30"/>
                    </a:cubicBezTo>
                    <a:cubicBezTo>
                      <a:pt x="20" y="29"/>
                      <a:pt x="16" y="28"/>
                      <a:pt x="13" y="25"/>
                    </a:cubicBezTo>
                    <a:cubicBezTo>
                      <a:pt x="11" y="24"/>
                      <a:pt x="14" y="20"/>
                      <a:pt x="13" y="20"/>
                    </a:cubicBezTo>
                    <a:cubicBezTo>
                      <a:pt x="9" y="18"/>
                      <a:pt x="4" y="20"/>
                      <a:pt x="1" y="19"/>
                    </a:cubicBezTo>
                    <a:cubicBezTo>
                      <a:pt x="0" y="19"/>
                      <a:pt x="0" y="17"/>
                      <a:pt x="1" y="16"/>
                    </a:cubicBezTo>
                    <a:cubicBezTo>
                      <a:pt x="5" y="15"/>
                      <a:pt x="10" y="16"/>
                      <a:pt x="14" y="13"/>
                    </a:cubicBezTo>
                    <a:cubicBezTo>
                      <a:pt x="16" y="12"/>
                      <a:pt x="13" y="9"/>
                      <a:pt x="15" y="7"/>
                    </a:cubicBezTo>
                    <a:cubicBezTo>
                      <a:pt x="17" y="5"/>
                      <a:pt x="20" y="5"/>
                      <a:pt x="23" y="4"/>
                    </a:cubicBezTo>
                    <a:cubicBezTo>
                      <a:pt x="27" y="3"/>
                      <a:pt x="30" y="4"/>
                      <a:pt x="34" y="3"/>
                    </a:cubicBezTo>
                    <a:cubicBezTo>
                      <a:pt x="37" y="3"/>
                      <a:pt x="39" y="0"/>
                      <a:pt x="41" y="0"/>
                    </a:cubicBezTo>
                    <a:cubicBezTo>
                      <a:pt x="44" y="1"/>
                      <a:pt x="48" y="2"/>
                      <a:pt x="50" y="5"/>
                    </a:cubicBezTo>
                    <a:cubicBezTo>
                      <a:pt x="51" y="6"/>
                      <a:pt x="50" y="8"/>
                      <a:pt x="50" y="10"/>
                    </a:cubicBezTo>
                    <a:cubicBezTo>
                      <a:pt x="49" y="12"/>
                      <a:pt x="47" y="13"/>
                      <a:pt x="47" y="15"/>
                    </a:cubicBezTo>
                    <a:cubicBezTo>
                      <a:pt x="47" y="16"/>
                      <a:pt x="49" y="16"/>
                      <a:pt x="50" y="15"/>
                    </a:cubicBezTo>
                    <a:cubicBezTo>
                      <a:pt x="52" y="14"/>
                      <a:pt x="53" y="12"/>
                      <a:pt x="54" y="10"/>
                    </a:cubicBezTo>
                    <a:cubicBezTo>
                      <a:pt x="55" y="9"/>
                      <a:pt x="53" y="6"/>
                      <a:pt x="55" y="5"/>
                    </a:cubicBezTo>
                    <a:cubicBezTo>
                      <a:pt x="56" y="4"/>
                      <a:pt x="58" y="5"/>
                      <a:pt x="60" y="5"/>
                    </a:cubicBezTo>
                    <a:cubicBezTo>
                      <a:pt x="61" y="6"/>
                      <a:pt x="61" y="7"/>
                      <a:pt x="62" y="7"/>
                    </a:cubicBezTo>
                    <a:cubicBezTo>
                      <a:pt x="63" y="8"/>
                      <a:pt x="64" y="6"/>
                      <a:pt x="65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1" name="Freeform 3442"/>
              <p:cNvSpPr>
                <a:spLocks noChangeAspect="1"/>
              </p:cNvSpPr>
              <p:nvPr/>
            </p:nvSpPr>
            <p:spPr bwMode="auto">
              <a:xfrm>
                <a:off x="6327916" y="1265047"/>
                <a:ext cx="122670" cy="63342"/>
              </a:xfrm>
              <a:custGeom>
                <a:avLst/>
                <a:gdLst>
                  <a:gd name="T0" fmla="*/ 46 w 62"/>
                  <a:gd name="T1" fmla="*/ 1 h 33"/>
                  <a:gd name="T2" fmla="*/ 65 w 62"/>
                  <a:gd name="T3" fmla="*/ 14 h 33"/>
                  <a:gd name="T4" fmla="*/ 75 w 62"/>
                  <a:gd name="T5" fmla="*/ 15 h 33"/>
                  <a:gd name="T6" fmla="*/ 69 w 62"/>
                  <a:gd name="T7" fmla="*/ 20 h 33"/>
                  <a:gd name="T8" fmla="*/ 74 w 62"/>
                  <a:gd name="T9" fmla="*/ 30 h 33"/>
                  <a:gd name="T10" fmla="*/ 63 w 62"/>
                  <a:gd name="T11" fmla="*/ 33 h 33"/>
                  <a:gd name="T12" fmla="*/ 51 w 62"/>
                  <a:gd name="T13" fmla="*/ 35 h 33"/>
                  <a:gd name="T14" fmla="*/ 38 w 62"/>
                  <a:gd name="T15" fmla="*/ 37 h 33"/>
                  <a:gd name="T16" fmla="*/ 29 w 62"/>
                  <a:gd name="T17" fmla="*/ 39 h 33"/>
                  <a:gd name="T18" fmla="*/ 12 w 62"/>
                  <a:gd name="T19" fmla="*/ 37 h 33"/>
                  <a:gd name="T20" fmla="*/ 0 w 62"/>
                  <a:gd name="T21" fmla="*/ 33 h 33"/>
                  <a:gd name="T22" fmla="*/ 0 w 62"/>
                  <a:gd name="T23" fmla="*/ 31 h 33"/>
                  <a:gd name="T24" fmla="*/ 11 w 62"/>
                  <a:gd name="T25" fmla="*/ 26 h 33"/>
                  <a:gd name="T26" fmla="*/ 11 w 62"/>
                  <a:gd name="T27" fmla="*/ 20 h 33"/>
                  <a:gd name="T28" fmla="*/ 25 w 62"/>
                  <a:gd name="T29" fmla="*/ 12 h 33"/>
                  <a:gd name="T30" fmla="*/ 36 w 62"/>
                  <a:gd name="T31" fmla="*/ 11 h 33"/>
                  <a:gd name="T32" fmla="*/ 40 w 62"/>
                  <a:gd name="T33" fmla="*/ 6 h 33"/>
                  <a:gd name="T34" fmla="*/ 40 w 62"/>
                  <a:gd name="T35" fmla="*/ 2 h 33"/>
                  <a:gd name="T36" fmla="*/ 46 w 62"/>
                  <a:gd name="T37" fmla="*/ 1 h 3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2"/>
                  <a:gd name="T58" fmla="*/ 0 h 33"/>
                  <a:gd name="T59" fmla="*/ 62 w 62"/>
                  <a:gd name="T60" fmla="*/ 33 h 3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2" h="33">
                    <a:moveTo>
                      <a:pt x="38" y="1"/>
                    </a:moveTo>
                    <a:cubicBezTo>
                      <a:pt x="44" y="4"/>
                      <a:pt x="49" y="9"/>
                      <a:pt x="54" y="12"/>
                    </a:cubicBezTo>
                    <a:cubicBezTo>
                      <a:pt x="57" y="13"/>
                      <a:pt x="61" y="11"/>
                      <a:pt x="62" y="13"/>
                    </a:cubicBezTo>
                    <a:cubicBezTo>
                      <a:pt x="62" y="15"/>
                      <a:pt x="57" y="15"/>
                      <a:pt x="57" y="17"/>
                    </a:cubicBezTo>
                    <a:cubicBezTo>
                      <a:pt x="57" y="20"/>
                      <a:pt x="62" y="23"/>
                      <a:pt x="61" y="25"/>
                    </a:cubicBezTo>
                    <a:cubicBezTo>
                      <a:pt x="60" y="28"/>
                      <a:pt x="55" y="27"/>
                      <a:pt x="52" y="28"/>
                    </a:cubicBezTo>
                    <a:cubicBezTo>
                      <a:pt x="49" y="28"/>
                      <a:pt x="46" y="29"/>
                      <a:pt x="42" y="30"/>
                    </a:cubicBezTo>
                    <a:cubicBezTo>
                      <a:pt x="38" y="31"/>
                      <a:pt x="34" y="31"/>
                      <a:pt x="31" y="31"/>
                    </a:cubicBezTo>
                    <a:cubicBezTo>
                      <a:pt x="28" y="31"/>
                      <a:pt x="26" y="33"/>
                      <a:pt x="24" y="33"/>
                    </a:cubicBezTo>
                    <a:cubicBezTo>
                      <a:pt x="19" y="33"/>
                      <a:pt x="15" y="32"/>
                      <a:pt x="10" y="31"/>
                    </a:cubicBezTo>
                    <a:cubicBezTo>
                      <a:pt x="7" y="30"/>
                      <a:pt x="3" y="30"/>
                      <a:pt x="0" y="28"/>
                    </a:cubicBezTo>
                    <a:cubicBezTo>
                      <a:pt x="0" y="28"/>
                      <a:pt x="0" y="26"/>
                      <a:pt x="0" y="26"/>
                    </a:cubicBezTo>
                    <a:cubicBezTo>
                      <a:pt x="3" y="24"/>
                      <a:pt x="7" y="24"/>
                      <a:pt x="9" y="22"/>
                    </a:cubicBezTo>
                    <a:cubicBezTo>
                      <a:pt x="11" y="21"/>
                      <a:pt x="8" y="19"/>
                      <a:pt x="9" y="17"/>
                    </a:cubicBezTo>
                    <a:cubicBezTo>
                      <a:pt x="13" y="14"/>
                      <a:pt x="17" y="12"/>
                      <a:pt x="21" y="10"/>
                    </a:cubicBezTo>
                    <a:cubicBezTo>
                      <a:pt x="24" y="9"/>
                      <a:pt x="27" y="10"/>
                      <a:pt x="30" y="9"/>
                    </a:cubicBezTo>
                    <a:cubicBezTo>
                      <a:pt x="32" y="8"/>
                      <a:pt x="32" y="7"/>
                      <a:pt x="33" y="5"/>
                    </a:cubicBezTo>
                    <a:cubicBezTo>
                      <a:pt x="34" y="4"/>
                      <a:pt x="32" y="3"/>
                      <a:pt x="33" y="2"/>
                    </a:cubicBezTo>
                    <a:cubicBezTo>
                      <a:pt x="35" y="1"/>
                      <a:pt x="37" y="0"/>
                      <a:pt x="38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2" name="Freeform 3443"/>
              <p:cNvSpPr>
                <a:spLocks noChangeAspect="1"/>
              </p:cNvSpPr>
              <p:nvPr/>
            </p:nvSpPr>
            <p:spPr bwMode="auto">
              <a:xfrm>
                <a:off x="6323009" y="1328388"/>
                <a:ext cx="55610" cy="25986"/>
              </a:xfrm>
              <a:custGeom>
                <a:avLst/>
                <a:gdLst>
                  <a:gd name="T0" fmla="*/ 4 w 29"/>
                  <a:gd name="T1" fmla="*/ 0 h 13"/>
                  <a:gd name="T2" fmla="*/ 1 w 29"/>
                  <a:gd name="T3" fmla="*/ 2 h 13"/>
                  <a:gd name="T4" fmla="*/ 16 w 29"/>
                  <a:gd name="T5" fmla="*/ 10 h 13"/>
                  <a:gd name="T6" fmla="*/ 16 w 29"/>
                  <a:gd name="T7" fmla="*/ 15 h 13"/>
                  <a:gd name="T8" fmla="*/ 26 w 29"/>
                  <a:gd name="T9" fmla="*/ 12 h 13"/>
                  <a:gd name="T10" fmla="*/ 34 w 29"/>
                  <a:gd name="T11" fmla="*/ 7 h 13"/>
                  <a:gd name="T12" fmla="*/ 25 w 29"/>
                  <a:gd name="T13" fmla="*/ 1 h 13"/>
                  <a:gd name="T14" fmla="*/ 14 w 29"/>
                  <a:gd name="T15" fmla="*/ 1 h 13"/>
                  <a:gd name="T16" fmla="*/ 7 w 29"/>
                  <a:gd name="T17" fmla="*/ 0 h 13"/>
                  <a:gd name="T18" fmla="*/ 4 w 29"/>
                  <a:gd name="T19" fmla="*/ 0 h 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13"/>
                  <a:gd name="T32" fmla="*/ 29 w 29"/>
                  <a:gd name="T33" fmla="*/ 13 h 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13">
                    <a:moveTo>
                      <a:pt x="3" y="0"/>
                    </a:moveTo>
                    <a:cubicBezTo>
                      <a:pt x="2" y="0"/>
                      <a:pt x="0" y="1"/>
                      <a:pt x="1" y="2"/>
                    </a:cubicBezTo>
                    <a:cubicBezTo>
                      <a:pt x="5" y="5"/>
                      <a:pt x="10" y="5"/>
                      <a:pt x="14" y="8"/>
                    </a:cubicBezTo>
                    <a:cubicBezTo>
                      <a:pt x="15" y="9"/>
                      <a:pt x="12" y="12"/>
                      <a:pt x="14" y="12"/>
                    </a:cubicBezTo>
                    <a:cubicBezTo>
                      <a:pt x="16" y="13"/>
                      <a:pt x="19" y="11"/>
                      <a:pt x="22" y="10"/>
                    </a:cubicBezTo>
                    <a:cubicBezTo>
                      <a:pt x="24" y="9"/>
                      <a:pt x="29" y="9"/>
                      <a:pt x="29" y="6"/>
                    </a:cubicBezTo>
                    <a:cubicBezTo>
                      <a:pt x="29" y="3"/>
                      <a:pt x="24" y="2"/>
                      <a:pt x="21" y="1"/>
                    </a:cubicBezTo>
                    <a:cubicBezTo>
                      <a:pt x="18" y="0"/>
                      <a:pt x="15" y="1"/>
                      <a:pt x="12" y="1"/>
                    </a:cubicBezTo>
                    <a:cubicBezTo>
                      <a:pt x="10" y="1"/>
                      <a:pt x="8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3" name="Freeform 3444"/>
              <p:cNvSpPr>
                <a:spLocks noChangeAspect="1"/>
              </p:cNvSpPr>
              <p:nvPr/>
            </p:nvSpPr>
            <p:spPr bwMode="auto">
              <a:xfrm>
                <a:off x="6825135" y="1586625"/>
                <a:ext cx="29441" cy="19490"/>
              </a:xfrm>
              <a:custGeom>
                <a:avLst/>
                <a:gdLst>
                  <a:gd name="T0" fmla="*/ 4 w 15"/>
                  <a:gd name="T1" fmla="*/ 0 h 10"/>
                  <a:gd name="T2" fmla="*/ 2 w 15"/>
                  <a:gd name="T3" fmla="*/ 2 h 10"/>
                  <a:gd name="T4" fmla="*/ 4 w 15"/>
                  <a:gd name="T5" fmla="*/ 7 h 10"/>
                  <a:gd name="T6" fmla="*/ 0 w 15"/>
                  <a:gd name="T7" fmla="*/ 7 h 10"/>
                  <a:gd name="T8" fmla="*/ 4 w 15"/>
                  <a:gd name="T9" fmla="*/ 11 h 10"/>
                  <a:gd name="T10" fmla="*/ 13 w 15"/>
                  <a:gd name="T11" fmla="*/ 12 h 10"/>
                  <a:gd name="T12" fmla="*/ 18 w 15"/>
                  <a:gd name="T13" fmla="*/ 5 h 10"/>
                  <a:gd name="T14" fmla="*/ 16 w 15"/>
                  <a:gd name="T15" fmla="*/ 2 h 10"/>
                  <a:gd name="T16" fmla="*/ 8 w 15"/>
                  <a:gd name="T17" fmla="*/ 1 h 10"/>
                  <a:gd name="T18" fmla="*/ 4 w 15"/>
                  <a:gd name="T19" fmla="*/ 0 h 1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"/>
                  <a:gd name="T31" fmla="*/ 0 h 10"/>
                  <a:gd name="T32" fmla="*/ 15 w 15"/>
                  <a:gd name="T33" fmla="*/ 10 h 1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" h="10">
                    <a:moveTo>
                      <a:pt x="3" y="0"/>
                    </a:moveTo>
                    <a:cubicBezTo>
                      <a:pt x="2" y="0"/>
                      <a:pt x="2" y="1"/>
                      <a:pt x="2" y="2"/>
                    </a:cubicBezTo>
                    <a:cubicBezTo>
                      <a:pt x="2" y="3"/>
                      <a:pt x="4" y="5"/>
                      <a:pt x="3" y="6"/>
                    </a:cubicBezTo>
                    <a:cubicBezTo>
                      <a:pt x="3" y="7"/>
                      <a:pt x="0" y="5"/>
                      <a:pt x="0" y="6"/>
                    </a:cubicBezTo>
                    <a:cubicBezTo>
                      <a:pt x="0" y="7"/>
                      <a:pt x="1" y="9"/>
                      <a:pt x="3" y="9"/>
                    </a:cubicBezTo>
                    <a:cubicBezTo>
                      <a:pt x="5" y="9"/>
                      <a:pt x="9" y="10"/>
                      <a:pt x="11" y="10"/>
                    </a:cubicBezTo>
                    <a:cubicBezTo>
                      <a:pt x="13" y="10"/>
                      <a:pt x="14" y="7"/>
                      <a:pt x="15" y="4"/>
                    </a:cubicBezTo>
                    <a:cubicBezTo>
                      <a:pt x="15" y="3"/>
                      <a:pt x="14" y="2"/>
                      <a:pt x="13" y="2"/>
                    </a:cubicBezTo>
                    <a:cubicBezTo>
                      <a:pt x="11" y="1"/>
                      <a:pt x="9" y="1"/>
                      <a:pt x="7" y="1"/>
                    </a:cubicBezTo>
                    <a:cubicBezTo>
                      <a:pt x="6" y="1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4" name="Freeform 3445"/>
              <p:cNvSpPr>
                <a:spLocks noChangeAspect="1"/>
              </p:cNvSpPr>
              <p:nvPr/>
            </p:nvSpPr>
            <p:spPr bwMode="auto">
              <a:xfrm>
                <a:off x="7314175" y="1528157"/>
                <a:ext cx="11450" cy="24362"/>
              </a:xfrm>
              <a:custGeom>
                <a:avLst/>
                <a:gdLst>
                  <a:gd name="T0" fmla="*/ 1 w 6"/>
                  <a:gd name="T1" fmla="*/ 1 h 13"/>
                  <a:gd name="T2" fmla="*/ 6 w 6"/>
                  <a:gd name="T3" fmla="*/ 8 h 13"/>
                  <a:gd name="T4" fmla="*/ 6 w 6"/>
                  <a:gd name="T5" fmla="*/ 14 h 13"/>
                  <a:gd name="T6" fmla="*/ 2 w 6"/>
                  <a:gd name="T7" fmla="*/ 14 h 13"/>
                  <a:gd name="T8" fmla="*/ 0 w 6"/>
                  <a:gd name="T9" fmla="*/ 5 h 13"/>
                  <a:gd name="T10" fmla="*/ 1 w 6"/>
                  <a:gd name="T11" fmla="*/ 1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3"/>
                  <a:gd name="T20" fmla="*/ 6 w 6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3">
                    <a:moveTo>
                      <a:pt x="1" y="1"/>
                    </a:moveTo>
                    <a:cubicBezTo>
                      <a:pt x="3" y="2"/>
                      <a:pt x="4" y="4"/>
                      <a:pt x="5" y="7"/>
                    </a:cubicBezTo>
                    <a:cubicBezTo>
                      <a:pt x="5" y="8"/>
                      <a:pt x="6" y="11"/>
                      <a:pt x="5" y="12"/>
                    </a:cubicBezTo>
                    <a:cubicBezTo>
                      <a:pt x="4" y="13"/>
                      <a:pt x="2" y="13"/>
                      <a:pt x="2" y="12"/>
                    </a:cubicBezTo>
                    <a:cubicBezTo>
                      <a:pt x="1" y="9"/>
                      <a:pt x="1" y="7"/>
                      <a:pt x="0" y="4"/>
                    </a:cubicBezTo>
                    <a:cubicBezTo>
                      <a:pt x="0" y="3"/>
                      <a:pt x="0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5" name="Freeform 3446"/>
              <p:cNvSpPr>
                <a:spLocks noChangeAspect="1"/>
              </p:cNvSpPr>
              <p:nvPr/>
            </p:nvSpPr>
            <p:spPr bwMode="auto">
              <a:xfrm>
                <a:off x="7430303" y="1597994"/>
                <a:ext cx="21263" cy="21114"/>
              </a:xfrm>
              <a:custGeom>
                <a:avLst/>
                <a:gdLst>
                  <a:gd name="T0" fmla="*/ 2 w 11"/>
                  <a:gd name="T1" fmla="*/ 1 h 11"/>
                  <a:gd name="T2" fmla="*/ 0 w 11"/>
                  <a:gd name="T3" fmla="*/ 5 h 11"/>
                  <a:gd name="T4" fmla="*/ 4 w 11"/>
                  <a:gd name="T5" fmla="*/ 12 h 11"/>
                  <a:gd name="T6" fmla="*/ 9 w 11"/>
                  <a:gd name="T7" fmla="*/ 12 h 11"/>
                  <a:gd name="T8" fmla="*/ 13 w 11"/>
                  <a:gd name="T9" fmla="*/ 8 h 11"/>
                  <a:gd name="T10" fmla="*/ 11 w 11"/>
                  <a:gd name="T11" fmla="*/ 2 h 11"/>
                  <a:gd name="T12" fmla="*/ 8 w 11"/>
                  <a:gd name="T13" fmla="*/ 1 h 11"/>
                  <a:gd name="T14" fmla="*/ 2 w 11"/>
                  <a:gd name="T15" fmla="*/ 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1"/>
                  <a:gd name="T26" fmla="*/ 11 w 11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1">
                    <a:moveTo>
                      <a:pt x="2" y="1"/>
                    </a:moveTo>
                    <a:cubicBezTo>
                      <a:pt x="1" y="1"/>
                      <a:pt x="0" y="3"/>
                      <a:pt x="0" y="4"/>
                    </a:cubicBezTo>
                    <a:cubicBezTo>
                      <a:pt x="1" y="6"/>
                      <a:pt x="2" y="9"/>
                      <a:pt x="3" y="10"/>
                    </a:cubicBezTo>
                    <a:cubicBezTo>
                      <a:pt x="5" y="11"/>
                      <a:pt x="6" y="11"/>
                      <a:pt x="8" y="10"/>
                    </a:cubicBezTo>
                    <a:cubicBezTo>
                      <a:pt x="9" y="9"/>
                      <a:pt x="10" y="9"/>
                      <a:pt x="11" y="7"/>
                    </a:cubicBezTo>
                    <a:cubicBezTo>
                      <a:pt x="11" y="5"/>
                      <a:pt x="10" y="4"/>
                      <a:pt x="9" y="2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5" y="1"/>
                      <a:pt x="4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6" name="Freeform 3447"/>
              <p:cNvSpPr>
                <a:spLocks noChangeAspect="1"/>
              </p:cNvSpPr>
              <p:nvPr/>
            </p:nvSpPr>
            <p:spPr bwMode="auto">
              <a:xfrm>
                <a:off x="7435209" y="1615860"/>
                <a:ext cx="75237" cy="32483"/>
              </a:xfrm>
              <a:custGeom>
                <a:avLst/>
                <a:gdLst>
                  <a:gd name="T0" fmla="*/ 1 w 38"/>
                  <a:gd name="T1" fmla="*/ 13 h 17"/>
                  <a:gd name="T2" fmla="*/ 1 w 38"/>
                  <a:gd name="T3" fmla="*/ 16 h 17"/>
                  <a:gd name="T4" fmla="*/ 13 w 38"/>
                  <a:gd name="T5" fmla="*/ 14 h 17"/>
                  <a:gd name="T6" fmla="*/ 38 w 38"/>
                  <a:gd name="T7" fmla="*/ 18 h 17"/>
                  <a:gd name="T8" fmla="*/ 44 w 38"/>
                  <a:gd name="T9" fmla="*/ 19 h 17"/>
                  <a:gd name="T10" fmla="*/ 46 w 38"/>
                  <a:gd name="T11" fmla="*/ 13 h 17"/>
                  <a:gd name="T12" fmla="*/ 36 w 38"/>
                  <a:gd name="T13" fmla="*/ 5 h 17"/>
                  <a:gd name="T14" fmla="*/ 18 w 38"/>
                  <a:gd name="T15" fmla="*/ 1 h 17"/>
                  <a:gd name="T16" fmla="*/ 10 w 38"/>
                  <a:gd name="T17" fmla="*/ 2 h 17"/>
                  <a:gd name="T18" fmla="*/ 10 w 38"/>
                  <a:gd name="T19" fmla="*/ 9 h 17"/>
                  <a:gd name="T20" fmla="*/ 1 w 38"/>
                  <a:gd name="T21" fmla="*/ 13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8"/>
                  <a:gd name="T34" fmla="*/ 0 h 17"/>
                  <a:gd name="T35" fmla="*/ 38 w 38"/>
                  <a:gd name="T36" fmla="*/ 17 h 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8" h="17">
                    <a:moveTo>
                      <a:pt x="1" y="11"/>
                    </a:moveTo>
                    <a:cubicBezTo>
                      <a:pt x="0" y="12"/>
                      <a:pt x="0" y="14"/>
                      <a:pt x="1" y="14"/>
                    </a:cubicBezTo>
                    <a:cubicBezTo>
                      <a:pt x="5" y="14"/>
                      <a:pt x="8" y="11"/>
                      <a:pt x="11" y="12"/>
                    </a:cubicBezTo>
                    <a:cubicBezTo>
                      <a:pt x="18" y="12"/>
                      <a:pt x="24" y="14"/>
                      <a:pt x="31" y="15"/>
                    </a:cubicBezTo>
                    <a:cubicBezTo>
                      <a:pt x="33" y="15"/>
                      <a:pt x="34" y="17"/>
                      <a:pt x="36" y="16"/>
                    </a:cubicBezTo>
                    <a:cubicBezTo>
                      <a:pt x="37" y="15"/>
                      <a:pt x="38" y="13"/>
                      <a:pt x="38" y="11"/>
                    </a:cubicBezTo>
                    <a:cubicBezTo>
                      <a:pt x="36" y="8"/>
                      <a:pt x="33" y="5"/>
                      <a:pt x="30" y="4"/>
                    </a:cubicBezTo>
                    <a:cubicBezTo>
                      <a:pt x="25" y="2"/>
                      <a:pt x="20" y="1"/>
                      <a:pt x="15" y="1"/>
                    </a:cubicBezTo>
                    <a:cubicBezTo>
                      <a:pt x="12" y="0"/>
                      <a:pt x="9" y="1"/>
                      <a:pt x="8" y="2"/>
                    </a:cubicBezTo>
                    <a:cubicBezTo>
                      <a:pt x="6" y="4"/>
                      <a:pt x="9" y="7"/>
                      <a:pt x="8" y="8"/>
                    </a:cubicBezTo>
                    <a:cubicBezTo>
                      <a:pt x="6" y="10"/>
                      <a:pt x="3" y="9"/>
                      <a:pt x="1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7" name="Freeform 3448"/>
              <p:cNvSpPr>
                <a:spLocks noChangeAspect="1"/>
              </p:cNvSpPr>
              <p:nvPr/>
            </p:nvSpPr>
            <p:spPr bwMode="auto">
              <a:xfrm>
                <a:off x="7341981" y="1510291"/>
                <a:ext cx="171737" cy="79583"/>
              </a:xfrm>
              <a:custGeom>
                <a:avLst/>
                <a:gdLst>
                  <a:gd name="T0" fmla="*/ 18 w 88"/>
                  <a:gd name="T1" fmla="*/ 0 h 41"/>
                  <a:gd name="T2" fmla="*/ 35 w 88"/>
                  <a:gd name="T3" fmla="*/ 12 h 41"/>
                  <a:gd name="T4" fmla="*/ 41 w 88"/>
                  <a:gd name="T5" fmla="*/ 12 h 41"/>
                  <a:gd name="T6" fmla="*/ 43 w 88"/>
                  <a:gd name="T7" fmla="*/ 17 h 41"/>
                  <a:gd name="T8" fmla="*/ 49 w 88"/>
                  <a:gd name="T9" fmla="*/ 17 h 41"/>
                  <a:gd name="T10" fmla="*/ 48 w 88"/>
                  <a:gd name="T11" fmla="*/ 7 h 41"/>
                  <a:gd name="T12" fmla="*/ 51 w 88"/>
                  <a:gd name="T13" fmla="*/ 6 h 41"/>
                  <a:gd name="T14" fmla="*/ 51 w 88"/>
                  <a:gd name="T15" fmla="*/ 4 h 41"/>
                  <a:gd name="T16" fmla="*/ 63 w 88"/>
                  <a:gd name="T17" fmla="*/ 11 h 41"/>
                  <a:gd name="T18" fmla="*/ 73 w 88"/>
                  <a:gd name="T19" fmla="*/ 12 h 41"/>
                  <a:gd name="T20" fmla="*/ 79 w 88"/>
                  <a:gd name="T21" fmla="*/ 10 h 41"/>
                  <a:gd name="T22" fmla="*/ 89 w 88"/>
                  <a:gd name="T23" fmla="*/ 13 h 41"/>
                  <a:gd name="T24" fmla="*/ 104 w 88"/>
                  <a:gd name="T25" fmla="*/ 19 h 41"/>
                  <a:gd name="T26" fmla="*/ 99 w 88"/>
                  <a:gd name="T27" fmla="*/ 24 h 41"/>
                  <a:gd name="T28" fmla="*/ 104 w 88"/>
                  <a:gd name="T29" fmla="*/ 30 h 41"/>
                  <a:gd name="T30" fmla="*/ 95 w 88"/>
                  <a:gd name="T31" fmla="*/ 36 h 41"/>
                  <a:gd name="T32" fmla="*/ 75 w 88"/>
                  <a:gd name="T33" fmla="*/ 27 h 41"/>
                  <a:gd name="T34" fmla="*/ 73 w 88"/>
                  <a:gd name="T35" fmla="*/ 23 h 41"/>
                  <a:gd name="T36" fmla="*/ 74 w 88"/>
                  <a:gd name="T37" fmla="*/ 18 h 41"/>
                  <a:gd name="T38" fmla="*/ 70 w 88"/>
                  <a:gd name="T39" fmla="*/ 16 h 41"/>
                  <a:gd name="T40" fmla="*/ 64 w 88"/>
                  <a:gd name="T41" fmla="*/ 19 h 41"/>
                  <a:gd name="T42" fmla="*/ 69 w 88"/>
                  <a:gd name="T43" fmla="*/ 29 h 41"/>
                  <a:gd name="T44" fmla="*/ 84 w 88"/>
                  <a:gd name="T45" fmla="*/ 35 h 41"/>
                  <a:gd name="T46" fmla="*/ 91 w 88"/>
                  <a:gd name="T47" fmla="*/ 38 h 41"/>
                  <a:gd name="T48" fmla="*/ 92 w 88"/>
                  <a:gd name="T49" fmla="*/ 42 h 41"/>
                  <a:gd name="T50" fmla="*/ 78 w 88"/>
                  <a:gd name="T51" fmla="*/ 38 h 41"/>
                  <a:gd name="T52" fmla="*/ 76 w 88"/>
                  <a:gd name="T53" fmla="*/ 41 h 41"/>
                  <a:gd name="T54" fmla="*/ 70 w 88"/>
                  <a:gd name="T55" fmla="*/ 39 h 41"/>
                  <a:gd name="T56" fmla="*/ 69 w 88"/>
                  <a:gd name="T57" fmla="*/ 36 h 41"/>
                  <a:gd name="T58" fmla="*/ 62 w 88"/>
                  <a:gd name="T59" fmla="*/ 38 h 41"/>
                  <a:gd name="T60" fmla="*/ 49 w 88"/>
                  <a:gd name="T61" fmla="*/ 42 h 41"/>
                  <a:gd name="T62" fmla="*/ 43 w 88"/>
                  <a:gd name="T63" fmla="*/ 37 h 41"/>
                  <a:gd name="T64" fmla="*/ 41 w 88"/>
                  <a:gd name="T65" fmla="*/ 41 h 41"/>
                  <a:gd name="T66" fmla="*/ 42 w 88"/>
                  <a:gd name="T67" fmla="*/ 44 h 41"/>
                  <a:gd name="T68" fmla="*/ 38 w 88"/>
                  <a:gd name="T69" fmla="*/ 49 h 41"/>
                  <a:gd name="T70" fmla="*/ 27 w 88"/>
                  <a:gd name="T71" fmla="*/ 45 h 41"/>
                  <a:gd name="T72" fmla="*/ 17 w 88"/>
                  <a:gd name="T73" fmla="*/ 37 h 41"/>
                  <a:gd name="T74" fmla="*/ 8 w 88"/>
                  <a:gd name="T75" fmla="*/ 33 h 41"/>
                  <a:gd name="T76" fmla="*/ 1 w 88"/>
                  <a:gd name="T77" fmla="*/ 29 h 41"/>
                  <a:gd name="T78" fmla="*/ 2 w 88"/>
                  <a:gd name="T79" fmla="*/ 25 h 41"/>
                  <a:gd name="T80" fmla="*/ 7 w 88"/>
                  <a:gd name="T81" fmla="*/ 24 h 41"/>
                  <a:gd name="T82" fmla="*/ 1 w 88"/>
                  <a:gd name="T83" fmla="*/ 18 h 41"/>
                  <a:gd name="T84" fmla="*/ 6 w 88"/>
                  <a:gd name="T85" fmla="*/ 17 h 41"/>
                  <a:gd name="T86" fmla="*/ 5 w 88"/>
                  <a:gd name="T87" fmla="*/ 12 h 41"/>
                  <a:gd name="T88" fmla="*/ 11 w 88"/>
                  <a:gd name="T89" fmla="*/ 7 h 41"/>
                  <a:gd name="T90" fmla="*/ 11 w 88"/>
                  <a:gd name="T91" fmla="*/ 2 h 41"/>
                  <a:gd name="T92" fmla="*/ 14 w 88"/>
                  <a:gd name="T93" fmla="*/ 2 h 41"/>
                  <a:gd name="T94" fmla="*/ 18 w 88"/>
                  <a:gd name="T95" fmla="*/ 0 h 4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8"/>
                  <a:gd name="T145" fmla="*/ 0 h 41"/>
                  <a:gd name="T146" fmla="*/ 88 w 88"/>
                  <a:gd name="T147" fmla="*/ 41 h 4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8" h="41">
                    <a:moveTo>
                      <a:pt x="15" y="0"/>
                    </a:moveTo>
                    <a:cubicBezTo>
                      <a:pt x="20" y="3"/>
                      <a:pt x="24" y="7"/>
                      <a:pt x="29" y="10"/>
                    </a:cubicBezTo>
                    <a:cubicBezTo>
                      <a:pt x="30" y="11"/>
                      <a:pt x="33" y="9"/>
                      <a:pt x="34" y="10"/>
                    </a:cubicBezTo>
                    <a:cubicBezTo>
                      <a:pt x="36" y="11"/>
                      <a:pt x="35" y="13"/>
                      <a:pt x="36" y="14"/>
                    </a:cubicBezTo>
                    <a:cubicBezTo>
                      <a:pt x="38" y="15"/>
                      <a:pt x="40" y="15"/>
                      <a:pt x="41" y="14"/>
                    </a:cubicBezTo>
                    <a:cubicBezTo>
                      <a:pt x="42" y="11"/>
                      <a:pt x="39" y="9"/>
                      <a:pt x="40" y="6"/>
                    </a:cubicBezTo>
                    <a:cubicBezTo>
                      <a:pt x="40" y="5"/>
                      <a:pt x="42" y="6"/>
                      <a:pt x="43" y="5"/>
                    </a:cubicBezTo>
                    <a:cubicBezTo>
                      <a:pt x="44" y="4"/>
                      <a:pt x="42" y="3"/>
                      <a:pt x="43" y="3"/>
                    </a:cubicBezTo>
                    <a:cubicBezTo>
                      <a:pt x="47" y="4"/>
                      <a:pt x="50" y="7"/>
                      <a:pt x="53" y="9"/>
                    </a:cubicBezTo>
                    <a:cubicBezTo>
                      <a:pt x="56" y="10"/>
                      <a:pt x="58" y="10"/>
                      <a:pt x="61" y="10"/>
                    </a:cubicBezTo>
                    <a:cubicBezTo>
                      <a:pt x="63" y="10"/>
                      <a:pt x="64" y="7"/>
                      <a:pt x="66" y="8"/>
                    </a:cubicBezTo>
                    <a:cubicBezTo>
                      <a:pt x="69" y="8"/>
                      <a:pt x="72" y="10"/>
                      <a:pt x="75" y="11"/>
                    </a:cubicBezTo>
                    <a:cubicBezTo>
                      <a:pt x="79" y="13"/>
                      <a:pt x="84" y="13"/>
                      <a:pt x="87" y="16"/>
                    </a:cubicBezTo>
                    <a:cubicBezTo>
                      <a:pt x="88" y="17"/>
                      <a:pt x="83" y="18"/>
                      <a:pt x="83" y="20"/>
                    </a:cubicBezTo>
                    <a:cubicBezTo>
                      <a:pt x="83" y="22"/>
                      <a:pt x="87" y="23"/>
                      <a:pt x="87" y="25"/>
                    </a:cubicBezTo>
                    <a:cubicBezTo>
                      <a:pt x="86" y="27"/>
                      <a:pt x="83" y="30"/>
                      <a:pt x="80" y="30"/>
                    </a:cubicBezTo>
                    <a:cubicBezTo>
                      <a:pt x="74" y="29"/>
                      <a:pt x="68" y="26"/>
                      <a:pt x="63" y="23"/>
                    </a:cubicBezTo>
                    <a:cubicBezTo>
                      <a:pt x="61" y="22"/>
                      <a:pt x="61" y="20"/>
                      <a:pt x="61" y="19"/>
                    </a:cubicBezTo>
                    <a:cubicBezTo>
                      <a:pt x="61" y="17"/>
                      <a:pt x="62" y="16"/>
                      <a:pt x="62" y="15"/>
                    </a:cubicBezTo>
                    <a:cubicBezTo>
                      <a:pt x="62" y="14"/>
                      <a:pt x="60" y="13"/>
                      <a:pt x="59" y="13"/>
                    </a:cubicBezTo>
                    <a:cubicBezTo>
                      <a:pt x="57" y="13"/>
                      <a:pt x="55" y="14"/>
                      <a:pt x="54" y="16"/>
                    </a:cubicBezTo>
                    <a:cubicBezTo>
                      <a:pt x="54" y="19"/>
                      <a:pt x="56" y="22"/>
                      <a:pt x="58" y="24"/>
                    </a:cubicBezTo>
                    <a:cubicBezTo>
                      <a:pt x="62" y="27"/>
                      <a:pt x="66" y="27"/>
                      <a:pt x="70" y="29"/>
                    </a:cubicBezTo>
                    <a:cubicBezTo>
                      <a:pt x="72" y="30"/>
                      <a:pt x="74" y="31"/>
                      <a:pt x="76" y="32"/>
                    </a:cubicBezTo>
                    <a:cubicBezTo>
                      <a:pt x="77" y="33"/>
                      <a:pt x="78" y="35"/>
                      <a:pt x="77" y="35"/>
                    </a:cubicBezTo>
                    <a:cubicBezTo>
                      <a:pt x="73" y="35"/>
                      <a:pt x="69" y="33"/>
                      <a:pt x="65" y="32"/>
                    </a:cubicBezTo>
                    <a:cubicBezTo>
                      <a:pt x="64" y="32"/>
                      <a:pt x="65" y="34"/>
                      <a:pt x="64" y="34"/>
                    </a:cubicBezTo>
                    <a:cubicBezTo>
                      <a:pt x="62" y="34"/>
                      <a:pt x="60" y="34"/>
                      <a:pt x="59" y="33"/>
                    </a:cubicBezTo>
                    <a:cubicBezTo>
                      <a:pt x="58" y="32"/>
                      <a:pt x="59" y="30"/>
                      <a:pt x="58" y="30"/>
                    </a:cubicBezTo>
                    <a:cubicBezTo>
                      <a:pt x="56" y="30"/>
                      <a:pt x="54" y="31"/>
                      <a:pt x="52" y="32"/>
                    </a:cubicBezTo>
                    <a:cubicBezTo>
                      <a:pt x="48" y="33"/>
                      <a:pt x="45" y="35"/>
                      <a:pt x="41" y="35"/>
                    </a:cubicBezTo>
                    <a:cubicBezTo>
                      <a:pt x="39" y="35"/>
                      <a:pt x="38" y="31"/>
                      <a:pt x="36" y="31"/>
                    </a:cubicBezTo>
                    <a:cubicBezTo>
                      <a:pt x="35" y="31"/>
                      <a:pt x="34" y="32"/>
                      <a:pt x="34" y="34"/>
                    </a:cubicBezTo>
                    <a:cubicBezTo>
                      <a:pt x="34" y="35"/>
                      <a:pt x="35" y="36"/>
                      <a:pt x="35" y="37"/>
                    </a:cubicBezTo>
                    <a:cubicBezTo>
                      <a:pt x="35" y="39"/>
                      <a:pt x="34" y="41"/>
                      <a:pt x="32" y="41"/>
                    </a:cubicBezTo>
                    <a:cubicBezTo>
                      <a:pt x="29" y="41"/>
                      <a:pt x="26" y="39"/>
                      <a:pt x="23" y="38"/>
                    </a:cubicBezTo>
                    <a:cubicBezTo>
                      <a:pt x="20" y="36"/>
                      <a:pt x="17" y="33"/>
                      <a:pt x="14" y="31"/>
                    </a:cubicBezTo>
                    <a:cubicBezTo>
                      <a:pt x="11" y="30"/>
                      <a:pt x="9" y="29"/>
                      <a:pt x="7" y="28"/>
                    </a:cubicBezTo>
                    <a:cubicBezTo>
                      <a:pt x="5" y="27"/>
                      <a:pt x="2" y="26"/>
                      <a:pt x="1" y="24"/>
                    </a:cubicBezTo>
                    <a:cubicBezTo>
                      <a:pt x="0" y="23"/>
                      <a:pt x="1" y="22"/>
                      <a:pt x="2" y="21"/>
                    </a:cubicBezTo>
                    <a:cubicBezTo>
                      <a:pt x="3" y="20"/>
                      <a:pt x="6" y="21"/>
                      <a:pt x="6" y="20"/>
                    </a:cubicBezTo>
                    <a:cubicBezTo>
                      <a:pt x="5" y="18"/>
                      <a:pt x="1" y="18"/>
                      <a:pt x="1" y="15"/>
                    </a:cubicBezTo>
                    <a:cubicBezTo>
                      <a:pt x="1" y="14"/>
                      <a:pt x="4" y="15"/>
                      <a:pt x="5" y="14"/>
                    </a:cubicBezTo>
                    <a:cubicBezTo>
                      <a:pt x="6" y="13"/>
                      <a:pt x="3" y="11"/>
                      <a:pt x="4" y="10"/>
                    </a:cubicBezTo>
                    <a:cubicBezTo>
                      <a:pt x="5" y="8"/>
                      <a:pt x="8" y="8"/>
                      <a:pt x="9" y="6"/>
                    </a:cubicBezTo>
                    <a:cubicBezTo>
                      <a:pt x="9" y="5"/>
                      <a:pt x="8" y="3"/>
                      <a:pt x="9" y="2"/>
                    </a:cubicBezTo>
                    <a:cubicBezTo>
                      <a:pt x="10" y="1"/>
                      <a:pt x="11" y="2"/>
                      <a:pt x="12" y="2"/>
                    </a:cubicBezTo>
                    <a:cubicBezTo>
                      <a:pt x="13" y="2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8" name="Freeform 3449"/>
              <p:cNvSpPr>
                <a:spLocks noChangeAspect="1"/>
              </p:cNvSpPr>
              <p:nvPr/>
            </p:nvSpPr>
            <p:spPr bwMode="auto">
              <a:xfrm>
                <a:off x="7561150" y="1484305"/>
                <a:ext cx="16356" cy="9745"/>
              </a:xfrm>
              <a:custGeom>
                <a:avLst/>
                <a:gdLst>
                  <a:gd name="T0" fmla="*/ 1 w 8"/>
                  <a:gd name="T1" fmla="*/ 4 h 5"/>
                  <a:gd name="T2" fmla="*/ 1 w 8"/>
                  <a:gd name="T3" fmla="*/ 6 h 5"/>
                  <a:gd name="T4" fmla="*/ 9 w 8"/>
                  <a:gd name="T5" fmla="*/ 5 h 5"/>
                  <a:gd name="T6" fmla="*/ 9 w 8"/>
                  <a:gd name="T7" fmla="*/ 1 h 5"/>
                  <a:gd name="T8" fmla="*/ 5 w 8"/>
                  <a:gd name="T9" fmla="*/ 1 h 5"/>
                  <a:gd name="T10" fmla="*/ 1 w 8"/>
                  <a:gd name="T11" fmla="*/ 4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1" y="3"/>
                    </a:moveTo>
                    <a:cubicBezTo>
                      <a:pt x="0" y="3"/>
                      <a:pt x="0" y="5"/>
                      <a:pt x="1" y="5"/>
                    </a:cubicBezTo>
                    <a:cubicBezTo>
                      <a:pt x="3" y="5"/>
                      <a:pt x="5" y="5"/>
                      <a:pt x="7" y="4"/>
                    </a:cubicBezTo>
                    <a:cubicBezTo>
                      <a:pt x="8" y="4"/>
                      <a:pt x="8" y="2"/>
                      <a:pt x="7" y="1"/>
                    </a:cubicBezTo>
                    <a:cubicBezTo>
                      <a:pt x="6" y="0"/>
                      <a:pt x="5" y="1"/>
                      <a:pt x="4" y="1"/>
                    </a:cubicBezTo>
                    <a:cubicBezTo>
                      <a:pt x="3" y="2"/>
                      <a:pt x="1" y="2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39" name="Freeform 3450"/>
              <p:cNvSpPr>
                <a:spLocks noChangeAspect="1"/>
              </p:cNvSpPr>
              <p:nvPr/>
            </p:nvSpPr>
            <p:spPr bwMode="auto">
              <a:xfrm>
                <a:off x="7533344" y="1533029"/>
                <a:ext cx="106314" cy="48724"/>
              </a:xfrm>
              <a:custGeom>
                <a:avLst/>
                <a:gdLst>
                  <a:gd name="T0" fmla="*/ 1 w 54"/>
                  <a:gd name="T1" fmla="*/ 1 h 25"/>
                  <a:gd name="T2" fmla="*/ 1 w 54"/>
                  <a:gd name="T3" fmla="*/ 13 h 25"/>
                  <a:gd name="T4" fmla="*/ 10 w 54"/>
                  <a:gd name="T5" fmla="*/ 20 h 25"/>
                  <a:gd name="T6" fmla="*/ 25 w 54"/>
                  <a:gd name="T7" fmla="*/ 24 h 25"/>
                  <a:gd name="T8" fmla="*/ 36 w 54"/>
                  <a:gd name="T9" fmla="*/ 30 h 25"/>
                  <a:gd name="T10" fmla="*/ 51 w 54"/>
                  <a:gd name="T11" fmla="*/ 29 h 25"/>
                  <a:gd name="T12" fmla="*/ 61 w 54"/>
                  <a:gd name="T13" fmla="*/ 25 h 25"/>
                  <a:gd name="T14" fmla="*/ 61 w 54"/>
                  <a:gd name="T15" fmla="*/ 19 h 25"/>
                  <a:gd name="T16" fmla="*/ 65 w 54"/>
                  <a:gd name="T17" fmla="*/ 14 h 25"/>
                  <a:gd name="T18" fmla="*/ 61 w 54"/>
                  <a:gd name="T19" fmla="*/ 13 h 25"/>
                  <a:gd name="T20" fmla="*/ 60 w 54"/>
                  <a:gd name="T21" fmla="*/ 14 h 25"/>
                  <a:gd name="T22" fmla="*/ 46 w 54"/>
                  <a:gd name="T23" fmla="*/ 12 h 25"/>
                  <a:gd name="T24" fmla="*/ 35 w 54"/>
                  <a:gd name="T25" fmla="*/ 16 h 25"/>
                  <a:gd name="T26" fmla="*/ 30 w 54"/>
                  <a:gd name="T27" fmla="*/ 11 h 25"/>
                  <a:gd name="T28" fmla="*/ 24 w 54"/>
                  <a:gd name="T29" fmla="*/ 11 h 25"/>
                  <a:gd name="T30" fmla="*/ 19 w 54"/>
                  <a:gd name="T31" fmla="*/ 8 h 25"/>
                  <a:gd name="T32" fmla="*/ 12 w 54"/>
                  <a:gd name="T33" fmla="*/ 12 h 25"/>
                  <a:gd name="T34" fmla="*/ 4 w 54"/>
                  <a:gd name="T35" fmla="*/ 5 h 25"/>
                  <a:gd name="T36" fmla="*/ 1 w 54"/>
                  <a:gd name="T37" fmla="*/ 1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4"/>
                  <a:gd name="T58" fmla="*/ 0 h 25"/>
                  <a:gd name="T59" fmla="*/ 54 w 54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4" h="25">
                    <a:moveTo>
                      <a:pt x="1" y="1"/>
                    </a:moveTo>
                    <a:cubicBezTo>
                      <a:pt x="0" y="4"/>
                      <a:pt x="1" y="9"/>
                      <a:pt x="1" y="11"/>
                    </a:cubicBezTo>
                    <a:cubicBezTo>
                      <a:pt x="3" y="14"/>
                      <a:pt x="5" y="15"/>
                      <a:pt x="8" y="17"/>
                    </a:cubicBezTo>
                    <a:cubicBezTo>
                      <a:pt x="11" y="17"/>
                      <a:pt x="16" y="19"/>
                      <a:pt x="21" y="20"/>
                    </a:cubicBezTo>
                    <a:cubicBezTo>
                      <a:pt x="24" y="21"/>
                      <a:pt x="26" y="24"/>
                      <a:pt x="30" y="25"/>
                    </a:cubicBezTo>
                    <a:cubicBezTo>
                      <a:pt x="34" y="25"/>
                      <a:pt x="38" y="25"/>
                      <a:pt x="42" y="24"/>
                    </a:cubicBezTo>
                    <a:cubicBezTo>
                      <a:pt x="45" y="23"/>
                      <a:pt x="49" y="23"/>
                      <a:pt x="51" y="21"/>
                    </a:cubicBezTo>
                    <a:cubicBezTo>
                      <a:pt x="53" y="20"/>
                      <a:pt x="51" y="17"/>
                      <a:pt x="51" y="16"/>
                    </a:cubicBezTo>
                    <a:cubicBezTo>
                      <a:pt x="52" y="14"/>
                      <a:pt x="54" y="13"/>
                      <a:pt x="54" y="12"/>
                    </a:cubicBezTo>
                    <a:cubicBezTo>
                      <a:pt x="54" y="11"/>
                      <a:pt x="52" y="11"/>
                      <a:pt x="51" y="11"/>
                    </a:cubicBezTo>
                    <a:cubicBezTo>
                      <a:pt x="51" y="11"/>
                      <a:pt x="50" y="12"/>
                      <a:pt x="50" y="12"/>
                    </a:cubicBezTo>
                    <a:cubicBezTo>
                      <a:pt x="46" y="12"/>
                      <a:pt x="42" y="10"/>
                      <a:pt x="38" y="10"/>
                    </a:cubicBezTo>
                    <a:cubicBezTo>
                      <a:pt x="35" y="10"/>
                      <a:pt x="32" y="13"/>
                      <a:pt x="29" y="13"/>
                    </a:cubicBezTo>
                    <a:cubicBezTo>
                      <a:pt x="27" y="12"/>
                      <a:pt x="27" y="9"/>
                      <a:pt x="25" y="9"/>
                    </a:cubicBezTo>
                    <a:cubicBezTo>
                      <a:pt x="24" y="8"/>
                      <a:pt x="22" y="9"/>
                      <a:pt x="20" y="9"/>
                    </a:cubicBezTo>
                    <a:cubicBezTo>
                      <a:pt x="19" y="9"/>
                      <a:pt x="18" y="7"/>
                      <a:pt x="16" y="7"/>
                    </a:cubicBezTo>
                    <a:cubicBezTo>
                      <a:pt x="14" y="8"/>
                      <a:pt x="12" y="11"/>
                      <a:pt x="10" y="10"/>
                    </a:cubicBezTo>
                    <a:cubicBezTo>
                      <a:pt x="7" y="10"/>
                      <a:pt x="5" y="7"/>
                      <a:pt x="3" y="4"/>
                    </a:cubicBezTo>
                    <a:cubicBezTo>
                      <a:pt x="2" y="3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0" name="Freeform 3451"/>
              <p:cNvSpPr>
                <a:spLocks noChangeAspect="1"/>
              </p:cNvSpPr>
              <p:nvPr/>
            </p:nvSpPr>
            <p:spPr bwMode="auto">
              <a:xfrm>
                <a:off x="7400862" y="1714931"/>
                <a:ext cx="22898" cy="8121"/>
              </a:xfrm>
              <a:custGeom>
                <a:avLst/>
                <a:gdLst>
                  <a:gd name="T0" fmla="*/ 1 w 12"/>
                  <a:gd name="T1" fmla="*/ 0 h 4"/>
                  <a:gd name="T2" fmla="*/ 0 w 12"/>
                  <a:gd name="T3" fmla="*/ 1 h 4"/>
                  <a:gd name="T4" fmla="*/ 11 w 12"/>
                  <a:gd name="T5" fmla="*/ 5 h 4"/>
                  <a:gd name="T6" fmla="*/ 14 w 12"/>
                  <a:gd name="T7" fmla="*/ 3 h 4"/>
                  <a:gd name="T8" fmla="*/ 11 w 12"/>
                  <a:gd name="T9" fmla="*/ 1 h 4"/>
                  <a:gd name="T10" fmla="*/ 1 w 12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4"/>
                  <a:gd name="T20" fmla="*/ 12 w 12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4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3" y="3"/>
                      <a:pt x="6" y="4"/>
                      <a:pt x="9" y="4"/>
                    </a:cubicBezTo>
                    <a:cubicBezTo>
                      <a:pt x="10" y="4"/>
                      <a:pt x="12" y="4"/>
                      <a:pt x="12" y="2"/>
                    </a:cubicBezTo>
                    <a:cubicBezTo>
                      <a:pt x="12" y="1"/>
                      <a:pt x="10" y="1"/>
                      <a:pt x="9" y="1"/>
                    </a:cubicBezTo>
                    <a:cubicBezTo>
                      <a:pt x="6" y="0"/>
                      <a:pt x="4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1" name="Freeform 3452"/>
              <p:cNvSpPr>
                <a:spLocks noChangeAspect="1"/>
              </p:cNvSpPr>
              <p:nvPr/>
            </p:nvSpPr>
            <p:spPr bwMode="auto">
              <a:xfrm>
                <a:off x="8094351" y="1786393"/>
                <a:ext cx="35983" cy="19490"/>
              </a:xfrm>
              <a:custGeom>
                <a:avLst/>
                <a:gdLst>
                  <a:gd name="T0" fmla="*/ 5 w 18"/>
                  <a:gd name="T1" fmla="*/ 0 h 10"/>
                  <a:gd name="T2" fmla="*/ 0 w 18"/>
                  <a:gd name="T3" fmla="*/ 1 h 10"/>
                  <a:gd name="T4" fmla="*/ 7 w 18"/>
                  <a:gd name="T5" fmla="*/ 7 h 10"/>
                  <a:gd name="T6" fmla="*/ 17 w 18"/>
                  <a:gd name="T7" fmla="*/ 12 h 10"/>
                  <a:gd name="T8" fmla="*/ 21 w 18"/>
                  <a:gd name="T9" fmla="*/ 10 h 10"/>
                  <a:gd name="T10" fmla="*/ 18 w 18"/>
                  <a:gd name="T11" fmla="*/ 4 h 10"/>
                  <a:gd name="T12" fmla="*/ 5 w 18"/>
                  <a:gd name="T13" fmla="*/ 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10"/>
                  <a:gd name="T23" fmla="*/ 18 w 18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10">
                    <a:moveTo>
                      <a:pt x="4" y="0"/>
                    </a:moveTo>
                    <a:cubicBezTo>
                      <a:pt x="2" y="0"/>
                      <a:pt x="0" y="0"/>
                      <a:pt x="0" y="1"/>
                    </a:cubicBezTo>
                    <a:cubicBezTo>
                      <a:pt x="1" y="4"/>
                      <a:pt x="4" y="4"/>
                      <a:pt x="6" y="6"/>
                    </a:cubicBezTo>
                    <a:cubicBezTo>
                      <a:pt x="9" y="7"/>
                      <a:pt x="11" y="9"/>
                      <a:pt x="14" y="10"/>
                    </a:cubicBezTo>
                    <a:cubicBezTo>
                      <a:pt x="15" y="10"/>
                      <a:pt x="17" y="9"/>
                      <a:pt x="17" y="8"/>
                    </a:cubicBezTo>
                    <a:cubicBezTo>
                      <a:pt x="18" y="6"/>
                      <a:pt x="17" y="4"/>
                      <a:pt x="15" y="3"/>
                    </a:cubicBezTo>
                    <a:cubicBezTo>
                      <a:pt x="12" y="1"/>
                      <a:pt x="7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2" name="Freeform 3453"/>
              <p:cNvSpPr>
                <a:spLocks noChangeAspect="1"/>
              </p:cNvSpPr>
              <p:nvPr/>
            </p:nvSpPr>
            <p:spPr bwMode="auto">
              <a:xfrm>
                <a:off x="8303707" y="1716556"/>
                <a:ext cx="80144" cy="43852"/>
              </a:xfrm>
              <a:custGeom>
                <a:avLst/>
                <a:gdLst>
                  <a:gd name="T0" fmla="*/ 6 w 41"/>
                  <a:gd name="T1" fmla="*/ 4 h 22"/>
                  <a:gd name="T2" fmla="*/ 0 w 41"/>
                  <a:gd name="T3" fmla="*/ 15 h 22"/>
                  <a:gd name="T4" fmla="*/ 7 w 41"/>
                  <a:gd name="T5" fmla="*/ 26 h 22"/>
                  <a:gd name="T6" fmla="*/ 14 w 41"/>
                  <a:gd name="T7" fmla="*/ 22 h 22"/>
                  <a:gd name="T8" fmla="*/ 25 w 41"/>
                  <a:gd name="T9" fmla="*/ 20 h 22"/>
                  <a:gd name="T10" fmla="*/ 37 w 41"/>
                  <a:gd name="T11" fmla="*/ 20 h 22"/>
                  <a:gd name="T12" fmla="*/ 47 w 41"/>
                  <a:gd name="T13" fmla="*/ 17 h 22"/>
                  <a:gd name="T14" fmla="*/ 47 w 41"/>
                  <a:gd name="T15" fmla="*/ 10 h 22"/>
                  <a:gd name="T16" fmla="*/ 31 w 41"/>
                  <a:gd name="T17" fmla="*/ 2 h 22"/>
                  <a:gd name="T18" fmla="*/ 25 w 41"/>
                  <a:gd name="T19" fmla="*/ 0 h 22"/>
                  <a:gd name="T20" fmla="*/ 17 w 41"/>
                  <a:gd name="T21" fmla="*/ 2 h 22"/>
                  <a:gd name="T22" fmla="*/ 6 w 41"/>
                  <a:gd name="T23" fmla="*/ 4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1"/>
                  <a:gd name="T37" fmla="*/ 0 h 22"/>
                  <a:gd name="T38" fmla="*/ 41 w 41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1" h="22">
                    <a:moveTo>
                      <a:pt x="5" y="3"/>
                    </a:moveTo>
                    <a:cubicBezTo>
                      <a:pt x="4" y="6"/>
                      <a:pt x="1" y="9"/>
                      <a:pt x="0" y="12"/>
                    </a:cubicBezTo>
                    <a:cubicBezTo>
                      <a:pt x="1" y="15"/>
                      <a:pt x="3" y="18"/>
                      <a:pt x="6" y="21"/>
                    </a:cubicBezTo>
                    <a:cubicBezTo>
                      <a:pt x="8" y="22"/>
                      <a:pt x="10" y="19"/>
                      <a:pt x="12" y="18"/>
                    </a:cubicBezTo>
                    <a:cubicBezTo>
                      <a:pt x="15" y="17"/>
                      <a:pt x="18" y="16"/>
                      <a:pt x="21" y="16"/>
                    </a:cubicBezTo>
                    <a:cubicBezTo>
                      <a:pt x="24" y="16"/>
                      <a:pt x="27" y="16"/>
                      <a:pt x="31" y="16"/>
                    </a:cubicBezTo>
                    <a:cubicBezTo>
                      <a:pt x="34" y="15"/>
                      <a:pt x="37" y="16"/>
                      <a:pt x="39" y="14"/>
                    </a:cubicBezTo>
                    <a:cubicBezTo>
                      <a:pt x="41" y="13"/>
                      <a:pt x="41" y="9"/>
                      <a:pt x="39" y="8"/>
                    </a:cubicBezTo>
                    <a:cubicBezTo>
                      <a:pt x="36" y="5"/>
                      <a:pt x="31" y="4"/>
                      <a:pt x="26" y="2"/>
                    </a:cubicBezTo>
                    <a:cubicBezTo>
                      <a:pt x="24" y="1"/>
                      <a:pt x="23" y="0"/>
                      <a:pt x="21" y="0"/>
                    </a:cubicBezTo>
                    <a:cubicBezTo>
                      <a:pt x="18" y="0"/>
                      <a:pt x="16" y="1"/>
                      <a:pt x="14" y="2"/>
                    </a:cubicBezTo>
                    <a:cubicBezTo>
                      <a:pt x="11" y="2"/>
                      <a:pt x="8" y="2"/>
                      <a:pt x="5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3" name="Freeform 3454"/>
              <p:cNvSpPr>
                <a:spLocks noChangeAspect="1"/>
              </p:cNvSpPr>
              <p:nvPr/>
            </p:nvSpPr>
            <p:spPr bwMode="auto">
              <a:xfrm>
                <a:off x="8264452" y="2346719"/>
                <a:ext cx="31077" cy="29234"/>
              </a:xfrm>
              <a:custGeom>
                <a:avLst/>
                <a:gdLst>
                  <a:gd name="T0" fmla="*/ 4 w 16"/>
                  <a:gd name="T1" fmla="*/ 0 h 15"/>
                  <a:gd name="T2" fmla="*/ 8 w 16"/>
                  <a:gd name="T3" fmla="*/ 1 h 15"/>
                  <a:gd name="T4" fmla="*/ 8 w 16"/>
                  <a:gd name="T5" fmla="*/ 5 h 15"/>
                  <a:gd name="T6" fmla="*/ 19 w 16"/>
                  <a:gd name="T7" fmla="*/ 14 h 15"/>
                  <a:gd name="T8" fmla="*/ 18 w 16"/>
                  <a:gd name="T9" fmla="*/ 17 h 15"/>
                  <a:gd name="T10" fmla="*/ 8 w 16"/>
                  <a:gd name="T11" fmla="*/ 10 h 15"/>
                  <a:gd name="T12" fmla="*/ 0 w 16"/>
                  <a:gd name="T13" fmla="*/ 4 h 15"/>
                  <a:gd name="T14" fmla="*/ 4 w 16"/>
                  <a:gd name="T15" fmla="*/ 0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"/>
                  <a:gd name="T25" fmla="*/ 0 h 15"/>
                  <a:gd name="T26" fmla="*/ 16 w 16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" h="15">
                    <a:moveTo>
                      <a:pt x="3" y="0"/>
                    </a:moveTo>
                    <a:cubicBezTo>
                      <a:pt x="4" y="0"/>
                      <a:pt x="6" y="0"/>
                      <a:pt x="7" y="1"/>
                    </a:cubicBezTo>
                    <a:cubicBezTo>
                      <a:pt x="7" y="2"/>
                      <a:pt x="6" y="3"/>
                      <a:pt x="7" y="4"/>
                    </a:cubicBezTo>
                    <a:cubicBezTo>
                      <a:pt x="9" y="7"/>
                      <a:pt x="13" y="9"/>
                      <a:pt x="16" y="12"/>
                    </a:cubicBezTo>
                    <a:cubicBezTo>
                      <a:pt x="16" y="13"/>
                      <a:pt x="16" y="15"/>
                      <a:pt x="15" y="14"/>
                    </a:cubicBezTo>
                    <a:cubicBezTo>
                      <a:pt x="12" y="13"/>
                      <a:pt x="10" y="10"/>
                      <a:pt x="7" y="8"/>
                    </a:cubicBezTo>
                    <a:cubicBezTo>
                      <a:pt x="5" y="6"/>
                      <a:pt x="2" y="6"/>
                      <a:pt x="0" y="3"/>
                    </a:cubicBezTo>
                    <a:cubicBezTo>
                      <a:pt x="0" y="2"/>
                      <a:pt x="2" y="1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4" name="Freeform 3455"/>
              <p:cNvSpPr>
                <a:spLocks noChangeAspect="1"/>
              </p:cNvSpPr>
              <p:nvPr/>
            </p:nvSpPr>
            <p:spPr bwMode="auto">
              <a:xfrm>
                <a:off x="8308613" y="2367832"/>
                <a:ext cx="17992" cy="12993"/>
              </a:xfrm>
              <a:custGeom>
                <a:avLst/>
                <a:gdLst>
                  <a:gd name="T0" fmla="*/ 4 w 9"/>
                  <a:gd name="T1" fmla="*/ 0 h 7"/>
                  <a:gd name="T2" fmla="*/ 0 w 9"/>
                  <a:gd name="T3" fmla="*/ 2 h 7"/>
                  <a:gd name="T4" fmla="*/ 9 w 9"/>
                  <a:gd name="T5" fmla="*/ 7 h 7"/>
                  <a:gd name="T6" fmla="*/ 11 w 9"/>
                  <a:gd name="T7" fmla="*/ 6 h 7"/>
                  <a:gd name="T8" fmla="*/ 4 w 9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7"/>
                  <a:gd name="T17" fmla="*/ 9 w 9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7">
                    <a:moveTo>
                      <a:pt x="3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2" y="4"/>
                      <a:pt x="5" y="5"/>
                      <a:pt x="7" y="6"/>
                    </a:cubicBezTo>
                    <a:cubicBezTo>
                      <a:pt x="8" y="7"/>
                      <a:pt x="9" y="6"/>
                      <a:pt x="9" y="5"/>
                    </a:cubicBezTo>
                    <a:cubicBezTo>
                      <a:pt x="7" y="3"/>
                      <a:pt x="5" y="1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5" name="Freeform 3456"/>
              <p:cNvSpPr>
                <a:spLocks noChangeAspect="1"/>
              </p:cNvSpPr>
              <p:nvPr/>
            </p:nvSpPr>
            <p:spPr bwMode="auto">
              <a:xfrm>
                <a:off x="8077995" y="2512380"/>
                <a:ext cx="19627" cy="27611"/>
              </a:xfrm>
              <a:custGeom>
                <a:avLst/>
                <a:gdLst>
                  <a:gd name="T0" fmla="*/ 11 w 10"/>
                  <a:gd name="T1" fmla="*/ 0 h 14"/>
                  <a:gd name="T2" fmla="*/ 7 w 10"/>
                  <a:gd name="T3" fmla="*/ 0 h 14"/>
                  <a:gd name="T4" fmla="*/ 4 w 10"/>
                  <a:gd name="T5" fmla="*/ 9 h 14"/>
                  <a:gd name="T6" fmla="*/ 0 w 10"/>
                  <a:gd name="T7" fmla="*/ 11 h 14"/>
                  <a:gd name="T8" fmla="*/ 4 w 10"/>
                  <a:gd name="T9" fmla="*/ 17 h 14"/>
                  <a:gd name="T10" fmla="*/ 10 w 10"/>
                  <a:gd name="T11" fmla="*/ 10 h 14"/>
                  <a:gd name="T12" fmla="*/ 12 w 10"/>
                  <a:gd name="T13" fmla="*/ 5 h 14"/>
                  <a:gd name="T14" fmla="*/ 11 w 10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14"/>
                  <a:gd name="T26" fmla="*/ 10 w 10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14">
                    <a:moveTo>
                      <a:pt x="9" y="0"/>
                    </a:moveTo>
                    <a:cubicBezTo>
                      <a:pt x="8" y="0"/>
                      <a:pt x="7" y="0"/>
                      <a:pt x="6" y="0"/>
                    </a:cubicBezTo>
                    <a:cubicBezTo>
                      <a:pt x="5" y="2"/>
                      <a:pt x="5" y="5"/>
                      <a:pt x="3" y="7"/>
                    </a:cubicBezTo>
                    <a:cubicBezTo>
                      <a:pt x="3" y="8"/>
                      <a:pt x="0" y="8"/>
                      <a:pt x="0" y="9"/>
                    </a:cubicBezTo>
                    <a:cubicBezTo>
                      <a:pt x="0" y="11"/>
                      <a:pt x="1" y="14"/>
                      <a:pt x="3" y="14"/>
                    </a:cubicBezTo>
                    <a:cubicBezTo>
                      <a:pt x="6" y="13"/>
                      <a:pt x="6" y="10"/>
                      <a:pt x="8" y="8"/>
                    </a:cubicBezTo>
                    <a:cubicBezTo>
                      <a:pt x="9" y="6"/>
                      <a:pt x="10" y="5"/>
                      <a:pt x="10" y="4"/>
                    </a:cubicBezTo>
                    <a:cubicBezTo>
                      <a:pt x="10" y="2"/>
                      <a:pt x="10" y="1"/>
                      <a:pt x="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6" name="Freeform 3457"/>
              <p:cNvSpPr>
                <a:spLocks noChangeAspect="1"/>
              </p:cNvSpPr>
              <p:nvPr/>
            </p:nvSpPr>
            <p:spPr bwMode="auto">
              <a:xfrm>
                <a:off x="7937335" y="2686162"/>
                <a:ext cx="39254" cy="38979"/>
              </a:xfrm>
              <a:custGeom>
                <a:avLst/>
                <a:gdLst>
                  <a:gd name="T0" fmla="*/ 23 w 20"/>
                  <a:gd name="T1" fmla="*/ 0 h 20"/>
                  <a:gd name="T2" fmla="*/ 23 w 20"/>
                  <a:gd name="T3" fmla="*/ 4 h 20"/>
                  <a:gd name="T4" fmla="*/ 19 w 20"/>
                  <a:gd name="T5" fmla="*/ 4 h 20"/>
                  <a:gd name="T6" fmla="*/ 12 w 20"/>
                  <a:gd name="T7" fmla="*/ 12 h 20"/>
                  <a:gd name="T8" fmla="*/ 8 w 20"/>
                  <a:gd name="T9" fmla="*/ 13 h 20"/>
                  <a:gd name="T10" fmla="*/ 1 w 20"/>
                  <a:gd name="T11" fmla="*/ 24 h 20"/>
                  <a:gd name="T12" fmla="*/ 0 w 20"/>
                  <a:gd name="T13" fmla="*/ 20 h 20"/>
                  <a:gd name="T14" fmla="*/ 5 w 20"/>
                  <a:gd name="T15" fmla="*/ 14 h 20"/>
                  <a:gd name="T16" fmla="*/ 10 w 20"/>
                  <a:gd name="T17" fmla="*/ 4 h 20"/>
                  <a:gd name="T18" fmla="*/ 16 w 20"/>
                  <a:gd name="T19" fmla="*/ 6 h 20"/>
                  <a:gd name="T20" fmla="*/ 23 w 20"/>
                  <a:gd name="T21" fmla="*/ 0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"/>
                  <a:gd name="T34" fmla="*/ 0 h 20"/>
                  <a:gd name="T35" fmla="*/ 20 w 20"/>
                  <a:gd name="T36" fmla="*/ 20 h 2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" h="20">
                    <a:moveTo>
                      <a:pt x="19" y="0"/>
                    </a:moveTo>
                    <a:cubicBezTo>
                      <a:pt x="20" y="0"/>
                      <a:pt x="20" y="2"/>
                      <a:pt x="19" y="3"/>
                    </a:cubicBezTo>
                    <a:cubicBezTo>
                      <a:pt x="19" y="4"/>
                      <a:pt x="17" y="3"/>
                      <a:pt x="16" y="3"/>
                    </a:cubicBezTo>
                    <a:cubicBezTo>
                      <a:pt x="14" y="5"/>
                      <a:pt x="12" y="8"/>
                      <a:pt x="10" y="10"/>
                    </a:cubicBezTo>
                    <a:cubicBezTo>
                      <a:pt x="9" y="11"/>
                      <a:pt x="8" y="10"/>
                      <a:pt x="7" y="11"/>
                    </a:cubicBezTo>
                    <a:cubicBezTo>
                      <a:pt x="5" y="13"/>
                      <a:pt x="4" y="17"/>
                      <a:pt x="1" y="20"/>
                    </a:cubicBezTo>
                    <a:cubicBezTo>
                      <a:pt x="0" y="20"/>
                      <a:pt x="0" y="18"/>
                      <a:pt x="0" y="17"/>
                    </a:cubicBezTo>
                    <a:cubicBezTo>
                      <a:pt x="1" y="15"/>
                      <a:pt x="3" y="13"/>
                      <a:pt x="4" y="12"/>
                    </a:cubicBezTo>
                    <a:cubicBezTo>
                      <a:pt x="5" y="9"/>
                      <a:pt x="5" y="5"/>
                      <a:pt x="8" y="3"/>
                    </a:cubicBezTo>
                    <a:cubicBezTo>
                      <a:pt x="9" y="2"/>
                      <a:pt x="12" y="5"/>
                      <a:pt x="13" y="5"/>
                    </a:cubicBezTo>
                    <a:cubicBezTo>
                      <a:pt x="16" y="4"/>
                      <a:pt x="16" y="0"/>
                      <a:pt x="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7" name="Freeform 3458"/>
              <p:cNvSpPr>
                <a:spLocks noChangeAspect="1"/>
              </p:cNvSpPr>
              <p:nvPr/>
            </p:nvSpPr>
            <p:spPr bwMode="auto">
              <a:xfrm>
                <a:off x="7907894" y="2720269"/>
                <a:ext cx="22898" cy="25986"/>
              </a:xfrm>
              <a:custGeom>
                <a:avLst/>
                <a:gdLst>
                  <a:gd name="T0" fmla="*/ 9 w 11"/>
                  <a:gd name="T1" fmla="*/ 1 h 13"/>
                  <a:gd name="T2" fmla="*/ 14 w 11"/>
                  <a:gd name="T3" fmla="*/ 2 h 13"/>
                  <a:gd name="T4" fmla="*/ 10 w 11"/>
                  <a:gd name="T5" fmla="*/ 7 h 13"/>
                  <a:gd name="T6" fmla="*/ 4 w 11"/>
                  <a:gd name="T7" fmla="*/ 16 h 13"/>
                  <a:gd name="T8" fmla="*/ 0 w 11"/>
                  <a:gd name="T9" fmla="*/ 14 h 13"/>
                  <a:gd name="T10" fmla="*/ 8 w 11"/>
                  <a:gd name="T11" fmla="*/ 4 h 13"/>
                  <a:gd name="T12" fmla="*/ 9 w 11"/>
                  <a:gd name="T13" fmla="*/ 1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3"/>
                  <a:gd name="T23" fmla="*/ 11 w 11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3">
                    <a:moveTo>
                      <a:pt x="7" y="1"/>
                    </a:moveTo>
                    <a:cubicBezTo>
                      <a:pt x="9" y="0"/>
                      <a:pt x="11" y="1"/>
                      <a:pt x="11" y="2"/>
                    </a:cubicBezTo>
                    <a:cubicBezTo>
                      <a:pt x="11" y="4"/>
                      <a:pt x="9" y="4"/>
                      <a:pt x="8" y="6"/>
                    </a:cubicBezTo>
                    <a:cubicBezTo>
                      <a:pt x="6" y="8"/>
                      <a:pt x="5" y="11"/>
                      <a:pt x="3" y="13"/>
                    </a:cubicBezTo>
                    <a:cubicBezTo>
                      <a:pt x="2" y="13"/>
                      <a:pt x="0" y="12"/>
                      <a:pt x="0" y="11"/>
                    </a:cubicBezTo>
                    <a:cubicBezTo>
                      <a:pt x="1" y="8"/>
                      <a:pt x="4" y="6"/>
                      <a:pt x="6" y="3"/>
                    </a:cubicBezTo>
                    <a:cubicBezTo>
                      <a:pt x="6" y="2"/>
                      <a:pt x="7" y="1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8" name="Freeform 3459"/>
              <p:cNvSpPr>
                <a:spLocks noChangeAspect="1"/>
              </p:cNvSpPr>
              <p:nvPr/>
            </p:nvSpPr>
            <p:spPr bwMode="auto">
              <a:xfrm>
                <a:off x="7736157" y="2380825"/>
                <a:ext cx="21263" cy="25986"/>
              </a:xfrm>
              <a:custGeom>
                <a:avLst/>
                <a:gdLst>
                  <a:gd name="T0" fmla="*/ 6 w 11"/>
                  <a:gd name="T1" fmla="*/ 1 h 13"/>
                  <a:gd name="T2" fmla="*/ 8 w 11"/>
                  <a:gd name="T3" fmla="*/ 7 h 13"/>
                  <a:gd name="T4" fmla="*/ 12 w 11"/>
                  <a:gd name="T5" fmla="*/ 7 h 13"/>
                  <a:gd name="T6" fmla="*/ 12 w 11"/>
                  <a:gd name="T7" fmla="*/ 15 h 13"/>
                  <a:gd name="T8" fmla="*/ 7 w 11"/>
                  <a:gd name="T9" fmla="*/ 15 h 13"/>
                  <a:gd name="T10" fmla="*/ 7 w 11"/>
                  <a:gd name="T11" fmla="*/ 10 h 13"/>
                  <a:gd name="T12" fmla="*/ 0 w 11"/>
                  <a:gd name="T13" fmla="*/ 4 h 13"/>
                  <a:gd name="T14" fmla="*/ 4 w 11"/>
                  <a:gd name="T15" fmla="*/ 4 h 13"/>
                  <a:gd name="T16" fmla="*/ 6 w 11"/>
                  <a:gd name="T17" fmla="*/ 1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3"/>
                  <a:gd name="T29" fmla="*/ 11 w 11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3">
                    <a:moveTo>
                      <a:pt x="5" y="1"/>
                    </a:moveTo>
                    <a:cubicBezTo>
                      <a:pt x="7" y="2"/>
                      <a:pt x="6" y="4"/>
                      <a:pt x="7" y="6"/>
                    </a:cubicBezTo>
                    <a:cubicBezTo>
                      <a:pt x="7" y="6"/>
                      <a:pt x="9" y="5"/>
                      <a:pt x="10" y="6"/>
                    </a:cubicBezTo>
                    <a:cubicBezTo>
                      <a:pt x="11" y="8"/>
                      <a:pt x="11" y="11"/>
                      <a:pt x="10" y="12"/>
                    </a:cubicBezTo>
                    <a:cubicBezTo>
                      <a:pt x="9" y="13"/>
                      <a:pt x="7" y="12"/>
                      <a:pt x="6" y="12"/>
                    </a:cubicBezTo>
                    <a:cubicBezTo>
                      <a:pt x="6" y="11"/>
                      <a:pt x="7" y="9"/>
                      <a:pt x="6" y="8"/>
                    </a:cubicBezTo>
                    <a:cubicBezTo>
                      <a:pt x="5" y="6"/>
                      <a:pt x="1" y="5"/>
                      <a:pt x="0" y="3"/>
                    </a:cubicBezTo>
                    <a:cubicBezTo>
                      <a:pt x="0" y="2"/>
                      <a:pt x="2" y="3"/>
                      <a:pt x="3" y="3"/>
                    </a:cubicBezTo>
                    <a:cubicBezTo>
                      <a:pt x="4" y="2"/>
                      <a:pt x="5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49" name="Freeform 3460"/>
              <p:cNvSpPr>
                <a:spLocks noChangeAspect="1"/>
              </p:cNvSpPr>
              <p:nvPr/>
            </p:nvSpPr>
            <p:spPr bwMode="auto">
              <a:xfrm>
                <a:off x="7737793" y="2408436"/>
                <a:ext cx="114491" cy="269606"/>
              </a:xfrm>
              <a:custGeom>
                <a:avLst/>
                <a:gdLst>
                  <a:gd name="T0" fmla="*/ 13 w 58"/>
                  <a:gd name="T1" fmla="*/ 1 h 138"/>
                  <a:gd name="T2" fmla="*/ 22 w 58"/>
                  <a:gd name="T3" fmla="*/ 18 h 138"/>
                  <a:gd name="T4" fmla="*/ 27 w 58"/>
                  <a:gd name="T5" fmla="*/ 31 h 138"/>
                  <a:gd name="T6" fmla="*/ 29 w 58"/>
                  <a:gd name="T7" fmla="*/ 47 h 138"/>
                  <a:gd name="T8" fmla="*/ 31 w 58"/>
                  <a:gd name="T9" fmla="*/ 45 h 138"/>
                  <a:gd name="T10" fmla="*/ 46 w 58"/>
                  <a:gd name="T11" fmla="*/ 73 h 138"/>
                  <a:gd name="T12" fmla="*/ 60 w 58"/>
                  <a:gd name="T13" fmla="*/ 93 h 138"/>
                  <a:gd name="T14" fmla="*/ 65 w 58"/>
                  <a:gd name="T15" fmla="*/ 103 h 138"/>
                  <a:gd name="T16" fmla="*/ 70 w 58"/>
                  <a:gd name="T17" fmla="*/ 106 h 138"/>
                  <a:gd name="T18" fmla="*/ 69 w 58"/>
                  <a:gd name="T19" fmla="*/ 111 h 138"/>
                  <a:gd name="T20" fmla="*/ 68 w 58"/>
                  <a:gd name="T21" fmla="*/ 108 h 138"/>
                  <a:gd name="T22" fmla="*/ 63 w 58"/>
                  <a:gd name="T23" fmla="*/ 103 h 138"/>
                  <a:gd name="T24" fmla="*/ 57 w 58"/>
                  <a:gd name="T25" fmla="*/ 96 h 138"/>
                  <a:gd name="T26" fmla="*/ 47 w 58"/>
                  <a:gd name="T27" fmla="*/ 93 h 138"/>
                  <a:gd name="T28" fmla="*/ 41 w 58"/>
                  <a:gd name="T29" fmla="*/ 97 h 138"/>
                  <a:gd name="T30" fmla="*/ 41 w 58"/>
                  <a:gd name="T31" fmla="*/ 118 h 138"/>
                  <a:gd name="T32" fmla="*/ 40 w 58"/>
                  <a:gd name="T33" fmla="*/ 124 h 138"/>
                  <a:gd name="T34" fmla="*/ 51 w 58"/>
                  <a:gd name="T35" fmla="*/ 132 h 138"/>
                  <a:gd name="T36" fmla="*/ 56 w 58"/>
                  <a:gd name="T37" fmla="*/ 144 h 138"/>
                  <a:gd name="T38" fmla="*/ 62 w 58"/>
                  <a:gd name="T39" fmla="*/ 147 h 138"/>
                  <a:gd name="T40" fmla="*/ 64 w 58"/>
                  <a:gd name="T41" fmla="*/ 158 h 138"/>
                  <a:gd name="T42" fmla="*/ 63 w 58"/>
                  <a:gd name="T43" fmla="*/ 159 h 138"/>
                  <a:gd name="T44" fmla="*/ 60 w 58"/>
                  <a:gd name="T45" fmla="*/ 153 h 138"/>
                  <a:gd name="T46" fmla="*/ 52 w 58"/>
                  <a:gd name="T47" fmla="*/ 150 h 138"/>
                  <a:gd name="T48" fmla="*/ 49 w 58"/>
                  <a:gd name="T49" fmla="*/ 153 h 138"/>
                  <a:gd name="T50" fmla="*/ 48 w 58"/>
                  <a:gd name="T51" fmla="*/ 164 h 138"/>
                  <a:gd name="T52" fmla="*/ 46 w 58"/>
                  <a:gd name="T53" fmla="*/ 165 h 138"/>
                  <a:gd name="T54" fmla="*/ 42 w 58"/>
                  <a:gd name="T55" fmla="*/ 156 h 138"/>
                  <a:gd name="T56" fmla="*/ 40 w 58"/>
                  <a:gd name="T57" fmla="*/ 150 h 138"/>
                  <a:gd name="T58" fmla="*/ 40 w 58"/>
                  <a:gd name="T59" fmla="*/ 141 h 138"/>
                  <a:gd name="T60" fmla="*/ 35 w 58"/>
                  <a:gd name="T61" fmla="*/ 132 h 138"/>
                  <a:gd name="T62" fmla="*/ 35 w 58"/>
                  <a:gd name="T63" fmla="*/ 120 h 138"/>
                  <a:gd name="T64" fmla="*/ 28 w 58"/>
                  <a:gd name="T65" fmla="*/ 113 h 138"/>
                  <a:gd name="T66" fmla="*/ 28 w 58"/>
                  <a:gd name="T67" fmla="*/ 107 h 138"/>
                  <a:gd name="T68" fmla="*/ 27 w 58"/>
                  <a:gd name="T69" fmla="*/ 91 h 138"/>
                  <a:gd name="T70" fmla="*/ 19 w 58"/>
                  <a:gd name="T71" fmla="*/ 61 h 138"/>
                  <a:gd name="T72" fmla="*/ 19 w 58"/>
                  <a:gd name="T73" fmla="*/ 52 h 138"/>
                  <a:gd name="T74" fmla="*/ 10 w 58"/>
                  <a:gd name="T75" fmla="*/ 42 h 138"/>
                  <a:gd name="T76" fmla="*/ 8 w 58"/>
                  <a:gd name="T77" fmla="*/ 38 h 138"/>
                  <a:gd name="T78" fmla="*/ 5 w 58"/>
                  <a:gd name="T79" fmla="*/ 36 h 138"/>
                  <a:gd name="T80" fmla="*/ 4 w 58"/>
                  <a:gd name="T81" fmla="*/ 18 h 138"/>
                  <a:gd name="T82" fmla="*/ 0 w 58"/>
                  <a:gd name="T83" fmla="*/ 7 h 138"/>
                  <a:gd name="T84" fmla="*/ 4 w 58"/>
                  <a:gd name="T85" fmla="*/ 4 h 138"/>
                  <a:gd name="T86" fmla="*/ 8 w 58"/>
                  <a:gd name="T87" fmla="*/ 7 h 138"/>
                  <a:gd name="T88" fmla="*/ 10 w 58"/>
                  <a:gd name="T89" fmla="*/ 1 h 138"/>
                  <a:gd name="T90" fmla="*/ 13 w 58"/>
                  <a:gd name="T91" fmla="*/ 1 h 1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58"/>
                  <a:gd name="T139" fmla="*/ 0 h 138"/>
                  <a:gd name="T140" fmla="*/ 58 w 58"/>
                  <a:gd name="T141" fmla="*/ 138 h 1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58" h="138">
                    <a:moveTo>
                      <a:pt x="11" y="1"/>
                    </a:moveTo>
                    <a:cubicBezTo>
                      <a:pt x="14" y="5"/>
                      <a:pt x="16" y="10"/>
                      <a:pt x="18" y="15"/>
                    </a:cubicBezTo>
                    <a:cubicBezTo>
                      <a:pt x="19" y="19"/>
                      <a:pt x="21" y="22"/>
                      <a:pt x="22" y="26"/>
                    </a:cubicBezTo>
                    <a:cubicBezTo>
                      <a:pt x="23" y="30"/>
                      <a:pt x="22" y="35"/>
                      <a:pt x="24" y="39"/>
                    </a:cubicBezTo>
                    <a:cubicBezTo>
                      <a:pt x="24" y="39"/>
                      <a:pt x="25" y="36"/>
                      <a:pt x="26" y="37"/>
                    </a:cubicBezTo>
                    <a:cubicBezTo>
                      <a:pt x="31" y="44"/>
                      <a:pt x="34" y="53"/>
                      <a:pt x="38" y="61"/>
                    </a:cubicBezTo>
                    <a:cubicBezTo>
                      <a:pt x="41" y="66"/>
                      <a:pt x="46" y="71"/>
                      <a:pt x="50" y="77"/>
                    </a:cubicBezTo>
                    <a:cubicBezTo>
                      <a:pt x="51" y="80"/>
                      <a:pt x="52" y="83"/>
                      <a:pt x="54" y="86"/>
                    </a:cubicBezTo>
                    <a:cubicBezTo>
                      <a:pt x="55" y="87"/>
                      <a:pt x="57" y="86"/>
                      <a:pt x="58" y="88"/>
                    </a:cubicBezTo>
                    <a:cubicBezTo>
                      <a:pt x="58" y="89"/>
                      <a:pt x="58" y="91"/>
                      <a:pt x="57" y="92"/>
                    </a:cubicBezTo>
                    <a:cubicBezTo>
                      <a:pt x="57" y="92"/>
                      <a:pt x="56" y="90"/>
                      <a:pt x="56" y="90"/>
                    </a:cubicBezTo>
                    <a:cubicBezTo>
                      <a:pt x="55" y="88"/>
                      <a:pt x="53" y="87"/>
                      <a:pt x="52" y="86"/>
                    </a:cubicBezTo>
                    <a:cubicBezTo>
                      <a:pt x="50" y="84"/>
                      <a:pt x="49" y="81"/>
                      <a:pt x="47" y="80"/>
                    </a:cubicBezTo>
                    <a:cubicBezTo>
                      <a:pt x="45" y="78"/>
                      <a:pt x="42" y="77"/>
                      <a:pt x="39" y="77"/>
                    </a:cubicBezTo>
                    <a:cubicBezTo>
                      <a:pt x="37" y="78"/>
                      <a:pt x="35" y="79"/>
                      <a:pt x="34" y="81"/>
                    </a:cubicBezTo>
                    <a:cubicBezTo>
                      <a:pt x="33" y="86"/>
                      <a:pt x="34" y="92"/>
                      <a:pt x="34" y="98"/>
                    </a:cubicBezTo>
                    <a:cubicBezTo>
                      <a:pt x="33" y="99"/>
                      <a:pt x="32" y="101"/>
                      <a:pt x="33" y="103"/>
                    </a:cubicBezTo>
                    <a:cubicBezTo>
                      <a:pt x="35" y="106"/>
                      <a:pt x="40" y="107"/>
                      <a:pt x="42" y="110"/>
                    </a:cubicBezTo>
                    <a:cubicBezTo>
                      <a:pt x="44" y="112"/>
                      <a:pt x="44" y="117"/>
                      <a:pt x="46" y="120"/>
                    </a:cubicBezTo>
                    <a:cubicBezTo>
                      <a:pt x="47" y="121"/>
                      <a:pt x="50" y="120"/>
                      <a:pt x="51" y="122"/>
                    </a:cubicBezTo>
                    <a:cubicBezTo>
                      <a:pt x="52" y="124"/>
                      <a:pt x="53" y="128"/>
                      <a:pt x="53" y="131"/>
                    </a:cubicBezTo>
                    <a:cubicBezTo>
                      <a:pt x="53" y="132"/>
                      <a:pt x="52" y="132"/>
                      <a:pt x="52" y="132"/>
                    </a:cubicBezTo>
                    <a:cubicBezTo>
                      <a:pt x="51" y="131"/>
                      <a:pt x="51" y="128"/>
                      <a:pt x="50" y="127"/>
                    </a:cubicBezTo>
                    <a:cubicBezTo>
                      <a:pt x="48" y="125"/>
                      <a:pt x="46" y="125"/>
                      <a:pt x="43" y="125"/>
                    </a:cubicBezTo>
                    <a:cubicBezTo>
                      <a:pt x="42" y="125"/>
                      <a:pt x="41" y="126"/>
                      <a:pt x="41" y="127"/>
                    </a:cubicBezTo>
                    <a:cubicBezTo>
                      <a:pt x="40" y="130"/>
                      <a:pt x="40" y="133"/>
                      <a:pt x="40" y="136"/>
                    </a:cubicBezTo>
                    <a:cubicBezTo>
                      <a:pt x="39" y="136"/>
                      <a:pt x="38" y="138"/>
                      <a:pt x="38" y="137"/>
                    </a:cubicBezTo>
                    <a:cubicBezTo>
                      <a:pt x="36" y="135"/>
                      <a:pt x="36" y="133"/>
                      <a:pt x="35" y="130"/>
                    </a:cubicBezTo>
                    <a:cubicBezTo>
                      <a:pt x="34" y="129"/>
                      <a:pt x="33" y="127"/>
                      <a:pt x="33" y="125"/>
                    </a:cubicBezTo>
                    <a:cubicBezTo>
                      <a:pt x="32" y="122"/>
                      <a:pt x="33" y="120"/>
                      <a:pt x="33" y="117"/>
                    </a:cubicBezTo>
                    <a:cubicBezTo>
                      <a:pt x="32" y="115"/>
                      <a:pt x="29" y="113"/>
                      <a:pt x="29" y="110"/>
                    </a:cubicBezTo>
                    <a:cubicBezTo>
                      <a:pt x="28" y="107"/>
                      <a:pt x="30" y="103"/>
                      <a:pt x="29" y="100"/>
                    </a:cubicBezTo>
                    <a:cubicBezTo>
                      <a:pt x="28" y="98"/>
                      <a:pt x="25" y="97"/>
                      <a:pt x="23" y="94"/>
                    </a:cubicBezTo>
                    <a:cubicBezTo>
                      <a:pt x="22" y="93"/>
                      <a:pt x="23" y="91"/>
                      <a:pt x="23" y="89"/>
                    </a:cubicBezTo>
                    <a:cubicBezTo>
                      <a:pt x="22" y="85"/>
                      <a:pt x="23" y="80"/>
                      <a:pt x="22" y="76"/>
                    </a:cubicBezTo>
                    <a:cubicBezTo>
                      <a:pt x="21" y="68"/>
                      <a:pt x="17" y="60"/>
                      <a:pt x="16" y="51"/>
                    </a:cubicBezTo>
                    <a:cubicBezTo>
                      <a:pt x="15" y="49"/>
                      <a:pt x="17" y="46"/>
                      <a:pt x="16" y="43"/>
                    </a:cubicBezTo>
                    <a:cubicBezTo>
                      <a:pt x="14" y="40"/>
                      <a:pt x="10" y="38"/>
                      <a:pt x="8" y="35"/>
                    </a:cubicBezTo>
                    <a:cubicBezTo>
                      <a:pt x="7" y="34"/>
                      <a:pt x="8" y="33"/>
                      <a:pt x="7" y="32"/>
                    </a:cubicBezTo>
                    <a:cubicBezTo>
                      <a:pt x="7" y="31"/>
                      <a:pt x="5" y="31"/>
                      <a:pt x="4" y="30"/>
                    </a:cubicBezTo>
                    <a:cubicBezTo>
                      <a:pt x="3" y="25"/>
                      <a:pt x="4" y="20"/>
                      <a:pt x="3" y="15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5"/>
                      <a:pt x="1" y="3"/>
                      <a:pt x="3" y="3"/>
                    </a:cubicBezTo>
                    <a:cubicBezTo>
                      <a:pt x="4" y="3"/>
                      <a:pt x="5" y="6"/>
                      <a:pt x="7" y="6"/>
                    </a:cubicBezTo>
                    <a:cubicBezTo>
                      <a:pt x="8" y="5"/>
                      <a:pt x="7" y="2"/>
                      <a:pt x="8" y="1"/>
                    </a:cubicBezTo>
                    <a:cubicBezTo>
                      <a:pt x="8" y="0"/>
                      <a:pt x="10" y="0"/>
                      <a:pt x="1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0" name="Freeform 3461"/>
              <p:cNvSpPr>
                <a:spLocks noChangeAspect="1"/>
              </p:cNvSpPr>
              <p:nvPr/>
            </p:nvSpPr>
            <p:spPr bwMode="auto">
              <a:xfrm>
                <a:off x="6059680" y="1286161"/>
                <a:ext cx="31077" cy="14618"/>
              </a:xfrm>
              <a:custGeom>
                <a:avLst/>
                <a:gdLst>
                  <a:gd name="T0" fmla="*/ 4 w 16"/>
                  <a:gd name="T1" fmla="*/ 0 h 8"/>
                  <a:gd name="T2" fmla="*/ 1 w 16"/>
                  <a:gd name="T3" fmla="*/ 6 h 8"/>
                  <a:gd name="T4" fmla="*/ 12 w 16"/>
                  <a:gd name="T5" fmla="*/ 9 h 8"/>
                  <a:gd name="T6" fmla="*/ 18 w 16"/>
                  <a:gd name="T7" fmla="*/ 7 h 8"/>
                  <a:gd name="T8" fmla="*/ 15 w 16"/>
                  <a:gd name="T9" fmla="*/ 3 h 8"/>
                  <a:gd name="T10" fmla="*/ 4 w 16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"/>
                  <a:gd name="T20" fmla="*/ 16 w 16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">
                    <a:moveTo>
                      <a:pt x="3" y="0"/>
                    </a:moveTo>
                    <a:cubicBezTo>
                      <a:pt x="1" y="1"/>
                      <a:pt x="0" y="4"/>
                      <a:pt x="1" y="5"/>
                    </a:cubicBezTo>
                    <a:cubicBezTo>
                      <a:pt x="4" y="7"/>
                      <a:pt x="7" y="8"/>
                      <a:pt x="10" y="8"/>
                    </a:cubicBezTo>
                    <a:cubicBezTo>
                      <a:pt x="12" y="8"/>
                      <a:pt x="15" y="8"/>
                      <a:pt x="15" y="6"/>
                    </a:cubicBezTo>
                    <a:cubicBezTo>
                      <a:pt x="16" y="5"/>
                      <a:pt x="14" y="3"/>
                      <a:pt x="13" y="3"/>
                    </a:cubicBezTo>
                    <a:cubicBezTo>
                      <a:pt x="10" y="1"/>
                      <a:pt x="6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1" name="Freeform 3462"/>
              <p:cNvSpPr>
                <a:spLocks noChangeAspect="1"/>
              </p:cNvSpPr>
              <p:nvPr/>
            </p:nvSpPr>
            <p:spPr bwMode="auto">
              <a:xfrm>
                <a:off x="5729291" y="1269919"/>
                <a:ext cx="57246" cy="35731"/>
              </a:xfrm>
              <a:custGeom>
                <a:avLst/>
                <a:gdLst>
                  <a:gd name="T0" fmla="*/ 30 w 29"/>
                  <a:gd name="T1" fmla="*/ 2 h 18"/>
                  <a:gd name="T2" fmla="*/ 33 w 29"/>
                  <a:gd name="T3" fmla="*/ 13 h 18"/>
                  <a:gd name="T4" fmla="*/ 21 w 29"/>
                  <a:gd name="T5" fmla="*/ 18 h 18"/>
                  <a:gd name="T6" fmla="*/ 7 w 29"/>
                  <a:gd name="T7" fmla="*/ 21 h 18"/>
                  <a:gd name="T8" fmla="*/ 1 w 29"/>
                  <a:gd name="T9" fmla="*/ 13 h 18"/>
                  <a:gd name="T10" fmla="*/ 11 w 29"/>
                  <a:gd name="T11" fmla="*/ 10 h 18"/>
                  <a:gd name="T12" fmla="*/ 21 w 29"/>
                  <a:gd name="T13" fmla="*/ 9 h 18"/>
                  <a:gd name="T14" fmla="*/ 21 w 29"/>
                  <a:gd name="T15" fmla="*/ 2 h 18"/>
                  <a:gd name="T16" fmla="*/ 30 w 29"/>
                  <a:gd name="T17" fmla="*/ 2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18"/>
                  <a:gd name="T29" fmla="*/ 29 w 29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18">
                    <a:moveTo>
                      <a:pt x="25" y="2"/>
                    </a:moveTo>
                    <a:cubicBezTo>
                      <a:pt x="28" y="4"/>
                      <a:pt x="29" y="9"/>
                      <a:pt x="27" y="11"/>
                    </a:cubicBezTo>
                    <a:cubicBezTo>
                      <a:pt x="25" y="14"/>
                      <a:pt x="20" y="14"/>
                      <a:pt x="17" y="15"/>
                    </a:cubicBezTo>
                    <a:cubicBezTo>
                      <a:pt x="13" y="16"/>
                      <a:pt x="10" y="18"/>
                      <a:pt x="6" y="17"/>
                    </a:cubicBezTo>
                    <a:cubicBezTo>
                      <a:pt x="4" y="17"/>
                      <a:pt x="0" y="14"/>
                      <a:pt x="1" y="11"/>
                    </a:cubicBezTo>
                    <a:cubicBezTo>
                      <a:pt x="2" y="9"/>
                      <a:pt x="6" y="9"/>
                      <a:pt x="9" y="8"/>
                    </a:cubicBezTo>
                    <a:cubicBezTo>
                      <a:pt x="12" y="8"/>
                      <a:pt x="15" y="8"/>
                      <a:pt x="17" y="7"/>
                    </a:cubicBezTo>
                    <a:cubicBezTo>
                      <a:pt x="18" y="6"/>
                      <a:pt x="16" y="3"/>
                      <a:pt x="17" y="2"/>
                    </a:cubicBezTo>
                    <a:cubicBezTo>
                      <a:pt x="19" y="1"/>
                      <a:pt x="23" y="0"/>
                      <a:pt x="2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2" name="Freeform 3463"/>
              <p:cNvSpPr>
                <a:spLocks noChangeAspect="1"/>
              </p:cNvSpPr>
              <p:nvPr/>
            </p:nvSpPr>
            <p:spPr bwMode="auto">
              <a:xfrm>
                <a:off x="5523207" y="1310523"/>
                <a:ext cx="35983" cy="16241"/>
              </a:xfrm>
              <a:custGeom>
                <a:avLst/>
                <a:gdLst>
                  <a:gd name="T0" fmla="*/ 7 w 18"/>
                  <a:gd name="T1" fmla="*/ 0 h 8"/>
                  <a:gd name="T2" fmla="*/ 21 w 18"/>
                  <a:gd name="T3" fmla="*/ 6 h 8"/>
                  <a:gd name="T4" fmla="*/ 17 w 18"/>
                  <a:gd name="T5" fmla="*/ 10 h 8"/>
                  <a:gd name="T6" fmla="*/ 1 w 18"/>
                  <a:gd name="T7" fmla="*/ 10 h 8"/>
                  <a:gd name="T8" fmla="*/ 1 w 18"/>
                  <a:gd name="T9" fmla="*/ 6 h 8"/>
                  <a:gd name="T10" fmla="*/ 7 w 18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8"/>
                  <a:gd name="T20" fmla="*/ 18 w 18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8">
                    <a:moveTo>
                      <a:pt x="6" y="0"/>
                    </a:moveTo>
                    <a:cubicBezTo>
                      <a:pt x="10" y="0"/>
                      <a:pt x="14" y="2"/>
                      <a:pt x="17" y="5"/>
                    </a:cubicBezTo>
                    <a:cubicBezTo>
                      <a:pt x="18" y="6"/>
                      <a:pt x="15" y="8"/>
                      <a:pt x="14" y="8"/>
                    </a:cubicBezTo>
                    <a:cubicBezTo>
                      <a:pt x="10" y="8"/>
                      <a:pt x="5" y="8"/>
                      <a:pt x="1" y="8"/>
                    </a:cubicBezTo>
                    <a:cubicBezTo>
                      <a:pt x="0" y="8"/>
                      <a:pt x="0" y="6"/>
                      <a:pt x="1" y="5"/>
                    </a:cubicBezTo>
                    <a:cubicBezTo>
                      <a:pt x="3" y="4"/>
                      <a:pt x="5" y="2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3" name="Freeform 3464"/>
              <p:cNvSpPr>
                <a:spLocks noChangeAspect="1"/>
              </p:cNvSpPr>
              <p:nvPr/>
            </p:nvSpPr>
            <p:spPr bwMode="auto">
              <a:xfrm>
                <a:off x="5618071" y="1307275"/>
                <a:ext cx="49068" cy="19490"/>
              </a:xfrm>
              <a:custGeom>
                <a:avLst/>
                <a:gdLst>
                  <a:gd name="T0" fmla="*/ 2 w 25"/>
                  <a:gd name="T1" fmla="*/ 1 h 10"/>
                  <a:gd name="T2" fmla="*/ 23 w 25"/>
                  <a:gd name="T3" fmla="*/ 1 h 10"/>
                  <a:gd name="T4" fmla="*/ 29 w 25"/>
                  <a:gd name="T5" fmla="*/ 6 h 10"/>
                  <a:gd name="T6" fmla="*/ 20 w 25"/>
                  <a:gd name="T7" fmla="*/ 6 h 10"/>
                  <a:gd name="T8" fmla="*/ 20 w 25"/>
                  <a:gd name="T9" fmla="*/ 11 h 10"/>
                  <a:gd name="T10" fmla="*/ 12 w 25"/>
                  <a:gd name="T11" fmla="*/ 12 h 10"/>
                  <a:gd name="T12" fmla="*/ 4 w 25"/>
                  <a:gd name="T13" fmla="*/ 7 h 10"/>
                  <a:gd name="T14" fmla="*/ 2 w 25"/>
                  <a:gd name="T15" fmla="*/ 1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5"/>
                  <a:gd name="T25" fmla="*/ 0 h 10"/>
                  <a:gd name="T26" fmla="*/ 25 w 25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5" h="10">
                    <a:moveTo>
                      <a:pt x="2" y="1"/>
                    </a:moveTo>
                    <a:cubicBezTo>
                      <a:pt x="7" y="0"/>
                      <a:pt x="14" y="0"/>
                      <a:pt x="19" y="1"/>
                    </a:cubicBezTo>
                    <a:cubicBezTo>
                      <a:pt x="21" y="1"/>
                      <a:pt x="25" y="3"/>
                      <a:pt x="24" y="5"/>
                    </a:cubicBezTo>
                    <a:cubicBezTo>
                      <a:pt x="23" y="7"/>
                      <a:pt x="19" y="4"/>
                      <a:pt x="17" y="5"/>
                    </a:cubicBezTo>
                    <a:cubicBezTo>
                      <a:pt x="16" y="6"/>
                      <a:pt x="18" y="8"/>
                      <a:pt x="17" y="9"/>
                    </a:cubicBezTo>
                    <a:cubicBezTo>
                      <a:pt x="15" y="8"/>
                      <a:pt x="12" y="9"/>
                      <a:pt x="10" y="10"/>
                    </a:cubicBezTo>
                    <a:cubicBezTo>
                      <a:pt x="7" y="10"/>
                      <a:pt x="4" y="9"/>
                      <a:pt x="3" y="6"/>
                    </a:cubicBezTo>
                    <a:cubicBezTo>
                      <a:pt x="2" y="5"/>
                      <a:pt x="0" y="2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4" name="Freeform 3465"/>
              <p:cNvSpPr>
                <a:spLocks noChangeAspect="1"/>
              </p:cNvSpPr>
              <p:nvPr/>
            </p:nvSpPr>
            <p:spPr bwMode="auto">
              <a:xfrm>
                <a:off x="5663867" y="1287785"/>
                <a:ext cx="62152" cy="30859"/>
              </a:xfrm>
              <a:custGeom>
                <a:avLst/>
                <a:gdLst>
                  <a:gd name="T0" fmla="*/ 13 w 31"/>
                  <a:gd name="T1" fmla="*/ 2 h 16"/>
                  <a:gd name="T2" fmla="*/ 26 w 31"/>
                  <a:gd name="T3" fmla="*/ 2 h 16"/>
                  <a:gd name="T4" fmla="*/ 36 w 31"/>
                  <a:gd name="T5" fmla="*/ 2 h 16"/>
                  <a:gd name="T6" fmla="*/ 36 w 31"/>
                  <a:gd name="T7" fmla="*/ 10 h 16"/>
                  <a:gd name="T8" fmla="*/ 29 w 31"/>
                  <a:gd name="T9" fmla="*/ 18 h 16"/>
                  <a:gd name="T10" fmla="*/ 16 w 31"/>
                  <a:gd name="T11" fmla="*/ 14 h 16"/>
                  <a:gd name="T12" fmla="*/ 6 w 31"/>
                  <a:gd name="T13" fmla="*/ 18 h 16"/>
                  <a:gd name="T14" fmla="*/ 1 w 31"/>
                  <a:gd name="T15" fmla="*/ 13 h 16"/>
                  <a:gd name="T16" fmla="*/ 2 w 31"/>
                  <a:gd name="T17" fmla="*/ 4 h 16"/>
                  <a:gd name="T18" fmla="*/ 13 w 31"/>
                  <a:gd name="T19" fmla="*/ 2 h 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16"/>
                  <a:gd name="T32" fmla="*/ 31 w 31"/>
                  <a:gd name="T33" fmla="*/ 16 h 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16">
                    <a:moveTo>
                      <a:pt x="11" y="2"/>
                    </a:moveTo>
                    <a:cubicBezTo>
                      <a:pt x="14" y="2"/>
                      <a:pt x="17" y="2"/>
                      <a:pt x="21" y="2"/>
                    </a:cubicBezTo>
                    <a:cubicBezTo>
                      <a:pt x="24" y="2"/>
                      <a:pt x="27" y="0"/>
                      <a:pt x="29" y="2"/>
                    </a:cubicBezTo>
                    <a:cubicBezTo>
                      <a:pt x="31" y="3"/>
                      <a:pt x="30" y="6"/>
                      <a:pt x="29" y="8"/>
                    </a:cubicBezTo>
                    <a:cubicBezTo>
                      <a:pt x="26" y="10"/>
                      <a:pt x="25" y="14"/>
                      <a:pt x="24" y="15"/>
                    </a:cubicBezTo>
                    <a:cubicBezTo>
                      <a:pt x="20" y="16"/>
                      <a:pt x="17" y="12"/>
                      <a:pt x="13" y="12"/>
                    </a:cubicBezTo>
                    <a:cubicBezTo>
                      <a:pt x="10" y="12"/>
                      <a:pt x="8" y="15"/>
                      <a:pt x="5" y="15"/>
                    </a:cubicBezTo>
                    <a:cubicBezTo>
                      <a:pt x="3" y="15"/>
                      <a:pt x="1" y="13"/>
                      <a:pt x="1" y="11"/>
                    </a:cubicBezTo>
                    <a:cubicBezTo>
                      <a:pt x="0" y="8"/>
                      <a:pt x="0" y="5"/>
                      <a:pt x="2" y="3"/>
                    </a:cubicBezTo>
                    <a:cubicBezTo>
                      <a:pt x="4" y="1"/>
                      <a:pt x="8" y="3"/>
                      <a:pt x="1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5" name="Freeform 3466"/>
              <p:cNvSpPr>
                <a:spLocks noChangeAspect="1"/>
              </p:cNvSpPr>
              <p:nvPr/>
            </p:nvSpPr>
            <p:spPr bwMode="auto">
              <a:xfrm>
                <a:off x="5595173" y="1315395"/>
                <a:ext cx="27806" cy="17866"/>
              </a:xfrm>
              <a:custGeom>
                <a:avLst/>
                <a:gdLst>
                  <a:gd name="T0" fmla="*/ 1 w 14"/>
                  <a:gd name="T1" fmla="*/ 1 h 9"/>
                  <a:gd name="T2" fmla="*/ 1 w 14"/>
                  <a:gd name="T3" fmla="*/ 7 h 9"/>
                  <a:gd name="T4" fmla="*/ 15 w 14"/>
                  <a:gd name="T5" fmla="*/ 10 h 9"/>
                  <a:gd name="T6" fmla="*/ 15 w 14"/>
                  <a:gd name="T7" fmla="*/ 1 h 9"/>
                  <a:gd name="T8" fmla="*/ 1 w 14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9"/>
                  <a:gd name="T17" fmla="*/ 14 w 14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9">
                    <a:moveTo>
                      <a:pt x="1" y="1"/>
                    </a:moveTo>
                    <a:cubicBezTo>
                      <a:pt x="1" y="1"/>
                      <a:pt x="0" y="5"/>
                      <a:pt x="1" y="6"/>
                    </a:cubicBezTo>
                    <a:cubicBezTo>
                      <a:pt x="4" y="8"/>
                      <a:pt x="8" y="9"/>
                      <a:pt x="12" y="8"/>
                    </a:cubicBezTo>
                    <a:cubicBezTo>
                      <a:pt x="14" y="7"/>
                      <a:pt x="14" y="2"/>
                      <a:pt x="12" y="1"/>
                    </a:cubicBezTo>
                    <a:cubicBezTo>
                      <a:pt x="9" y="0"/>
                      <a:pt x="4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6" name="Freeform 3467"/>
              <p:cNvSpPr>
                <a:spLocks noChangeAspect="1"/>
              </p:cNvSpPr>
              <p:nvPr/>
            </p:nvSpPr>
            <p:spPr bwMode="auto">
              <a:xfrm>
                <a:off x="5560825" y="1276416"/>
                <a:ext cx="70331" cy="19490"/>
              </a:xfrm>
              <a:custGeom>
                <a:avLst/>
                <a:gdLst>
                  <a:gd name="T0" fmla="*/ 4 w 36"/>
                  <a:gd name="T1" fmla="*/ 1 h 10"/>
                  <a:gd name="T2" fmla="*/ 1 w 36"/>
                  <a:gd name="T3" fmla="*/ 5 h 10"/>
                  <a:gd name="T4" fmla="*/ 8 w 36"/>
                  <a:gd name="T5" fmla="*/ 7 h 10"/>
                  <a:gd name="T6" fmla="*/ 18 w 36"/>
                  <a:gd name="T7" fmla="*/ 8 h 10"/>
                  <a:gd name="T8" fmla="*/ 29 w 36"/>
                  <a:gd name="T9" fmla="*/ 10 h 10"/>
                  <a:gd name="T10" fmla="*/ 35 w 36"/>
                  <a:gd name="T11" fmla="*/ 11 h 10"/>
                  <a:gd name="T12" fmla="*/ 39 w 36"/>
                  <a:gd name="T13" fmla="*/ 12 h 10"/>
                  <a:gd name="T14" fmla="*/ 42 w 36"/>
                  <a:gd name="T15" fmla="*/ 10 h 10"/>
                  <a:gd name="T16" fmla="*/ 32 w 36"/>
                  <a:gd name="T17" fmla="*/ 6 h 10"/>
                  <a:gd name="T18" fmla="*/ 22 w 36"/>
                  <a:gd name="T19" fmla="*/ 4 h 10"/>
                  <a:gd name="T20" fmla="*/ 16 w 36"/>
                  <a:gd name="T21" fmla="*/ 5 h 10"/>
                  <a:gd name="T22" fmla="*/ 8 w 36"/>
                  <a:gd name="T23" fmla="*/ 1 h 10"/>
                  <a:gd name="T24" fmla="*/ 4 w 36"/>
                  <a:gd name="T25" fmla="*/ 1 h 1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6"/>
                  <a:gd name="T40" fmla="*/ 0 h 10"/>
                  <a:gd name="T41" fmla="*/ 36 w 36"/>
                  <a:gd name="T42" fmla="*/ 10 h 1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6" h="10">
                    <a:moveTo>
                      <a:pt x="3" y="1"/>
                    </a:moveTo>
                    <a:cubicBezTo>
                      <a:pt x="2" y="1"/>
                      <a:pt x="0" y="3"/>
                      <a:pt x="1" y="4"/>
                    </a:cubicBezTo>
                    <a:cubicBezTo>
                      <a:pt x="2" y="5"/>
                      <a:pt x="5" y="5"/>
                      <a:pt x="7" y="6"/>
                    </a:cubicBezTo>
                    <a:cubicBezTo>
                      <a:pt x="10" y="7"/>
                      <a:pt x="12" y="7"/>
                      <a:pt x="15" y="7"/>
                    </a:cubicBezTo>
                    <a:cubicBezTo>
                      <a:pt x="18" y="8"/>
                      <a:pt x="21" y="8"/>
                      <a:pt x="24" y="8"/>
                    </a:cubicBezTo>
                    <a:cubicBezTo>
                      <a:pt x="26" y="8"/>
                      <a:pt x="28" y="8"/>
                      <a:pt x="29" y="9"/>
                    </a:cubicBezTo>
                    <a:cubicBezTo>
                      <a:pt x="31" y="9"/>
                      <a:pt x="32" y="10"/>
                      <a:pt x="33" y="10"/>
                    </a:cubicBezTo>
                    <a:cubicBezTo>
                      <a:pt x="34" y="10"/>
                      <a:pt x="36" y="9"/>
                      <a:pt x="35" y="8"/>
                    </a:cubicBezTo>
                    <a:cubicBezTo>
                      <a:pt x="33" y="6"/>
                      <a:pt x="30" y="6"/>
                      <a:pt x="27" y="5"/>
                    </a:cubicBezTo>
                    <a:cubicBezTo>
                      <a:pt x="24" y="4"/>
                      <a:pt x="21" y="3"/>
                      <a:pt x="18" y="3"/>
                    </a:cubicBezTo>
                    <a:cubicBezTo>
                      <a:pt x="17" y="3"/>
                      <a:pt x="15" y="4"/>
                      <a:pt x="13" y="4"/>
                    </a:cubicBezTo>
                    <a:cubicBezTo>
                      <a:pt x="11" y="3"/>
                      <a:pt x="9" y="2"/>
                      <a:pt x="7" y="1"/>
                    </a:cubicBezTo>
                    <a:cubicBezTo>
                      <a:pt x="5" y="1"/>
                      <a:pt x="4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7" name="Freeform 3468"/>
              <p:cNvSpPr>
                <a:spLocks noChangeAspect="1"/>
              </p:cNvSpPr>
              <p:nvPr/>
            </p:nvSpPr>
            <p:spPr bwMode="auto">
              <a:xfrm>
                <a:off x="5551011" y="1297530"/>
                <a:ext cx="14721" cy="17866"/>
              </a:xfrm>
              <a:custGeom>
                <a:avLst/>
                <a:gdLst>
                  <a:gd name="T0" fmla="*/ 1 w 8"/>
                  <a:gd name="T1" fmla="*/ 1 h 9"/>
                  <a:gd name="T2" fmla="*/ 2 w 8"/>
                  <a:gd name="T3" fmla="*/ 7 h 9"/>
                  <a:gd name="T4" fmla="*/ 8 w 8"/>
                  <a:gd name="T5" fmla="*/ 10 h 9"/>
                  <a:gd name="T6" fmla="*/ 6 w 8"/>
                  <a:gd name="T7" fmla="*/ 2 h 9"/>
                  <a:gd name="T8" fmla="*/ 1 w 8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1" y="1"/>
                    </a:moveTo>
                    <a:cubicBezTo>
                      <a:pt x="0" y="3"/>
                      <a:pt x="1" y="5"/>
                      <a:pt x="2" y="6"/>
                    </a:cubicBezTo>
                    <a:cubicBezTo>
                      <a:pt x="3" y="7"/>
                      <a:pt x="6" y="9"/>
                      <a:pt x="7" y="8"/>
                    </a:cubicBezTo>
                    <a:cubicBezTo>
                      <a:pt x="8" y="6"/>
                      <a:pt x="7" y="3"/>
                      <a:pt x="5" y="2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8" name="Freeform 3469"/>
              <p:cNvSpPr>
                <a:spLocks noChangeAspect="1"/>
              </p:cNvSpPr>
              <p:nvPr/>
            </p:nvSpPr>
            <p:spPr bwMode="auto">
              <a:xfrm>
                <a:off x="5663867" y="1326764"/>
                <a:ext cx="9814" cy="11369"/>
              </a:xfrm>
              <a:custGeom>
                <a:avLst/>
                <a:gdLst>
                  <a:gd name="T0" fmla="*/ 4 w 5"/>
                  <a:gd name="T1" fmla="*/ 0 h 6"/>
                  <a:gd name="T2" fmla="*/ 6 w 5"/>
                  <a:gd name="T3" fmla="*/ 5 h 6"/>
                  <a:gd name="T4" fmla="*/ 4 w 5"/>
                  <a:gd name="T5" fmla="*/ 6 h 6"/>
                  <a:gd name="T6" fmla="*/ 0 w 5"/>
                  <a:gd name="T7" fmla="*/ 2 h 6"/>
                  <a:gd name="T8" fmla="*/ 4 w 5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3" y="0"/>
                    </a:moveTo>
                    <a:cubicBezTo>
                      <a:pt x="4" y="1"/>
                      <a:pt x="5" y="3"/>
                      <a:pt x="5" y="4"/>
                    </a:cubicBezTo>
                    <a:cubicBezTo>
                      <a:pt x="5" y="5"/>
                      <a:pt x="4" y="6"/>
                      <a:pt x="3" y="5"/>
                    </a:cubicBezTo>
                    <a:cubicBezTo>
                      <a:pt x="1" y="5"/>
                      <a:pt x="0" y="4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59" name="Freeform 3470"/>
              <p:cNvSpPr>
                <a:spLocks noChangeAspect="1"/>
              </p:cNvSpPr>
              <p:nvPr/>
            </p:nvSpPr>
            <p:spPr bwMode="auto">
              <a:xfrm>
                <a:off x="5554282" y="1287785"/>
                <a:ext cx="35983" cy="9745"/>
              </a:xfrm>
              <a:custGeom>
                <a:avLst/>
                <a:gdLst>
                  <a:gd name="T0" fmla="*/ 1 w 18"/>
                  <a:gd name="T1" fmla="*/ 1 h 5"/>
                  <a:gd name="T2" fmla="*/ 1 w 18"/>
                  <a:gd name="T3" fmla="*/ 4 h 5"/>
                  <a:gd name="T4" fmla="*/ 17 w 18"/>
                  <a:gd name="T5" fmla="*/ 6 h 5"/>
                  <a:gd name="T6" fmla="*/ 21 w 18"/>
                  <a:gd name="T7" fmla="*/ 5 h 5"/>
                  <a:gd name="T8" fmla="*/ 17 w 18"/>
                  <a:gd name="T9" fmla="*/ 4 h 5"/>
                  <a:gd name="T10" fmla="*/ 6 w 18"/>
                  <a:gd name="T11" fmla="*/ 1 h 5"/>
                  <a:gd name="T12" fmla="*/ 1 w 18"/>
                  <a:gd name="T13" fmla="*/ 1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5"/>
                  <a:gd name="T23" fmla="*/ 18 w 18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5">
                    <a:moveTo>
                      <a:pt x="1" y="1"/>
                    </a:moveTo>
                    <a:cubicBezTo>
                      <a:pt x="0" y="1"/>
                      <a:pt x="0" y="3"/>
                      <a:pt x="1" y="3"/>
                    </a:cubicBezTo>
                    <a:cubicBezTo>
                      <a:pt x="5" y="4"/>
                      <a:pt x="9" y="5"/>
                      <a:pt x="14" y="5"/>
                    </a:cubicBezTo>
                    <a:cubicBezTo>
                      <a:pt x="15" y="5"/>
                      <a:pt x="17" y="5"/>
                      <a:pt x="17" y="4"/>
                    </a:cubicBezTo>
                    <a:cubicBezTo>
                      <a:pt x="18" y="3"/>
                      <a:pt x="15" y="3"/>
                      <a:pt x="14" y="3"/>
                    </a:cubicBezTo>
                    <a:cubicBezTo>
                      <a:pt x="11" y="2"/>
                      <a:pt x="8" y="1"/>
                      <a:pt x="5" y="1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0" name="Freeform 3471"/>
              <p:cNvSpPr>
                <a:spLocks noChangeAspect="1"/>
              </p:cNvSpPr>
              <p:nvPr/>
            </p:nvSpPr>
            <p:spPr bwMode="auto">
              <a:xfrm>
                <a:off x="5582088" y="1260174"/>
                <a:ext cx="106314" cy="24362"/>
              </a:xfrm>
              <a:custGeom>
                <a:avLst/>
                <a:gdLst>
                  <a:gd name="T0" fmla="*/ 1 w 54"/>
                  <a:gd name="T1" fmla="*/ 3 h 12"/>
                  <a:gd name="T2" fmla="*/ 1 w 54"/>
                  <a:gd name="T3" fmla="*/ 6 h 12"/>
                  <a:gd name="T4" fmla="*/ 6 w 54"/>
                  <a:gd name="T5" fmla="*/ 8 h 12"/>
                  <a:gd name="T6" fmla="*/ 12 w 54"/>
                  <a:gd name="T7" fmla="*/ 6 h 12"/>
                  <a:gd name="T8" fmla="*/ 16 w 54"/>
                  <a:gd name="T9" fmla="*/ 8 h 12"/>
                  <a:gd name="T10" fmla="*/ 23 w 54"/>
                  <a:gd name="T11" fmla="*/ 8 h 12"/>
                  <a:gd name="T12" fmla="*/ 29 w 54"/>
                  <a:gd name="T13" fmla="*/ 10 h 12"/>
                  <a:gd name="T14" fmla="*/ 36 w 54"/>
                  <a:gd name="T15" fmla="*/ 14 h 12"/>
                  <a:gd name="T16" fmla="*/ 46 w 54"/>
                  <a:gd name="T17" fmla="*/ 14 h 12"/>
                  <a:gd name="T18" fmla="*/ 58 w 54"/>
                  <a:gd name="T19" fmla="*/ 14 h 12"/>
                  <a:gd name="T20" fmla="*/ 65 w 54"/>
                  <a:gd name="T21" fmla="*/ 11 h 12"/>
                  <a:gd name="T22" fmla="*/ 55 w 54"/>
                  <a:gd name="T23" fmla="*/ 6 h 12"/>
                  <a:gd name="T24" fmla="*/ 43 w 54"/>
                  <a:gd name="T25" fmla="*/ 6 h 12"/>
                  <a:gd name="T26" fmla="*/ 28 w 54"/>
                  <a:gd name="T27" fmla="*/ 1 h 12"/>
                  <a:gd name="T28" fmla="*/ 17 w 54"/>
                  <a:gd name="T29" fmla="*/ 1 h 12"/>
                  <a:gd name="T30" fmla="*/ 11 w 54"/>
                  <a:gd name="T31" fmla="*/ 0 h 12"/>
                  <a:gd name="T32" fmla="*/ 10 w 54"/>
                  <a:gd name="T33" fmla="*/ 4 h 12"/>
                  <a:gd name="T34" fmla="*/ 5 w 54"/>
                  <a:gd name="T35" fmla="*/ 3 h 12"/>
                  <a:gd name="T36" fmla="*/ 1 w 54"/>
                  <a:gd name="T37" fmla="*/ 3 h 1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4"/>
                  <a:gd name="T58" fmla="*/ 0 h 12"/>
                  <a:gd name="T59" fmla="*/ 54 w 54"/>
                  <a:gd name="T60" fmla="*/ 12 h 1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4" h="12">
                    <a:moveTo>
                      <a:pt x="1" y="2"/>
                    </a:moveTo>
                    <a:cubicBezTo>
                      <a:pt x="0" y="2"/>
                      <a:pt x="0" y="4"/>
                      <a:pt x="1" y="5"/>
                    </a:cubicBezTo>
                    <a:cubicBezTo>
                      <a:pt x="2" y="6"/>
                      <a:pt x="4" y="6"/>
                      <a:pt x="5" y="6"/>
                    </a:cubicBezTo>
                    <a:cubicBezTo>
                      <a:pt x="7" y="6"/>
                      <a:pt x="8" y="5"/>
                      <a:pt x="10" y="5"/>
                    </a:cubicBezTo>
                    <a:cubicBezTo>
                      <a:pt x="11" y="5"/>
                      <a:pt x="12" y="6"/>
                      <a:pt x="13" y="6"/>
                    </a:cubicBezTo>
                    <a:cubicBezTo>
                      <a:pt x="15" y="6"/>
                      <a:pt x="17" y="6"/>
                      <a:pt x="19" y="6"/>
                    </a:cubicBezTo>
                    <a:cubicBezTo>
                      <a:pt x="20" y="6"/>
                      <a:pt x="22" y="7"/>
                      <a:pt x="24" y="8"/>
                    </a:cubicBezTo>
                    <a:cubicBezTo>
                      <a:pt x="26" y="9"/>
                      <a:pt x="28" y="10"/>
                      <a:pt x="30" y="11"/>
                    </a:cubicBezTo>
                    <a:cubicBezTo>
                      <a:pt x="33" y="11"/>
                      <a:pt x="35" y="10"/>
                      <a:pt x="38" y="11"/>
                    </a:cubicBezTo>
                    <a:cubicBezTo>
                      <a:pt x="41" y="11"/>
                      <a:pt x="45" y="12"/>
                      <a:pt x="48" y="11"/>
                    </a:cubicBezTo>
                    <a:cubicBezTo>
                      <a:pt x="50" y="11"/>
                      <a:pt x="54" y="11"/>
                      <a:pt x="54" y="9"/>
                    </a:cubicBezTo>
                    <a:cubicBezTo>
                      <a:pt x="53" y="6"/>
                      <a:pt x="49" y="6"/>
                      <a:pt x="46" y="5"/>
                    </a:cubicBezTo>
                    <a:cubicBezTo>
                      <a:pt x="43" y="4"/>
                      <a:pt x="39" y="5"/>
                      <a:pt x="36" y="5"/>
                    </a:cubicBezTo>
                    <a:cubicBezTo>
                      <a:pt x="31" y="4"/>
                      <a:pt x="27" y="2"/>
                      <a:pt x="23" y="1"/>
                    </a:cubicBezTo>
                    <a:cubicBezTo>
                      <a:pt x="20" y="1"/>
                      <a:pt x="17" y="1"/>
                      <a:pt x="14" y="1"/>
                    </a:cubicBezTo>
                    <a:cubicBezTo>
                      <a:pt x="12" y="1"/>
                      <a:pt x="10" y="0"/>
                      <a:pt x="9" y="0"/>
                    </a:cubicBezTo>
                    <a:cubicBezTo>
                      <a:pt x="8" y="0"/>
                      <a:pt x="9" y="2"/>
                      <a:pt x="8" y="3"/>
                    </a:cubicBezTo>
                    <a:cubicBezTo>
                      <a:pt x="7" y="3"/>
                      <a:pt x="6" y="3"/>
                      <a:pt x="4" y="2"/>
                    </a:cubicBezTo>
                    <a:cubicBezTo>
                      <a:pt x="3" y="2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1" name="Freeform 3472"/>
              <p:cNvSpPr>
                <a:spLocks noChangeAspect="1"/>
              </p:cNvSpPr>
              <p:nvPr/>
            </p:nvSpPr>
            <p:spPr bwMode="auto">
              <a:xfrm>
                <a:off x="5717841" y="1245558"/>
                <a:ext cx="29441" cy="11369"/>
              </a:xfrm>
              <a:custGeom>
                <a:avLst/>
                <a:gdLst>
                  <a:gd name="T0" fmla="*/ 10 w 15"/>
                  <a:gd name="T1" fmla="*/ 1 h 6"/>
                  <a:gd name="T2" fmla="*/ 7 w 15"/>
                  <a:gd name="T3" fmla="*/ 2 h 6"/>
                  <a:gd name="T4" fmla="*/ 1 w 15"/>
                  <a:gd name="T5" fmla="*/ 2 h 6"/>
                  <a:gd name="T6" fmla="*/ 6 w 15"/>
                  <a:gd name="T7" fmla="*/ 5 h 6"/>
                  <a:gd name="T8" fmla="*/ 11 w 15"/>
                  <a:gd name="T9" fmla="*/ 7 h 6"/>
                  <a:gd name="T10" fmla="*/ 17 w 15"/>
                  <a:gd name="T11" fmla="*/ 4 h 6"/>
                  <a:gd name="T12" fmla="*/ 14 w 15"/>
                  <a:gd name="T13" fmla="*/ 0 h 6"/>
                  <a:gd name="T14" fmla="*/ 10 w 15"/>
                  <a:gd name="T15" fmla="*/ 1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6"/>
                  <a:gd name="T26" fmla="*/ 15 w 15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6">
                    <a:moveTo>
                      <a:pt x="8" y="1"/>
                    </a:moveTo>
                    <a:cubicBezTo>
                      <a:pt x="7" y="2"/>
                      <a:pt x="7" y="2"/>
                      <a:pt x="6" y="2"/>
                    </a:cubicBezTo>
                    <a:cubicBezTo>
                      <a:pt x="4" y="2"/>
                      <a:pt x="2" y="1"/>
                      <a:pt x="1" y="2"/>
                    </a:cubicBezTo>
                    <a:cubicBezTo>
                      <a:pt x="0" y="4"/>
                      <a:pt x="3" y="3"/>
                      <a:pt x="5" y="4"/>
                    </a:cubicBezTo>
                    <a:cubicBezTo>
                      <a:pt x="6" y="5"/>
                      <a:pt x="7" y="6"/>
                      <a:pt x="9" y="6"/>
                    </a:cubicBezTo>
                    <a:cubicBezTo>
                      <a:pt x="11" y="6"/>
                      <a:pt x="13" y="5"/>
                      <a:pt x="14" y="3"/>
                    </a:cubicBezTo>
                    <a:cubicBezTo>
                      <a:pt x="15" y="2"/>
                      <a:pt x="13" y="0"/>
                      <a:pt x="12" y="0"/>
                    </a:cubicBezTo>
                    <a:cubicBezTo>
                      <a:pt x="10" y="0"/>
                      <a:pt x="9" y="1"/>
                      <a:pt x="8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2" name="Freeform 3473"/>
              <p:cNvSpPr>
                <a:spLocks noChangeAspect="1"/>
              </p:cNvSpPr>
              <p:nvPr/>
            </p:nvSpPr>
            <p:spPr bwMode="auto">
              <a:xfrm>
                <a:off x="5688401" y="1268296"/>
                <a:ext cx="32712" cy="21114"/>
              </a:xfrm>
              <a:custGeom>
                <a:avLst/>
                <a:gdLst>
                  <a:gd name="T0" fmla="*/ 1 w 17"/>
                  <a:gd name="T1" fmla="*/ 11 h 11"/>
                  <a:gd name="T2" fmla="*/ 6 w 17"/>
                  <a:gd name="T3" fmla="*/ 7 h 11"/>
                  <a:gd name="T4" fmla="*/ 9 w 17"/>
                  <a:gd name="T5" fmla="*/ 1 h 11"/>
                  <a:gd name="T6" fmla="*/ 18 w 17"/>
                  <a:gd name="T7" fmla="*/ 1 h 11"/>
                  <a:gd name="T8" fmla="*/ 14 w 17"/>
                  <a:gd name="T9" fmla="*/ 5 h 11"/>
                  <a:gd name="T10" fmla="*/ 11 w 17"/>
                  <a:gd name="T11" fmla="*/ 9 h 11"/>
                  <a:gd name="T12" fmla="*/ 7 w 17"/>
                  <a:gd name="T13" fmla="*/ 12 h 11"/>
                  <a:gd name="T14" fmla="*/ 1 w 17"/>
                  <a:gd name="T15" fmla="*/ 1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1"/>
                  <a:gd name="T26" fmla="*/ 17 w 17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1">
                    <a:moveTo>
                      <a:pt x="1" y="9"/>
                    </a:moveTo>
                    <a:cubicBezTo>
                      <a:pt x="0" y="8"/>
                      <a:pt x="4" y="7"/>
                      <a:pt x="5" y="6"/>
                    </a:cubicBezTo>
                    <a:cubicBezTo>
                      <a:pt x="6" y="5"/>
                      <a:pt x="6" y="2"/>
                      <a:pt x="8" y="1"/>
                    </a:cubicBezTo>
                    <a:cubicBezTo>
                      <a:pt x="10" y="0"/>
                      <a:pt x="13" y="0"/>
                      <a:pt x="15" y="1"/>
                    </a:cubicBezTo>
                    <a:cubicBezTo>
                      <a:pt x="17" y="2"/>
                      <a:pt x="13" y="3"/>
                      <a:pt x="12" y="4"/>
                    </a:cubicBezTo>
                    <a:cubicBezTo>
                      <a:pt x="11" y="6"/>
                      <a:pt x="10" y="7"/>
                      <a:pt x="9" y="8"/>
                    </a:cubicBezTo>
                    <a:cubicBezTo>
                      <a:pt x="8" y="9"/>
                      <a:pt x="7" y="10"/>
                      <a:pt x="6" y="10"/>
                    </a:cubicBezTo>
                    <a:cubicBezTo>
                      <a:pt x="4" y="10"/>
                      <a:pt x="1" y="11"/>
                      <a:pt x="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3" name="Freeform 3474"/>
              <p:cNvSpPr>
                <a:spLocks noChangeAspect="1"/>
              </p:cNvSpPr>
              <p:nvPr/>
            </p:nvSpPr>
            <p:spPr bwMode="auto">
              <a:xfrm>
                <a:off x="5591902" y="1295905"/>
                <a:ext cx="22898" cy="8121"/>
              </a:xfrm>
              <a:custGeom>
                <a:avLst/>
                <a:gdLst>
                  <a:gd name="T0" fmla="*/ 1 w 12"/>
                  <a:gd name="T1" fmla="*/ 1 h 4"/>
                  <a:gd name="T2" fmla="*/ 1 w 12"/>
                  <a:gd name="T3" fmla="*/ 4 h 4"/>
                  <a:gd name="T4" fmla="*/ 13 w 12"/>
                  <a:gd name="T5" fmla="*/ 4 h 4"/>
                  <a:gd name="T6" fmla="*/ 14 w 12"/>
                  <a:gd name="T7" fmla="*/ 1 h 4"/>
                  <a:gd name="T8" fmla="*/ 6 w 12"/>
                  <a:gd name="T9" fmla="*/ 0 h 4"/>
                  <a:gd name="T10" fmla="*/ 1 w 12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4"/>
                  <a:gd name="T20" fmla="*/ 12 w 12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4">
                    <a:moveTo>
                      <a:pt x="1" y="1"/>
                    </a:moveTo>
                    <a:cubicBezTo>
                      <a:pt x="0" y="1"/>
                      <a:pt x="0" y="3"/>
                      <a:pt x="1" y="3"/>
                    </a:cubicBezTo>
                    <a:cubicBezTo>
                      <a:pt x="4" y="4"/>
                      <a:pt x="7" y="4"/>
                      <a:pt x="11" y="3"/>
                    </a:cubicBezTo>
                    <a:cubicBezTo>
                      <a:pt x="12" y="3"/>
                      <a:pt x="12" y="1"/>
                      <a:pt x="12" y="1"/>
                    </a:cubicBezTo>
                    <a:cubicBezTo>
                      <a:pt x="10" y="0"/>
                      <a:pt x="7" y="0"/>
                      <a:pt x="5" y="0"/>
                    </a:cubicBezTo>
                    <a:cubicBezTo>
                      <a:pt x="3" y="0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4" name="Freeform 3475"/>
              <p:cNvSpPr>
                <a:spLocks noChangeAspect="1"/>
              </p:cNvSpPr>
              <p:nvPr/>
            </p:nvSpPr>
            <p:spPr bwMode="auto">
              <a:xfrm>
                <a:off x="5634427" y="1287785"/>
                <a:ext cx="19627" cy="9745"/>
              </a:xfrm>
              <a:custGeom>
                <a:avLst/>
                <a:gdLst>
                  <a:gd name="T0" fmla="*/ 1 w 10"/>
                  <a:gd name="T1" fmla="*/ 2 h 5"/>
                  <a:gd name="T2" fmla="*/ 0 w 10"/>
                  <a:gd name="T3" fmla="*/ 5 h 5"/>
                  <a:gd name="T4" fmla="*/ 7 w 10"/>
                  <a:gd name="T5" fmla="*/ 5 h 5"/>
                  <a:gd name="T6" fmla="*/ 12 w 10"/>
                  <a:gd name="T7" fmla="*/ 4 h 5"/>
                  <a:gd name="T8" fmla="*/ 10 w 10"/>
                  <a:gd name="T9" fmla="*/ 0 h 5"/>
                  <a:gd name="T10" fmla="*/ 4 w 10"/>
                  <a:gd name="T11" fmla="*/ 1 h 5"/>
                  <a:gd name="T12" fmla="*/ 1 w 10"/>
                  <a:gd name="T13" fmla="*/ 2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5"/>
                  <a:gd name="T23" fmla="*/ 10 w 10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5">
                    <a:moveTo>
                      <a:pt x="1" y="2"/>
                    </a:moveTo>
                    <a:cubicBezTo>
                      <a:pt x="0" y="2"/>
                      <a:pt x="0" y="3"/>
                      <a:pt x="0" y="4"/>
                    </a:cubicBezTo>
                    <a:cubicBezTo>
                      <a:pt x="2" y="5"/>
                      <a:pt x="4" y="5"/>
                      <a:pt x="6" y="4"/>
                    </a:cubicBezTo>
                    <a:cubicBezTo>
                      <a:pt x="7" y="4"/>
                      <a:pt x="9" y="4"/>
                      <a:pt x="10" y="3"/>
                    </a:cubicBezTo>
                    <a:cubicBezTo>
                      <a:pt x="10" y="2"/>
                      <a:pt x="9" y="0"/>
                      <a:pt x="8" y="0"/>
                    </a:cubicBezTo>
                    <a:cubicBezTo>
                      <a:pt x="6" y="0"/>
                      <a:pt x="5" y="0"/>
                      <a:pt x="3" y="1"/>
                    </a:cubicBezTo>
                    <a:cubicBezTo>
                      <a:pt x="2" y="1"/>
                      <a:pt x="1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5" name="Freeform 3476"/>
              <p:cNvSpPr>
                <a:spLocks noChangeAspect="1"/>
              </p:cNvSpPr>
              <p:nvPr/>
            </p:nvSpPr>
            <p:spPr bwMode="auto">
              <a:xfrm>
                <a:off x="5600079" y="1276416"/>
                <a:ext cx="34348" cy="12993"/>
              </a:xfrm>
              <a:custGeom>
                <a:avLst/>
                <a:gdLst>
                  <a:gd name="T0" fmla="*/ 0 w 18"/>
                  <a:gd name="T1" fmla="*/ 0 h 7"/>
                  <a:gd name="T2" fmla="*/ 0 w 18"/>
                  <a:gd name="T3" fmla="*/ 1 h 7"/>
                  <a:gd name="T4" fmla="*/ 13 w 18"/>
                  <a:gd name="T5" fmla="*/ 6 h 7"/>
                  <a:gd name="T6" fmla="*/ 19 w 18"/>
                  <a:gd name="T7" fmla="*/ 8 h 7"/>
                  <a:gd name="T8" fmla="*/ 21 w 18"/>
                  <a:gd name="T9" fmla="*/ 7 h 7"/>
                  <a:gd name="T10" fmla="*/ 11 w 18"/>
                  <a:gd name="T11" fmla="*/ 2 h 7"/>
                  <a:gd name="T12" fmla="*/ 0 w 18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7"/>
                  <a:gd name="T23" fmla="*/ 18 w 18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7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4" y="3"/>
                      <a:pt x="8" y="3"/>
                      <a:pt x="11" y="5"/>
                    </a:cubicBezTo>
                    <a:cubicBezTo>
                      <a:pt x="13" y="5"/>
                      <a:pt x="15" y="7"/>
                      <a:pt x="16" y="7"/>
                    </a:cubicBezTo>
                    <a:cubicBezTo>
                      <a:pt x="17" y="7"/>
                      <a:pt x="18" y="6"/>
                      <a:pt x="18" y="6"/>
                    </a:cubicBezTo>
                    <a:cubicBezTo>
                      <a:pt x="15" y="4"/>
                      <a:pt x="12" y="3"/>
                      <a:pt x="9" y="2"/>
                    </a:cubicBezTo>
                    <a:cubicBezTo>
                      <a:pt x="6" y="1"/>
                      <a:pt x="3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6" name="Freeform 3477"/>
              <p:cNvSpPr>
                <a:spLocks noChangeAspect="1"/>
              </p:cNvSpPr>
              <p:nvPr/>
            </p:nvSpPr>
            <p:spPr bwMode="auto">
              <a:xfrm>
                <a:off x="5411987" y="1286161"/>
                <a:ext cx="99771" cy="47100"/>
              </a:xfrm>
              <a:custGeom>
                <a:avLst/>
                <a:gdLst>
                  <a:gd name="T0" fmla="*/ 60 w 51"/>
                  <a:gd name="T1" fmla="*/ 6 h 24"/>
                  <a:gd name="T2" fmla="*/ 60 w 51"/>
                  <a:gd name="T3" fmla="*/ 10 h 24"/>
                  <a:gd name="T4" fmla="*/ 53 w 51"/>
                  <a:gd name="T5" fmla="*/ 12 h 24"/>
                  <a:gd name="T6" fmla="*/ 42 w 51"/>
                  <a:gd name="T7" fmla="*/ 12 h 24"/>
                  <a:gd name="T8" fmla="*/ 36 w 51"/>
                  <a:gd name="T9" fmla="*/ 17 h 24"/>
                  <a:gd name="T10" fmla="*/ 26 w 51"/>
                  <a:gd name="T11" fmla="*/ 15 h 24"/>
                  <a:gd name="T12" fmla="*/ 23 w 51"/>
                  <a:gd name="T13" fmla="*/ 18 h 24"/>
                  <a:gd name="T14" fmla="*/ 29 w 51"/>
                  <a:gd name="T15" fmla="*/ 23 h 24"/>
                  <a:gd name="T16" fmla="*/ 23 w 51"/>
                  <a:gd name="T17" fmla="*/ 23 h 24"/>
                  <a:gd name="T18" fmla="*/ 18 w 51"/>
                  <a:gd name="T19" fmla="*/ 25 h 24"/>
                  <a:gd name="T20" fmla="*/ 14 w 51"/>
                  <a:gd name="T21" fmla="*/ 25 h 24"/>
                  <a:gd name="T22" fmla="*/ 10 w 51"/>
                  <a:gd name="T23" fmla="*/ 28 h 24"/>
                  <a:gd name="T24" fmla="*/ 13 w 51"/>
                  <a:gd name="T25" fmla="*/ 22 h 24"/>
                  <a:gd name="T26" fmla="*/ 14 w 51"/>
                  <a:gd name="T27" fmla="*/ 19 h 24"/>
                  <a:gd name="T28" fmla="*/ 7 w 51"/>
                  <a:gd name="T29" fmla="*/ 21 h 24"/>
                  <a:gd name="T30" fmla="*/ 5 w 51"/>
                  <a:gd name="T31" fmla="*/ 25 h 24"/>
                  <a:gd name="T32" fmla="*/ 0 w 51"/>
                  <a:gd name="T33" fmla="*/ 19 h 24"/>
                  <a:gd name="T34" fmla="*/ 4 w 51"/>
                  <a:gd name="T35" fmla="*/ 16 h 24"/>
                  <a:gd name="T36" fmla="*/ 7 w 51"/>
                  <a:gd name="T37" fmla="*/ 18 h 24"/>
                  <a:gd name="T38" fmla="*/ 14 w 51"/>
                  <a:gd name="T39" fmla="*/ 17 h 24"/>
                  <a:gd name="T40" fmla="*/ 11 w 51"/>
                  <a:gd name="T41" fmla="*/ 15 h 24"/>
                  <a:gd name="T42" fmla="*/ 14 w 51"/>
                  <a:gd name="T43" fmla="*/ 13 h 24"/>
                  <a:gd name="T44" fmla="*/ 11 w 51"/>
                  <a:gd name="T45" fmla="*/ 12 h 24"/>
                  <a:gd name="T46" fmla="*/ 17 w 51"/>
                  <a:gd name="T47" fmla="*/ 10 h 24"/>
                  <a:gd name="T48" fmla="*/ 22 w 51"/>
                  <a:gd name="T49" fmla="*/ 12 h 24"/>
                  <a:gd name="T50" fmla="*/ 28 w 51"/>
                  <a:gd name="T51" fmla="*/ 10 h 24"/>
                  <a:gd name="T52" fmla="*/ 29 w 51"/>
                  <a:gd name="T53" fmla="*/ 7 h 24"/>
                  <a:gd name="T54" fmla="*/ 25 w 51"/>
                  <a:gd name="T55" fmla="*/ 5 h 24"/>
                  <a:gd name="T56" fmla="*/ 26 w 51"/>
                  <a:gd name="T57" fmla="*/ 2 h 24"/>
                  <a:gd name="T58" fmla="*/ 38 w 51"/>
                  <a:gd name="T59" fmla="*/ 0 h 24"/>
                  <a:gd name="T60" fmla="*/ 42 w 51"/>
                  <a:gd name="T61" fmla="*/ 2 h 24"/>
                  <a:gd name="T62" fmla="*/ 47 w 51"/>
                  <a:gd name="T63" fmla="*/ 1 h 24"/>
                  <a:gd name="T64" fmla="*/ 48 w 51"/>
                  <a:gd name="T65" fmla="*/ 2 h 24"/>
                  <a:gd name="T66" fmla="*/ 41 w 51"/>
                  <a:gd name="T67" fmla="*/ 6 h 24"/>
                  <a:gd name="T68" fmla="*/ 42 w 51"/>
                  <a:gd name="T69" fmla="*/ 7 h 24"/>
                  <a:gd name="T70" fmla="*/ 51 w 51"/>
                  <a:gd name="T71" fmla="*/ 5 h 24"/>
                  <a:gd name="T72" fmla="*/ 60 w 51"/>
                  <a:gd name="T73" fmla="*/ 6 h 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1"/>
                  <a:gd name="T112" fmla="*/ 0 h 24"/>
                  <a:gd name="T113" fmla="*/ 51 w 51"/>
                  <a:gd name="T114" fmla="*/ 24 h 2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1" h="24">
                    <a:moveTo>
                      <a:pt x="50" y="5"/>
                    </a:moveTo>
                    <a:cubicBezTo>
                      <a:pt x="51" y="6"/>
                      <a:pt x="51" y="8"/>
                      <a:pt x="50" y="8"/>
                    </a:cubicBezTo>
                    <a:cubicBezTo>
                      <a:pt x="48" y="9"/>
                      <a:pt x="46" y="10"/>
                      <a:pt x="44" y="10"/>
                    </a:cubicBezTo>
                    <a:cubicBezTo>
                      <a:pt x="41" y="10"/>
                      <a:pt x="38" y="9"/>
                      <a:pt x="35" y="10"/>
                    </a:cubicBezTo>
                    <a:cubicBezTo>
                      <a:pt x="33" y="11"/>
                      <a:pt x="32" y="14"/>
                      <a:pt x="30" y="14"/>
                    </a:cubicBezTo>
                    <a:cubicBezTo>
                      <a:pt x="27" y="14"/>
                      <a:pt x="25" y="12"/>
                      <a:pt x="22" y="12"/>
                    </a:cubicBezTo>
                    <a:cubicBezTo>
                      <a:pt x="21" y="13"/>
                      <a:pt x="18" y="14"/>
                      <a:pt x="19" y="15"/>
                    </a:cubicBezTo>
                    <a:cubicBezTo>
                      <a:pt x="19" y="17"/>
                      <a:pt x="24" y="17"/>
                      <a:pt x="24" y="19"/>
                    </a:cubicBezTo>
                    <a:cubicBezTo>
                      <a:pt x="24" y="20"/>
                      <a:pt x="20" y="19"/>
                      <a:pt x="19" y="19"/>
                    </a:cubicBezTo>
                    <a:cubicBezTo>
                      <a:pt x="18" y="20"/>
                      <a:pt x="16" y="21"/>
                      <a:pt x="15" y="21"/>
                    </a:cubicBezTo>
                    <a:cubicBezTo>
                      <a:pt x="14" y="21"/>
                      <a:pt x="13" y="21"/>
                      <a:pt x="12" y="21"/>
                    </a:cubicBezTo>
                    <a:cubicBezTo>
                      <a:pt x="10" y="21"/>
                      <a:pt x="8" y="24"/>
                      <a:pt x="8" y="23"/>
                    </a:cubicBezTo>
                    <a:cubicBezTo>
                      <a:pt x="7" y="21"/>
                      <a:pt x="10" y="19"/>
                      <a:pt x="11" y="18"/>
                    </a:cubicBezTo>
                    <a:cubicBezTo>
                      <a:pt x="11" y="17"/>
                      <a:pt x="13" y="16"/>
                      <a:pt x="12" y="16"/>
                    </a:cubicBezTo>
                    <a:cubicBezTo>
                      <a:pt x="10" y="16"/>
                      <a:pt x="8" y="16"/>
                      <a:pt x="6" y="17"/>
                    </a:cubicBezTo>
                    <a:cubicBezTo>
                      <a:pt x="5" y="18"/>
                      <a:pt x="5" y="21"/>
                      <a:pt x="4" y="21"/>
                    </a:cubicBezTo>
                    <a:cubicBezTo>
                      <a:pt x="2" y="21"/>
                      <a:pt x="0" y="18"/>
                      <a:pt x="0" y="16"/>
                    </a:cubicBezTo>
                    <a:cubicBezTo>
                      <a:pt x="0" y="15"/>
                      <a:pt x="2" y="13"/>
                      <a:pt x="3" y="13"/>
                    </a:cubicBezTo>
                    <a:cubicBezTo>
                      <a:pt x="4" y="13"/>
                      <a:pt x="5" y="14"/>
                      <a:pt x="6" y="15"/>
                    </a:cubicBezTo>
                    <a:cubicBezTo>
                      <a:pt x="8" y="15"/>
                      <a:pt x="10" y="15"/>
                      <a:pt x="12" y="14"/>
                    </a:cubicBezTo>
                    <a:cubicBezTo>
                      <a:pt x="13" y="13"/>
                      <a:pt x="9" y="13"/>
                      <a:pt x="9" y="12"/>
                    </a:cubicBezTo>
                    <a:cubicBezTo>
                      <a:pt x="9" y="11"/>
                      <a:pt x="12" y="12"/>
                      <a:pt x="12" y="11"/>
                    </a:cubicBezTo>
                    <a:cubicBezTo>
                      <a:pt x="11" y="10"/>
                      <a:pt x="8" y="10"/>
                      <a:pt x="9" y="10"/>
                    </a:cubicBezTo>
                    <a:cubicBezTo>
                      <a:pt x="10" y="8"/>
                      <a:pt x="12" y="8"/>
                      <a:pt x="14" y="8"/>
                    </a:cubicBezTo>
                    <a:cubicBezTo>
                      <a:pt x="15" y="8"/>
                      <a:pt x="16" y="10"/>
                      <a:pt x="18" y="10"/>
                    </a:cubicBezTo>
                    <a:cubicBezTo>
                      <a:pt x="20" y="10"/>
                      <a:pt x="22" y="10"/>
                      <a:pt x="23" y="8"/>
                    </a:cubicBezTo>
                    <a:cubicBezTo>
                      <a:pt x="24" y="8"/>
                      <a:pt x="24" y="7"/>
                      <a:pt x="24" y="6"/>
                    </a:cubicBezTo>
                    <a:cubicBezTo>
                      <a:pt x="24" y="5"/>
                      <a:pt x="22" y="5"/>
                      <a:pt x="21" y="4"/>
                    </a:cubicBezTo>
                    <a:cubicBezTo>
                      <a:pt x="21" y="3"/>
                      <a:pt x="22" y="2"/>
                      <a:pt x="22" y="2"/>
                    </a:cubicBezTo>
                    <a:cubicBezTo>
                      <a:pt x="25" y="1"/>
                      <a:pt x="29" y="0"/>
                      <a:pt x="32" y="0"/>
                    </a:cubicBezTo>
                    <a:cubicBezTo>
                      <a:pt x="33" y="0"/>
                      <a:pt x="34" y="2"/>
                      <a:pt x="35" y="2"/>
                    </a:cubicBezTo>
                    <a:cubicBezTo>
                      <a:pt x="36" y="2"/>
                      <a:pt x="37" y="1"/>
                      <a:pt x="39" y="1"/>
                    </a:cubicBezTo>
                    <a:cubicBezTo>
                      <a:pt x="39" y="1"/>
                      <a:pt x="40" y="2"/>
                      <a:pt x="40" y="2"/>
                    </a:cubicBezTo>
                    <a:cubicBezTo>
                      <a:pt x="38" y="4"/>
                      <a:pt x="35" y="3"/>
                      <a:pt x="34" y="5"/>
                    </a:cubicBezTo>
                    <a:cubicBezTo>
                      <a:pt x="33" y="5"/>
                      <a:pt x="34" y="6"/>
                      <a:pt x="35" y="6"/>
                    </a:cubicBezTo>
                    <a:cubicBezTo>
                      <a:pt x="37" y="6"/>
                      <a:pt x="40" y="4"/>
                      <a:pt x="43" y="4"/>
                    </a:cubicBezTo>
                    <a:cubicBezTo>
                      <a:pt x="45" y="4"/>
                      <a:pt x="48" y="4"/>
                      <a:pt x="50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7" name="Freeform 3478"/>
              <p:cNvSpPr>
                <a:spLocks noChangeAspect="1"/>
              </p:cNvSpPr>
              <p:nvPr/>
            </p:nvSpPr>
            <p:spPr bwMode="auto">
              <a:xfrm>
                <a:off x="5372733" y="1287785"/>
                <a:ext cx="75237" cy="22738"/>
              </a:xfrm>
              <a:custGeom>
                <a:avLst/>
                <a:gdLst>
                  <a:gd name="T0" fmla="*/ 26 w 39"/>
                  <a:gd name="T1" fmla="*/ 0 h 12"/>
                  <a:gd name="T2" fmla="*/ 42 w 39"/>
                  <a:gd name="T3" fmla="*/ 1 h 12"/>
                  <a:gd name="T4" fmla="*/ 46 w 39"/>
                  <a:gd name="T5" fmla="*/ 6 h 12"/>
                  <a:gd name="T6" fmla="*/ 41 w 39"/>
                  <a:gd name="T7" fmla="*/ 6 h 12"/>
                  <a:gd name="T8" fmla="*/ 33 w 39"/>
                  <a:gd name="T9" fmla="*/ 4 h 12"/>
                  <a:gd name="T10" fmla="*/ 29 w 39"/>
                  <a:gd name="T11" fmla="*/ 8 h 12"/>
                  <a:gd name="T12" fmla="*/ 25 w 39"/>
                  <a:gd name="T13" fmla="*/ 7 h 12"/>
                  <a:gd name="T14" fmla="*/ 18 w 39"/>
                  <a:gd name="T15" fmla="*/ 13 h 12"/>
                  <a:gd name="T16" fmla="*/ 13 w 39"/>
                  <a:gd name="T17" fmla="*/ 14 h 12"/>
                  <a:gd name="T18" fmla="*/ 12 w 39"/>
                  <a:gd name="T19" fmla="*/ 12 h 12"/>
                  <a:gd name="T20" fmla="*/ 7 w 39"/>
                  <a:gd name="T21" fmla="*/ 11 h 12"/>
                  <a:gd name="T22" fmla="*/ 1 w 39"/>
                  <a:gd name="T23" fmla="*/ 11 h 12"/>
                  <a:gd name="T24" fmla="*/ 4 w 39"/>
                  <a:gd name="T25" fmla="*/ 8 h 12"/>
                  <a:gd name="T26" fmla="*/ 15 w 39"/>
                  <a:gd name="T27" fmla="*/ 8 h 12"/>
                  <a:gd name="T28" fmla="*/ 22 w 39"/>
                  <a:gd name="T29" fmla="*/ 4 h 12"/>
                  <a:gd name="T30" fmla="*/ 26 w 39"/>
                  <a:gd name="T31" fmla="*/ 0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"/>
                  <a:gd name="T49" fmla="*/ 0 h 12"/>
                  <a:gd name="T50" fmla="*/ 39 w 39"/>
                  <a:gd name="T51" fmla="*/ 12 h 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" h="12">
                    <a:moveTo>
                      <a:pt x="22" y="0"/>
                    </a:moveTo>
                    <a:cubicBezTo>
                      <a:pt x="26" y="0"/>
                      <a:pt x="31" y="0"/>
                      <a:pt x="36" y="1"/>
                    </a:cubicBezTo>
                    <a:cubicBezTo>
                      <a:pt x="37" y="2"/>
                      <a:pt x="39" y="3"/>
                      <a:pt x="39" y="5"/>
                    </a:cubicBezTo>
                    <a:cubicBezTo>
                      <a:pt x="39" y="6"/>
                      <a:pt x="36" y="6"/>
                      <a:pt x="35" y="5"/>
                    </a:cubicBezTo>
                    <a:cubicBezTo>
                      <a:pt x="32" y="5"/>
                      <a:pt x="30" y="3"/>
                      <a:pt x="28" y="3"/>
                    </a:cubicBezTo>
                    <a:cubicBezTo>
                      <a:pt x="26" y="3"/>
                      <a:pt x="26" y="6"/>
                      <a:pt x="25" y="7"/>
                    </a:cubicBezTo>
                    <a:cubicBezTo>
                      <a:pt x="24" y="7"/>
                      <a:pt x="22" y="6"/>
                      <a:pt x="21" y="6"/>
                    </a:cubicBezTo>
                    <a:cubicBezTo>
                      <a:pt x="19" y="7"/>
                      <a:pt x="17" y="9"/>
                      <a:pt x="15" y="11"/>
                    </a:cubicBezTo>
                    <a:cubicBezTo>
                      <a:pt x="13" y="11"/>
                      <a:pt x="12" y="12"/>
                      <a:pt x="11" y="12"/>
                    </a:cubicBezTo>
                    <a:cubicBezTo>
                      <a:pt x="10" y="12"/>
                      <a:pt x="11" y="10"/>
                      <a:pt x="10" y="10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4" y="9"/>
                      <a:pt x="2" y="10"/>
                      <a:pt x="1" y="9"/>
                    </a:cubicBezTo>
                    <a:cubicBezTo>
                      <a:pt x="0" y="8"/>
                      <a:pt x="2" y="7"/>
                      <a:pt x="3" y="7"/>
                    </a:cubicBezTo>
                    <a:cubicBezTo>
                      <a:pt x="7" y="6"/>
                      <a:pt x="10" y="7"/>
                      <a:pt x="13" y="7"/>
                    </a:cubicBezTo>
                    <a:cubicBezTo>
                      <a:pt x="15" y="6"/>
                      <a:pt x="17" y="5"/>
                      <a:pt x="19" y="3"/>
                    </a:cubicBezTo>
                    <a:cubicBezTo>
                      <a:pt x="20" y="2"/>
                      <a:pt x="20" y="1"/>
                      <a:pt x="2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8" name="Freeform 3479"/>
              <p:cNvSpPr>
                <a:spLocks noChangeAspect="1"/>
              </p:cNvSpPr>
              <p:nvPr/>
            </p:nvSpPr>
            <p:spPr bwMode="auto">
              <a:xfrm>
                <a:off x="5475774" y="1266671"/>
                <a:ext cx="11450" cy="14618"/>
              </a:xfrm>
              <a:custGeom>
                <a:avLst/>
                <a:gdLst>
                  <a:gd name="T0" fmla="*/ 2 w 6"/>
                  <a:gd name="T1" fmla="*/ 1 h 8"/>
                  <a:gd name="T2" fmla="*/ 7 w 6"/>
                  <a:gd name="T3" fmla="*/ 3 h 8"/>
                  <a:gd name="T4" fmla="*/ 4 w 6"/>
                  <a:gd name="T5" fmla="*/ 7 h 8"/>
                  <a:gd name="T6" fmla="*/ 2 w 6"/>
                  <a:gd name="T7" fmla="*/ 9 h 8"/>
                  <a:gd name="T8" fmla="*/ 2 w 6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8"/>
                  <a:gd name="T17" fmla="*/ 6 w 6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8">
                    <a:moveTo>
                      <a:pt x="2" y="1"/>
                    </a:moveTo>
                    <a:cubicBezTo>
                      <a:pt x="3" y="0"/>
                      <a:pt x="6" y="2"/>
                      <a:pt x="6" y="3"/>
                    </a:cubicBezTo>
                    <a:cubicBezTo>
                      <a:pt x="6" y="5"/>
                      <a:pt x="4" y="5"/>
                      <a:pt x="3" y="6"/>
                    </a:cubicBezTo>
                    <a:cubicBezTo>
                      <a:pt x="3" y="7"/>
                      <a:pt x="2" y="8"/>
                      <a:pt x="2" y="8"/>
                    </a:cubicBezTo>
                    <a:cubicBezTo>
                      <a:pt x="1" y="6"/>
                      <a:pt x="0" y="3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69" name="Freeform 3480"/>
              <p:cNvSpPr>
                <a:spLocks noChangeAspect="1"/>
              </p:cNvSpPr>
              <p:nvPr/>
            </p:nvSpPr>
            <p:spPr bwMode="auto">
              <a:xfrm>
                <a:off x="5470868" y="1313771"/>
                <a:ext cx="11450" cy="12993"/>
              </a:xfrm>
              <a:custGeom>
                <a:avLst/>
                <a:gdLst>
                  <a:gd name="T0" fmla="*/ 0 w 6"/>
                  <a:gd name="T1" fmla="*/ 3 h 7"/>
                  <a:gd name="T2" fmla="*/ 4 w 6"/>
                  <a:gd name="T3" fmla="*/ 0 h 7"/>
                  <a:gd name="T4" fmla="*/ 7 w 6"/>
                  <a:gd name="T5" fmla="*/ 1 h 7"/>
                  <a:gd name="T6" fmla="*/ 6 w 6"/>
                  <a:gd name="T7" fmla="*/ 7 h 7"/>
                  <a:gd name="T8" fmla="*/ 1 w 6"/>
                  <a:gd name="T9" fmla="*/ 8 h 7"/>
                  <a:gd name="T10" fmla="*/ 0 w 6"/>
                  <a:gd name="T11" fmla="*/ 3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7"/>
                  <a:gd name="T20" fmla="*/ 6 w 6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7">
                    <a:moveTo>
                      <a:pt x="0" y="3"/>
                    </a:moveTo>
                    <a:cubicBezTo>
                      <a:pt x="0" y="2"/>
                      <a:pt x="2" y="1"/>
                      <a:pt x="3" y="0"/>
                    </a:cubicBezTo>
                    <a:cubicBezTo>
                      <a:pt x="4" y="0"/>
                      <a:pt x="6" y="0"/>
                      <a:pt x="6" y="1"/>
                    </a:cubicBezTo>
                    <a:cubicBezTo>
                      <a:pt x="6" y="2"/>
                      <a:pt x="6" y="5"/>
                      <a:pt x="5" y="6"/>
                    </a:cubicBezTo>
                    <a:cubicBezTo>
                      <a:pt x="4" y="7"/>
                      <a:pt x="2" y="7"/>
                      <a:pt x="1" y="7"/>
                    </a:cubicBezTo>
                    <a:cubicBezTo>
                      <a:pt x="0" y="6"/>
                      <a:pt x="0" y="5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0" name="Freeform 3481"/>
              <p:cNvSpPr>
                <a:spLocks noChangeAspect="1"/>
              </p:cNvSpPr>
              <p:nvPr/>
            </p:nvSpPr>
            <p:spPr bwMode="auto">
              <a:xfrm>
                <a:off x="5477410" y="1323516"/>
                <a:ext cx="34348" cy="16241"/>
              </a:xfrm>
              <a:custGeom>
                <a:avLst/>
                <a:gdLst>
                  <a:gd name="T0" fmla="*/ 1 w 17"/>
                  <a:gd name="T1" fmla="*/ 6 h 9"/>
                  <a:gd name="T2" fmla="*/ 5 w 17"/>
                  <a:gd name="T3" fmla="*/ 9 h 9"/>
                  <a:gd name="T4" fmla="*/ 20 w 17"/>
                  <a:gd name="T5" fmla="*/ 9 h 9"/>
                  <a:gd name="T6" fmla="*/ 20 w 17"/>
                  <a:gd name="T7" fmla="*/ 7 h 9"/>
                  <a:gd name="T8" fmla="*/ 16 w 17"/>
                  <a:gd name="T9" fmla="*/ 3 h 9"/>
                  <a:gd name="T10" fmla="*/ 12 w 17"/>
                  <a:gd name="T11" fmla="*/ 1 h 9"/>
                  <a:gd name="T12" fmla="*/ 9 w 17"/>
                  <a:gd name="T13" fmla="*/ 7 h 9"/>
                  <a:gd name="T14" fmla="*/ 1 w 17"/>
                  <a:gd name="T15" fmla="*/ 6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9"/>
                  <a:gd name="T26" fmla="*/ 17 w 17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9">
                    <a:moveTo>
                      <a:pt x="1" y="5"/>
                    </a:moveTo>
                    <a:cubicBezTo>
                      <a:pt x="0" y="6"/>
                      <a:pt x="3" y="7"/>
                      <a:pt x="4" y="8"/>
                    </a:cubicBezTo>
                    <a:cubicBezTo>
                      <a:pt x="8" y="8"/>
                      <a:pt x="12" y="9"/>
                      <a:pt x="16" y="8"/>
                    </a:cubicBezTo>
                    <a:cubicBezTo>
                      <a:pt x="17" y="8"/>
                      <a:pt x="16" y="7"/>
                      <a:pt x="16" y="6"/>
                    </a:cubicBezTo>
                    <a:cubicBezTo>
                      <a:pt x="15" y="5"/>
                      <a:pt x="14" y="4"/>
                      <a:pt x="13" y="3"/>
                    </a:cubicBezTo>
                    <a:cubicBezTo>
                      <a:pt x="12" y="3"/>
                      <a:pt x="11" y="0"/>
                      <a:pt x="10" y="1"/>
                    </a:cubicBezTo>
                    <a:cubicBezTo>
                      <a:pt x="8" y="2"/>
                      <a:pt x="9" y="5"/>
                      <a:pt x="7" y="6"/>
                    </a:cubicBezTo>
                    <a:cubicBezTo>
                      <a:pt x="5" y="7"/>
                      <a:pt x="3" y="5"/>
                      <a:pt x="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1" name="Freeform 3482"/>
              <p:cNvSpPr>
                <a:spLocks noChangeAspect="1"/>
              </p:cNvSpPr>
              <p:nvPr/>
            </p:nvSpPr>
            <p:spPr bwMode="auto">
              <a:xfrm>
                <a:off x="2870283" y="5624216"/>
                <a:ext cx="93229" cy="87703"/>
              </a:xfrm>
              <a:custGeom>
                <a:avLst/>
                <a:gdLst>
                  <a:gd name="T0" fmla="*/ 29 w 47"/>
                  <a:gd name="T1" fmla="*/ 53 h 45"/>
                  <a:gd name="T2" fmla="*/ 44 w 47"/>
                  <a:gd name="T3" fmla="*/ 54 h 45"/>
                  <a:gd name="T4" fmla="*/ 56 w 47"/>
                  <a:gd name="T5" fmla="*/ 48 h 45"/>
                  <a:gd name="T6" fmla="*/ 56 w 47"/>
                  <a:gd name="T7" fmla="*/ 44 h 45"/>
                  <a:gd name="T8" fmla="*/ 45 w 47"/>
                  <a:gd name="T9" fmla="*/ 43 h 45"/>
                  <a:gd name="T10" fmla="*/ 33 w 47"/>
                  <a:gd name="T11" fmla="*/ 36 h 45"/>
                  <a:gd name="T12" fmla="*/ 17 w 47"/>
                  <a:gd name="T13" fmla="*/ 25 h 45"/>
                  <a:gd name="T14" fmla="*/ 8 w 47"/>
                  <a:gd name="T15" fmla="*/ 17 h 45"/>
                  <a:gd name="T16" fmla="*/ 5 w 47"/>
                  <a:gd name="T17" fmla="*/ 12 h 45"/>
                  <a:gd name="T18" fmla="*/ 7 w 47"/>
                  <a:gd name="T19" fmla="*/ 8 h 45"/>
                  <a:gd name="T20" fmla="*/ 4 w 47"/>
                  <a:gd name="T21" fmla="*/ 1 h 45"/>
                  <a:gd name="T22" fmla="*/ 0 w 47"/>
                  <a:gd name="T23" fmla="*/ 0 h 45"/>
                  <a:gd name="T24" fmla="*/ 7 w 47"/>
                  <a:gd name="T25" fmla="*/ 48 h 45"/>
                  <a:gd name="T26" fmla="*/ 12 w 47"/>
                  <a:gd name="T27" fmla="*/ 48 h 45"/>
                  <a:gd name="T28" fmla="*/ 17 w 47"/>
                  <a:gd name="T29" fmla="*/ 50 h 45"/>
                  <a:gd name="T30" fmla="*/ 24 w 47"/>
                  <a:gd name="T31" fmla="*/ 50 h 45"/>
                  <a:gd name="T32" fmla="*/ 29 w 47"/>
                  <a:gd name="T33" fmla="*/ 53 h 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7"/>
                  <a:gd name="T52" fmla="*/ 0 h 45"/>
                  <a:gd name="T53" fmla="*/ 47 w 47"/>
                  <a:gd name="T54" fmla="*/ 45 h 4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7" h="45">
                    <a:moveTo>
                      <a:pt x="24" y="44"/>
                    </a:moveTo>
                    <a:cubicBezTo>
                      <a:pt x="28" y="44"/>
                      <a:pt x="32" y="45"/>
                      <a:pt x="36" y="45"/>
                    </a:cubicBezTo>
                    <a:cubicBezTo>
                      <a:pt x="40" y="44"/>
                      <a:pt x="43" y="43"/>
                      <a:pt x="46" y="40"/>
                    </a:cubicBezTo>
                    <a:cubicBezTo>
                      <a:pt x="47" y="40"/>
                      <a:pt x="47" y="38"/>
                      <a:pt x="46" y="37"/>
                    </a:cubicBezTo>
                    <a:cubicBezTo>
                      <a:pt x="43" y="36"/>
                      <a:pt x="40" y="37"/>
                      <a:pt x="37" y="36"/>
                    </a:cubicBezTo>
                    <a:cubicBezTo>
                      <a:pt x="33" y="35"/>
                      <a:pt x="30" y="32"/>
                      <a:pt x="27" y="30"/>
                    </a:cubicBezTo>
                    <a:cubicBezTo>
                      <a:pt x="22" y="27"/>
                      <a:pt x="18" y="25"/>
                      <a:pt x="14" y="21"/>
                    </a:cubicBezTo>
                    <a:cubicBezTo>
                      <a:pt x="11" y="19"/>
                      <a:pt x="9" y="16"/>
                      <a:pt x="7" y="14"/>
                    </a:cubicBezTo>
                    <a:cubicBezTo>
                      <a:pt x="6" y="13"/>
                      <a:pt x="4" y="12"/>
                      <a:pt x="4" y="10"/>
                    </a:cubicBezTo>
                    <a:cubicBezTo>
                      <a:pt x="4" y="9"/>
                      <a:pt x="7" y="9"/>
                      <a:pt x="6" y="7"/>
                    </a:cubicBezTo>
                    <a:cubicBezTo>
                      <a:pt x="6" y="5"/>
                      <a:pt x="5" y="3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2" y="13"/>
                      <a:pt x="4" y="27"/>
                      <a:pt x="6" y="40"/>
                    </a:cubicBezTo>
                    <a:cubicBezTo>
                      <a:pt x="7" y="40"/>
                      <a:pt x="9" y="40"/>
                      <a:pt x="10" y="40"/>
                    </a:cubicBezTo>
                    <a:cubicBezTo>
                      <a:pt x="12" y="41"/>
                      <a:pt x="13" y="42"/>
                      <a:pt x="14" y="42"/>
                    </a:cubicBezTo>
                    <a:cubicBezTo>
                      <a:pt x="16" y="42"/>
                      <a:pt x="18" y="42"/>
                      <a:pt x="20" y="42"/>
                    </a:cubicBezTo>
                    <a:cubicBezTo>
                      <a:pt x="21" y="43"/>
                      <a:pt x="23" y="43"/>
                      <a:pt x="24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2" name="Freeform 3483"/>
              <p:cNvSpPr>
                <a:spLocks noChangeAspect="1"/>
              </p:cNvSpPr>
              <p:nvPr/>
            </p:nvSpPr>
            <p:spPr bwMode="auto">
              <a:xfrm>
                <a:off x="2898087" y="5705422"/>
                <a:ext cx="21263" cy="12993"/>
              </a:xfrm>
              <a:custGeom>
                <a:avLst/>
                <a:gdLst>
                  <a:gd name="T0" fmla="*/ 12 w 11"/>
                  <a:gd name="T1" fmla="*/ 2 h 7"/>
                  <a:gd name="T2" fmla="*/ 12 w 11"/>
                  <a:gd name="T3" fmla="*/ 8 h 7"/>
                  <a:gd name="T4" fmla="*/ 7 w 11"/>
                  <a:gd name="T5" fmla="*/ 6 h 7"/>
                  <a:gd name="T6" fmla="*/ 1 w 11"/>
                  <a:gd name="T7" fmla="*/ 7 h 7"/>
                  <a:gd name="T8" fmla="*/ 0 w 11"/>
                  <a:gd name="T9" fmla="*/ 3 h 7"/>
                  <a:gd name="T10" fmla="*/ 0 w 11"/>
                  <a:gd name="T11" fmla="*/ 0 h 7"/>
                  <a:gd name="T12" fmla="*/ 7 w 11"/>
                  <a:gd name="T13" fmla="*/ 0 h 7"/>
                  <a:gd name="T14" fmla="*/ 12 w 11"/>
                  <a:gd name="T15" fmla="*/ 2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7"/>
                  <a:gd name="T26" fmla="*/ 11 w 11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7">
                    <a:moveTo>
                      <a:pt x="10" y="2"/>
                    </a:moveTo>
                    <a:cubicBezTo>
                      <a:pt x="10" y="3"/>
                      <a:pt x="11" y="6"/>
                      <a:pt x="10" y="7"/>
                    </a:cubicBezTo>
                    <a:cubicBezTo>
                      <a:pt x="9" y="7"/>
                      <a:pt x="7" y="5"/>
                      <a:pt x="6" y="5"/>
                    </a:cubicBezTo>
                    <a:cubicBezTo>
                      <a:pt x="4" y="4"/>
                      <a:pt x="3" y="6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2" y="0"/>
                      <a:pt x="4" y="0"/>
                      <a:pt x="6" y="0"/>
                    </a:cubicBezTo>
                    <a:cubicBezTo>
                      <a:pt x="7" y="1"/>
                      <a:pt x="9" y="1"/>
                      <a:pt x="1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3" name="Freeform 3484"/>
              <p:cNvSpPr>
                <a:spLocks noChangeAspect="1"/>
              </p:cNvSpPr>
              <p:nvPr/>
            </p:nvSpPr>
            <p:spPr bwMode="auto">
              <a:xfrm>
                <a:off x="2778690" y="5586860"/>
                <a:ext cx="78508" cy="79583"/>
              </a:xfrm>
              <a:custGeom>
                <a:avLst/>
                <a:gdLst>
                  <a:gd name="T0" fmla="*/ 48 w 40"/>
                  <a:gd name="T1" fmla="*/ 14 h 41"/>
                  <a:gd name="T2" fmla="*/ 43 w 40"/>
                  <a:gd name="T3" fmla="*/ 18 h 41"/>
                  <a:gd name="T4" fmla="*/ 30 w 40"/>
                  <a:gd name="T5" fmla="*/ 22 h 41"/>
                  <a:gd name="T6" fmla="*/ 28 w 40"/>
                  <a:gd name="T7" fmla="*/ 32 h 41"/>
                  <a:gd name="T8" fmla="*/ 30 w 40"/>
                  <a:gd name="T9" fmla="*/ 45 h 41"/>
                  <a:gd name="T10" fmla="*/ 23 w 40"/>
                  <a:gd name="T11" fmla="*/ 49 h 41"/>
                  <a:gd name="T12" fmla="*/ 13 w 40"/>
                  <a:gd name="T13" fmla="*/ 41 h 41"/>
                  <a:gd name="T14" fmla="*/ 10 w 40"/>
                  <a:gd name="T15" fmla="*/ 36 h 41"/>
                  <a:gd name="T16" fmla="*/ 13 w 40"/>
                  <a:gd name="T17" fmla="*/ 33 h 41"/>
                  <a:gd name="T18" fmla="*/ 13 w 40"/>
                  <a:gd name="T19" fmla="*/ 38 h 41"/>
                  <a:gd name="T20" fmla="*/ 17 w 40"/>
                  <a:gd name="T21" fmla="*/ 37 h 41"/>
                  <a:gd name="T22" fmla="*/ 20 w 40"/>
                  <a:gd name="T23" fmla="*/ 31 h 41"/>
                  <a:gd name="T24" fmla="*/ 24 w 40"/>
                  <a:gd name="T25" fmla="*/ 24 h 41"/>
                  <a:gd name="T26" fmla="*/ 19 w 40"/>
                  <a:gd name="T27" fmla="*/ 22 h 41"/>
                  <a:gd name="T28" fmla="*/ 18 w 40"/>
                  <a:gd name="T29" fmla="*/ 19 h 41"/>
                  <a:gd name="T30" fmla="*/ 6 w 40"/>
                  <a:gd name="T31" fmla="*/ 19 h 41"/>
                  <a:gd name="T32" fmla="*/ 5 w 40"/>
                  <a:gd name="T33" fmla="*/ 22 h 41"/>
                  <a:gd name="T34" fmla="*/ 1 w 40"/>
                  <a:gd name="T35" fmla="*/ 18 h 41"/>
                  <a:gd name="T36" fmla="*/ 1 w 40"/>
                  <a:gd name="T37" fmla="*/ 16 h 41"/>
                  <a:gd name="T38" fmla="*/ 5 w 40"/>
                  <a:gd name="T39" fmla="*/ 13 h 41"/>
                  <a:gd name="T40" fmla="*/ 4 w 40"/>
                  <a:gd name="T41" fmla="*/ 8 h 41"/>
                  <a:gd name="T42" fmla="*/ 1 w 40"/>
                  <a:gd name="T43" fmla="*/ 5 h 41"/>
                  <a:gd name="T44" fmla="*/ 5 w 40"/>
                  <a:gd name="T45" fmla="*/ 0 h 41"/>
                  <a:gd name="T46" fmla="*/ 11 w 40"/>
                  <a:gd name="T47" fmla="*/ 11 h 41"/>
                  <a:gd name="T48" fmla="*/ 37 w 40"/>
                  <a:gd name="T49" fmla="*/ 11 h 41"/>
                  <a:gd name="T50" fmla="*/ 48 w 40"/>
                  <a:gd name="T51" fmla="*/ 14 h 4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40"/>
                  <a:gd name="T79" fmla="*/ 0 h 41"/>
                  <a:gd name="T80" fmla="*/ 40 w 40"/>
                  <a:gd name="T81" fmla="*/ 41 h 4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40" h="41">
                    <a:moveTo>
                      <a:pt x="40" y="12"/>
                    </a:moveTo>
                    <a:cubicBezTo>
                      <a:pt x="39" y="13"/>
                      <a:pt x="38" y="15"/>
                      <a:pt x="36" y="15"/>
                    </a:cubicBezTo>
                    <a:cubicBezTo>
                      <a:pt x="33" y="17"/>
                      <a:pt x="28" y="16"/>
                      <a:pt x="25" y="18"/>
                    </a:cubicBezTo>
                    <a:cubicBezTo>
                      <a:pt x="23" y="20"/>
                      <a:pt x="23" y="24"/>
                      <a:pt x="23" y="27"/>
                    </a:cubicBezTo>
                    <a:cubicBezTo>
                      <a:pt x="22" y="31"/>
                      <a:pt x="26" y="35"/>
                      <a:pt x="25" y="38"/>
                    </a:cubicBezTo>
                    <a:cubicBezTo>
                      <a:pt x="24" y="40"/>
                      <a:pt x="21" y="41"/>
                      <a:pt x="19" y="41"/>
                    </a:cubicBezTo>
                    <a:cubicBezTo>
                      <a:pt x="16" y="39"/>
                      <a:pt x="13" y="36"/>
                      <a:pt x="11" y="34"/>
                    </a:cubicBezTo>
                    <a:cubicBezTo>
                      <a:pt x="10" y="33"/>
                      <a:pt x="8" y="32"/>
                      <a:pt x="8" y="30"/>
                    </a:cubicBezTo>
                    <a:cubicBezTo>
                      <a:pt x="8" y="29"/>
                      <a:pt x="10" y="28"/>
                      <a:pt x="11" y="28"/>
                    </a:cubicBezTo>
                    <a:cubicBezTo>
                      <a:pt x="12" y="29"/>
                      <a:pt x="11" y="31"/>
                      <a:pt x="11" y="32"/>
                    </a:cubicBezTo>
                    <a:cubicBezTo>
                      <a:pt x="12" y="33"/>
                      <a:pt x="14" y="32"/>
                      <a:pt x="14" y="31"/>
                    </a:cubicBezTo>
                    <a:cubicBezTo>
                      <a:pt x="16" y="30"/>
                      <a:pt x="17" y="28"/>
                      <a:pt x="17" y="26"/>
                    </a:cubicBezTo>
                    <a:cubicBezTo>
                      <a:pt x="18" y="24"/>
                      <a:pt x="20" y="22"/>
                      <a:pt x="20" y="20"/>
                    </a:cubicBezTo>
                    <a:cubicBezTo>
                      <a:pt x="20" y="19"/>
                      <a:pt x="17" y="19"/>
                      <a:pt x="16" y="18"/>
                    </a:cubicBezTo>
                    <a:cubicBezTo>
                      <a:pt x="15" y="18"/>
                      <a:pt x="15" y="16"/>
                      <a:pt x="15" y="16"/>
                    </a:cubicBezTo>
                    <a:cubicBezTo>
                      <a:pt x="12" y="15"/>
                      <a:pt x="8" y="15"/>
                      <a:pt x="5" y="16"/>
                    </a:cubicBezTo>
                    <a:cubicBezTo>
                      <a:pt x="4" y="16"/>
                      <a:pt x="5" y="18"/>
                      <a:pt x="4" y="18"/>
                    </a:cubicBezTo>
                    <a:cubicBezTo>
                      <a:pt x="3" y="18"/>
                      <a:pt x="2" y="16"/>
                      <a:pt x="1" y="15"/>
                    </a:cubicBezTo>
                    <a:cubicBezTo>
                      <a:pt x="0" y="15"/>
                      <a:pt x="0" y="14"/>
                      <a:pt x="1" y="13"/>
                    </a:cubicBezTo>
                    <a:cubicBezTo>
                      <a:pt x="2" y="12"/>
                      <a:pt x="4" y="13"/>
                      <a:pt x="4" y="11"/>
                    </a:cubicBezTo>
                    <a:cubicBezTo>
                      <a:pt x="5" y="10"/>
                      <a:pt x="3" y="8"/>
                      <a:pt x="3" y="7"/>
                    </a:cubicBezTo>
                    <a:cubicBezTo>
                      <a:pt x="2" y="6"/>
                      <a:pt x="1" y="5"/>
                      <a:pt x="1" y="4"/>
                    </a:cubicBezTo>
                    <a:cubicBezTo>
                      <a:pt x="1" y="3"/>
                      <a:pt x="3" y="2"/>
                      <a:pt x="4" y="0"/>
                    </a:cubicBezTo>
                    <a:cubicBezTo>
                      <a:pt x="5" y="3"/>
                      <a:pt x="6" y="8"/>
                      <a:pt x="9" y="9"/>
                    </a:cubicBezTo>
                    <a:cubicBezTo>
                      <a:pt x="16" y="11"/>
                      <a:pt x="23" y="8"/>
                      <a:pt x="31" y="9"/>
                    </a:cubicBezTo>
                    <a:cubicBezTo>
                      <a:pt x="34" y="9"/>
                      <a:pt x="37" y="11"/>
                      <a:pt x="40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4" name="Freeform 3485"/>
              <p:cNvSpPr>
                <a:spLocks noChangeAspect="1"/>
              </p:cNvSpPr>
              <p:nvPr/>
            </p:nvSpPr>
            <p:spPr bwMode="auto">
              <a:xfrm>
                <a:off x="2850656" y="5705422"/>
                <a:ext cx="55610" cy="32483"/>
              </a:xfrm>
              <a:custGeom>
                <a:avLst/>
                <a:gdLst>
                  <a:gd name="T0" fmla="*/ 1 w 28"/>
                  <a:gd name="T1" fmla="*/ 7 h 17"/>
                  <a:gd name="T2" fmla="*/ 16 w 28"/>
                  <a:gd name="T3" fmla="*/ 2 h 17"/>
                  <a:gd name="T4" fmla="*/ 24 w 28"/>
                  <a:gd name="T5" fmla="*/ 1 h 17"/>
                  <a:gd name="T6" fmla="*/ 23 w 28"/>
                  <a:gd name="T7" fmla="*/ 5 h 17"/>
                  <a:gd name="T8" fmla="*/ 17 w 28"/>
                  <a:gd name="T9" fmla="*/ 5 h 17"/>
                  <a:gd name="T10" fmla="*/ 26 w 28"/>
                  <a:gd name="T11" fmla="*/ 6 h 17"/>
                  <a:gd name="T12" fmla="*/ 23 w 28"/>
                  <a:gd name="T13" fmla="*/ 8 h 17"/>
                  <a:gd name="T14" fmla="*/ 30 w 28"/>
                  <a:gd name="T15" fmla="*/ 12 h 17"/>
                  <a:gd name="T16" fmla="*/ 32 w 28"/>
                  <a:gd name="T17" fmla="*/ 19 h 17"/>
                  <a:gd name="T18" fmla="*/ 27 w 28"/>
                  <a:gd name="T19" fmla="*/ 14 h 17"/>
                  <a:gd name="T20" fmla="*/ 21 w 28"/>
                  <a:gd name="T21" fmla="*/ 14 h 17"/>
                  <a:gd name="T22" fmla="*/ 19 w 28"/>
                  <a:gd name="T23" fmla="*/ 7 h 17"/>
                  <a:gd name="T24" fmla="*/ 16 w 28"/>
                  <a:gd name="T25" fmla="*/ 8 h 17"/>
                  <a:gd name="T26" fmla="*/ 11 w 28"/>
                  <a:gd name="T27" fmla="*/ 8 h 17"/>
                  <a:gd name="T28" fmla="*/ 16 w 28"/>
                  <a:gd name="T29" fmla="*/ 15 h 17"/>
                  <a:gd name="T30" fmla="*/ 10 w 28"/>
                  <a:gd name="T31" fmla="*/ 15 h 17"/>
                  <a:gd name="T32" fmla="*/ 7 w 28"/>
                  <a:gd name="T33" fmla="*/ 8 h 17"/>
                  <a:gd name="T34" fmla="*/ 1 w 28"/>
                  <a:gd name="T35" fmla="*/ 7 h 1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8"/>
                  <a:gd name="T55" fmla="*/ 0 h 17"/>
                  <a:gd name="T56" fmla="*/ 28 w 28"/>
                  <a:gd name="T57" fmla="*/ 17 h 1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8" h="17">
                    <a:moveTo>
                      <a:pt x="1" y="6"/>
                    </a:moveTo>
                    <a:cubicBezTo>
                      <a:pt x="4" y="3"/>
                      <a:pt x="9" y="3"/>
                      <a:pt x="13" y="2"/>
                    </a:cubicBezTo>
                    <a:cubicBezTo>
                      <a:pt x="15" y="1"/>
                      <a:pt x="18" y="0"/>
                      <a:pt x="20" y="1"/>
                    </a:cubicBezTo>
                    <a:cubicBezTo>
                      <a:pt x="21" y="1"/>
                      <a:pt x="20" y="3"/>
                      <a:pt x="19" y="4"/>
                    </a:cubicBezTo>
                    <a:cubicBezTo>
                      <a:pt x="17" y="4"/>
                      <a:pt x="12" y="2"/>
                      <a:pt x="14" y="4"/>
                    </a:cubicBezTo>
                    <a:cubicBezTo>
                      <a:pt x="16" y="5"/>
                      <a:pt x="19" y="4"/>
                      <a:pt x="21" y="5"/>
                    </a:cubicBezTo>
                    <a:cubicBezTo>
                      <a:pt x="22" y="6"/>
                      <a:pt x="18" y="6"/>
                      <a:pt x="19" y="7"/>
                    </a:cubicBezTo>
                    <a:cubicBezTo>
                      <a:pt x="20" y="9"/>
                      <a:pt x="23" y="8"/>
                      <a:pt x="25" y="10"/>
                    </a:cubicBezTo>
                    <a:cubicBezTo>
                      <a:pt x="26" y="11"/>
                      <a:pt x="28" y="15"/>
                      <a:pt x="26" y="16"/>
                    </a:cubicBezTo>
                    <a:cubicBezTo>
                      <a:pt x="25" y="17"/>
                      <a:pt x="24" y="13"/>
                      <a:pt x="22" y="12"/>
                    </a:cubicBezTo>
                    <a:cubicBezTo>
                      <a:pt x="21" y="11"/>
                      <a:pt x="18" y="13"/>
                      <a:pt x="17" y="12"/>
                    </a:cubicBezTo>
                    <a:cubicBezTo>
                      <a:pt x="16" y="10"/>
                      <a:pt x="17" y="8"/>
                      <a:pt x="16" y="6"/>
                    </a:cubicBezTo>
                    <a:cubicBezTo>
                      <a:pt x="15" y="5"/>
                      <a:pt x="14" y="7"/>
                      <a:pt x="13" y="7"/>
                    </a:cubicBezTo>
                    <a:cubicBezTo>
                      <a:pt x="12" y="7"/>
                      <a:pt x="9" y="6"/>
                      <a:pt x="9" y="7"/>
                    </a:cubicBezTo>
                    <a:cubicBezTo>
                      <a:pt x="9" y="9"/>
                      <a:pt x="13" y="11"/>
                      <a:pt x="13" y="13"/>
                    </a:cubicBezTo>
                    <a:cubicBezTo>
                      <a:pt x="12" y="14"/>
                      <a:pt x="9" y="14"/>
                      <a:pt x="8" y="13"/>
                    </a:cubicBezTo>
                    <a:cubicBezTo>
                      <a:pt x="7" y="11"/>
                      <a:pt x="8" y="9"/>
                      <a:pt x="6" y="7"/>
                    </a:cubicBezTo>
                    <a:cubicBezTo>
                      <a:pt x="5" y="6"/>
                      <a:pt x="0" y="7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5" name="Freeform 3486"/>
              <p:cNvSpPr>
                <a:spLocks noChangeAspect="1"/>
              </p:cNvSpPr>
              <p:nvPr/>
            </p:nvSpPr>
            <p:spPr bwMode="auto">
              <a:xfrm>
                <a:off x="2759063" y="5648577"/>
                <a:ext cx="39254" cy="29234"/>
              </a:xfrm>
              <a:custGeom>
                <a:avLst/>
                <a:gdLst>
                  <a:gd name="T0" fmla="*/ 10 w 20"/>
                  <a:gd name="T1" fmla="*/ 0 h 15"/>
                  <a:gd name="T2" fmla="*/ 18 w 20"/>
                  <a:gd name="T3" fmla="*/ 5 h 15"/>
                  <a:gd name="T4" fmla="*/ 23 w 20"/>
                  <a:gd name="T5" fmla="*/ 10 h 15"/>
                  <a:gd name="T6" fmla="*/ 20 w 20"/>
                  <a:gd name="T7" fmla="*/ 16 h 15"/>
                  <a:gd name="T8" fmla="*/ 16 w 20"/>
                  <a:gd name="T9" fmla="*/ 12 h 15"/>
                  <a:gd name="T10" fmla="*/ 14 w 20"/>
                  <a:gd name="T11" fmla="*/ 18 h 15"/>
                  <a:gd name="T12" fmla="*/ 12 w 20"/>
                  <a:gd name="T13" fmla="*/ 13 h 15"/>
                  <a:gd name="T14" fmla="*/ 8 w 20"/>
                  <a:gd name="T15" fmla="*/ 14 h 15"/>
                  <a:gd name="T16" fmla="*/ 7 w 20"/>
                  <a:gd name="T17" fmla="*/ 7 h 15"/>
                  <a:gd name="T18" fmla="*/ 0 w 20"/>
                  <a:gd name="T19" fmla="*/ 1 h 15"/>
                  <a:gd name="T20" fmla="*/ 2 w 20"/>
                  <a:gd name="T21" fmla="*/ 0 h 15"/>
                  <a:gd name="T22" fmla="*/ 8 w 20"/>
                  <a:gd name="T23" fmla="*/ 2 h 15"/>
                  <a:gd name="T24" fmla="*/ 10 w 20"/>
                  <a:gd name="T25" fmla="*/ 0 h 1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"/>
                  <a:gd name="T40" fmla="*/ 0 h 15"/>
                  <a:gd name="T41" fmla="*/ 20 w 20"/>
                  <a:gd name="T42" fmla="*/ 15 h 1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" h="15">
                    <a:moveTo>
                      <a:pt x="8" y="0"/>
                    </a:moveTo>
                    <a:cubicBezTo>
                      <a:pt x="11" y="1"/>
                      <a:pt x="13" y="2"/>
                      <a:pt x="15" y="4"/>
                    </a:cubicBezTo>
                    <a:cubicBezTo>
                      <a:pt x="17" y="5"/>
                      <a:pt x="19" y="6"/>
                      <a:pt x="19" y="8"/>
                    </a:cubicBezTo>
                    <a:cubicBezTo>
                      <a:pt x="20" y="10"/>
                      <a:pt x="19" y="12"/>
                      <a:pt x="17" y="13"/>
                    </a:cubicBezTo>
                    <a:cubicBezTo>
                      <a:pt x="16" y="13"/>
                      <a:pt x="15" y="10"/>
                      <a:pt x="13" y="10"/>
                    </a:cubicBezTo>
                    <a:cubicBezTo>
                      <a:pt x="12" y="11"/>
                      <a:pt x="13" y="14"/>
                      <a:pt x="12" y="15"/>
                    </a:cubicBezTo>
                    <a:cubicBezTo>
                      <a:pt x="10" y="15"/>
                      <a:pt x="11" y="12"/>
                      <a:pt x="10" y="11"/>
                    </a:cubicBezTo>
                    <a:cubicBezTo>
                      <a:pt x="9" y="11"/>
                      <a:pt x="7" y="13"/>
                      <a:pt x="7" y="12"/>
                    </a:cubicBezTo>
                    <a:cubicBezTo>
                      <a:pt x="5" y="10"/>
                      <a:pt x="7" y="8"/>
                      <a:pt x="6" y="6"/>
                    </a:cubicBezTo>
                    <a:cubicBezTo>
                      <a:pt x="5" y="4"/>
                      <a:pt x="2" y="3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5" y="1"/>
                      <a:pt x="7" y="2"/>
                    </a:cubicBezTo>
                    <a:cubicBezTo>
                      <a:pt x="8" y="2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6" name="Freeform 3487"/>
              <p:cNvSpPr>
                <a:spLocks noChangeAspect="1"/>
              </p:cNvSpPr>
              <p:nvPr/>
            </p:nvSpPr>
            <p:spPr bwMode="auto">
              <a:xfrm>
                <a:off x="2829393" y="5650202"/>
                <a:ext cx="14721" cy="29234"/>
              </a:xfrm>
              <a:custGeom>
                <a:avLst/>
                <a:gdLst>
                  <a:gd name="T0" fmla="*/ 3 w 7"/>
                  <a:gd name="T1" fmla="*/ 1 h 15"/>
                  <a:gd name="T2" fmla="*/ 5 w 7"/>
                  <a:gd name="T3" fmla="*/ 13 h 15"/>
                  <a:gd name="T4" fmla="*/ 6 w 7"/>
                  <a:gd name="T5" fmla="*/ 18 h 15"/>
                  <a:gd name="T6" fmla="*/ 0 w 7"/>
                  <a:gd name="T7" fmla="*/ 12 h 15"/>
                  <a:gd name="T8" fmla="*/ 1 w 7"/>
                  <a:gd name="T9" fmla="*/ 8 h 15"/>
                  <a:gd name="T10" fmla="*/ 3 w 7"/>
                  <a:gd name="T11" fmla="*/ 1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5"/>
                  <a:gd name="T20" fmla="*/ 7 w 7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5">
                    <a:moveTo>
                      <a:pt x="2" y="1"/>
                    </a:moveTo>
                    <a:cubicBezTo>
                      <a:pt x="4" y="4"/>
                      <a:pt x="3" y="8"/>
                      <a:pt x="4" y="11"/>
                    </a:cubicBezTo>
                    <a:cubicBezTo>
                      <a:pt x="4" y="12"/>
                      <a:pt x="7" y="15"/>
                      <a:pt x="5" y="15"/>
                    </a:cubicBezTo>
                    <a:cubicBezTo>
                      <a:pt x="3" y="14"/>
                      <a:pt x="2" y="12"/>
                      <a:pt x="0" y="10"/>
                    </a:cubicBezTo>
                    <a:cubicBezTo>
                      <a:pt x="0" y="9"/>
                      <a:pt x="1" y="8"/>
                      <a:pt x="1" y="7"/>
                    </a:cubicBezTo>
                    <a:cubicBezTo>
                      <a:pt x="1" y="5"/>
                      <a:pt x="0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7" name="Freeform 3488"/>
              <p:cNvSpPr>
                <a:spLocks noChangeAspect="1"/>
              </p:cNvSpPr>
              <p:nvPr/>
            </p:nvSpPr>
            <p:spPr bwMode="auto">
              <a:xfrm>
                <a:off x="2798317" y="5664818"/>
                <a:ext cx="16356" cy="17866"/>
              </a:xfrm>
              <a:custGeom>
                <a:avLst/>
                <a:gdLst>
                  <a:gd name="T0" fmla="*/ 1 w 8"/>
                  <a:gd name="T1" fmla="*/ 4 h 9"/>
                  <a:gd name="T2" fmla="*/ 7 w 8"/>
                  <a:gd name="T3" fmla="*/ 1 h 9"/>
                  <a:gd name="T4" fmla="*/ 9 w 8"/>
                  <a:gd name="T5" fmla="*/ 10 h 9"/>
                  <a:gd name="T6" fmla="*/ 3 w 8"/>
                  <a:gd name="T7" fmla="*/ 9 h 9"/>
                  <a:gd name="T8" fmla="*/ 1 w 8"/>
                  <a:gd name="T9" fmla="*/ 4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1" y="3"/>
                    </a:moveTo>
                    <a:cubicBezTo>
                      <a:pt x="2" y="1"/>
                      <a:pt x="5" y="0"/>
                      <a:pt x="6" y="1"/>
                    </a:cubicBezTo>
                    <a:cubicBezTo>
                      <a:pt x="8" y="3"/>
                      <a:pt x="8" y="6"/>
                      <a:pt x="7" y="8"/>
                    </a:cubicBezTo>
                    <a:cubicBezTo>
                      <a:pt x="6" y="9"/>
                      <a:pt x="3" y="8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8" name="Freeform 3489"/>
              <p:cNvSpPr>
                <a:spLocks noChangeAspect="1"/>
              </p:cNvSpPr>
              <p:nvPr/>
            </p:nvSpPr>
            <p:spPr bwMode="auto">
              <a:xfrm>
                <a:off x="2816308" y="5669691"/>
                <a:ext cx="13085" cy="14618"/>
              </a:xfrm>
              <a:custGeom>
                <a:avLst/>
                <a:gdLst>
                  <a:gd name="T0" fmla="*/ 2 w 7"/>
                  <a:gd name="T1" fmla="*/ 1 h 7"/>
                  <a:gd name="T2" fmla="*/ 7 w 7"/>
                  <a:gd name="T3" fmla="*/ 5 h 7"/>
                  <a:gd name="T4" fmla="*/ 7 w 7"/>
                  <a:gd name="T5" fmla="*/ 9 h 7"/>
                  <a:gd name="T6" fmla="*/ 2 w 7"/>
                  <a:gd name="T7" fmla="*/ 5 h 7"/>
                  <a:gd name="T8" fmla="*/ 2 w 7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2" y="1"/>
                    </a:moveTo>
                    <a:cubicBezTo>
                      <a:pt x="3" y="0"/>
                      <a:pt x="5" y="2"/>
                      <a:pt x="6" y="4"/>
                    </a:cubicBezTo>
                    <a:cubicBezTo>
                      <a:pt x="6" y="5"/>
                      <a:pt x="7" y="7"/>
                      <a:pt x="6" y="7"/>
                    </a:cubicBezTo>
                    <a:cubicBezTo>
                      <a:pt x="4" y="7"/>
                      <a:pt x="3" y="6"/>
                      <a:pt x="2" y="4"/>
                    </a:cubicBezTo>
                    <a:cubicBezTo>
                      <a:pt x="1" y="3"/>
                      <a:pt x="0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79" name="Freeform 3490"/>
              <p:cNvSpPr>
                <a:spLocks noChangeAspect="1"/>
              </p:cNvSpPr>
              <p:nvPr/>
            </p:nvSpPr>
            <p:spPr bwMode="auto">
              <a:xfrm>
                <a:off x="2808131" y="5684308"/>
                <a:ext cx="19627" cy="9745"/>
              </a:xfrm>
              <a:custGeom>
                <a:avLst/>
                <a:gdLst>
                  <a:gd name="T0" fmla="*/ 11 w 10"/>
                  <a:gd name="T1" fmla="*/ 2 h 5"/>
                  <a:gd name="T2" fmla="*/ 11 w 10"/>
                  <a:gd name="T3" fmla="*/ 6 h 5"/>
                  <a:gd name="T4" fmla="*/ 1 w 10"/>
                  <a:gd name="T5" fmla="*/ 5 h 5"/>
                  <a:gd name="T6" fmla="*/ 1 w 10"/>
                  <a:gd name="T7" fmla="*/ 1 h 5"/>
                  <a:gd name="T8" fmla="*/ 11 w 10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5"/>
                  <a:gd name="T17" fmla="*/ 10 w 10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5">
                    <a:moveTo>
                      <a:pt x="9" y="2"/>
                    </a:moveTo>
                    <a:cubicBezTo>
                      <a:pt x="9" y="3"/>
                      <a:pt x="10" y="4"/>
                      <a:pt x="9" y="5"/>
                    </a:cubicBezTo>
                    <a:cubicBezTo>
                      <a:pt x="6" y="5"/>
                      <a:pt x="3" y="5"/>
                      <a:pt x="1" y="4"/>
                    </a:cubicBezTo>
                    <a:cubicBezTo>
                      <a:pt x="0" y="4"/>
                      <a:pt x="0" y="1"/>
                      <a:pt x="1" y="1"/>
                    </a:cubicBezTo>
                    <a:cubicBezTo>
                      <a:pt x="3" y="0"/>
                      <a:pt x="6" y="1"/>
                      <a:pt x="9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0" name="Freeform 3491"/>
              <p:cNvSpPr>
                <a:spLocks noChangeAspect="1"/>
              </p:cNvSpPr>
              <p:nvPr/>
            </p:nvSpPr>
            <p:spPr bwMode="auto">
              <a:xfrm>
                <a:off x="2829393" y="5705422"/>
                <a:ext cx="17992" cy="12993"/>
              </a:xfrm>
              <a:custGeom>
                <a:avLst/>
                <a:gdLst>
                  <a:gd name="T0" fmla="*/ 6 w 9"/>
                  <a:gd name="T1" fmla="*/ 0 h 7"/>
                  <a:gd name="T2" fmla="*/ 1 w 9"/>
                  <a:gd name="T3" fmla="*/ 3 h 7"/>
                  <a:gd name="T4" fmla="*/ 9 w 9"/>
                  <a:gd name="T5" fmla="*/ 8 h 7"/>
                  <a:gd name="T6" fmla="*/ 7 w 9"/>
                  <a:gd name="T7" fmla="*/ 5 h 7"/>
                  <a:gd name="T8" fmla="*/ 9 w 9"/>
                  <a:gd name="T9" fmla="*/ 1 h 7"/>
                  <a:gd name="T10" fmla="*/ 6 w 9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7"/>
                  <a:gd name="T20" fmla="*/ 9 w 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7">
                    <a:moveTo>
                      <a:pt x="5" y="0"/>
                    </a:moveTo>
                    <a:cubicBezTo>
                      <a:pt x="4" y="0"/>
                      <a:pt x="0" y="1"/>
                      <a:pt x="1" y="3"/>
                    </a:cubicBezTo>
                    <a:cubicBezTo>
                      <a:pt x="1" y="5"/>
                      <a:pt x="5" y="6"/>
                      <a:pt x="7" y="7"/>
                    </a:cubicBezTo>
                    <a:cubicBezTo>
                      <a:pt x="9" y="7"/>
                      <a:pt x="6" y="5"/>
                      <a:pt x="6" y="4"/>
                    </a:cubicBezTo>
                    <a:cubicBezTo>
                      <a:pt x="6" y="3"/>
                      <a:pt x="7" y="2"/>
                      <a:pt x="7" y="1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1" name="Freeform 3492"/>
              <p:cNvSpPr>
                <a:spLocks noChangeAspect="1"/>
              </p:cNvSpPr>
              <p:nvPr/>
            </p:nvSpPr>
            <p:spPr bwMode="auto">
              <a:xfrm>
                <a:off x="2850656" y="5703798"/>
                <a:ext cx="16356" cy="8121"/>
              </a:xfrm>
              <a:custGeom>
                <a:avLst/>
                <a:gdLst>
                  <a:gd name="T0" fmla="*/ 1 w 8"/>
                  <a:gd name="T1" fmla="*/ 1 h 4"/>
                  <a:gd name="T2" fmla="*/ 1 w 8"/>
                  <a:gd name="T3" fmla="*/ 5 h 4"/>
                  <a:gd name="T4" fmla="*/ 9 w 8"/>
                  <a:gd name="T5" fmla="*/ 3 h 4"/>
                  <a:gd name="T6" fmla="*/ 7 w 8"/>
                  <a:gd name="T7" fmla="*/ 1 h 4"/>
                  <a:gd name="T8" fmla="*/ 1 w 8"/>
                  <a:gd name="T9" fmla="*/ 1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4"/>
                  <a:gd name="T17" fmla="*/ 8 w 8"/>
                  <a:gd name="T18" fmla="*/ 4 h 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4">
                    <a:moveTo>
                      <a:pt x="1" y="1"/>
                    </a:moveTo>
                    <a:cubicBezTo>
                      <a:pt x="0" y="2"/>
                      <a:pt x="0" y="4"/>
                      <a:pt x="1" y="4"/>
                    </a:cubicBezTo>
                    <a:cubicBezTo>
                      <a:pt x="3" y="4"/>
                      <a:pt x="6" y="3"/>
                      <a:pt x="7" y="2"/>
                    </a:cubicBezTo>
                    <a:cubicBezTo>
                      <a:pt x="8" y="2"/>
                      <a:pt x="6" y="1"/>
                      <a:pt x="6" y="1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2" name="Freeform 3493"/>
              <p:cNvSpPr>
                <a:spLocks noChangeAspect="1"/>
              </p:cNvSpPr>
              <p:nvPr/>
            </p:nvSpPr>
            <p:spPr bwMode="auto">
              <a:xfrm>
                <a:off x="2777054" y="5619343"/>
                <a:ext cx="32712" cy="30859"/>
              </a:xfrm>
              <a:custGeom>
                <a:avLst/>
                <a:gdLst>
                  <a:gd name="T0" fmla="*/ 18 w 17"/>
                  <a:gd name="T1" fmla="*/ 0 h 16"/>
                  <a:gd name="T2" fmla="*/ 19 w 17"/>
                  <a:gd name="T3" fmla="*/ 5 h 16"/>
                  <a:gd name="T4" fmla="*/ 12 w 17"/>
                  <a:gd name="T5" fmla="*/ 11 h 16"/>
                  <a:gd name="T6" fmla="*/ 7 w 17"/>
                  <a:gd name="T7" fmla="*/ 10 h 16"/>
                  <a:gd name="T8" fmla="*/ 7 w 17"/>
                  <a:gd name="T9" fmla="*/ 15 h 16"/>
                  <a:gd name="T10" fmla="*/ 8 w 17"/>
                  <a:gd name="T11" fmla="*/ 18 h 16"/>
                  <a:gd name="T12" fmla="*/ 5 w 17"/>
                  <a:gd name="T13" fmla="*/ 15 h 16"/>
                  <a:gd name="T14" fmla="*/ 1 w 17"/>
                  <a:gd name="T15" fmla="*/ 12 h 16"/>
                  <a:gd name="T16" fmla="*/ 2 w 17"/>
                  <a:gd name="T17" fmla="*/ 5 h 16"/>
                  <a:gd name="T18" fmla="*/ 9 w 17"/>
                  <a:gd name="T19" fmla="*/ 2 h 16"/>
                  <a:gd name="T20" fmla="*/ 15 w 17"/>
                  <a:gd name="T21" fmla="*/ 2 h 16"/>
                  <a:gd name="T22" fmla="*/ 18 w 17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"/>
                  <a:gd name="T37" fmla="*/ 0 h 16"/>
                  <a:gd name="T38" fmla="*/ 17 w 17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" h="16">
                    <a:moveTo>
                      <a:pt x="15" y="0"/>
                    </a:moveTo>
                    <a:cubicBezTo>
                      <a:pt x="16" y="1"/>
                      <a:pt x="17" y="3"/>
                      <a:pt x="16" y="4"/>
                    </a:cubicBezTo>
                    <a:cubicBezTo>
                      <a:pt x="15" y="6"/>
                      <a:pt x="12" y="8"/>
                      <a:pt x="10" y="9"/>
                    </a:cubicBezTo>
                    <a:cubicBezTo>
                      <a:pt x="9" y="9"/>
                      <a:pt x="7" y="7"/>
                      <a:pt x="6" y="8"/>
                    </a:cubicBezTo>
                    <a:cubicBezTo>
                      <a:pt x="5" y="9"/>
                      <a:pt x="6" y="11"/>
                      <a:pt x="6" y="13"/>
                    </a:cubicBezTo>
                    <a:cubicBezTo>
                      <a:pt x="6" y="14"/>
                      <a:pt x="8" y="15"/>
                      <a:pt x="7" y="15"/>
                    </a:cubicBezTo>
                    <a:cubicBezTo>
                      <a:pt x="6" y="16"/>
                      <a:pt x="5" y="14"/>
                      <a:pt x="4" y="13"/>
                    </a:cubicBezTo>
                    <a:cubicBezTo>
                      <a:pt x="3" y="13"/>
                      <a:pt x="1" y="12"/>
                      <a:pt x="1" y="10"/>
                    </a:cubicBezTo>
                    <a:cubicBezTo>
                      <a:pt x="0" y="8"/>
                      <a:pt x="0" y="6"/>
                      <a:pt x="2" y="4"/>
                    </a:cubicBezTo>
                    <a:cubicBezTo>
                      <a:pt x="3" y="2"/>
                      <a:pt x="6" y="2"/>
                      <a:pt x="8" y="2"/>
                    </a:cubicBezTo>
                    <a:cubicBezTo>
                      <a:pt x="10" y="1"/>
                      <a:pt x="11" y="2"/>
                      <a:pt x="13" y="2"/>
                    </a:cubicBezTo>
                    <a:cubicBezTo>
                      <a:pt x="14" y="1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3" name="Freeform 3494"/>
              <p:cNvSpPr>
                <a:spLocks noChangeAspect="1"/>
              </p:cNvSpPr>
              <p:nvPr/>
            </p:nvSpPr>
            <p:spPr bwMode="auto">
              <a:xfrm>
                <a:off x="2731257" y="5619343"/>
                <a:ext cx="44161" cy="24362"/>
              </a:xfrm>
              <a:custGeom>
                <a:avLst/>
                <a:gdLst>
                  <a:gd name="T0" fmla="*/ 1 w 22"/>
                  <a:gd name="T1" fmla="*/ 1 h 12"/>
                  <a:gd name="T2" fmla="*/ 4 w 22"/>
                  <a:gd name="T3" fmla="*/ 6 h 12"/>
                  <a:gd name="T4" fmla="*/ 11 w 22"/>
                  <a:gd name="T5" fmla="*/ 13 h 12"/>
                  <a:gd name="T6" fmla="*/ 26 w 22"/>
                  <a:gd name="T7" fmla="*/ 15 h 12"/>
                  <a:gd name="T8" fmla="*/ 26 w 22"/>
                  <a:gd name="T9" fmla="*/ 13 h 12"/>
                  <a:gd name="T10" fmla="*/ 16 w 22"/>
                  <a:gd name="T11" fmla="*/ 8 h 12"/>
                  <a:gd name="T12" fmla="*/ 7 w 22"/>
                  <a:gd name="T13" fmla="*/ 6 h 12"/>
                  <a:gd name="T14" fmla="*/ 4 w 22"/>
                  <a:gd name="T15" fmla="*/ 3 h 12"/>
                  <a:gd name="T16" fmla="*/ 1 w 22"/>
                  <a:gd name="T17" fmla="*/ 1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2"/>
                  <a:gd name="T28" fmla="*/ 0 h 12"/>
                  <a:gd name="T29" fmla="*/ 22 w 22"/>
                  <a:gd name="T30" fmla="*/ 12 h 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2" h="12">
                    <a:moveTo>
                      <a:pt x="1" y="1"/>
                    </a:moveTo>
                    <a:cubicBezTo>
                      <a:pt x="0" y="3"/>
                      <a:pt x="2" y="4"/>
                      <a:pt x="3" y="5"/>
                    </a:cubicBezTo>
                    <a:cubicBezTo>
                      <a:pt x="4" y="7"/>
                      <a:pt x="7" y="9"/>
                      <a:pt x="9" y="10"/>
                    </a:cubicBezTo>
                    <a:cubicBezTo>
                      <a:pt x="13" y="11"/>
                      <a:pt x="17" y="12"/>
                      <a:pt x="21" y="12"/>
                    </a:cubicBezTo>
                    <a:cubicBezTo>
                      <a:pt x="22" y="12"/>
                      <a:pt x="21" y="10"/>
                      <a:pt x="21" y="10"/>
                    </a:cubicBezTo>
                    <a:cubicBezTo>
                      <a:pt x="18" y="8"/>
                      <a:pt x="16" y="7"/>
                      <a:pt x="13" y="6"/>
                    </a:cubicBezTo>
                    <a:cubicBezTo>
                      <a:pt x="11" y="6"/>
                      <a:pt x="8" y="6"/>
                      <a:pt x="6" y="5"/>
                    </a:cubicBezTo>
                    <a:cubicBezTo>
                      <a:pt x="5" y="4"/>
                      <a:pt x="5" y="3"/>
                      <a:pt x="3" y="2"/>
                    </a:cubicBezTo>
                    <a:cubicBezTo>
                      <a:pt x="3" y="1"/>
                      <a:pt x="1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4" name="Freeform 3495"/>
              <p:cNvSpPr>
                <a:spLocks noChangeAspect="1"/>
              </p:cNvSpPr>
              <p:nvPr/>
            </p:nvSpPr>
            <p:spPr bwMode="auto">
              <a:xfrm>
                <a:off x="2757427" y="5596605"/>
                <a:ext cx="22898" cy="37356"/>
              </a:xfrm>
              <a:custGeom>
                <a:avLst/>
                <a:gdLst>
                  <a:gd name="T0" fmla="*/ 12 w 12"/>
                  <a:gd name="T1" fmla="*/ 0 h 19"/>
                  <a:gd name="T2" fmla="*/ 14 w 12"/>
                  <a:gd name="T3" fmla="*/ 5 h 19"/>
                  <a:gd name="T4" fmla="*/ 11 w 12"/>
                  <a:gd name="T5" fmla="*/ 11 h 19"/>
                  <a:gd name="T6" fmla="*/ 11 w 12"/>
                  <a:gd name="T7" fmla="*/ 18 h 19"/>
                  <a:gd name="T8" fmla="*/ 11 w 12"/>
                  <a:gd name="T9" fmla="*/ 23 h 19"/>
                  <a:gd name="T10" fmla="*/ 4 w 12"/>
                  <a:gd name="T11" fmla="*/ 18 h 19"/>
                  <a:gd name="T12" fmla="*/ 2 w 12"/>
                  <a:gd name="T13" fmla="*/ 15 h 19"/>
                  <a:gd name="T14" fmla="*/ 1 w 12"/>
                  <a:gd name="T15" fmla="*/ 6 h 19"/>
                  <a:gd name="T16" fmla="*/ 8 w 12"/>
                  <a:gd name="T17" fmla="*/ 5 h 19"/>
                  <a:gd name="T18" fmla="*/ 12 w 12"/>
                  <a:gd name="T19" fmla="*/ 5 h 19"/>
                  <a:gd name="T20" fmla="*/ 12 w 12"/>
                  <a:gd name="T21" fmla="*/ 0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"/>
                  <a:gd name="T34" fmla="*/ 0 h 19"/>
                  <a:gd name="T35" fmla="*/ 12 w 12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" h="19">
                    <a:moveTo>
                      <a:pt x="10" y="0"/>
                    </a:moveTo>
                    <a:cubicBezTo>
                      <a:pt x="11" y="0"/>
                      <a:pt x="12" y="3"/>
                      <a:pt x="12" y="4"/>
                    </a:cubicBezTo>
                    <a:cubicBezTo>
                      <a:pt x="12" y="6"/>
                      <a:pt x="9" y="7"/>
                      <a:pt x="9" y="9"/>
                    </a:cubicBezTo>
                    <a:cubicBezTo>
                      <a:pt x="8" y="11"/>
                      <a:pt x="9" y="13"/>
                      <a:pt x="9" y="15"/>
                    </a:cubicBezTo>
                    <a:cubicBezTo>
                      <a:pt x="9" y="16"/>
                      <a:pt x="10" y="19"/>
                      <a:pt x="9" y="19"/>
                    </a:cubicBezTo>
                    <a:cubicBezTo>
                      <a:pt x="6" y="19"/>
                      <a:pt x="4" y="17"/>
                      <a:pt x="3" y="15"/>
                    </a:cubicBezTo>
                    <a:cubicBezTo>
                      <a:pt x="2" y="15"/>
                      <a:pt x="2" y="13"/>
                      <a:pt x="2" y="12"/>
                    </a:cubicBezTo>
                    <a:cubicBezTo>
                      <a:pt x="2" y="10"/>
                      <a:pt x="0" y="7"/>
                      <a:pt x="1" y="5"/>
                    </a:cubicBezTo>
                    <a:cubicBezTo>
                      <a:pt x="2" y="4"/>
                      <a:pt x="5" y="5"/>
                      <a:pt x="7" y="4"/>
                    </a:cubicBezTo>
                    <a:cubicBezTo>
                      <a:pt x="8" y="4"/>
                      <a:pt x="9" y="5"/>
                      <a:pt x="10" y="4"/>
                    </a:cubicBezTo>
                    <a:cubicBezTo>
                      <a:pt x="11" y="3"/>
                      <a:pt x="9" y="1"/>
                      <a:pt x="1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5" name="Freeform 3496"/>
              <p:cNvSpPr>
                <a:spLocks noChangeAspect="1"/>
              </p:cNvSpPr>
              <p:nvPr/>
            </p:nvSpPr>
            <p:spPr bwMode="auto">
              <a:xfrm>
                <a:off x="2736165" y="5580364"/>
                <a:ext cx="9814" cy="11369"/>
              </a:xfrm>
              <a:custGeom>
                <a:avLst/>
                <a:gdLst>
                  <a:gd name="T0" fmla="*/ 1 w 5"/>
                  <a:gd name="T1" fmla="*/ 2 h 6"/>
                  <a:gd name="T2" fmla="*/ 6 w 5"/>
                  <a:gd name="T3" fmla="*/ 7 h 6"/>
                  <a:gd name="T4" fmla="*/ 6 w 5"/>
                  <a:gd name="T5" fmla="*/ 5 h 6"/>
                  <a:gd name="T6" fmla="*/ 4 w 5"/>
                  <a:gd name="T7" fmla="*/ 0 h 6"/>
                  <a:gd name="T8" fmla="*/ 1 w 5"/>
                  <a:gd name="T9" fmla="*/ 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1" y="2"/>
                    </a:moveTo>
                    <a:cubicBezTo>
                      <a:pt x="1" y="4"/>
                      <a:pt x="3" y="5"/>
                      <a:pt x="5" y="6"/>
                    </a:cubicBezTo>
                    <a:cubicBezTo>
                      <a:pt x="5" y="6"/>
                      <a:pt x="5" y="5"/>
                      <a:pt x="5" y="4"/>
                    </a:cubicBezTo>
                    <a:cubicBezTo>
                      <a:pt x="5" y="3"/>
                      <a:pt x="4" y="1"/>
                      <a:pt x="3" y="0"/>
                    </a:cubicBezTo>
                    <a:cubicBezTo>
                      <a:pt x="2" y="0"/>
                      <a:pt x="0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6" name="Freeform 3497"/>
              <p:cNvSpPr>
                <a:spLocks noChangeAspect="1"/>
              </p:cNvSpPr>
              <p:nvPr/>
            </p:nvSpPr>
            <p:spPr bwMode="auto">
              <a:xfrm>
                <a:off x="2716538" y="5551129"/>
                <a:ext cx="13085" cy="17866"/>
              </a:xfrm>
              <a:custGeom>
                <a:avLst/>
                <a:gdLst>
                  <a:gd name="T0" fmla="*/ 1 w 7"/>
                  <a:gd name="T1" fmla="*/ 0 h 9"/>
                  <a:gd name="T2" fmla="*/ 7 w 7"/>
                  <a:gd name="T3" fmla="*/ 2 h 9"/>
                  <a:gd name="T4" fmla="*/ 8 w 7"/>
                  <a:gd name="T5" fmla="*/ 10 h 9"/>
                  <a:gd name="T6" fmla="*/ 3 w 7"/>
                  <a:gd name="T7" fmla="*/ 10 h 9"/>
                  <a:gd name="T8" fmla="*/ 1 w 7"/>
                  <a:gd name="T9" fmla="*/ 6 h 9"/>
                  <a:gd name="T10" fmla="*/ 1 w 7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9"/>
                  <a:gd name="T20" fmla="*/ 7 w 7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9">
                    <a:moveTo>
                      <a:pt x="1" y="0"/>
                    </a:moveTo>
                    <a:cubicBezTo>
                      <a:pt x="3" y="0"/>
                      <a:pt x="5" y="1"/>
                      <a:pt x="6" y="2"/>
                    </a:cubicBezTo>
                    <a:cubicBezTo>
                      <a:pt x="7" y="4"/>
                      <a:pt x="7" y="6"/>
                      <a:pt x="7" y="8"/>
                    </a:cubicBezTo>
                    <a:cubicBezTo>
                      <a:pt x="6" y="9"/>
                      <a:pt x="4" y="8"/>
                      <a:pt x="3" y="8"/>
                    </a:cubicBezTo>
                    <a:cubicBezTo>
                      <a:pt x="2" y="7"/>
                      <a:pt x="2" y="6"/>
                      <a:pt x="1" y="5"/>
                    </a:cubicBezTo>
                    <a:cubicBezTo>
                      <a:pt x="1" y="3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7" name="Freeform 3498"/>
              <p:cNvSpPr>
                <a:spLocks noChangeAspect="1"/>
              </p:cNvSpPr>
              <p:nvPr/>
            </p:nvSpPr>
            <p:spPr bwMode="auto">
              <a:xfrm>
                <a:off x="2696911" y="5482916"/>
                <a:ext cx="26169" cy="48724"/>
              </a:xfrm>
              <a:custGeom>
                <a:avLst/>
                <a:gdLst>
                  <a:gd name="T0" fmla="*/ 11 w 14"/>
                  <a:gd name="T1" fmla="*/ 1 h 25"/>
                  <a:gd name="T2" fmla="*/ 16 w 14"/>
                  <a:gd name="T3" fmla="*/ 26 h 25"/>
                  <a:gd name="T4" fmla="*/ 13 w 14"/>
                  <a:gd name="T5" fmla="*/ 30 h 25"/>
                  <a:gd name="T6" fmla="*/ 9 w 14"/>
                  <a:gd name="T7" fmla="*/ 26 h 25"/>
                  <a:gd name="T8" fmla="*/ 10 w 14"/>
                  <a:gd name="T9" fmla="*/ 18 h 25"/>
                  <a:gd name="T10" fmla="*/ 8 w 14"/>
                  <a:gd name="T11" fmla="*/ 18 h 25"/>
                  <a:gd name="T12" fmla="*/ 7 w 14"/>
                  <a:gd name="T13" fmla="*/ 23 h 25"/>
                  <a:gd name="T14" fmla="*/ 7 w 14"/>
                  <a:gd name="T15" fmla="*/ 25 h 25"/>
                  <a:gd name="T16" fmla="*/ 3 w 14"/>
                  <a:gd name="T17" fmla="*/ 19 h 25"/>
                  <a:gd name="T18" fmla="*/ 1 w 14"/>
                  <a:gd name="T19" fmla="*/ 12 h 25"/>
                  <a:gd name="T20" fmla="*/ 6 w 14"/>
                  <a:gd name="T21" fmla="*/ 13 h 25"/>
                  <a:gd name="T22" fmla="*/ 7 w 14"/>
                  <a:gd name="T23" fmla="*/ 16 h 25"/>
                  <a:gd name="T24" fmla="*/ 8 w 14"/>
                  <a:gd name="T25" fmla="*/ 8 h 25"/>
                  <a:gd name="T26" fmla="*/ 7 w 14"/>
                  <a:gd name="T27" fmla="*/ 2 h 25"/>
                  <a:gd name="T28" fmla="*/ 11 w 14"/>
                  <a:gd name="T29" fmla="*/ 1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"/>
                  <a:gd name="T46" fmla="*/ 0 h 25"/>
                  <a:gd name="T47" fmla="*/ 14 w 14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" h="25">
                    <a:moveTo>
                      <a:pt x="10" y="1"/>
                    </a:moveTo>
                    <a:cubicBezTo>
                      <a:pt x="12" y="8"/>
                      <a:pt x="13" y="15"/>
                      <a:pt x="14" y="22"/>
                    </a:cubicBezTo>
                    <a:cubicBezTo>
                      <a:pt x="14" y="23"/>
                      <a:pt x="12" y="25"/>
                      <a:pt x="11" y="25"/>
                    </a:cubicBezTo>
                    <a:cubicBezTo>
                      <a:pt x="9" y="25"/>
                      <a:pt x="8" y="23"/>
                      <a:pt x="8" y="22"/>
                    </a:cubicBezTo>
                    <a:cubicBezTo>
                      <a:pt x="8" y="20"/>
                      <a:pt x="10" y="18"/>
                      <a:pt x="9" y="15"/>
                    </a:cubicBezTo>
                    <a:cubicBezTo>
                      <a:pt x="9" y="15"/>
                      <a:pt x="8" y="14"/>
                      <a:pt x="7" y="15"/>
                    </a:cubicBezTo>
                    <a:cubicBezTo>
                      <a:pt x="6" y="16"/>
                      <a:pt x="6" y="17"/>
                      <a:pt x="6" y="19"/>
                    </a:cubicBezTo>
                    <a:cubicBezTo>
                      <a:pt x="6" y="20"/>
                      <a:pt x="7" y="22"/>
                      <a:pt x="6" y="21"/>
                    </a:cubicBezTo>
                    <a:cubicBezTo>
                      <a:pt x="4" y="20"/>
                      <a:pt x="3" y="18"/>
                      <a:pt x="3" y="16"/>
                    </a:cubicBezTo>
                    <a:cubicBezTo>
                      <a:pt x="2" y="15"/>
                      <a:pt x="0" y="12"/>
                      <a:pt x="1" y="10"/>
                    </a:cubicBezTo>
                    <a:cubicBezTo>
                      <a:pt x="1" y="9"/>
                      <a:pt x="4" y="11"/>
                      <a:pt x="5" y="11"/>
                    </a:cubicBezTo>
                    <a:cubicBezTo>
                      <a:pt x="5" y="12"/>
                      <a:pt x="6" y="13"/>
                      <a:pt x="6" y="13"/>
                    </a:cubicBezTo>
                    <a:cubicBezTo>
                      <a:pt x="7" y="11"/>
                      <a:pt x="7" y="9"/>
                      <a:pt x="7" y="7"/>
                    </a:cubicBezTo>
                    <a:cubicBezTo>
                      <a:pt x="7" y="6"/>
                      <a:pt x="5" y="4"/>
                      <a:pt x="6" y="2"/>
                    </a:cubicBezTo>
                    <a:cubicBezTo>
                      <a:pt x="6" y="1"/>
                      <a:pt x="9" y="0"/>
                      <a:pt x="1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8" name="Freeform 3499"/>
              <p:cNvSpPr>
                <a:spLocks noChangeAspect="1"/>
              </p:cNvSpPr>
              <p:nvPr/>
            </p:nvSpPr>
            <p:spPr bwMode="auto">
              <a:xfrm>
                <a:off x="2690368" y="5461803"/>
                <a:ext cx="9814" cy="25986"/>
              </a:xfrm>
              <a:custGeom>
                <a:avLst/>
                <a:gdLst>
                  <a:gd name="T0" fmla="*/ 2 w 5"/>
                  <a:gd name="T1" fmla="*/ 1 h 13"/>
                  <a:gd name="T2" fmla="*/ 0 w 5"/>
                  <a:gd name="T3" fmla="*/ 1 h 13"/>
                  <a:gd name="T4" fmla="*/ 2 w 5"/>
                  <a:gd name="T5" fmla="*/ 7 h 13"/>
                  <a:gd name="T6" fmla="*/ 2 w 5"/>
                  <a:gd name="T7" fmla="*/ 15 h 13"/>
                  <a:gd name="T8" fmla="*/ 5 w 5"/>
                  <a:gd name="T9" fmla="*/ 14 h 13"/>
                  <a:gd name="T10" fmla="*/ 6 w 5"/>
                  <a:gd name="T11" fmla="*/ 10 h 13"/>
                  <a:gd name="T12" fmla="*/ 2 w 5"/>
                  <a:gd name="T13" fmla="*/ 1 h 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3"/>
                  <a:gd name="T23" fmla="*/ 5 w 5"/>
                  <a:gd name="T24" fmla="*/ 13 h 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3">
                    <a:moveTo>
                      <a:pt x="2" y="1"/>
                    </a:moveTo>
                    <a:cubicBezTo>
                      <a:pt x="2" y="0"/>
                      <a:pt x="0" y="0"/>
                      <a:pt x="0" y="1"/>
                    </a:cubicBezTo>
                    <a:cubicBezTo>
                      <a:pt x="0" y="3"/>
                      <a:pt x="2" y="4"/>
                      <a:pt x="2" y="6"/>
                    </a:cubicBezTo>
                    <a:cubicBezTo>
                      <a:pt x="2" y="8"/>
                      <a:pt x="1" y="10"/>
                      <a:pt x="2" y="12"/>
                    </a:cubicBezTo>
                    <a:cubicBezTo>
                      <a:pt x="2" y="13"/>
                      <a:pt x="3" y="12"/>
                      <a:pt x="4" y="11"/>
                    </a:cubicBezTo>
                    <a:cubicBezTo>
                      <a:pt x="4" y="10"/>
                      <a:pt x="5" y="9"/>
                      <a:pt x="5" y="8"/>
                    </a:cubicBezTo>
                    <a:cubicBezTo>
                      <a:pt x="4" y="5"/>
                      <a:pt x="4" y="3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89" name="Freeform 3500"/>
              <p:cNvSpPr>
                <a:spLocks noChangeAspect="1"/>
              </p:cNvSpPr>
              <p:nvPr/>
            </p:nvSpPr>
            <p:spPr bwMode="auto">
              <a:xfrm>
                <a:off x="2703453" y="5469923"/>
                <a:ext cx="9814" cy="11369"/>
              </a:xfrm>
              <a:custGeom>
                <a:avLst/>
                <a:gdLst>
                  <a:gd name="T0" fmla="*/ 0 w 5"/>
                  <a:gd name="T1" fmla="*/ 4 h 6"/>
                  <a:gd name="T2" fmla="*/ 5 w 5"/>
                  <a:gd name="T3" fmla="*/ 7 h 6"/>
                  <a:gd name="T4" fmla="*/ 5 w 5"/>
                  <a:gd name="T5" fmla="*/ 4 h 6"/>
                  <a:gd name="T6" fmla="*/ 4 w 5"/>
                  <a:gd name="T7" fmla="*/ 0 h 6"/>
                  <a:gd name="T8" fmla="*/ 0 w 5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6"/>
                  <a:gd name="T17" fmla="*/ 5 w 5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6">
                    <a:moveTo>
                      <a:pt x="0" y="3"/>
                    </a:moveTo>
                    <a:cubicBezTo>
                      <a:pt x="1" y="4"/>
                      <a:pt x="3" y="6"/>
                      <a:pt x="4" y="6"/>
                    </a:cubicBezTo>
                    <a:cubicBezTo>
                      <a:pt x="5" y="6"/>
                      <a:pt x="4" y="4"/>
                      <a:pt x="4" y="3"/>
                    </a:cubicBezTo>
                    <a:cubicBezTo>
                      <a:pt x="4" y="2"/>
                      <a:pt x="4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0" name="Freeform 3501"/>
              <p:cNvSpPr>
                <a:spLocks noChangeAspect="1"/>
              </p:cNvSpPr>
              <p:nvPr/>
            </p:nvSpPr>
            <p:spPr bwMode="auto">
              <a:xfrm>
                <a:off x="2692003" y="5262034"/>
                <a:ext cx="24534" cy="55220"/>
              </a:xfrm>
              <a:custGeom>
                <a:avLst/>
                <a:gdLst>
                  <a:gd name="T0" fmla="*/ 6 w 12"/>
                  <a:gd name="T1" fmla="*/ 1 h 28"/>
                  <a:gd name="T2" fmla="*/ 3 w 12"/>
                  <a:gd name="T3" fmla="*/ 10 h 28"/>
                  <a:gd name="T4" fmla="*/ 5 w 12"/>
                  <a:gd name="T5" fmla="*/ 22 h 28"/>
                  <a:gd name="T6" fmla="*/ 1 w 12"/>
                  <a:gd name="T7" fmla="*/ 32 h 28"/>
                  <a:gd name="T8" fmla="*/ 11 w 12"/>
                  <a:gd name="T9" fmla="*/ 33 h 28"/>
                  <a:gd name="T10" fmla="*/ 13 w 12"/>
                  <a:gd name="T11" fmla="*/ 26 h 28"/>
                  <a:gd name="T12" fmla="*/ 11 w 12"/>
                  <a:gd name="T13" fmla="*/ 21 h 28"/>
                  <a:gd name="T14" fmla="*/ 14 w 12"/>
                  <a:gd name="T15" fmla="*/ 19 h 28"/>
                  <a:gd name="T16" fmla="*/ 10 w 12"/>
                  <a:gd name="T17" fmla="*/ 15 h 28"/>
                  <a:gd name="T18" fmla="*/ 13 w 12"/>
                  <a:gd name="T19" fmla="*/ 12 h 28"/>
                  <a:gd name="T20" fmla="*/ 15 w 12"/>
                  <a:gd name="T21" fmla="*/ 10 h 28"/>
                  <a:gd name="T22" fmla="*/ 11 w 12"/>
                  <a:gd name="T23" fmla="*/ 2 h 28"/>
                  <a:gd name="T24" fmla="*/ 6 w 12"/>
                  <a:gd name="T25" fmla="*/ 1 h 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2"/>
                  <a:gd name="T40" fmla="*/ 0 h 28"/>
                  <a:gd name="T41" fmla="*/ 12 w 12"/>
                  <a:gd name="T42" fmla="*/ 28 h 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2" h="28">
                    <a:moveTo>
                      <a:pt x="5" y="1"/>
                    </a:moveTo>
                    <a:cubicBezTo>
                      <a:pt x="3" y="3"/>
                      <a:pt x="3" y="6"/>
                      <a:pt x="2" y="8"/>
                    </a:cubicBezTo>
                    <a:cubicBezTo>
                      <a:pt x="2" y="11"/>
                      <a:pt x="4" y="14"/>
                      <a:pt x="4" y="18"/>
                    </a:cubicBezTo>
                    <a:cubicBezTo>
                      <a:pt x="4" y="21"/>
                      <a:pt x="0" y="23"/>
                      <a:pt x="1" y="26"/>
                    </a:cubicBezTo>
                    <a:cubicBezTo>
                      <a:pt x="2" y="28"/>
                      <a:pt x="6" y="28"/>
                      <a:pt x="9" y="27"/>
                    </a:cubicBezTo>
                    <a:cubicBezTo>
                      <a:pt x="10" y="26"/>
                      <a:pt x="10" y="23"/>
                      <a:pt x="10" y="21"/>
                    </a:cubicBezTo>
                    <a:cubicBezTo>
                      <a:pt x="11" y="20"/>
                      <a:pt x="9" y="18"/>
                      <a:pt x="9" y="17"/>
                    </a:cubicBezTo>
                    <a:cubicBezTo>
                      <a:pt x="10" y="16"/>
                      <a:pt x="11" y="16"/>
                      <a:pt x="11" y="16"/>
                    </a:cubicBezTo>
                    <a:cubicBezTo>
                      <a:pt x="11" y="14"/>
                      <a:pt x="9" y="14"/>
                      <a:pt x="8" y="12"/>
                    </a:cubicBezTo>
                    <a:cubicBezTo>
                      <a:pt x="8" y="11"/>
                      <a:pt x="9" y="10"/>
                      <a:pt x="10" y="10"/>
                    </a:cubicBezTo>
                    <a:cubicBezTo>
                      <a:pt x="10" y="9"/>
                      <a:pt x="12" y="9"/>
                      <a:pt x="12" y="8"/>
                    </a:cubicBezTo>
                    <a:cubicBezTo>
                      <a:pt x="12" y="6"/>
                      <a:pt x="11" y="4"/>
                      <a:pt x="9" y="2"/>
                    </a:cubicBezTo>
                    <a:cubicBezTo>
                      <a:pt x="8" y="1"/>
                      <a:pt x="6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1" name="Freeform 3502"/>
              <p:cNvSpPr>
                <a:spLocks noChangeAspect="1"/>
              </p:cNvSpPr>
              <p:nvPr/>
            </p:nvSpPr>
            <p:spPr bwMode="auto">
              <a:xfrm>
                <a:off x="2727986" y="5348113"/>
                <a:ext cx="13085" cy="16241"/>
              </a:xfrm>
              <a:custGeom>
                <a:avLst/>
                <a:gdLst>
                  <a:gd name="T0" fmla="*/ 2 w 7"/>
                  <a:gd name="T1" fmla="*/ 9 h 8"/>
                  <a:gd name="T2" fmla="*/ 6 w 7"/>
                  <a:gd name="T3" fmla="*/ 6 h 8"/>
                  <a:gd name="T4" fmla="*/ 7 w 7"/>
                  <a:gd name="T5" fmla="*/ 1 h 8"/>
                  <a:gd name="T6" fmla="*/ 2 w 7"/>
                  <a:gd name="T7" fmla="*/ 0 h 8"/>
                  <a:gd name="T8" fmla="*/ 0 w 7"/>
                  <a:gd name="T9" fmla="*/ 4 h 8"/>
                  <a:gd name="T10" fmla="*/ 1 w 7"/>
                  <a:gd name="T11" fmla="*/ 7 h 8"/>
                  <a:gd name="T12" fmla="*/ 2 w 7"/>
                  <a:gd name="T13" fmla="*/ 9 h 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8"/>
                  <a:gd name="T23" fmla="*/ 7 w 7"/>
                  <a:gd name="T24" fmla="*/ 8 h 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8">
                    <a:moveTo>
                      <a:pt x="2" y="7"/>
                    </a:moveTo>
                    <a:cubicBezTo>
                      <a:pt x="4" y="7"/>
                      <a:pt x="5" y="6"/>
                      <a:pt x="5" y="5"/>
                    </a:cubicBezTo>
                    <a:cubicBezTo>
                      <a:pt x="6" y="4"/>
                      <a:pt x="7" y="2"/>
                      <a:pt x="6" y="1"/>
                    </a:cubicBezTo>
                    <a:cubicBezTo>
                      <a:pt x="5" y="0"/>
                      <a:pt x="4" y="0"/>
                      <a:pt x="2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1" y="7"/>
                      <a:pt x="2" y="8"/>
                      <a:pt x="2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2" name="Freeform 3503"/>
              <p:cNvSpPr>
                <a:spLocks noChangeAspect="1"/>
              </p:cNvSpPr>
              <p:nvPr/>
            </p:nvSpPr>
            <p:spPr bwMode="auto">
              <a:xfrm>
                <a:off x="2726351" y="5375723"/>
                <a:ext cx="9814" cy="9745"/>
              </a:xfrm>
              <a:custGeom>
                <a:avLst/>
                <a:gdLst>
                  <a:gd name="T0" fmla="*/ 0 w 5"/>
                  <a:gd name="T1" fmla="*/ 1 h 5"/>
                  <a:gd name="T2" fmla="*/ 1 w 5"/>
                  <a:gd name="T3" fmla="*/ 5 h 5"/>
                  <a:gd name="T4" fmla="*/ 5 w 5"/>
                  <a:gd name="T5" fmla="*/ 4 h 5"/>
                  <a:gd name="T6" fmla="*/ 2 w 5"/>
                  <a:gd name="T7" fmla="*/ 1 h 5"/>
                  <a:gd name="T8" fmla="*/ 0 w 5"/>
                  <a:gd name="T9" fmla="*/ 1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5"/>
                  <a:gd name="T17" fmla="*/ 5 w 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5">
                    <a:moveTo>
                      <a:pt x="0" y="1"/>
                    </a:moveTo>
                    <a:cubicBezTo>
                      <a:pt x="0" y="2"/>
                      <a:pt x="0" y="4"/>
                      <a:pt x="1" y="4"/>
                    </a:cubicBezTo>
                    <a:cubicBezTo>
                      <a:pt x="2" y="5"/>
                      <a:pt x="4" y="4"/>
                      <a:pt x="4" y="3"/>
                    </a:cubicBezTo>
                    <a:cubicBezTo>
                      <a:pt x="5" y="2"/>
                      <a:pt x="3" y="1"/>
                      <a:pt x="2" y="1"/>
                    </a:cubicBezTo>
                    <a:cubicBezTo>
                      <a:pt x="2" y="1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3" name="Freeform 3504"/>
              <p:cNvSpPr>
                <a:spLocks noChangeAspect="1"/>
              </p:cNvSpPr>
              <p:nvPr/>
            </p:nvSpPr>
            <p:spPr bwMode="auto">
              <a:xfrm>
                <a:off x="2701817" y="5349737"/>
                <a:ext cx="11450" cy="9745"/>
              </a:xfrm>
              <a:custGeom>
                <a:avLst/>
                <a:gdLst>
                  <a:gd name="T0" fmla="*/ 1 w 6"/>
                  <a:gd name="T1" fmla="*/ 1 h 5"/>
                  <a:gd name="T2" fmla="*/ 6 w 6"/>
                  <a:gd name="T3" fmla="*/ 2 h 5"/>
                  <a:gd name="T4" fmla="*/ 1 w 6"/>
                  <a:gd name="T5" fmla="*/ 5 h 5"/>
                  <a:gd name="T6" fmla="*/ 1 w 6"/>
                  <a:gd name="T7" fmla="*/ 1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5"/>
                  <a:gd name="T14" fmla="*/ 6 w 6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5">
                    <a:moveTo>
                      <a:pt x="1" y="1"/>
                    </a:moveTo>
                    <a:cubicBezTo>
                      <a:pt x="2" y="0"/>
                      <a:pt x="5" y="1"/>
                      <a:pt x="5" y="2"/>
                    </a:cubicBezTo>
                    <a:cubicBezTo>
                      <a:pt x="6" y="4"/>
                      <a:pt x="3" y="5"/>
                      <a:pt x="1" y="4"/>
                    </a:cubicBezTo>
                    <a:cubicBezTo>
                      <a:pt x="0" y="4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4" name="Freeform 3505"/>
              <p:cNvSpPr>
                <a:spLocks noChangeAspect="1"/>
              </p:cNvSpPr>
              <p:nvPr/>
            </p:nvSpPr>
            <p:spPr bwMode="auto">
              <a:xfrm>
                <a:off x="2181700" y="4026071"/>
                <a:ext cx="19627" cy="37356"/>
              </a:xfrm>
              <a:custGeom>
                <a:avLst/>
                <a:gdLst>
                  <a:gd name="T0" fmla="*/ 0 w 10"/>
                  <a:gd name="T1" fmla="*/ 2 h 19"/>
                  <a:gd name="T2" fmla="*/ 2 w 10"/>
                  <a:gd name="T3" fmla="*/ 0 h 19"/>
                  <a:gd name="T4" fmla="*/ 11 w 10"/>
                  <a:gd name="T5" fmla="*/ 11 h 19"/>
                  <a:gd name="T6" fmla="*/ 12 w 10"/>
                  <a:gd name="T7" fmla="*/ 17 h 19"/>
                  <a:gd name="T8" fmla="*/ 8 w 10"/>
                  <a:gd name="T9" fmla="*/ 22 h 19"/>
                  <a:gd name="T10" fmla="*/ 4 w 10"/>
                  <a:gd name="T11" fmla="*/ 19 h 19"/>
                  <a:gd name="T12" fmla="*/ 2 w 10"/>
                  <a:gd name="T13" fmla="*/ 17 h 19"/>
                  <a:gd name="T14" fmla="*/ 6 w 10"/>
                  <a:gd name="T15" fmla="*/ 13 h 19"/>
                  <a:gd name="T16" fmla="*/ 4 w 10"/>
                  <a:gd name="T17" fmla="*/ 7 h 19"/>
                  <a:gd name="T18" fmla="*/ 0 w 10"/>
                  <a:gd name="T19" fmla="*/ 2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0"/>
                  <a:gd name="T31" fmla="*/ 0 h 19"/>
                  <a:gd name="T32" fmla="*/ 10 w 10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0" h="19"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5" y="3"/>
                      <a:pt x="7" y="6"/>
                      <a:pt x="9" y="9"/>
                    </a:cubicBezTo>
                    <a:cubicBezTo>
                      <a:pt x="10" y="11"/>
                      <a:pt x="10" y="12"/>
                      <a:pt x="10" y="14"/>
                    </a:cubicBezTo>
                    <a:cubicBezTo>
                      <a:pt x="10" y="15"/>
                      <a:pt x="9" y="17"/>
                      <a:pt x="7" y="18"/>
                    </a:cubicBezTo>
                    <a:cubicBezTo>
                      <a:pt x="6" y="19"/>
                      <a:pt x="4" y="18"/>
                      <a:pt x="3" y="16"/>
                    </a:cubicBezTo>
                    <a:cubicBezTo>
                      <a:pt x="2" y="16"/>
                      <a:pt x="2" y="15"/>
                      <a:pt x="2" y="14"/>
                    </a:cubicBezTo>
                    <a:cubicBezTo>
                      <a:pt x="3" y="13"/>
                      <a:pt x="5" y="12"/>
                      <a:pt x="5" y="11"/>
                    </a:cubicBezTo>
                    <a:cubicBezTo>
                      <a:pt x="5" y="9"/>
                      <a:pt x="4" y="8"/>
                      <a:pt x="3" y="6"/>
                    </a:cubicBezTo>
                    <a:cubicBezTo>
                      <a:pt x="2" y="5"/>
                      <a:pt x="0" y="4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5" name="Freeform 3506"/>
              <p:cNvSpPr>
                <a:spLocks noChangeAspect="1"/>
              </p:cNvSpPr>
              <p:nvPr/>
            </p:nvSpPr>
            <p:spPr bwMode="auto">
              <a:xfrm>
                <a:off x="3172866" y="4048808"/>
                <a:ext cx="14721" cy="22738"/>
              </a:xfrm>
              <a:custGeom>
                <a:avLst/>
                <a:gdLst>
                  <a:gd name="T0" fmla="*/ 0 w 7"/>
                  <a:gd name="T1" fmla="*/ 14 h 12"/>
                  <a:gd name="T2" fmla="*/ 1 w 7"/>
                  <a:gd name="T3" fmla="*/ 14 h 12"/>
                  <a:gd name="T4" fmla="*/ 6 w 7"/>
                  <a:gd name="T5" fmla="*/ 8 h 12"/>
                  <a:gd name="T6" fmla="*/ 9 w 7"/>
                  <a:gd name="T7" fmla="*/ 1 h 12"/>
                  <a:gd name="T8" fmla="*/ 5 w 7"/>
                  <a:gd name="T9" fmla="*/ 4 h 12"/>
                  <a:gd name="T10" fmla="*/ 4 w 7"/>
                  <a:gd name="T11" fmla="*/ 9 h 12"/>
                  <a:gd name="T12" fmla="*/ 0 w 7"/>
                  <a:gd name="T13" fmla="*/ 14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0" y="12"/>
                    </a:moveTo>
                    <a:cubicBezTo>
                      <a:pt x="0" y="12"/>
                      <a:pt x="1" y="12"/>
                      <a:pt x="1" y="12"/>
                    </a:cubicBezTo>
                    <a:cubicBezTo>
                      <a:pt x="3" y="11"/>
                      <a:pt x="4" y="9"/>
                      <a:pt x="5" y="7"/>
                    </a:cubicBezTo>
                    <a:cubicBezTo>
                      <a:pt x="6" y="5"/>
                      <a:pt x="7" y="3"/>
                      <a:pt x="7" y="1"/>
                    </a:cubicBezTo>
                    <a:cubicBezTo>
                      <a:pt x="7" y="0"/>
                      <a:pt x="5" y="2"/>
                      <a:pt x="4" y="3"/>
                    </a:cubicBezTo>
                    <a:cubicBezTo>
                      <a:pt x="3" y="5"/>
                      <a:pt x="3" y="6"/>
                      <a:pt x="3" y="8"/>
                    </a:cubicBezTo>
                    <a:cubicBezTo>
                      <a:pt x="2" y="9"/>
                      <a:pt x="0" y="10"/>
                      <a:pt x="0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6" name="Freeform 3507"/>
              <p:cNvSpPr>
                <a:spLocks noChangeAspect="1"/>
              </p:cNvSpPr>
              <p:nvPr/>
            </p:nvSpPr>
            <p:spPr bwMode="auto">
              <a:xfrm>
                <a:off x="3208849" y="4022822"/>
                <a:ext cx="16356" cy="9745"/>
              </a:xfrm>
              <a:custGeom>
                <a:avLst/>
                <a:gdLst>
                  <a:gd name="T0" fmla="*/ 1 w 8"/>
                  <a:gd name="T1" fmla="*/ 1 h 5"/>
                  <a:gd name="T2" fmla="*/ 1 w 8"/>
                  <a:gd name="T3" fmla="*/ 5 h 5"/>
                  <a:gd name="T4" fmla="*/ 7 w 8"/>
                  <a:gd name="T5" fmla="*/ 5 h 5"/>
                  <a:gd name="T6" fmla="*/ 10 w 8"/>
                  <a:gd name="T7" fmla="*/ 1 h 5"/>
                  <a:gd name="T8" fmla="*/ 6 w 8"/>
                  <a:gd name="T9" fmla="*/ 1 h 5"/>
                  <a:gd name="T10" fmla="*/ 1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1" y="1"/>
                    </a:moveTo>
                    <a:cubicBezTo>
                      <a:pt x="0" y="2"/>
                      <a:pt x="0" y="4"/>
                      <a:pt x="1" y="4"/>
                    </a:cubicBezTo>
                    <a:cubicBezTo>
                      <a:pt x="2" y="5"/>
                      <a:pt x="4" y="5"/>
                      <a:pt x="6" y="4"/>
                    </a:cubicBezTo>
                    <a:cubicBezTo>
                      <a:pt x="7" y="4"/>
                      <a:pt x="8" y="2"/>
                      <a:pt x="8" y="1"/>
                    </a:cubicBezTo>
                    <a:cubicBezTo>
                      <a:pt x="7" y="0"/>
                      <a:pt x="6" y="1"/>
                      <a:pt x="5" y="1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7" name="Freeform 3508"/>
              <p:cNvSpPr>
                <a:spLocks noChangeAspect="1"/>
              </p:cNvSpPr>
              <p:nvPr/>
            </p:nvSpPr>
            <p:spPr bwMode="auto">
              <a:xfrm>
                <a:off x="3200672" y="4024446"/>
                <a:ext cx="8178" cy="9745"/>
              </a:xfrm>
              <a:custGeom>
                <a:avLst/>
                <a:gdLst>
                  <a:gd name="T0" fmla="*/ 0 w 4"/>
                  <a:gd name="T1" fmla="*/ 2 h 5"/>
                  <a:gd name="T2" fmla="*/ 3 w 4"/>
                  <a:gd name="T3" fmla="*/ 5 h 5"/>
                  <a:gd name="T4" fmla="*/ 4 w 4"/>
                  <a:gd name="T5" fmla="*/ 0 h 5"/>
                  <a:gd name="T6" fmla="*/ 0 w 4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0" y="2"/>
                    </a:moveTo>
                    <a:cubicBezTo>
                      <a:pt x="0" y="3"/>
                      <a:pt x="1" y="5"/>
                      <a:pt x="2" y="4"/>
                    </a:cubicBezTo>
                    <a:cubicBezTo>
                      <a:pt x="3" y="4"/>
                      <a:pt x="4" y="1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8" name="Freeform 3509"/>
              <p:cNvSpPr>
                <a:spLocks noChangeAspect="1"/>
              </p:cNvSpPr>
              <p:nvPr/>
            </p:nvSpPr>
            <p:spPr bwMode="auto">
              <a:xfrm>
                <a:off x="2858833" y="3722357"/>
                <a:ext cx="19627" cy="9745"/>
              </a:xfrm>
              <a:custGeom>
                <a:avLst/>
                <a:gdLst>
                  <a:gd name="T0" fmla="*/ 4 w 10"/>
                  <a:gd name="T1" fmla="*/ 1 h 5"/>
                  <a:gd name="T2" fmla="*/ 1 w 10"/>
                  <a:gd name="T3" fmla="*/ 5 h 5"/>
                  <a:gd name="T4" fmla="*/ 10 w 10"/>
                  <a:gd name="T5" fmla="*/ 5 h 5"/>
                  <a:gd name="T6" fmla="*/ 11 w 10"/>
                  <a:gd name="T7" fmla="*/ 1 h 5"/>
                  <a:gd name="T8" fmla="*/ 6 w 10"/>
                  <a:gd name="T9" fmla="*/ 1 h 5"/>
                  <a:gd name="T10" fmla="*/ 4 w 10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5"/>
                  <a:gd name="T20" fmla="*/ 10 w 10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5">
                    <a:moveTo>
                      <a:pt x="3" y="1"/>
                    </a:moveTo>
                    <a:cubicBezTo>
                      <a:pt x="2" y="1"/>
                      <a:pt x="0" y="3"/>
                      <a:pt x="1" y="4"/>
                    </a:cubicBezTo>
                    <a:cubicBezTo>
                      <a:pt x="3" y="5"/>
                      <a:pt x="6" y="5"/>
                      <a:pt x="8" y="4"/>
                    </a:cubicBezTo>
                    <a:cubicBezTo>
                      <a:pt x="9" y="4"/>
                      <a:pt x="10" y="2"/>
                      <a:pt x="9" y="1"/>
                    </a:cubicBezTo>
                    <a:cubicBezTo>
                      <a:pt x="8" y="0"/>
                      <a:pt x="7" y="1"/>
                      <a:pt x="5" y="1"/>
                    </a:cubicBezTo>
                    <a:cubicBezTo>
                      <a:pt x="4" y="1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199" name="Freeform 3510"/>
              <p:cNvSpPr>
                <a:spLocks noChangeAspect="1"/>
              </p:cNvSpPr>
              <p:nvPr/>
            </p:nvSpPr>
            <p:spPr bwMode="auto">
              <a:xfrm>
                <a:off x="2924257" y="3732102"/>
                <a:ext cx="21263" cy="21114"/>
              </a:xfrm>
              <a:custGeom>
                <a:avLst/>
                <a:gdLst>
                  <a:gd name="T0" fmla="*/ 6 w 11"/>
                  <a:gd name="T1" fmla="*/ 1 h 11"/>
                  <a:gd name="T2" fmla="*/ 5 w 11"/>
                  <a:gd name="T3" fmla="*/ 5 h 11"/>
                  <a:gd name="T4" fmla="*/ 6 w 11"/>
                  <a:gd name="T5" fmla="*/ 8 h 11"/>
                  <a:gd name="T6" fmla="*/ 0 w 11"/>
                  <a:gd name="T7" fmla="*/ 11 h 11"/>
                  <a:gd name="T8" fmla="*/ 1 w 11"/>
                  <a:gd name="T9" fmla="*/ 12 h 11"/>
                  <a:gd name="T10" fmla="*/ 11 w 11"/>
                  <a:gd name="T11" fmla="*/ 11 h 11"/>
                  <a:gd name="T12" fmla="*/ 13 w 11"/>
                  <a:gd name="T13" fmla="*/ 9 h 11"/>
                  <a:gd name="T14" fmla="*/ 13 w 11"/>
                  <a:gd name="T15" fmla="*/ 2 h 11"/>
                  <a:gd name="T16" fmla="*/ 13 w 11"/>
                  <a:gd name="T17" fmla="*/ 0 h 11"/>
                  <a:gd name="T18" fmla="*/ 6 w 11"/>
                  <a:gd name="T19" fmla="*/ 1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1"/>
                  <a:gd name="T31" fmla="*/ 0 h 11"/>
                  <a:gd name="T32" fmla="*/ 11 w 11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1" h="11">
                    <a:moveTo>
                      <a:pt x="5" y="1"/>
                    </a:moveTo>
                    <a:cubicBezTo>
                      <a:pt x="4" y="1"/>
                      <a:pt x="4" y="3"/>
                      <a:pt x="4" y="4"/>
                    </a:cubicBezTo>
                    <a:cubicBezTo>
                      <a:pt x="5" y="5"/>
                      <a:pt x="6" y="7"/>
                      <a:pt x="5" y="7"/>
                    </a:cubicBezTo>
                    <a:cubicBezTo>
                      <a:pt x="4" y="9"/>
                      <a:pt x="2" y="8"/>
                      <a:pt x="0" y="9"/>
                    </a:cubicBezTo>
                    <a:cubicBezTo>
                      <a:pt x="0" y="9"/>
                      <a:pt x="0" y="10"/>
                      <a:pt x="1" y="10"/>
                    </a:cubicBezTo>
                    <a:cubicBezTo>
                      <a:pt x="3" y="11"/>
                      <a:pt x="6" y="10"/>
                      <a:pt x="9" y="9"/>
                    </a:cubicBezTo>
                    <a:cubicBezTo>
                      <a:pt x="9" y="9"/>
                      <a:pt x="11" y="9"/>
                      <a:pt x="11" y="8"/>
                    </a:cubicBezTo>
                    <a:cubicBezTo>
                      <a:pt x="11" y="6"/>
                      <a:pt x="11" y="4"/>
                      <a:pt x="11" y="2"/>
                    </a:cubicBezTo>
                    <a:cubicBezTo>
                      <a:pt x="11" y="2"/>
                      <a:pt x="11" y="1"/>
                      <a:pt x="11" y="0"/>
                    </a:cubicBezTo>
                    <a:cubicBezTo>
                      <a:pt x="9" y="0"/>
                      <a:pt x="6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0" name="Freeform 3511"/>
              <p:cNvSpPr>
                <a:spLocks noChangeAspect="1"/>
              </p:cNvSpPr>
              <p:nvPr/>
            </p:nvSpPr>
            <p:spPr bwMode="auto">
              <a:xfrm>
                <a:off x="2799952" y="3504724"/>
                <a:ext cx="47433" cy="17866"/>
              </a:xfrm>
              <a:custGeom>
                <a:avLst/>
                <a:gdLst>
                  <a:gd name="T0" fmla="*/ 1 w 24"/>
                  <a:gd name="T1" fmla="*/ 1 h 9"/>
                  <a:gd name="T2" fmla="*/ 0 w 24"/>
                  <a:gd name="T3" fmla="*/ 5 h 9"/>
                  <a:gd name="T4" fmla="*/ 2 w 24"/>
                  <a:gd name="T5" fmla="*/ 10 h 9"/>
                  <a:gd name="T6" fmla="*/ 12 w 24"/>
                  <a:gd name="T7" fmla="*/ 10 h 9"/>
                  <a:gd name="T8" fmla="*/ 22 w 24"/>
                  <a:gd name="T9" fmla="*/ 10 h 9"/>
                  <a:gd name="T10" fmla="*/ 28 w 24"/>
                  <a:gd name="T11" fmla="*/ 4 h 9"/>
                  <a:gd name="T12" fmla="*/ 19 w 24"/>
                  <a:gd name="T13" fmla="*/ 2 h 9"/>
                  <a:gd name="T14" fmla="*/ 8 w 24"/>
                  <a:gd name="T15" fmla="*/ 1 h 9"/>
                  <a:gd name="T16" fmla="*/ 1 w 24"/>
                  <a:gd name="T17" fmla="*/ 1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4"/>
                  <a:gd name="T28" fmla="*/ 0 h 9"/>
                  <a:gd name="T29" fmla="*/ 24 w 24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4" h="9">
                    <a:moveTo>
                      <a:pt x="1" y="1"/>
                    </a:moveTo>
                    <a:cubicBezTo>
                      <a:pt x="0" y="1"/>
                      <a:pt x="0" y="3"/>
                      <a:pt x="0" y="4"/>
                    </a:cubicBezTo>
                    <a:cubicBezTo>
                      <a:pt x="0" y="6"/>
                      <a:pt x="1" y="8"/>
                      <a:pt x="2" y="8"/>
                    </a:cubicBezTo>
                    <a:cubicBezTo>
                      <a:pt x="5" y="9"/>
                      <a:pt x="7" y="8"/>
                      <a:pt x="10" y="8"/>
                    </a:cubicBezTo>
                    <a:cubicBezTo>
                      <a:pt x="13" y="8"/>
                      <a:pt x="16" y="9"/>
                      <a:pt x="18" y="8"/>
                    </a:cubicBezTo>
                    <a:cubicBezTo>
                      <a:pt x="20" y="7"/>
                      <a:pt x="24" y="5"/>
                      <a:pt x="23" y="3"/>
                    </a:cubicBezTo>
                    <a:cubicBezTo>
                      <a:pt x="22" y="1"/>
                      <a:pt x="18" y="2"/>
                      <a:pt x="16" y="2"/>
                    </a:cubicBezTo>
                    <a:cubicBezTo>
                      <a:pt x="13" y="1"/>
                      <a:pt x="10" y="1"/>
                      <a:pt x="7" y="1"/>
                    </a:cubicBezTo>
                    <a:cubicBezTo>
                      <a:pt x="5" y="0"/>
                      <a:pt x="3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1" name="Freeform 3512"/>
              <p:cNvSpPr>
                <a:spLocks noChangeAspect="1"/>
              </p:cNvSpPr>
              <p:nvPr/>
            </p:nvSpPr>
            <p:spPr bwMode="auto">
              <a:xfrm>
                <a:off x="2641301" y="3430014"/>
                <a:ext cx="21263" cy="14618"/>
              </a:xfrm>
              <a:custGeom>
                <a:avLst/>
                <a:gdLst>
                  <a:gd name="T0" fmla="*/ 8 w 11"/>
                  <a:gd name="T1" fmla="*/ 4 h 7"/>
                  <a:gd name="T2" fmla="*/ 12 w 11"/>
                  <a:gd name="T3" fmla="*/ 0 h 7"/>
                  <a:gd name="T4" fmla="*/ 12 w 11"/>
                  <a:gd name="T5" fmla="*/ 4 h 7"/>
                  <a:gd name="T6" fmla="*/ 9 w 11"/>
                  <a:gd name="T7" fmla="*/ 8 h 7"/>
                  <a:gd name="T8" fmla="*/ 2 w 11"/>
                  <a:gd name="T9" fmla="*/ 8 h 7"/>
                  <a:gd name="T10" fmla="*/ 0 w 11"/>
                  <a:gd name="T11" fmla="*/ 6 h 7"/>
                  <a:gd name="T12" fmla="*/ 4 w 11"/>
                  <a:gd name="T13" fmla="*/ 3 h 7"/>
                  <a:gd name="T14" fmla="*/ 8 w 11"/>
                  <a:gd name="T15" fmla="*/ 4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7"/>
                  <a:gd name="T26" fmla="*/ 11 w 11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7">
                    <a:moveTo>
                      <a:pt x="7" y="3"/>
                    </a:moveTo>
                    <a:cubicBezTo>
                      <a:pt x="8" y="2"/>
                      <a:pt x="9" y="0"/>
                      <a:pt x="10" y="0"/>
                    </a:cubicBezTo>
                    <a:cubicBezTo>
                      <a:pt x="11" y="0"/>
                      <a:pt x="10" y="2"/>
                      <a:pt x="10" y="3"/>
                    </a:cubicBezTo>
                    <a:cubicBezTo>
                      <a:pt x="9" y="4"/>
                      <a:pt x="9" y="6"/>
                      <a:pt x="8" y="6"/>
                    </a:cubicBezTo>
                    <a:cubicBezTo>
                      <a:pt x="6" y="7"/>
                      <a:pt x="4" y="7"/>
                      <a:pt x="2" y="6"/>
                    </a:cubicBezTo>
                    <a:cubicBezTo>
                      <a:pt x="1" y="6"/>
                      <a:pt x="0" y="5"/>
                      <a:pt x="0" y="5"/>
                    </a:cubicBezTo>
                    <a:cubicBezTo>
                      <a:pt x="1" y="3"/>
                      <a:pt x="2" y="2"/>
                      <a:pt x="3" y="2"/>
                    </a:cubicBezTo>
                    <a:cubicBezTo>
                      <a:pt x="5" y="2"/>
                      <a:pt x="6" y="3"/>
                      <a:pt x="7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2" name="Freeform 3513"/>
              <p:cNvSpPr>
                <a:spLocks noChangeAspect="1"/>
              </p:cNvSpPr>
              <p:nvPr/>
            </p:nvSpPr>
            <p:spPr bwMode="auto">
              <a:xfrm>
                <a:off x="2618402" y="3468993"/>
                <a:ext cx="75237" cy="50349"/>
              </a:xfrm>
              <a:custGeom>
                <a:avLst/>
                <a:gdLst>
                  <a:gd name="T0" fmla="*/ 44 w 39"/>
                  <a:gd name="T1" fmla="*/ 31 h 26"/>
                  <a:gd name="T2" fmla="*/ 45 w 39"/>
                  <a:gd name="T3" fmla="*/ 29 h 26"/>
                  <a:gd name="T4" fmla="*/ 39 w 39"/>
                  <a:gd name="T5" fmla="*/ 23 h 26"/>
                  <a:gd name="T6" fmla="*/ 44 w 39"/>
                  <a:gd name="T7" fmla="*/ 18 h 26"/>
                  <a:gd name="T8" fmla="*/ 42 w 39"/>
                  <a:gd name="T9" fmla="*/ 14 h 26"/>
                  <a:gd name="T10" fmla="*/ 45 w 39"/>
                  <a:gd name="T11" fmla="*/ 11 h 26"/>
                  <a:gd name="T12" fmla="*/ 44 w 39"/>
                  <a:gd name="T13" fmla="*/ 2 h 26"/>
                  <a:gd name="T14" fmla="*/ 37 w 39"/>
                  <a:gd name="T15" fmla="*/ 4 h 26"/>
                  <a:gd name="T16" fmla="*/ 32 w 39"/>
                  <a:gd name="T17" fmla="*/ 1 h 26"/>
                  <a:gd name="T18" fmla="*/ 21 w 39"/>
                  <a:gd name="T19" fmla="*/ 1 h 26"/>
                  <a:gd name="T20" fmla="*/ 18 w 39"/>
                  <a:gd name="T21" fmla="*/ 6 h 26"/>
                  <a:gd name="T22" fmla="*/ 19 w 39"/>
                  <a:gd name="T23" fmla="*/ 8 h 26"/>
                  <a:gd name="T24" fmla="*/ 26 w 39"/>
                  <a:gd name="T25" fmla="*/ 8 h 26"/>
                  <a:gd name="T26" fmla="*/ 27 w 39"/>
                  <a:gd name="T27" fmla="*/ 17 h 26"/>
                  <a:gd name="T28" fmla="*/ 34 w 39"/>
                  <a:gd name="T29" fmla="*/ 23 h 26"/>
                  <a:gd name="T30" fmla="*/ 28 w 39"/>
                  <a:gd name="T31" fmla="*/ 23 h 26"/>
                  <a:gd name="T32" fmla="*/ 11 w 39"/>
                  <a:gd name="T33" fmla="*/ 21 h 26"/>
                  <a:gd name="T34" fmla="*/ 5 w 39"/>
                  <a:gd name="T35" fmla="*/ 20 h 26"/>
                  <a:gd name="T36" fmla="*/ 0 w 39"/>
                  <a:gd name="T37" fmla="*/ 24 h 26"/>
                  <a:gd name="T38" fmla="*/ 5 w 39"/>
                  <a:gd name="T39" fmla="*/ 27 h 26"/>
                  <a:gd name="T40" fmla="*/ 12 w 39"/>
                  <a:gd name="T41" fmla="*/ 30 h 26"/>
                  <a:gd name="T42" fmla="*/ 22 w 39"/>
                  <a:gd name="T43" fmla="*/ 27 h 26"/>
                  <a:gd name="T44" fmla="*/ 29 w 39"/>
                  <a:gd name="T45" fmla="*/ 29 h 26"/>
                  <a:gd name="T46" fmla="*/ 37 w 39"/>
                  <a:gd name="T47" fmla="*/ 27 h 26"/>
                  <a:gd name="T48" fmla="*/ 44 w 39"/>
                  <a:gd name="T49" fmla="*/ 31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9"/>
                  <a:gd name="T76" fmla="*/ 0 h 26"/>
                  <a:gd name="T77" fmla="*/ 39 w 39"/>
                  <a:gd name="T78" fmla="*/ 26 h 2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9" h="26">
                    <a:moveTo>
                      <a:pt x="37" y="26"/>
                    </a:moveTo>
                    <a:cubicBezTo>
                      <a:pt x="37" y="26"/>
                      <a:pt x="38" y="25"/>
                      <a:pt x="38" y="24"/>
                    </a:cubicBezTo>
                    <a:cubicBezTo>
                      <a:pt x="37" y="22"/>
                      <a:pt x="34" y="21"/>
                      <a:pt x="33" y="19"/>
                    </a:cubicBezTo>
                    <a:cubicBezTo>
                      <a:pt x="33" y="18"/>
                      <a:pt x="36" y="17"/>
                      <a:pt x="37" y="15"/>
                    </a:cubicBezTo>
                    <a:cubicBezTo>
                      <a:pt x="37" y="14"/>
                      <a:pt x="36" y="13"/>
                      <a:pt x="36" y="12"/>
                    </a:cubicBezTo>
                    <a:cubicBezTo>
                      <a:pt x="37" y="11"/>
                      <a:pt x="38" y="11"/>
                      <a:pt x="38" y="9"/>
                    </a:cubicBezTo>
                    <a:cubicBezTo>
                      <a:pt x="39" y="7"/>
                      <a:pt x="38" y="5"/>
                      <a:pt x="37" y="2"/>
                    </a:cubicBezTo>
                    <a:cubicBezTo>
                      <a:pt x="35" y="3"/>
                      <a:pt x="33" y="4"/>
                      <a:pt x="31" y="3"/>
                    </a:cubicBezTo>
                    <a:cubicBezTo>
                      <a:pt x="30" y="3"/>
                      <a:pt x="29" y="1"/>
                      <a:pt x="27" y="1"/>
                    </a:cubicBezTo>
                    <a:cubicBezTo>
                      <a:pt x="24" y="0"/>
                      <a:pt x="21" y="0"/>
                      <a:pt x="18" y="1"/>
                    </a:cubicBezTo>
                    <a:cubicBezTo>
                      <a:pt x="17" y="2"/>
                      <a:pt x="15" y="4"/>
                      <a:pt x="15" y="5"/>
                    </a:cubicBezTo>
                    <a:cubicBezTo>
                      <a:pt x="14" y="6"/>
                      <a:pt x="16" y="7"/>
                      <a:pt x="16" y="7"/>
                    </a:cubicBezTo>
                    <a:cubicBezTo>
                      <a:pt x="18" y="7"/>
                      <a:pt x="20" y="6"/>
                      <a:pt x="22" y="7"/>
                    </a:cubicBezTo>
                    <a:cubicBezTo>
                      <a:pt x="23" y="9"/>
                      <a:pt x="22" y="12"/>
                      <a:pt x="23" y="14"/>
                    </a:cubicBezTo>
                    <a:cubicBezTo>
                      <a:pt x="25" y="16"/>
                      <a:pt x="29" y="16"/>
                      <a:pt x="29" y="19"/>
                    </a:cubicBezTo>
                    <a:cubicBezTo>
                      <a:pt x="29" y="20"/>
                      <a:pt x="25" y="19"/>
                      <a:pt x="24" y="19"/>
                    </a:cubicBezTo>
                    <a:cubicBezTo>
                      <a:pt x="19" y="19"/>
                      <a:pt x="14" y="19"/>
                      <a:pt x="9" y="18"/>
                    </a:cubicBezTo>
                    <a:cubicBezTo>
                      <a:pt x="7" y="18"/>
                      <a:pt x="6" y="16"/>
                      <a:pt x="4" y="17"/>
                    </a:cubicBezTo>
                    <a:cubicBezTo>
                      <a:pt x="2" y="17"/>
                      <a:pt x="0" y="19"/>
                      <a:pt x="0" y="20"/>
                    </a:cubicBezTo>
                    <a:cubicBezTo>
                      <a:pt x="0" y="22"/>
                      <a:pt x="3" y="23"/>
                      <a:pt x="4" y="23"/>
                    </a:cubicBezTo>
                    <a:cubicBezTo>
                      <a:pt x="6" y="24"/>
                      <a:pt x="8" y="25"/>
                      <a:pt x="10" y="25"/>
                    </a:cubicBezTo>
                    <a:cubicBezTo>
                      <a:pt x="13" y="25"/>
                      <a:pt x="16" y="24"/>
                      <a:pt x="19" y="23"/>
                    </a:cubicBezTo>
                    <a:cubicBezTo>
                      <a:pt x="21" y="23"/>
                      <a:pt x="23" y="24"/>
                      <a:pt x="25" y="24"/>
                    </a:cubicBezTo>
                    <a:cubicBezTo>
                      <a:pt x="27" y="24"/>
                      <a:pt x="29" y="22"/>
                      <a:pt x="31" y="23"/>
                    </a:cubicBezTo>
                    <a:cubicBezTo>
                      <a:pt x="33" y="24"/>
                      <a:pt x="34" y="25"/>
                      <a:pt x="37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3" name="Freeform 3514"/>
              <p:cNvSpPr>
                <a:spLocks noChangeAspect="1"/>
              </p:cNvSpPr>
              <p:nvPr/>
            </p:nvSpPr>
            <p:spPr bwMode="auto">
              <a:xfrm>
                <a:off x="2520267" y="3507972"/>
                <a:ext cx="55610" cy="24362"/>
              </a:xfrm>
              <a:custGeom>
                <a:avLst/>
                <a:gdLst>
                  <a:gd name="T0" fmla="*/ 22 w 29"/>
                  <a:gd name="T1" fmla="*/ 1 h 12"/>
                  <a:gd name="T2" fmla="*/ 33 w 29"/>
                  <a:gd name="T3" fmla="*/ 9 h 12"/>
                  <a:gd name="T4" fmla="*/ 33 w 29"/>
                  <a:gd name="T5" fmla="*/ 13 h 12"/>
                  <a:gd name="T6" fmla="*/ 23 w 29"/>
                  <a:gd name="T7" fmla="*/ 11 h 12"/>
                  <a:gd name="T8" fmla="*/ 19 w 29"/>
                  <a:gd name="T9" fmla="*/ 15 h 12"/>
                  <a:gd name="T10" fmla="*/ 7 w 29"/>
                  <a:gd name="T11" fmla="*/ 9 h 12"/>
                  <a:gd name="T12" fmla="*/ 0 w 29"/>
                  <a:gd name="T13" fmla="*/ 5 h 12"/>
                  <a:gd name="T14" fmla="*/ 5 w 29"/>
                  <a:gd name="T15" fmla="*/ 0 h 12"/>
                  <a:gd name="T16" fmla="*/ 18 w 29"/>
                  <a:gd name="T17" fmla="*/ 1 h 12"/>
                  <a:gd name="T18" fmla="*/ 22 w 29"/>
                  <a:gd name="T19" fmla="*/ 1 h 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12"/>
                  <a:gd name="T32" fmla="*/ 29 w 29"/>
                  <a:gd name="T33" fmla="*/ 12 h 1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12">
                    <a:moveTo>
                      <a:pt x="19" y="1"/>
                    </a:moveTo>
                    <a:cubicBezTo>
                      <a:pt x="22" y="2"/>
                      <a:pt x="25" y="4"/>
                      <a:pt x="28" y="7"/>
                    </a:cubicBezTo>
                    <a:cubicBezTo>
                      <a:pt x="29" y="7"/>
                      <a:pt x="29" y="10"/>
                      <a:pt x="28" y="10"/>
                    </a:cubicBezTo>
                    <a:cubicBezTo>
                      <a:pt x="25" y="11"/>
                      <a:pt x="22" y="8"/>
                      <a:pt x="20" y="9"/>
                    </a:cubicBezTo>
                    <a:cubicBezTo>
                      <a:pt x="18" y="9"/>
                      <a:pt x="18" y="12"/>
                      <a:pt x="16" y="12"/>
                    </a:cubicBezTo>
                    <a:cubicBezTo>
                      <a:pt x="12" y="11"/>
                      <a:pt x="9" y="8"/>
                      <a:pt x="6" y="7"/>
                    </a:cubicBezTo>
                    <a:cubicBezTo>
                      <a:pt x="4" y="6"/>
                      <a:pt x="1" y="6"/>
                      <a:pt x="0" y="4"/>
                    </a:cubicBezTo>
                    <a:cubicBezTo>
                      <a:pt x="0" y="2"/>
                      <a:pt x="3" y="1"/>
                      <a:pt x="4" y="0"/>
                    </a:cubicBezTo>
                    <a:cubicBezTo>
                      <a:pt x="8" y="0"/>
                      <a:pt x="12" y="1"/>
                      <a:pt x="15" y="1"/>
                    </a:cubicBezTo>
                    <a:cubicBezTo>
                      <a:pt x="17" y="1"/>
                      <a:pt x="18" y="0"/>
                      <a:pt x="1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4" name="Freeform 3515"/>
              <p:cNvSpPr>
                <a:spLocks noChangeAspect="1"/>
              </p:cNvSpPr>
              <p:nvPr/>
            </p:nvSpPr>
            <p:spPr bwMode="auto">
              <a:xfrm>
                <a:off x="2369793" y="3373170"/>
                <a:ext cx="263330" cy="102321"/>
              </a:xfrm>
              <a:custGeom>
                <a:avLst/>
                <a:gdLst>
                  <a:gd name="T0" fmla="*/ 155 w 134"/>
                  <a:gd name="T1" fmla="*/ 52 h 52"/>
                  <a:gd name="T2" fmla="*/ 160 w 134"/>
                  <a:gd name="T3" fmla="*/ 55 h 52"/>
                  <a:gd name="T4" fmla="*/ 150 w 134"/>
                  <a:gd name="T5" fmla="*/ 58 h 52"/>
                  <a:gd name="T6" fmla="*/ 138 w 134"/>
                  <a:gd name="T7" fmla="*/ 62 h 52"/>
                  <a:gd name="T8" fmla="*/ 120 w 134"/>
                  <a:gd name="T9" fmla="*/ 61 h 52"/>
                  <a:gd name="T10" fmla="*/ 115 w 134"/>
                  <a:gd name="T11" fmla="*/ 63 h 52"/>
                  <a:gd name="T12" fmla="*/ 105 w 134"/>
                  <a:gd name="T13" fmla="*/ 62 h 52"/>
                  <a:gd name="T14" fmla="*/ 106 w 134"/>
                  <a:gd name="T15" fmla="*/ 59 h 52"/>
                  <a:gd name="T16" fmla="*/ 114 w 134"/>
                  <a:gd name="T17" fmla="*/ 52 h 52"/>
                  <a:gd name="T18" fmla="*/ 112 w 134"/>
                  <a:gd name="T19" fmla="*/ 48 h 52"/>
                  <a:gd name="T20" fmla="*/ 101 w 134"/>
                  <a:gd name="T21" fmla="*/ 47 h 52"/>
                  <a:gd name="T22" fmla="*/ 94 w 134"/>
                  <a:gd name="T23" fmla="*/ 41 h 52"/>
                  <a:gd name="T24" fmla="*/ 93 w 134"/>
                  <a:gd name="T25" fmla="*/ 30 h 52"/>
                  <a:gd name="T26" fmla="*/ 83 w 134"/>
                  <a:gd name="T27" fmla="*/ 30 h 52"/>
                  <a:gd name="T28" fmla="*/ 71 w 134"/>
                  <a:gd name="T29" fmla="*/ 27 h 52"/>
                  <a:gd name="T30" fmla="*/ 66 w 134"/>
                  <a:gd name="T31" fmla="*/ 21 h 52"/>
                  <a:gd name="T32" fmla="*/ 58 w 134"/>
                  <a:gd name="T33" fmla="*/ 22 h 52"/>
                  <a:gd name="T34" fmla="*/ 50 w 134"/>
                  <a:gd name="T35" fmla="*/ 19 h 52"/>
                  <a:gd name="T36" fmla="*/ 41 w 134"/>
                  <a:gd name="T37" fmla="*/ 18 h 52"/>
                  <a:gd name="T38" fmla="*/ 43 w 134"/>
                  <a:gd name="T39" fmla="*/ 16 h 52"/>
                  <a:gd name="T40" fmla="*/ 47 w 134"/>
                  <a:gd name="T41" fmla="*/ 13 h 52"/>
                  <a:gd name="T42" fmla="*/ 36 w 134"/>
                  <a:gd name="T43" fmla="*/ 10 h 52"/>
                  <a:gd name="T44" fmla="*/ 24 w 134"/>
                  <a:gd name="T45" fmla="*/ 15 h 52"/>
                  <a:gd name="T46" fmla="*/ 14 w 134"/>
                  <a:gd name="T47" fmla="*/ 21 h 52"/>
                  <a:gd name="T48" fmla="*/ 7 w 134"/>
                  <a:gd name="T49" fmla="*/ 27 h 52"/>
                  <a:gd name="T50" fmla="*/ 0 w 134"/>
                  <a:gd name="T51" fmla="*/ 24 h 52"/>
                  <a:gd name="T52" fmla="*/ 6 w 134"/>
                  <a:gd name="T53" fmla="*/ 21 h 52"/>
                  <a:gd name="T54" fmla="*/ 10 w 134"/>
                  <a:gd name="T55" fmla="*/ 12 h 52"/>
                  <a:gd name="T56" fmla="*/ 24 w 134"/>
                  <a:gd name="T57" fmla="*/ 5 h 52"/>
                  <a:gd name="T58" fmla="*/ 41 w 134"/>
                  <a:gd name="T59" fmla="*/ 0 h 52"/>
                  <a:gd name="T60" fmla="*/ 55 w 134"/>
                  <a:gd name="T61" fmla="*/ 2 h 52"/>
                  <a:gd name="T62" fmla="*/ 65 w 134"/>
                  <a:gd name="T63" fmla="*/ 4 h 52"/>
                  <a:gd name="T64" fmla="*/ 68 w 134"/>
                  <a:gd name="T65" fmla="*/ 6 h 52"/>
                  <a:gd name="T66" fmla="*/ 76 w 134"/>
                  <a:gd name="T67" fmla="*/ 7 h 52"/>
                  <a:gd name="T68" fmla="*/ 82 w 134"/>
                  <a:gd name="T69" fmla="*/ 16 h 52"/>
                  <a:gd name="T70" fmla="*/ 96 w 134"/>
                  <a:gd name="T71" fmla="*/ 17 h 52"/>
                  <a:gd name="T72" fmla="*/ 102 w 134"/>
                  <a:gd name="T73" fmla="*/ 25 h 52"/>
                  <a:gd name="T74" fmla="*/ 105 w 134"/>
                  <a:gd name="T75" fmla="*/ 24 h 52"/>
                  <a:gd name="T76" fmla="*/ 99 w 134"/>
                  <a:gd name="T77" fmla="*/ 17 h 52"/>
                  <a:gd name="T78" fmla="*/ 101 w 134"/>
                  <a:gd name="T79" fmla="*/ 16 h 52"/>
                  <a:gd name="T80" fmla="*/ 109 w 134"/>
                  <a:gd name="T81" fmla="*/ 24 h 52"/>
                  <a:gd name="T82" fmla="*/ 109 w 134"/>
                  <a:gd name="T83" fmla="*/ 28 h 52"/>
                  <a:gd name="T84" fmla="*/ 117 w 134"/>
                  <a:gd name="T85" fmla="*/ 29 h 52"/>
                  <a:gd name="T86" fmla="*/ 127 w 134"/>
                  <a:gd name="T87" fmla="*/ 35 h 52"/>
                  <a:gd name="T88" fmla="*/ 131 w 134"/>
                  <a:gd name="T89" fmla="*/ 40 h 52"/>
                  <a:gd name="T90" fmla="*/ 139 w 134"/>
                  <a:gd name="T91" fmla="*/ 41 h 52"/>
                  <a:gd name="T92" fmla="*/ 135 w 134"/>
                  <a:gd name="T93" fmla="*/ 47 h 52"/>
                  <a:gd name="T94" fmla="*/ 145 w 134"/>
                  <a:gd name="T95" fmla="*/ 46 h 52"/>
                  <a:gd name="T96" fmla="*/ 154 w 134"/>
                  <a:gd name="T97" fmla="*/ 48 h 52"/>
                  <a:gd name="T98" fmla="*/ 155 w 134"/>
                  <a:gd name="T99" fmla="*/ 52 h 5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4"/>
                  <a:gd name="T151" fmla="*/ 0 h 52"/>
                  <a:gd name="T152" fmla="*/ 134 w 134"/>
                  <a:gd name="T153" fmla="*/ 52 h 5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4" h="52">
                    <a:moveTo>
                      <a:pt x="129" y="43"/>
                    </a:moveTo>
                    <a:cubicBezTo>
                      <a:pt x="130" y="44"/>
                      <a:pt x="134" y="44"/>
                      <a:pt x="133" y="45"/>
                    </a:cubicBezTo>
                    <a:cubicBezTo>
                      <a:pt x="131" y="47"/>
                      <a:pt x="127" y="47"/>
                      <a:pt x="125" y="48"/>
                    </a:cubicBezTo>
                    <a:cubicBezTo>
                      <a:pt x="122" y="49"/>
                      <a:pt x="119" y="51"/>
                      <a:pt x="115" y="51"/>
                    </a:cubicBezTo>
                    <a:cubicBezTo>
                      <a:pt x="110" y="51"/>
                      <a:pt x="105" y="50"/>
                      <a:pt x="100" y="50"/>
                    </a:cubicBezTo>
                    <a:cubicBezTo>
                      <a:pt x="99" y="50"/>
                      <a:pt x="97" y="52"/>
                      <a:pt x="96" y="52"/>
                    </a:cubicBezTo>
                    <a:cubicBezTo>
                      <a:pt x="93" y="52"/>
                      <a:pt x="90" y="52"/>
                      <a:pt x="87" y="51"/>
                    </a:cubicBezTo>
                    <a:cubicBezTo>
                      <a:pt x="87" y="51"/>
                      <a:pt x="88" y="50"/>
                      <a:pt x="88" y="49"/>
                    </a:cubicBezTo>
                    <a:cubicBezTo>
                      <a:pt x="90" y="47"/>
                      <a:pt x="94" y="46"/>
                      <a:pt x="95" y="43"/>
                    </a:cubicBezTo>
                    <a:cubicBezTo>
                      <a:pt x="95" y="42"/>
                      <a:pt x="94" y="41"/>
                      <a:pt x="93" y="40"/>
                    </a:cubicBezTo>
                    <a:cubicBezTo>
                      <a:pt x="90" y="39"/>
                      <a:pt x="87" y="40"/>
                      <a:pt x="84" y="39"/>
                    </a:cubicBezTo>
                    <a:cubicBezTo>
                      <a:pt x="82" y="38"/>
                      <a:pt x="79" y="36"/>
                      <a:pt x="78" y="34"/>
                    </a:cubicBezTo>
                    <a:cubicBezTo>
                      <a:pt x="77" y="31"/>
                      <a:pt x="79" y="28"/>
                      <a:pt x="77" y="25"/>
                    </a:cubicBezTo>
                    <a:cubicBezTo>
                      <a:pt x="76" y="23"/>
                      <a:pt x="72" y="25"/>
                      <a:pt x="69" y="25"/>
                    </a:cubicBezTo>
                    <a:cubicBezTo>
                      <a:pt x="66" y="24"/>
                      <a:pt x="62" y="24"/>
                      <a:pt x="59" y="22"/>
                    </a:cubicBezTo>
                    <a:cubicBezTo>
                      <a:pt x="57" y="21"/>
                      <a:pt x="57" y="18"/>
                      <a:pt x="55" y="17"/>
                    </a:cubicBezTo>
                    <a:cubicBezTo>
                      <a:pt x="53" y="17"/>
                      <a:pt x="50" y="18"/>
                      <a:pt x="48" y="18"/>
                    </a:cubicBezTo>
                    <a:cubicBezTo>
                      <a:pt x="46" y="18"/>
                      <a:pt x="44" y="16"/>
                      <a:pt x="42" y="16"/>
                    </a:cubicBezTo>
                    <a:cubicBezTo>
                      <a:pt x="40" y="15"/>
                      <a:pt x="36" y="16"/>
                      <a:pt x="34" y="15"/>
                    </a:cubicBezTo>
                    <a:cubicBezTo>
                      <a:pt x="33" y="15"/>
                      <a:pt x="35" y="14"/>
                      <a:pt x="36" y="13"/>
                    </a:cubicBezTo>
                    <a:cubicBezTo>
                      <a:pt x="37" y="12"/>
                      <a:pt x="40" y="12"/>
                      <a:pt x="39" y="11"/>
                    </a:cubicBezTo>
                    <a:cubicBezTo>
                      <a:pt x="37" y="9"/>
                      <a:pt x="33" y="8"/>
                      <a:pt x="30" y="8"/>
                    </a:cubicBezTo>
                    <a:cubicBezTo>
                      <a:pt x="27" y="9"/>
                      <a:pt x="24" y="11"/>
                      <a:pt x="20" y="12"/>
                    </a:cubicBezTo>
                    <a:cubicBezTo>
                      <a:pt x="17" y="14"/>
                      <a:pt x="14" y="15"/>
                      <a:pt x="12" y="17"/>
                    </a:cubicBezTo>
                    <a:cubicBezTo>
                      <a:pt x="9" y="18"/>
                      <a:pt x="8" y="22"/>
                      <a:pt x="6" y="22"/>
                    </a:cubicBezTo>
                    <a:cubicBezTo>
                      <a:pt x="4" y="23"/>
                      <a:pt x="1" y="22"/>
                      <a:pt x="0" y="20"/>
                    </a:cubicBezTo>
                    <a:cubicBezTo>
                      <a:pt x="0" y="19"/>
                      <a:pt x="4" y="19"/>
                      <a:pt x="5" y="17"/>
                    </a:cubicBezTo>
                    <a:cubicBezTo>
                      <a:pt x="6" y="15"/>
                      <a:pt x="6" y="11"/>
                      <a:pt x="8" y="10"/>
                    </a:cubicBezTo>
                    <a:cubicBezTo>
                      <a:pt x="12" y="7"/>
                      <a:pt x="16" y="6"/>
                      <a:pt x="20" y="4"/>
                    </a:cubicBezTo>
                    <a:cubicBezTo>
                      <a:pt x="24" y="3"/>
                      <a:pt x="29" y="1"/>
                      <a:pt x="34" y="0"/>
                    </a:cubicBezTo>
                    <a:cubicBezTo>
                      <a:pt x="38" y="0"/>
                      <a:pt x="42" y="1"/>
                      <a:pt x="46" y="2"/>
                    </a:cubicBezTo>
                    <a:cubicBezTo>
                      <a:pt x="48" y="2"/>
                      <a:pt x="51" y="2"/>
                      <a:pt x="54" y="3"/>
                    </a:cubicBezTo>
                    <a:cubicBezTo>
                      <a:pt x="55" y="3"/>
                      <a:pt x="56" y="4"/>
                      <a:pt x="57" y="5"/>
                    </a:cubicBezTo>
                    <a:cubicBezTo>
                      <a:pt x="59" y="5"/>
                      <a:pt x="61" y="4"/>
                      <a:pt x="63" y="6"/>
                    </a:cubicBezTo>
                    <a:cubicBezTo>
                      <a:pt x="66" y="7"/>
                      <a:pt x="65" y="12"/>
                      <a:pt x="68" y="13"/>
                    </a:cubicBezTo>
                    <a:cubicBezTo>
                      <a:pt x="72" y="15"/>
                      <a:pt x="76" y="13"/>
                      <a:pt x="80" y="14"/>
                    </a:cubicBezTo>
                    <a:cubicBezTo>
                      <a:pt x="82" y="15"/>
                      <a:pt x="83" y="19"/>
                      <a:pt x="85" y="21"/>
                    </a:cubicBezTo>
                    <a:cubicBezTo>
                      <a:pt x="86" y="21"/>
                      <a:pt x="88" y="20"/>
                      <a:pt x="87" y="20"/>
                    </a:cubicBezTo>
                    <a:cubicBezTo>
                      <a:pt x="86" y="17"/>
                      <a:pt x="83" y="16"/>
                      <a:pt x="82" y="14"/>
                    </a:cubicBezTo>
                    <a:cubicBezTo>
                      <a:pt x="82" y="13"/>
                      <a:pt x="83" y="12"/>
                      <a:pt x="84" y="13"/>
                    </a:cubicBezTo>
                    <a:cubicBezTo>
                      <a:pt x="86" y="15"/>
                      <a:pt x="89" y="17"/>
                      <a:pt x="91" y="20"/>
                    </a:cubicBezTo>
                    <a:cubicBezTo>
                      <a:pt x="92" y="21"/>
                      <a:pt x="90" y="22"/>
                      <a:pt x="91" y="23"/>
                    </a:cubicBezTo>
                    <a:cubicBezTo>
                      <a:pt x="92" y="24"/>
                      <a:pt x="95" y="23"/>
                      <a:pt x="97" y="24"/>
                    </a:cubicBezTo>
                    <a:cubicBezTo>
                      <a:pt x="100" y="25"/>
                      <a:pt x="103" y="27"/>
                      <a:pt x="106" y="29"/>
                    </a:cubicBezTo>
                    <a:cubicBezTo>
                      <a:pt x="107" y="30"/>
                      <a:pt x="108" y="32"/>
                      <a:pt x="109" y="33"/>
                    </a:cubicBezTo>
                    <a:cubicBezTo>
                      <a:pt x="111" y="34"/>
                      <a:pt x="115" y="32"/>
                      <a:pt x="116" y="34"/>
                    </a:cubicBezTo>
                    <a:cubicBezTo>
                      <a:pt x="117" y="36"/>
                      <a:pt x="110" y="38"/>
                      <a:pt x="112" y="39"/>
                    </a:cubicBezTo>
                    <a:cubicBezTo>
                      <a:pt x="115" y="41"/>
                      <a:pt x="118" y="38"/>
                      <a:pt x="121" y="38"/>
                    </a:cubicBezTo>
                    <a:cubicBezTo>
                      <a:pt x="124" y="38"/>
                      <a:pt x="126" y="39"/>
                      <a:pt x="128" y="40"/>
                    </a:cubicBezTo>
                    <a:cubicBezTo>
                      <a:pt x="128" y="41"/>
                      <a:pt x="128" y="43"/>
                      <a:pt x="129" y="4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5" name="Freeform 3516"/>
              <p:cNvSpPr>
                <a:spLocks noChangeAspect="1"/>
              </p:cNvSpPr>
              <p:nvPr/>
            </p:nvSpPr>
            <p:spPr bwMode="auto">
              <a:xfrm>
                <a:off x="2409047" y="3415397"/>
                <a:ext cx="17992" cy="14618"/>
              </a:xfrm>
              <a:custGeom>
                <a:avLst/>
                <a:gdLst>
                  <a:gd name="T0" fmla="*/ 6 w 9"/>
                  <a:gd name="T1" fmla="*/ 0 h 8"/>
                  <a:gd name="T2" fmla="*/ 10 w 9"/>
                  <a:gd name="T3" fmla="*/ 7 h 8"/>
                  <a:gd name="T4" fmla="*/ 1 w 9"/>
                  <a:gd name="T5" fmla="*/ 8 h 8"/>
                  <a:gd name="T6" fmla="*/ 2 w 9"/>
                  <a:gd name="T7" fmla="*/ 5 h 8"/>
                  <a:gd name="T8" fmla="*/ 1 w 9"/>
                  <a:gd name="T9" fmla="*/ 1 h 8"/>
                  <a:gd name="T10" fmla="*/ 6 w 9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8"/>
                  <a:gd name="T20" fmla="*/ 9 w 9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8">
                    <a:moveTo>
                      <a:pt x="5" y="0"/>
                    </a:moveTo>
                    <a:cubicBezTo>
                      <a:pt x="6" y="2"/>
                      <a:pt x="9" y="4"/>
                      <a:pt x="8" y="6"/>
                    </a:cubicBezTo>
                    <a:cubicBezTo>
                      <a:pt x="7" y="8"/>
                      <a:pt x="3" y="8"/>
                      <a:pt x="1" y="7"/>
                    </a:cubicBezTo>
                    <a:cubicBezTo>
                      <a:pt x="0" y="7"/>
                      <a:pt x="2" y="5"/>
                      <a:pt x="2" y="4"/>
                    </a:cubicBezTo>
                    <a:cubicBezTo>
                      <a:pt x="2" y="3"/>
                      <a:pt x="1" y="2"/>
                      <a:pt x="1" y="1"/>
                    </a:cubicBezTo>
                    <a:cubicBezTo>
                      <a:pt x="2" y="0"/>
                      <a:pt x="4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6" name="Freeform 3517"/>
              <p:cNvSpPr>
                <a:spLocks noChangeAspect="1"/>
              </p:cNvSpPr>
              <p:nvPr/>
            </p:nvSpPr>
            <p:spPr bwMode="auto">
              <a:xfrm>
                <a:off x="2534987" y="3319573"/>
                <a:ext cx="14721" cy="22738"/>
              </a:xfrm>
              <a:custGeom>
                <a:avLst/>
                <a:gdLst>
                  <a:gd name="T0" fmla="*/ 6 w 7"/>
                  <a:gd name="T1" fmla="*/ 1 h 12"/>
                  <a:gd name="T2" fmla="*/ 4 w 7"/>
                  <a:gd name="T3" fmla="*/ 1 h 12"/>
                  <a:gd name="T4" fmla="*/ 0 w 7"/>
                  <a:gd name="T5" fmla="*/ 9 h 12"/>
                  <a:gd name="T6" fmla="*/ 4 w 7"/>
                  <a:gd name="T7" fmla="*/ 13 h 12"/>
                  <a:gd name="T8" fmla="*/ 9 w 7"/>
                  <a:gd name="T9" fmla="*/ 11 h 12"/>
                  <a:gd name="T10" fmla="*/ 6 w 7"/>
                  <a:gd name="T11" fmla="*/ 1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2"/>
                  <a:gd name="T20" fmla="*/ 7 w 7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2">
                    <a:moveTo>
                      <a:pt x="5" y="1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5"/>
                      <a:pt x="0" y="8"/>
                    </a:cubicBezTo>
                    <a:cubicBezTo>
                      <a:pt x="0" y="9"/>
                      <a:pt x="1" y="11"/>
                      <a:pt x="3" y="11"/>
                    </a:cubicBezTo>
                    <a:cubicBezTo>
                      <a:pt x="5" y="12"/>
                      <a:pt x="6" y="10"/>
                      <a:pt x="7" y="9"/>
                    </a:cubicBezTo>
                    <a:cubicBezTo>
                      <a:pt x="7" y="6"/>
                      <a:pt x="7" y="3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7" name="Freeform 3518"/>
              <p:cNvSpPr>
                <a:spLocks noChangeAspect="1"/>
              </p:cNvSpPr>
              <p:nvPr/>
            </p:nvSpPr>
            <p:spPr bwMode="auto">
              <a:xfrm>
                <a:off x="2520267" y="3270849"/>
                <a:ext cx="32712" cy="8121"/>
              </a:xfrm>
              <a:custGeom>
                <a:avLst/>
                <a:gdLst>
                  <a:gd name="T0" fmla="*/ 18 w 17"/>
                  <a:gd name="T1" fmla="*/ 0 h 4"/>
                  <a:gd name="T2" fmla="*/ 19 w 17"/>
                  <a:gd name="T3" fmla="*/ 3 h 4"/>
                  <a:gd name="T4" fmla="*/ 13 w 17"/>
                  <a:gd name="T5" fmla="*/ 3 h 4"/>
                  <a:gd name="T6" fmla="*/ 5 w 17"/>
                  <a:gd name="T7" fmla="*/ 5 h 4"/>
                  <a:gd name="T8" fmla="*/ 1 w 17"/>
                  <a:gd name="T9" fmla="*/ 1 h 4"/>
                  <a:gd name="T10" fmla="*/ 7 w 17"/>
                  <a:gd name="T11" fmla="*/ 1 h 4"/>
                  <a:gd name="T12" fmla="*/ 14 w 17"/>
                  <a:gd name="T13" fmla="*/ 0 h 4"/>
                  <a:gd name="T14" fmla="*/ 18 w 17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4"/>
                  <a:gd name="T26" fmla="*/ 17 w 17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4">
                    <a:moveTo>
                      <a:pt x="15" y="0"/>
                    </a:moveTo>
                    <a:cubicBezTo>
                      <a:pt x="16" y="1"/>
                      <a:pt x="17" y="2"/>
                      <a:pt x="16" y="2"/>
                    </a:cubicBezTo>
                    <a:cubicBezTo>
                      <a:pt x="15" y="3"/>
                      <a:pt x="13" y="2"/>
                      <a:pt x="11" y="2"/>
                    </a:cubicBezTo>
                    <a:cubicBezTo>
                      <a:pt x="9" y="2"/>
                      <a:pt x="7" y="4"/>
                      <a:pt x="4" y="4"/>
                    </a:cubicBezTo>
                    <a:cubicBezTo>
                      <a:pt x="3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6" y="1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3" y="0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8" name="Freeform 3519"/>
              <p:cNvSpPr>
                <a:spLocks noChangeAspect="1"/>
              </p:cNvSpPr>
              <p:nvPr/>
            </p:nvSpPr>
            <p:spPr bwMode="auto">
              <a:xfrm>
                <a:off x="2556250" y="3264352"/>
                <a:ext cx="14721" cy="37356"/>
              </a:xfrm>
              <a:custGeom>
                <a:avLst/>
                <a:gdLst>
                  <a:gd name="T0" fmla="*/ 1 w 7"/>
                  <a:gd name="T1" fmla="*/ 1 h 19"/>
                  <a:gd name="T2" fmla="*/ 3 w 7"/>
                  <a:gd name="T3" fmla="*/ 6 h 19"/>
                  <a:gd name="T4" fmla="*/ 6 w 7"/>
                  <a:gd name="T5" fmla="*/ 7 h 19"/>
                  <a:gd name="T6" fmla="*/ 4 w 7"/>
                  <a:gd name="T7" fmla="*/ 16 h 19"/>
                  <a:gd name="T8" fmla="*/ 1 w 7"/>
                  <a:gd name="T9" fmla="*/ 19 h 19"/>
                  <a:gd name="T10" fmla="*/ 4 w 7"/>
                  <a:gd name="T11" fmla="*/ 22 h 19"/>
                  <a:gd name="T12" fmla="*/ 5 w 7"/>
                  <a:gd name="T13" fmla="*/ 18 h 19"/>
                  <a:gd name="T14" fmla="*/ 9 w 7"/>
                  <a:gd name="T15" fmla="*/ 8 h 19"/>
                  <a:gd name="T16" fmla="*/ 9 w 7"/>
                  <a:gd name="T17" fmla="*/ 6 h 19"/>
                  <a:gd name="T18" fmla="*/ 5 w 7"/>
                  <a:gd name="T19" fmla="*/ 4 h 19"/>
                  <a:gd name="T20" fmla="*/ 1 w 7"/>
                  <a:gd name="T21" fmla="*/ 1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"/>
                  <a:gd name="T34" fmla="*/ 0 h 19"/>
                  <a:gd name="T35" fmla="*/ 7 w 7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" h="19">
                    <a:moveTo>
                      <a:pt x="1" y="1"/>
                    </a:moveTo>
                    <a:cubicBezTo>
                      <a:pt x="0" y="2"/>
                      <a:pt x="1" y="4"/>
                      <a:pt x="2" y="5"/>
                    </a:cubicBezTo>
                    <a:cubicBezTo>
                      <a:pt x="3" y="6"/>
                      <a:pt x="5" y="5"/>
                      <a:pt x="5" y="6"/>
                    </a:cubicBezTo>
                    <a:cubicBezTo>
                      <a:pt x="6" y="9"/>
                      <a:pt x="4" y="11"/>
                      <a:pt x="3" y="13"/>
                    </a:cubicBezTo>
                    <a:cubicBezTo>
                      <a:pt x="3" y="14"/>
                      <a:pt x="1" y="15"/>
                      <a:pt x="1" y="16"/>
                    </a:cubicBezTo>
                    <a:cubicBezTo>
                      <a:pt x="1" y="17"/>
                      <a:pt x="2" y="19"/>
                      <a:pt x="3" y="18"/>
                    </a:cubicBezTo>
                    <a:cubicBezTo>
                      <a:pt x="4" y="18"/>
                      <a:pt x="4" y="16"/>
                      <a:pt x="4" y="15"/>
                    </a:cubicBezTo>
                    <a:cubicBezTo>
                      <a:pt x="5" y="12"/>
                      <a:pt x="6" y="10"/>
                      <a:pt x="7" y="7"/>
                    </a:cubicBezTo>
                    <a:cubicBezTo>
                      <a:pt x="7" y="6"/>
                      <a:pt x="7" y="6"/>
                      <a:pt x="7" y="5"/>
                    </a:cubicBezTo>
                    <a:cubicBezTo>
                      <a:pt x="6" y="4"/>
                      <a:pt x="5" y="4"/>
                      <a:pt x="4" y="3"/>
                    </a:cubicBezTo>
                    <a:cubicBezTo>
                      <a:pt x="3" y="2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09" name="Freeform 3520"/>
              <p:cNvSpPr>
                <a:spLocks noChangeAspect="1"/>
              </p:cNvSpPr>
              <p:nvPr/>
            </p:nvSpPr>
            <p:spPr bwMode="auto">
              <a:xfrm>
                <a:off x="2574241" y="3311453"/>
                <a:ext cx="14721" cy="22738"/>
              </a:xfrm>
              <a:custGeom>
                <a:avLst/>
                <a:gdLst>
                  <a:gd name="T0" fmla="*/ 0 w 7"/>
                  <a:gd name="T1" fmla="*/ 1 h 12"/>
                  <a:gd name="T2" fmla="*/ 6 w 7"/>
                  <a:gd name="T3" fmla="*/ 6 h 12"/>
                  <a:gd name="T4" fmla="*/ 8 w 7"/>
                  <a:gd name="T5" fmla="*/ 13 h 12"/>
                  <a:gd name="T6" fmla="*/ 9 w 7"/>
                  <a:gd name="T7" fmla="*/ 12 h 12"/>
                  <a:gd name="T8" fmla="*/ 8 w 7"/>
                  <a:gd name="T9" fmla="*/ 5 h 12"/>
                  <a:gd name="T10" fmla="*/ 4 w 7"/>
                  <a:gd name="T11" fmla="*/ 0 h 12"/>
                  <a:gd name="T12" fmla="*/ 0 w 7"/>
                  <a:gd name="T13" fmla="*/ 1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2"/>
                  <a:gd name="T23" fmla="*/ 7 w 7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2">
                    <a:moveTo>
                      <a:pt x="0" y="1"/>
                    </a:moveTo>
                    <a:cubicBezTo>
                      <a:pt x="1" y="3"/>
                      <a:pt x="4" y="3"/>
                      <a:pt x="5" y="5"/>
                    </a:cubicBezTo>
                    <a:cubicBezTo>
                      <a:pt x="6" y="7"/>
                      <a:pt x="5" y="9"/>
                      <a:pt x="6" y="11"/>
                    </a:cubicBezTo>
                    <a:cubicBezTo>
                      <a:pt x="6" y="12"/>
                      <a:pt x="7" y="11"/>
                      <a:pt x="7" y="10"/>
                    </a:cubicBezTo>
                    <a:cubicBezTo>
                      <a:pt x="7" y="8"/>
                      <a:pt x="7" y="6"/>
                      <a:pt x="6" y="4"/>
                    </a:cubicBezTo>
                    <a:cubicBezTo>
                      <a:pt x="6" y="2"/>
                      <a:pt x="4" y="1"/>
                      <a:pt x="3" y="0"/>
                    </a:cubicBezTo>
                    <a:cubicBezTo>
                      <a:pt x="2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0" name="Freeform 3521"/>
              <p:cNvSpPr>
                <a:spLocks noChangeAspect="1"/>
              </p:cNvSpPr>
              <p:nvPr/>
            </p:nvSpPr>
            <p:spPr bwMode="auto">
              <a:xfrm>
                <a:off x="2618402" y="2725141"/>
                <a:ext cx="13085" cy="9745"/>
              </a:xfrm>
              <a:custGeom>
                <a:avLst/>
                <a:gdLst>
                  <a:gd name="T0" fmla="*/ 7 w 7"/>
                  <a:gd name="T1" fmla="*/ 1 h 5"/>
                  <a:gd name="T2" fmla="*/ 7 w 7"/>
                  <a:gd name="T3" fmla="*/ 4 h 5"/>
                  <a:gd name="T4" fmla="*/ 3 w 7"/>
                  <a:gd name="T5" fmla="*/ 5 h 5"/>
                  <a:gd name="T6" fmla="*/ 0 w 7"/>
                  <a:gd name="T7" fmla="*/ 2 h 5"/>
                  <a:gd name="T8" fmla="*/ 2 w 7"/>
                  <a:gd name="T9" fmla="*/ 0 h 5"/>
                  <a:gd name="T10" fmla="*/ 7 w 7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5"/>
                  <a:gd name="T20" fmla="*/ 7 w 7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5">
                    <a:moveTo>
                      <a:pt x="6" y="1"/>
                    </a:moveTo>
                    <a:cubicBezTo>
                      <a:pt x="7" y="1"/>
                      <a:pt x="7" y="3"/>
                      <a:pt x="6" y="3"/>
                    </a:cubicBezTo>
                    <a:cubicBezTo>
                      <a:pt x="5" y="4"/>
                      <a:pt x="4" y="5"/>
                      <a:pt x="3" y="4"/>
                    </a:cubicBezTo>
                    <a:cubicBezTo>
                      <a:pt x="2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1" name="Freeform 3522"/>
              <p:cNvSpPr>
                <a:spLocks noChangeAspect="1"/>
              </p:cNvSpPr>
              <p:nvPr/>
            </p:nvSpPr>
            <p:spPr bwMode="auto">
              <a:xfrm>
                <a:off x="2487555" y="2663424"/>
                <a:ext cx="37619" cy="12993"/>
              </a:xfrm>
              <a:custGeom>
                <a:avLst/>
                <a:gdLst>
                  <a:gd name="T0" fmla="*/ 23 w 19"/>
                  <a:gd name="T1" fmla="*/ 4 h 6"/>
                  <a:gd name="T2" fmla="*/ 18 w 19"/>
                  <a:gd name="T3" fmla="*/ 8 h 6"/>
                  <a:gd name="T4" fmla="*/ 13 w 19"/>
                  <a:gd name="T5" fmla="*/ 7 h 6"/>
                  <a:gd name="T6" fmla="*/ 5 w 19"/>
                  <a:gd name="T7" fmla="*/ 4 h 6"/>
                  <a:gd name="T8" fmla="*/ 0 w 19"/>
                  <a:gd name="T9" fmla="*/ 1 h 6"/>
                  <a:gd name="T10" fmla="*/ 5 w 19"/>
                  <a:gd name="T11" fmla="*/ 1 h 6"/>
                  <a:gd name="T12" fmla="*/ 8 w 19"/>
                  <a:gd name="T13" fmla="*/ 3 h 6"/>
                  <a:gd name="T14" fmla="*/ 11 w 19"/>
                  <a:gd name="T15" fmla="*/ 1 h 6"/>
                  <a:gd name="T16" fmla="*/ 18 w 19"/>
                  <a:gd name="T17" fmla="*/ 3 h 6"/>
                  <a:gd name="T18" fmla="*/ 23 w 19"/>
                  <a:gd name="T19" fmla="*/ 4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"/>
                  <a:gd name="T31" fmla="*/ 0 h 6"/>
                  <a:gd name="T32" fmla="*/ 19 w 19"/>
                  <a:gd name="T33" fmla="*/ 6 h 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" h="6">
                    <a:moveTo>
                      <a:pt x="19" y="3"/>
                    </a:moveTo>
                    <a:cubicBezTo>
                      <a:pt x="19" y="5"/>
                      <a:pt x="17" y="6"/>
                      <a:pt x="15" y="6"/>
                    </a:cubicBezTo>
                    <a:cubicBezTo>
                      <a:pt x="14" y="6"/>
                      <a:pt x="12" y="5"/>
                      <a:pt x="11" y="5"/>
                    </a:cubicBezTo>
                    <a:cubicBezTo>
                      <a:pt x="8" y="4"/>
                      <a:pt x="6" y="4"/>
                      <a:pt x="4" y="3"/>
                    </a:cubicBezTo>
                    <a:cubicBezTo>
                      <a:pt x="3" y="3"/>
                      <a:pt x="0" y="2"/>
                      <a:pt x="0" y="1"/>
                    </a:cubicBezTo>
                    <a:cubicBezTo>
                      <a:pt x="0" y="0"/>
                      <a:pt x="3" y="1"/>
                      <a:pt x="4" y="1"/>
                    </a:cubicBezTo>
                    <a:cubicBezTo>
                      <a:pt x="5" y="1"/>
                      <a:pt x="6" y="2"/>
                      <a:pt x="7" y="2"/>
                    </a:cubicBezTo>
                    <a:cubicBezTo>
                      <a:pt x="8" y="2"/>
                      <a:pt x="9" y="2"/>
                      <a:pt x="9" y="1"/>
                    </a:cubicBezTo>
                    <a:cubicBezTo>
                      <a:pt x="11" y="1"/>
                      <a:pt x="13" y="1"/>
                      <a:pt x="15" y="2"/>
                    </a:cubicBezTo>
                    <a:cubicBezTo>
                      <a:pt x="16" y="2"/>
                      <a:pt x="19" y="2"/>
                      <a:pt x="19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2" name="Freeform 3523"/>
              <p:cNvSpPr>
                <a:spLocks noChangeAspect="1"/>
              </p:cNvSpPr>
              <p:nvPr/>
            </p:nvSpPr>
            <p:spPr bwMode="auto">
              <a:xfrm>
                <a:off x="2474471" y="2660176"/>
                <a:ext cx="8178" cy="6497"/>
              </a:xfrm>
              <a:custGeom>
                <a:avLst/>
                <a:gdLst>
                  <a:gd name="T0" fmla="*/ 3 w 4"/>
                  <a:gd name="T1" fmla="*/ 0 h 3"/>
                  <a:gd name="T2" fmla="*/ 0 w 4"/>
                  <a:gd name="T3" fmla="*/ 1 h 3"/>
                  <a:gd name="T4" fmla="*/ 3 w 4"/>
                  <a:gd name="T5" fmla="*/ 4 h 3"/>
                  <a:gd name="T6" fmla="*/ 5 w 4"/>
                  <a:gd name="T7" fmla="*/ 1 h 3"/>
                  <a:gd name="T8" fmla="*/ 3 w 4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2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3"/>
                      <a:pt x="1" y="3"/>
                      <a:pt x="2" y="3"/>
                    </a:cubicBezTo>
                    <a:cubicBezTo>
                      <a:pt x="3" y="3"/>
                      <a:pt x="4" y="2"/>
                      <a:pt x="4" y="1"/>
                    </a:cubicBezTo>
                    <a:cubicBezTo>
                      <a:pt x="4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3" name="Freeform 3524"/>
              <p:cNvSpPr>
                <a:spLocks noChangeAspect="1"/>
              </p:cNvSpPr>
              <p:nvPr/>
            </p:nvSpPr>
            <p:spPr bwMode="auto">
              <a:xfrm>
                <a:off x="2358343" y="2590338"/>
                <a:ext cx="16356" cy="11369"/>
              </a:xfrm>
              <a:custGeom>
                <a:avLst/>
                <a:gdLst>
                  <a:gd name="T0" fmla="*/ 1 w 8"/>
                  <a:gd name="T1" fmla="*/ 5 h 6"/>
                  <a:gd name="T2" fmla="*/ 3 w 8"/>
                  <a:gd name="T3" fmla="*/ 7 h 6"/>
                  <a:gd name="T4" fmla="*/ 10 w 8"/>
                  <a:gd name="T5" fmla="*/ 2 h 6"/>
                  <a:gd name="T6" fmla="*/ 9 w 8"/>
                  <a:gd name="T7" fmla="*/ 1 h 6"/>
                  <a:gd name="T8" fmla="*/ 1 w 8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6"/>
                  <a:gd name="T17" fmla="*/ 8 w 8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6">
                    <a:moveTo>
                      <a:pt x="1" y="4"/>
                    </a:moveTo>
                    <a:cubicBezTo>
                      <a:pt x="0" y="5"/>
                      <a:pt x="1" y="6"/>
                      <a:pt x="2" y="6"/>
                    </a:cubicBezTo>
                    <a:cubicBezTo>
                      <a:pt x="4" y="5"/>
                      <a:pt x="6" y="3"/>
                      <a:pt x="8" y="2"/>
                    </a:cubicBezTo>
                    <a:cubicBezTo>
                      <a:pt x="8" y="1"/>
                      <a:pt x="7" y="0"/>
                      <a:pt x="7" y="1"/>
                    </a:cubicBezTo>
                    <a:cubicBezTo>
                      <a:pt x="5" y="1"/>
                      <a:pt x="3" y="3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4" name="Freeform 3525"/>
              <p:cNvSpPr>
                <a:spLocks noChangeAspect="1"/>
              </p:cNvSpPr>
              <p:nvPr/>
            </p:nvSpPr>
            <p:spPr bwMode="auto">
              <a:xfrm>
                <a:off x="2387784" y="2569224"/>
                <a:ext cx="6542" cy="4873"/>
              </a:xfrm>
              <a:custGeom>
                <a:avLst/>
                <a:gdLst>
                  <a:gd name="T0" fmla="*/ 1 w 3"/>
                  <a:gd name="T1" fmla="*/ 0 h 3"/>
                  <a:gd name="T2" fmla="*/ 1 w 3"/>
                  <a:gd name="T3" fmla="*/ 3 h 3"/>
                  <a:gd name="T4" fmla="*/ 4 w 3"/>
                  <a:gd name="T5" fmla="*/ 3 h 3"/>
                  <a:gd name="T6" fmla="*/ 4 w 3"/>
                  <a:gd name="T7" fmla="*/ 1 h 3"/>
                  <a:gd name="T8" fmla="*/ 1 w 3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0"/>
                    </a:moveTo>
                    <a:cubicBezTo>
                      <a:pt x="1" y="1"/>
                      <a:pt x="0" y="2"/>
                      <a:pt x="1" y="3"/>
                    </a:cubicBezTo>
                    <a:cubicBezTo>
                      <a:pt x="1" y="3"/>
                      <a:pt x="2" y="3"/>
                      <a:pt x="3" y="3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5" name="Freeform 3526"/>
              <p:cNvSpPr>
                <a:spLocks noChangeAspect="1"/>
              </p:cNvSpPr>
              <p:nvPr/>
            </p:nvSpPr>
            <p:spPr bwMode="auto">
              <a:xfrm>
                <a:off x="2433580" y="2601707"/>
                <a:ext cx="8178" cy="6497"/>
              </a:xfrm>
              <a:custGeom>
                <a:avLst/>
                <a:gdLst>
                  <a:gd name="T0" fmla="*/ 1 w 4"/>
                  <a:gd name="T1" fmla="*/ 1 h 3"/>
                  <a:gd name="T2" fmla="*/ 1 w 4"/>
                  <a:gd name="T3" fmla="*/ 4 h 3"/>
                  <a:gd name="T4" fmla="*/ 4 w 4"/>
                  <a:gd name="T5" fmla="*/ 3 h 3"/>
                  <a:gd name="T6" fmla="*/ 5 w 4"/>
                  <a:gd name="T7" fmla="*/ 1 h 3"/>
                  <a:gd name="T8" fmla="*/ 1 w 4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3"/>
                  <a:gd name="T17" fmla="*/ 4 w 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3">
                    <a:moveTo>
                      <a:pt x="1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2" y="3"/>
                      <a:pt x="3" y="3"/>
                      <a:pt x="3" y="2"/>
                    </a:cubicBezTo>
                    <a:cubicBezTo>
                      <a:pt x="4" y="2"/>
                      <a:pt x="4" y="1"/>
                      <a:pt x="4" y="1"/>
                    </a:cubicBezTo>
                    <a:cubicBezTo>
                      <a:pt x="3" y="0"/>
                      <a:pt x="2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6" name="Freeform 3527"/>
              <p:cNvSpPr>
                <a:spLocks noChangeAspect="1"/>
              </p:cNvSpPr>
              <p:nvPr/>
            </p:nvSpPr>
            <p:spPr bwMode="auto">
              <a:xfrm>
                <a:off x="3004401" y="2629318"/>
                <a:ext cx="42525" cy="50349"/>
              </a:xfrm>
              <a:custGeom>
                <a:avLst/>
                <a:gdLst>
                  <a:gd name="T0" fmla="*/ 13 w 22"/>
                  <a:gd name="T1" fmla="*/ 0 h 26"/>
                  <a:gd name="T2" fmla="*/ 17 w 22"/>
                  <a:gd name="T3" fmla="*/ 7 h 26"/>
                  <a:gd name="T4" fmla="*/ 11 w 22"/>
                  <a:gd name="T5" fmla="*/ 18 h 26"/>
                  <a:gd name="T6" fmla="*/ 7 w 22"/>
                  <a:gd name="T7" fmla="*/ 25 h 26"/>
                  <a:gd name="T8" fmla="*/ 13 w 22"/>
                  <a:gd name="T9" fmla="*/ 25 h 26"/>
                  <a:gd name="T10" fmla="*/ 17 w 22"/>
                  <a:gd name="T11" fmla="*/ 17 h 26"/>
                  <a:gd name="T12" fmla="*/ 24 w 22"/>
                  <a:gd name="T13" fmla="*/ 17 h 26"/>
                  <a:gd name="T14" fmla="*/ 20 w 22"/>
                  <a:gd name="T15" fmla="*/ 25 h 26"/>
                  <a:gd name="T16" fmla="*/ 12 w 22"/>
                  <a:gd name="T17" fmla="*/ 31 h 26"/>
                  <a:gd name="T18" fmla="*/ 5 w 22"/>
                  <a:gd name="T19" fmla="*/ 29 h 26"/>
                  <a:gd name="T20" fmla="*/ 1 w 22"/>
                  <a:gd name="T21" fmla="*/ 23 h 26"/>
                  <a:gd name="T22" fmla="*/ 1 w 22"/>
                  <a:gd name="T23" fmla="*/ 14 h 26"/>
                  <a:gd name="T24" fmla="*/ 9 w 22"/>
                  <a:gd name="T25" fmla="*/ 2 h 26"/>
                  <a:gd name="T26" fmla="*/ 13 w 22"/>
                  <a:gd name="T27" fmla="*/ 0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2"/>
                  <a:gd name="T43" fmla="*/ 0 h 26"/>
                  <a:gd name="T44" fmla="*/ 22 w 22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2" h="26">
                    <a:moveTo>
                      <a:pt x="11" y="0"/>
                    </a:moveTo>
                    <a:cubicBezTo>
                      <a:pt x="13" y="1"/>
                      <a:pt x="15" y="4"/>
                      <a:pt x="14" y="6"/>
                    </a:cubicBezTo>
                    <a:cubicBezTo>
                      <a:pt x="14" y="10"/>
                      <a:pt x="11" y="12"/>
                      <a:pt x="9" y="15"/>
                    </a:cubicBezTo>
                    <a:cubicBezTo>
                      <a:pt x="8" y="17"/>
                      <a:pt x="6" y="19"/>
                      <a:pt x="6" y="21"/>
                    </a:cubicBezTo>
                    <a:cubicBezTo>
                      <a:pt x="7" y="22"/>
                      <a:pt x="10" y="22"/>
                      <a:pt x="11" y="21"/>
                    </a:cubicBezTo>
                    <a:cubicBezTo>
                      <a:pt x="12" y="20"/>
                      <a:pt x="12" y="16"/>
                      <a:pt x="14" y="14"/>
                    </a:cubicBezTo>
                    <a:cubicBezTo>
                      <a:pt x="15" y="13"/>
                      <a:pt x="19" y="12"/>
                      <a:pt x="20" y="14"/>
                    </a:cubicBezTo>
                    <a:cubicBezTo>
                      <a:pt x="22" y="16"/>
                      <a:pt x="19" y="19"/>
                      <a:pt x="17" y="21"/>
                    </a:cubicBezTo>
                    <a:cubicBezTo>
                      <a:pt x="15" y="23"/>
                      <a:pt x="13" y="25"/>
                      <a:pt x="10" y="26"/>
                    </a:cubicBezTo>
                    <a:cubicBezTo>
                      <a:pt x="8" y="26"/>
                      <a:pt x="6" y="25"/>
                      <a:pt x="4" y="24"/>
                    </a:cubicBezTo>
                    <a:cubicBezTo>
                      <a:pt x="3" y="23"/>
                      <a:pt x="1" y="21"/>
                      <a:pt x="1" y="19"/>
                    </a:cubicBezTo>
                    <a:cubicBezTo>
                      <a:pt x="0" y="17"/>
                      <a:pt x="0" y="14"/>
                      <a:pt x="1" y="12"/>
                    </a:cubicBezTo>
                    <a:cubicBezTo>
                      <a:pt x="3" y="8"/>
                      <a:pt x="5" y="5"/>
                      <a:pt x="8" y="2"/>
                    </a:cubicBezTo>
                    <a:cubicBezTo>
                      <a:pt x="9" y="1"/>
                      <a:pt x="10" y="0"/>
                      <a:pt x="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7" name="Freeform 3528"/>
              <p:cNvSpPr>
                <a:spLocks noChangeAspect="1"/>
              </p:cNvSpPr>
              <p:nvPr/>
            </p:nvSpPr>
            <p:spPr bwMode="auto">
              <a:xfrm>
                <a:off x="2938978" y="2624445"/>
                <a:ext cx="55610" cy="38979"/>
              </a:xfrm>
              <a:custGeom>
                <a:avLst/>
                <a:gdLst>
                  <a:gd name="T0" fmla="*/ 32 w 28"/>
                  <a:gd name="T1" fmla="*/ 13 h 20"/>
                  <a:gd name="T2" fmla="*/ 27 w 28"/>
                  <a:gd name="T3" fmla="*/ 17 h 20"/>
                  <a:gd name="T4" fmla="*/ 27 w 28"/>
                  <a:gd name="T5" fmla="*/ 23 h 20"/>
                  <a:gd name="T6" fmla="*/ 19 w 28"/>
                  <a:gd name="T7" fmla="*/ 22 h 20"/>
                  <a:gd name="T8" fmla="*/ 19 w 28"/>
                  <a:gd name="T9" fmla="*/ 17 h 20"/>
                  <a:gd name="T10" fmla="*/ 13 w 28"/>
                  <a:gd name="T11" fmla="*/ 19 h 20"/>
                  <a:gd name="T12" fmla="*/ 6 w 28"/>
                  <a:gd name="T13" fmla="*/ 14 h 20"/>
                  <a:gd name="T14" fmla="*/ 1 w 28"/>
                  <a:gd name="T15" fmla="*/ 12 h 20"/>
                  <a:gd name="T16" fmla="*/ 1 w 28"/>
                  <a:gd name="T17" fmla="*/ 5 h 20"/>
                  <a:gd name="T18" fmla="*/ 5 w 28"/>
                  <a:gd name="T19" fmla="*/ 1 h 20"/>
                  <a:gd name="T20" fmla="*/ 5 w 28"/>
                  <a:gd name="T21" fmla="*/ 8 h 20"/>
                  <a:gd name="T22" fmla="*/ 9 w 28"/>
                  <a:gd name="T23" fmla="*/ 12 h 20"/>
                  <a:gd name="T24" fmla="*/ 16 w 28"/>
                  <a:gd name="T25" fmla="*/ 14 h 20"/>
                  <a:gd name="T26" fmla="*/ 23 w 28"/>
                  <a:gd name="T27" fmla="*/ 13 h 20"/>
                  <a:gd name="T28" fmla="*/ 32 w 28"/>
                  <a:gd name="T29" fmla="*/ 13 h 2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8"/>
                  <a:gd name="T46" fmla="*/ 0 h 20"/>
                  <a:gd name="T47" fmla="*/ 28 w 28"/>
                  <a:gd name="T48" fmla="*/ 20 h 2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8" h="20">
                    <a:moveTo>
                      <a:pt x="26" y="11"/>
                    </a:moveTo>
                    <a:cubicBezTo>
                      <a:pt x="28" y="13"/>
                      <a:pt x="23" y="13"/>
                      <a:pt x="22" y="14"/>
                    </a:cubicBezTo>
                    <a:cubicBezTo>
                      <a:pt x="21" y="16"/>
                      <a:pt x="23" y="18"/>
                      <a:pt x="22" y="19"/>
                    </a:cubicBezTo>
                    <a:cubicBezTo>
                      <a:pt x="20" y="20"/>
                      <a:pt x="18" y="19"/>
                      <a:pt x="16" y="18"/>
                    </a:cubicBezTo>
                    <a:cubicBezTo>
                      <a:pt x="16" y="17"/>
                      <a:pt x="17" y="15"/>
                      <a:pt x="16" y="14"/>
                    </a:cubicBezTo>
                    <a:cubicBezTo>
                      <a:pt x="14" y="14"/>
                      <a:pt x="13" y="16"/>
                      <a:pt x="11" y="16"/>
                    </a:cubicBezTo>
                    <a:cubicBezTo>
                      <a:pt x="8" y="16"/>
                      <a:pt x="7" y="13"/>
                      <a:pt x="5" y="12"/>
                    </a:cubicBezTo>
                    <a:cubicBezTo>
                      <a:pt x="3" y="11"/>
                      <a:pt x="2" y="11"/>
                      <a:pt x="1" y="10"/>
                    </a:cubicBezTo>
                    <a:cubicBezTo>
                      <a:pt x="0" y="8"/>
                      <a:pt x="1" y="6"/>
                      <a:pt x="1" y="4"/>
                    </a:cubicBezTo>
                    <a:cubicBezTo>
                      <a:pt x="2" y="3"/>
                      <a:pt x="3" y="0"/>
                      <a:pt x="4" y="1"/>
                    </a:cubicBezTo>
                    <a:cubicBezTo>
                      <a:pt x="5" y="2"/>
                      <a:pt x="3" y="5"/>
                      <a:pt x="4" y="7"/>
                    </a:cubicBezTo>
                    <a:cubicBezTo>
                      <a:pt x="4" y="8"/>
                      <a:pt x="5" y="9"/>
                      <a:pt x="7" y="10"/>
                    </a:cubicBezTo>
                    <a:cubicBezTo>
                      <a:pt x="9" y="11"/>
                      <a:pt x="11" y="11"/>
                      <a:pt x="13" y="12"/>
                    </a:cubicBezTo>
                    <a:cubicBezTo>
                      <a:pt x="15" y="12"/>
                      <a:pt x="17" y="11"/>
                      <a:pt x="19" y="11"/>
                    </a:cubicBezTo>
                    <a:cubicBezTo>
                      <a:pt x="22" y="11"/>
                      <a:pt x="25" y="9"/>
                      <a:pt x="2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8" name="Freeform 3529"/>
              <p:cNvSpPr>
                <a:spLocks noChangeAspect="1"/>
              </p:cNvSpPr>
              <p:nvPr/>
            </p:nvSpPr>
            <p:spPr bwMode="auto">
              <a:xfrm>
                <a:off x="2947155" y="2530245"/>
                <a:ext cx="65424" cy="29234"/>
              </a:xfrm>
              <a:custGeom>
                <a:avLst/>
                <a:gdLst>
                  <a:gd name="T0" fmla="*/ 1 w 33"/>
                  <a:gd name="T1" fmla="*/ 2 h 15"/>
                  <a:gd name="T2" fmla="*/ 2 w 33"/>
                  <a:gd name="T3" fmla="*/ 0 h 15"/>
                  <a:gd name="T4" fmla="*/ 23 w 33"/>
                  <a:gd name="T5" fmla="*/ 4 h 15"/>
                  <a:gd name="T6" fmla="*/ 36 w 33"/>
                  <a:gd name="T7" fmla="*/ 11 h 15"/>
                  <a:gd name="T8" fmla="*/ 39 w 33"/>
                  <a:gd name="T9" fmla="*/ 16 h 15"/>
                  <a:gd name="T10" fmla="*/ 23 w 33"/>
                  <a:gd name="T11" fmla="*/ 14 h 15"/>
                  <a:gd name="T12" fmla="*/ 11 w 33"/>
                  <a:gd name="T13" fmla="*/ 7 h 15"/>
                  <a:gd name="T14" fmla="*/ 1 w 33"/>
                  <a:gd name="T15" fmla="*/ 2 h 1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"/>
                  <a:gd name="T25" fmla="*/ 0 h 15"/>
                  <a:gd name="T26" fmla="*/ 33 w 33"/>
                  <a:gd name="T27" fmla="*/ 15 h 1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" h="15">
                    <a:moveTo>
                      <a:pt x="1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7" y="0"/>
                      <a:pt x="13" y="2"/>
                      <a:pt x="19" y="3"/>
                    </a:cubicBezTo>
                    <a:cubicBezTo>
                      <a:pt x="23" y="5"/>
                      <a:pt x="27" y="7"/>
                      <a:pt x="30" y="9"/>
                    </a:cubicBezTo>
                    <a:cubicBezTo>
                      <a:pt x="32" y="10"/>
                      <a:pt x="33" y="13"/>
                      <a:pt x="32" y="13"/>
                    </a:cubicBezTo>
                    <a:cubicBezTo>
                      <a:pt x="28" y="15"/>
                      <a:pt x="23" y="13"/>
                      <a:pt x="19" y="12"/>
                    </a:cubicBezTo>
                    <a:cubicBezTo>
                      <a:pt x="16" y="11"/>
                      <a:pt x="13" y="8"/>
                      <a:pt x="9" y="6"/>
                    </a:cubicBezTo>
                    <a:cubicBezTo>
                      <a:pt x="7" y="4"/>
                      <a:pt x="3" y="3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19" name="Freeform 3530"/>
              <p:cNvSpPr>
                <a:spLocks noChangeAspect="1"/>
              </p:cNvSpPr>
              <p:nvPr/>
            </p:nvSpPr>
            <p:spPr bwMode="auto">
              <a:xfrm>
                <a:off x="2996223" y="2601707"/>
                <a:ext cx="11450" cy="17866"/>
              </a:xfrm>
              <a:custGeom>
                <a:avLst/>
                <a:gdLst>
                  <a:gd name="T0" fmla="*/ 6 w 6"/>
                  <a:gd name="T1" fmla="*/ 1 h 9"/>
                  <a:gd name="T2" fmla="*/ 0 w 6"/>
                  <a:gd name="T3" fmla="*/ 11 h 9"/>
                  <a:gd name="T4" fmla="*/ 4 w 6"/>
                  <a:gd name="T5" fmla="*/ 10 h 9"/>
                  <a:gd name="T6" fmla="*/ 7 w 6"/>
                  <a:gd name="T7" fmla="*/ 1 h 9"/>
                  <a:gd name="T8" fmla="*/ 6 w 6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9"/>
                  <a:gd name="T17" fmla="*/ 6 w 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9">
                    <a:moveTo>
                      <a:pt x="5" y="1"/>
                    </a:moveTo>
                    <a:cubicBezTo>
                      <a:pt x="3" y="3"/>
                      <a:pt x="1" y="6"/>
                      <a:pt x="0" y="9"/>
                    </a:cubicBezTo>
                    <a:cubicBezTo>
                      <a:pt x="0" y="9"/>
                      <a:pt x="2" y="9"/>
                      <a:pt x="3" y="8"/>
                    </a:cubicBezTo>
                    <a:cubicBezTo>
                      <a:pt x="4" y="6"/>
                      <a:pt x="5" y="4"/>
                      <a:pt x="6" y="1"/>
                    </a:cubicBezTo>
                    <a:cubicBezTo>
                      <a:pt x="6" y="1"/>
                      <a:pt x="5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0" name="Freeform 3531"/>
              <p:cNvSpPr>
                <a:spLocks noChangeAspect="1"/>
              </p:cNvSpPr>
              <p:nvPr/>
            </p:nvSpPr>
            <p:spPr bwMode="auto">
              <a:xfrm>
                <a:off x="3060011" y="2473401"/>
                <a:ext cx="161924" cy="170534"/>
              </a:xfrm>
              <a:custGeom>
                <a:avLst/>
                <a:gdLst>
                  <a:gd name="T0" fmla="*/ 63 w 83"/>
                  <a:gd name="T1" fmla="*/ 2 h 88"/>
                  <a:gd name="T2" fmla="*/ 56 w 83"/>
                  <a:gd name="T3" fmla="*/ 7 h 88"/>
                  <a:gd name="T4" fmla="*/ 55 w 83"/>
                  <a:gd name="T5" fmla="*/ 16 h 88"/>
                  <a:gd name="T6" fmla="*/ 44 w 83"/>
                  <a:gd name="T7" fmla="*/ 30 h 88"/>
                  <a:gd name="T8" fmla="*/ 43 w 83"/>
                  <a:gd name="T9" fmla="*/ 38 h 88"/>
                  <a:gd name="T10" fmla="*/ 50 w 83"/>
                  <a:gd name="T11" fmla="*/ 29 h 88"/>
                  <a:gd name="T12" fmla="*/ 56 w 83"/>
                  <a:gd name="T13" fmla="*/ 35 h 88"/>
                  <a:gd name="T14" fmla="*/ 50 w 83"/>
                  <a:gd name="T15" fmla="*/ 39 h 88"/>
                  <a:gd name="T16" fmla="*/ 63 w 83"/>
                  <a:gd name="T17" fmla="*/ 47 h 88"/>
                  <a:gd name="T18" fmla="*/ 69 w 83"/>
                  <a:gd name="T19" fmla="*/ 47 h 88"/>
                  <a:gd name="T20" fmla="*/ 74 w 83"/>
                  <a:gd name="T21" fmla="*/ 45 h 88"/>
                  <a:gd name="T22" fmla="*/ 79 w 83"/>
                  <a:gd name="T23" fmla="*/ 44 h 88"/>
                  <a:gd name="T24" fmla="*/ 86 w 83"/>
                  <a:gd name="T25" fmla="*/ 45 h 88"/>
                  <a:gd name="T26" fmla="*/ 78 w 83"/>
                  <a:gd name="T27" fmla="*/ 56 h 88"/>
                  <a:gd name="T28" fmla="*/ 79 w 83"/>
                  <a:gd name="T29" fmla="*/ 66 h 88"/>
                  <a:gd name="T30" fmla="*/ 88 w 83"/>
                  <a:gd name="T31" fmla="*/ 62 h 88"/>
                  <a:gd name="T32" fmla="*/ 88 w 83"/>
                  <a:gd name="T33" fmla="*/ 67 h 88"/>
                  <a:gd name="T34" fmla="*/ 79 w 83"/>
                  <a:gd name="T35" fmla="*/ 72 h 88"/>
                  <a:gd name="T36" fmla="*/ 81 w 83"/>
                  <a:gd name="T37" fmla="*/ 75 h 88"/>
                  <a:gd name="T38" fmla="*/ 79 w 83"/>
                  <a:gd name="T39" fmla="*/ 81 h 88"/>
                  <a:gd name="T40" fmla="*/ 82 w 83"/>
                  <a:gd name="T41" fmla="*/ 80 h 88"/>
                  <a:gd name="T42" fmla="*/ 91 w 83"/>
                  <a:gd name="T43" fmla="*/ 73 h 88"/>
                  <a:gd name="T44" fmla="*/ 92 w 83"/>
                  <a:gd name="T45" fmla="*/ 76 h 88"/>
                  <a:gd name="T46" fmla="*/ 88 w 83"/>
                  <a:gd name="T47" fmla="*/ 87 h 88"/>
                  <a:gd name="T48" fmla="*/ 95 w 83"/>
                  <a:gd name="T49" fmla="*/ 80 h 88"/>
                  <a:gd name="T50" fmla="*/ 93 w 83"/>
                  <a:gd name="T51" fmla="*/ 91 h 88"/>
                  <a:gd name="T52" fmla="*/ 88 w 83"/>
                  <a:gd name="T53" fmla="*/ 103 h 88"/>
                  <a:gd name="T54" fmla="*/ 80 w 83"/>
                  <a:gd name="T55" fmla="*/ 103 h 88"/>
                  <a:gd name="T56" fmla="*/ 80 w 83"/>
                  <a:gd name="T57" fmla="*/ 94 h 88"/>
                  <a:gd name="T58" fmla="*/ 72 w 83"/>
                  <a:gd name="T59" fmla="*/ 101 h 88"/>
                  <a:gd name="T60" fmla="*/ 76 w 83"/>
                  <a:gd name="T61" fmla="*/ 88 h 88"/>
                  <a:gd name="T62" fmla="*/ 75 w 83"/>
                  <a:gd name="T63" fmla="*/ 79 h 88"/>
                  <a:gd name="T64" fmla="*/ 70 w 83"/>
                  <a:gd name="T65" fmla="*/ 78 h 88"/>
                  <a:gd name="T66" fmla="*/ 68 w 83"/>
                  <a:gd name="T67" fmla="*/ 88 h 88"/>
                  <a:gd name="T68" fmla="*/ 60 w 83"/>
                  <a:gd name="T69" fmla="*/ 91 h 88"/>
                  <a:gd name="T70" fmla="*/ 54 w 83"/>
                  <a:gd name="T71" fmla="*/ 98 h 88"/>
                  <a:gd name="T72" fmla="*/ 45 w 83"/>
                  <a:gd name="T73" fmla="*/ 98 h 88"/>
                  <a:gd name="T74" fmla="*/ 57 w 83"/>
                  <a:gd name="T75" fmla="*/ 88 h 88"/>
                  <a:gd name="T76" fmla="*/ 61 w 83"/>
                  <a:gd name="T77" fmla="*/ 80 h 88"/>
                  <a:gd name="T78" fmla="*/ 52 w 83"/>
                  <a:gd name="T79" fmla="*/ 85 h 88"/>
                  <a:gd name="T80" fmla="*/ 44 w 83"/>
                  <a:gd name="T81" fmla="*/ 79 h 88"/>
                  <a:gd name="T82" fmla="*/ 27 w 83"/>
                  <a:gd name="T83" fmla="*/ 82 h 88"/>
                  <a:gd name="T84" fmla="*/ 13 w 83"/>
                  <a:gd name="T85" fmla="*/ 80 h 88"/>
                  <a:gd name="T86" fmla="*/ 4 w 83"/>
                  <a:gd name="T87" fmla="*/ 82 h 88"/>
                  <a:gd name="T88" fmla="*/ 0 w 83"/>
                  <a:gd name="T89" fmla="*/ 75 h 88"/>
                  <a:gd name="T90" fmla="*/ 11 w 83"/>
                  <a:gd name="T91" fmla="*/ 66 h 88"/>
                  <a:gd name="T92" fmla="*/ 18 w 83"/>
                  <a:gd name="T93" fmla="*/ 61 h 88"/>
                  <a:gd name="T94" fmla="*/ 5 w 83"/>
                  <a:gd name="T95" fmla="*/ 61 h 88"/>
                  <a:gd name="T96" fmla="*/ 13 w 83"/>
                  <a:gd name="T97" fmla="*/ 54 h 88"/>
                  <a:gd name="T98" fmla="*/ 23 w 83"/>
                  <a:gd name="T99" fmla="*/ 53 h 88"/>
                  <a:gd name="T100" fmla="*/ 21 w 83"/>
                  <a:gd name="T101" fmla="*/ 47 h 88"/>
                  <a:gd name="T102" fmla="*/ 21 w 83"/>
                  <a:gd name="T103" fmla="*/ 42 h 88"/>
                  <a:gd name="T104" fmla="*/ 31 w 83"/>
                  <a:gd name="T105" fmla="*/ 31 h 88"/>
                  <a:gd name="T106" fmla="*/ 36 w 83"/>
                  <a:gd name="T107" fmla="*/ 20 h 88"/>
                  <a:gd name="T108" fmla="*/ 43 w 83"/>
                  <a:gd name="T109" fmla="*/ 8 h 88"/>
                  <a:gd name="T110" fmla="*/ 52 w 83"/>
                  <a:gd name="T111" fmla="*/ 1 h 88"/>
                  <a:gd name="T112" fmla="*/ 58 w 83"/>
                  <a:gd name="T113" fmla="*/ 1 h 88"/>
                  <a:gd name="T114" fmla="*/ 63 w 83"/>
                  <a:gd name="T115" fmla="*/ 2 h 8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3"/>
                  <a:gd name="T175" fmla="*/ 0 h 88"/>
                  <a:gd name="T176" fmla="*/ 83 w 83"/>
                  <a:gd name="T177" fmla="*/ 88 h 8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3" h="88">
                    <a:moveTo>
                      <a:pt x="53" y="2"/>
                    </a:moveTo>
                    <a:cubicBezTo>
                      <a:pt x="52" y="4"/>
                      <a:pt x="48" y="4"/>
                      <a:pt x="47" y="6"/>
                    </a:cubicBezTo>
                    <a:cubicBezTo>
                      <a:pt x="46" y="8"/>
                      <a:pt x="48" y="11"/>
                      <a:pt x="46" y="13"/>
                    </a:cubicBezTo>
                    <a:cubicBezTo>
                      <a:pt x="44" y="18"/>
                      <a:pt x="40" y="21"/>
                      <a:pt x="37" y="25"/>
                    </a:cubicBezTo>
                    <a:cubicBezTo>
                      <a:pt x="36" y="27"/>
                      <a:pt x="34" y="32"/>
                      <a:pt x="36" y="32"/>
                    </a:cubicBezTo>
                    <a:cubicBezTo>
                      <a:pt x="39" y="31"/>
                      <a:pt x="39" y="25"/>
                      <a:pt x="42" y="24"/>
                    </a:cubicBezTo>
                    <a:cubicBezTo>
                      <a:pt x="44" y="24"/>
                      <a:pt x="47" y="27"/>
                      <a:pt x="47" y="29"/>
                    </a:cubicBezTo>
                    <a:cubicBezTo>
                      <a:pt x="47" y="31"/>
                      <a:pt x="40" y="31"/>
                      <a:pt x="42" y="33"/>
                    </a:cubicBezTo>
                    <a:cubicBezTo>
                      <a:pt x="44" y="37"/>
                      <a:pt x="49" y="37"/>
                      <a:pt x="53" y="39"/>
                    </a:cubicBezTo>
                    <a:cubicBezTo>
                      <a:pt x="55" y="39"/>
                      <a:pt x="56" y="40"/>
                      <a:pt x="58" y="39"/>
                    </a:cubicBezTo>
                    <a:cubicBezTo>
                      <a:pt x="60" y="35"/>
                      <a:pt x="61" y="39"/>
                      <a:pt x="62" y="38"/>
                    </a:cubicBezTo>
                    <a:cubicBezTo>
                      <a:pt x="63" y="38"/>
                      <a:pt x="64" y="37"/>
                      <a:pt x="66" y="37"/>
                    </a:cubicBezTo>
                    <a:cubicBezTo>
                      <a:pt x="68" y="37"/>
                      <a:pt x="73" y="36"/>
                      <a:pt x="72" y="38"/>
                    </a:cubicBezTo>
                    <a:cubicBezTo>
                      <a:pt x="72" y="42"/>
                      <a:pt x="67" y="43"/>
                      <a:pt x="65" y="47"/>
                    </a:cubicBezTo>
                    <a:cubicBezTo>
                      <a:pt x="64" y="49"/>
                      <a:pt x="63" y="53"/>
                      <a:pt x="66" y="55"/>
                    </a:cubicBezTo>
                    <a:cubicBezTo>
                      <a:pt x="68" y="56"/>
                      <a:pt x="71" y="52"/>
                      <a:pt x="74" y="52"/>
                    </a:cubicBezTo>
                    <a:cubicBezTo>
                      <a:pt x="76" y="52"/>
                      <a:pt x="75" y="55"/>
                      <a:pt x="74" y="56"/>
                    </a:cubicBezTo>
                    <a:cubicBezTo>
                      <a:pt x="72" y="58"/>
                      <a:pt x="68" y="58"/>
                      <a:pt x="66" y="60"/>
                    </a:cubicBezTo>
                    <a:cubicBezTo>
                      <a:pt x="66" y="61"/>
                      <a:pt x="68" y="62"/>
                      <a:pt x="68" y="63"/>
                    </a:cubicBezTo>
                    <a:cubicBezTo>
                      <a:pt x="68" y="65"/>
                      <a:pt x="65" y="67"/>
                      <a:pt x="66" y="68"/>
                    </a:cubicBezTo>
                    <a:cubicBezTo>
                      <a:pt x="66" y="69"/>
                      <a:pt x="68" y="68"/>
                      <a:pt x="69" y="67"/>
                    </a:cubicBezTo>
                    <a:cubicBezTo>
                      <a:pt x="71" y="65"/>
                      <a:pt x="73" y="62"/>
                      <a:pt x="76" y="61"/>
                    </a:cubicBezTo>
                    <a:cubicBezTo>
                      <a:pt x="77" y="61"/>
                      <a:pt x="77" y="63"/>
                      <a:pt x="77" y="64"/>
                    </a:cubicBezTo>
                    <a:cubicBezTo>
                      <a:pt x="76" y="67"/>
                      <a:pt x="71" y="71"/>
                      <a:pt x="74" y="73"/>
                    </a:cubicBezTo>
                    <a:cubicBezTo>
                      <a:pt x="76" y="74"/>
                      <a:pt x="78" y="65"/>
                      <a:pt x="80" y="67"/>
                    </a:cubicBezTo>
                    <a:cubicBezTo>
                      <a:pt x="83" y="69"/>
                      <a:pt x="79" y="73"/>
                      <a:pt x="78" y="76"/>
                    </a:cubicBezTo>
                    <a:cubicBezTo>
                      <a:pt x="77" y="79"/>
                      <a:pt x="77" y="84"/>
                      <a:pt x="74" y="86"/>
                    </a:cubicBezTo>
                    <a:cubicBezTo>
                      <a:pt x="73" y="88"/>
                      <a:pt x="69" y="88"/>
                      <a:pt x="67" y="86"/>
                    </a:cubicBezTo>
                    <a:cubicBezTo>
                      <a:pt x="65" y="84"/>
                      <a:pt x="69" y="79"/>
                      <a:pt x="67" y="79"/>
                    </a:cubicBezTo>
                    <a:cubicBezTo>
                      <a:pt x="64" y="79"/>
                      <a:pt x="62" y="88"/>
                      <a:pt x="60" y="85"/>
                    </a:cubicBezTo>
                    <a:cubicBezTo>
                      <a:pt x="58" y="82"/>
                      <a:pt x="63" y="78"/>
                      <a:pt x="64" y="74"/>
                    </a:cubicBezTo>
                    <a:cubicBezTo>
                      <a:pt x="64" y="71"/>
                      <a:pt x="64" y="68"/>
                      <a:pt x="63" y="66"/>
                    </a:cubicBezTo>
                    <a:cubicBezTo>
                      <a:pt x="62" y="65"/>
                      <a:pt x="60" y="64"/>
                      <a:pt x="59" y="65"/>
                    </a:cubicBezTo>
                    <a:cubicBezTo>
                      <a:pt x="58" y="68"/>
                      <a:pt x="59" y="72"/>
                      <a:pt x="57" y="74"/>
                    </a:cubicBezTo>
                    <a:cubicBezTo>
                      <a:pt x="55" y="76"/>
                      <a:pt x="52" y="75"/>
                      <a:pt x="50" y="76"/>
                    </a:cubicBezTo>
                    <a:cubicBezTo>
                      <a:pt x="48" y="78"/>
                      <a:pt x="47" y="81"/>
                      <a:pt x="45" y="82"/>
                    </a:cubicBezTo>
                    <a:cubicBezTo>
                      <a:pt x="43" y="83"/>
                      <a:pt x="37" y="84"/>
                      <a:pt x="38" y="82"/>
                    </a:cubicBezTo>
                    <a:cubicBezTo>
                      <a:pt x="39" y="78"/>
                      <a:pt x="45" y="78"/>
                      <a:pt x="48" y="74"/>
                    </a:cubicBezTo>
                    <a:cubicBezTo>
                      <a:pt x="50" y="73"/>
                      <a:pt x="53" y="69"/>
                      <a:pt x="51" y="67"/>
                    </a:cubicBezTo>
                    <a:cubicBezTo>
                      <a:pt x="49" y="66"/>
                      <a:pt x="47" y="71"/>
                      <a:pt x="44" y="71"/>
                    </a:cubicBezTo>
                    <a:cubicBezTo>
                      <a:pt x="41" y="71"/>
                      <a:pt x="40" y="66"/>
                      <a:pt x="37" y="66"/>
                    </a:cubicBezTo>
                    <a:cubicBezTo>
                      <a:pt x="32" y="65"/>
                      <a:pt x="28" y="69"/>
                      <a:pt x="23" y="69"/>
                    </a:cubicBezTo>
                    <a:cubicBezTo>
                      <a:pt x="19" y="69"/>
                      <a:pt x="15" y="67"/>
                      <a:pt x="11" y="67"/>
                    </a:cubicBezTo>
                    <a:cubicBezTo>
                      <a:pt x="8" y="67"/>
                      <a:pt x="6" y="70"/>
                      <a:pt x="3" y="69"/>
                    </a:cubicBezTo>
                    <a:cubicBezTo>
                      <a:pt x="1" y="68"/>
                      <a:pt x="0" y="65"/>
                      <a:pt x="0" y="63"/>
                    </a:cubicBezTo>
                    <a:cubicBezTo>
                      <a:pt x="2" y="59"/>
                      <a:pt x="6" y="58"/>
                      <a:pt x="9" y="55"/>
                    </a:cubicBezTo>
                    <a:cubicBezTo>
                      <a:pt x="11" y="54"/>
                      <a:pt x="17" y="53"/>
                      <a:pt x="15" y="51"/>
                    </a:cubicBezTo>
                    <a:cubicBezTo>
                      <a:pt x="12" y="49"/>
                      <a:pt x="6" y="54"/>
                      <a:pt x="4" y="51"/>
                    </a:cubicBezTo>
                    <a:cubicBezTo>
                      <a:pt x="2" y="48"/>
                      <a:pt x="8" y="46"/>
                      <a:pt x="11" y="45"/>
                    </a:cubicBezTo>
                    <a:cubicBezTo>
                      <a:pt x="13" y="44"/>
                      <a:pt x="17" y="46"/>
                      <a:pt x="19" y="44"/>
                    </a:cubicBezTo>
                    <a:cubicBezTo>
                      <a:pt x="21" y="43"/>
                      <a:pt x="19" y="41"/>
                      <a:pt x="18" y="39"/>
                    </a:cubicBezTo>
                    <a:cubicBezTo>
                      <a:pt x="18" y="38"/>
                      <a:pt x="17" y="36"/>
                      <a:pt x="18" y="35"/>
                    </a:cubicBezTo>
                    <a:cubicBezTo>
                      <a:pt x="20" y="32"/>
                      <a:pt x="23" y="30"/>
                      <a:pt x="26" y="26"/>
                    </a:cubicBezTo>
                    <a:cubicBezTo>
                      <a:pt x="28" y="23"/>
                      <a:pt x="29" y="20"/>
                      <a:pt x="30" y="17"/>
                    </a:cubicBezTo>
                    <a:cubicBezTo>
                      <a:pt x="32" y="13"/>
                      <a:pt x="33" y="10"/>
                      <a:pt x="36" y="7"/>
                    </a:cubicBezTo>
                    <a:cubicBezTo>
                      <a:pt x="38" y="4"/>
                      <a:pt x="41" y="3"/>
                      <a:pt x="44" y="1"/>
                    </a:cubicBezTo>
                    <a:cubicBezTo>
                      <a:pt x="46" y="1"/>
                      <a:pt x="47" y="1"/>
                      <a:pt x="49" y="1"/>
                    </a:cubicBezTo>
                    <a:cubicBezTo>
                      <a:pt x="50" y="1"/>
                      <a:pt x="54" y="0"/>
                      <a:pt x="5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1" name="Freeform 3532"/>
              <p:cNvSpPr>
                <a:spLocks noChangeAspect="1"/>
              </p:cNvSpPr>
              <p:nvPr/>
            </p:nvSpPr>
            <p:spPr bwMode="auto">
              <a:xfrm>
                <a:off x="2690368" y="2819340"/>
                <a:ext cx="49068" cy="19490"/>
              </a:xfrm>
              <a:custGeom>
                <a:avLst/>
                <a:gdLst>
                  <a:gd name="T0" fmla="*/ 1 w 25"/>
                  <a:gd name="T1" fmla="*/ 8 h 10"/>
                  <a:gd name="T2" fmla="*/ 1 w 25"/>
                  <a:gd name="T3" fmla="*/ 11 h 10"/>
                  <a:gd name="T4" fmla="*/ 7 w 25"/>
                  <a:gd name="T5" fmla="*/ 11 h 10"/>
                  <a:gd name="T6" fmla="*/ 22 w 25"/>
                  <a:gd name="T7" fmla="*/ 6 h 10"/>
                  <a:gd name="T8" fmla="*/ 29 w 25"/>
                  <a:gd name="T9" fmla="*/ 4 h 10"/>
                  <a:gd name="T10" fmla="*/ 26 w 25"/>
                  <a:gd name="T11" fmla="*/ 4 h 10"/>
                  <a:gd name="T12" fmla="*/ 20 w 25"/>
                  <a:gd name="T13" fmla="*/ 4 h 10"/>
                  <a:gd name="T14" fmla="*/ 24 w 25"/>
                  <a:gd name="T15" fmla="*/ 1 h 10"/>
                  <a:gd name="T16" fmla="*/ 20 w 25"/>
                  <a:gd name="T17" fmla="*/ 1 h 10"/>
                  <a:gd name="T18" fmla="*/ 11 w 25"/>
                  <a:gd name="T19" fmla="*/ 4 h 10"/>
                  <a:gd name="T20" fmla="*/ 6 w 25"/>
                  <a:gd name="T21" fmla="*/ 5 h 10"/>
                  <a:gd name="T22" fmla="*/ 1 w 25"/>
                  <a:gd name="T23" fmla="*/ 8 h 1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5"/>
                  <a:gd name="T37" fmla="*/ 0 h 10"/>
                  <a:gd name="T38" fmla="*/ 25 w 25"/>
                  <a:gd name="T39" fmla="*/ 10 h 1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5" h="10">
                    <a:moveTo>
                      <a:pt x="1" y="7"/>
                    </a:moveTo>
                    <a:cubicBezTo>
                      <a:pt x="1" y="7"/>
                      <a:pt x="0" y="8"/>
                      <a:pt x="1" y="9"/>
                    </a:cubicBezTo>
                    <a:cubicBezTo>
                      <a:pt x="2" y="10"/>
                      <a:pt x="4" y="10"/>
                      <a:pt x="6" y="9"/>
                    </a:cubicBezTo>
                    <a:cubicBezTo>
                      <a:pt x="10" y="8"/>
                      <a:pt x="14" y="7"/>
                      <a:pt x="18" y="5"/>
                    </a:cubicBezTo>
                    <a:cubicBezTo>
                      <a:pt x="20" y="5"/>
                      <a:pt x="22" y="4"/>
                      <a:pt x="24" y="3"/>
                    </a:cubicBezTo>
                    <a:cubicBezTo>
                      <a:pt x="25" y="3"/>
                      <a:pt x="22" y="3"/>
                      <a:pt x="22" y="3"/>
                    </a:cubicBezTo>
                    <a:cubicBezTo>
                      <a:pt x="20" y="3"/>
                      <a:pt x="18" y="4"/>
                      <a:pt x="17" y="3"/>
                    </a:cubicBezTo>
                    <a:cubicBezTo>
                      <a:pt x="17" y="2"/>
                      <a:pt x="21" y="2"/>
                      <a:pt x="20" y="1"/>
                    </a:cubicBezTo>
                    <a:cubicBezTo>
                      <a:pt x="20" y="0"/>
                      <a:pt x="18" y="1"/>
                      <a:pt x="17" y="1"/>
                    </a:cubicBezTo>
                    <a:cubicBezTo>
                      <a:pt x="14" y="2"/>
                      <a:pt x="12" y="2"/>
                      <a:pt x="9" y="3"/>
                    </a:cubicBezTo>
                    <a:cubicBezTo>
                      <a:pt x="8" y="3"/>
                      <a:pt x="6" y="3"/>
                      <a:pt x="5" y="4"/>
                    </a:cubicBezTo>
                    <a:cubicBezTo>
                      <a:pt x="4" y="5"/>
                      <a:pt x="2" y="5"/>
                      <a:pt x="1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2" name="Freeform 3533"/>
              <p:cNvSpPr>
                <a:spLocks noChangeAspect="1"/>
              </p:cNvSpPr>
              <p:nvPr/>
            </p:nvSpPr>
            <p:spPr bwMode="auto">
              <a:xfrm>
                <a:off x="2613495" y="2301243"/>
                <a:ext cx="29441" cy="29234"/>
              </a:xfrm>
              <a:custGeom>
                <a:avLst/>
                <a:gdLst>
                  <a:gd name="T0" fmla="*/ 11 w 15"/>
                  <a:gd name="T1" fmla="*/ 1 h 15"/>
                  <a:gd name="T2" fmla="*/ 8 w 15"/>
                  <a:gd name="T3" fmla="*/ 7 h 15"/>
                  <a:gd name="T4" fmla="*/ 6 w 15"/>
                  <a:gd name="T5" fmla="*/ 6 h 15"/>
                  <a:gd name="T6" fmla="*/ 1 w 15"/>
                  <a:gd name="T7" fmla="*/ 16 h 15"/>
                  <a:gd name="T8" fmla="*/ 10 w 15"/>
                  <a:gd name="T9" fmla="*/ 14 h 15"/>
                  <a:gd name="T10" fmla="*/ 16 w 15"/>
                  <a:gd name="T11" fmla="*/ 11 h 15"/>
                  <a:gd name="T12" fmla="*/ 18 w 15"/>
                  <a:gd name="T13" fmla="*/ 5 h 15"/>
                  <a:gd name="T14" fmla="*/ 14 w 15"/>
                  <a:gd name="T15" fmla="*/ 0 h 15"/>
                  <a:gd name="T16" fmla="*/ 11 w 15"/>
                  <a:gd name="T17" fmla="*/ 1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5"/>
                  <a:gd name="T29" fmla="*/ 15 w 15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5">
                    <a:moveTo>
                      <a:pt x="9" y="1"/>
                    </a:moveTo>
                    <a:cubicBezTo>
                      <a:pt x="8" y="2"/>
                      <a:pt x="8" y="5"/>
                      <a:pt x="7" y="6"/>
                    </a:cubicBezTo>
                    <a:cubicBezTo>
                      <a:pt x="7" y="6"/>
                      <a:pt x="5" y="4"/>
                      <a:pt x="5" y="5"/>
                    </a:cubicBezTo>
                    <a:cubicBezTo>
                      <a:pt x="3" y="7"/>
                      <a:pt x="0" y="10"/>
                      <a:pt x="1" y="13"/>
                    </a:cubicBezTo>
                    <a:cubicBezTo>
                      <a:pt x="2" y="15"/>
                      <a:pt x="6" y="12"/>
                      <a:pt x="8" y="12"/>
                    </a:cubicBezTo>
                    <a:cubicBezTo>
                      <a:pt x="10" y="11"/>
                      <a:pt x="12" y="10"/>
                      <a:pt x="13" y="9"/>
                    </a:cubicBezTo>
                    <a:cubicBezTo>
                      <a:pt x="14" y="7"/>
                      <a:pt x="15" y="5"/>
                      <a:pt x="15" y="4"/>
                    </a:cubicBezTo>
                    <a:cubicBezTo>
                      <a:pt x="15" y="2"/>
                      <a:pt x="13" y="1"/>
                      <a:pt x="12" y="0"/>
                    </a:cubicBezTo>
                    <a:cubicBezTo>
                      <a:pt x="11" y="0"/>
                      <a:pt x="10" y="0"/>
                      <a:pt x="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3" name="Freeform 3534"/>
              <p:cNvSpPr>
                <a:spLocks noChangeAspect="1"/>
              </p:cNvSpPr>
              <p:nvPr/>
            </p:nvSpPr>
            <p:spPr bwMode="auto">
              <a:xfrm>
                <a:off x="2552979" y="2418181"/>
                <a:ext cx="29441" cy="17866"/>
              </a:xfrm>
              <a:custGeom>
                <a:avLst/>
                <a:gdLst>
                  <a:gd name="T0" fmla="*/ 16 w 15"/>
                  <a:gd name="T1" fmla="*/ 4 h 9"/>
                  <a:gd name="T2" fmla="*/ 18 w 15"/>
                  <a:gd name="T3" fmla="*/ 10 h 9"/>
                  <a:gd name="T4" fmla="*/ 13 w 15"/>
                  <a:gd name="T5" fmla="*/ 10 h 9"/>
                  <a:gd name="T6" fmla="*/ 7 w 15"/>
                  <a:gd name="T7" fmla="*/ 9 h 9"/>
                  <a:gd name="T8" fmla="*/ 1 w 15"/>
                  <a:gd name="T9" fmla="*/ 6 h 9"/>
                  <a:gd name="T10" fmla="*/ 4 w 15"/>
                  <a:gd name="T11" fmla="*/ 1 h 9"/>
                  <a:gd name="T12" fmla="*/ 12 w 15"/>
                  <a:gd name="T13" fmla="*/ 0 h 9"/>
                  <a:gd name="T14" fmla="*/ 16 w 15"/>
                  <a:gd name="T15" fmla="*/ 4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9"/>
                  <a:gd name="T26" fmla="*/ 15 w 15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9">
                    <a:moveTo>
                      <a:pt x="13" y="3"/>
                    </a:moveTo>
                    <a:cubicBezTo>
                      <a:pt x="14" y="4"/>
                      <a:pt x="15" y="6"/>
                      <a:pt x="15" y="8"/>
                    </a:cubicBezTo>
                    <a:cubicBezTo>
                      <a:pt x="14" y="9"/>
                      <a:pt x="12" y="9"/>
                      <a:pt x="11" y="8"/>
                    </a:cubicBezTo>
                    <a:cubicBezTo>
                      <a:pt x="9" y="8"/>
                      <a:pt x="7" y="7"/>
                      <a:pt x="6" y="7"/>
                    </a:cubicBezTo>
                    <a:cubicBezTo>
                      <a:pt x="4" y="6"/>
                      <a:pt x="2" y="6"/>
                      <a:pt x="1" y="5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5" y="0"/>
                      <a:pt x="8" y="0"/>
                      <a:pt x="10" y="0"/>
                    </a:cubicBezTo>
                    <a:cubicBezTo>
                      <a:pt x="12" y="0"/>
                      <a:pt x="13" y="2"/>
                      <a:pt x="1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4" name="Freeform 3535"/>
              <p:cNvSpPr>
                <a:spLocks noChangeAspect="1"/>
              </p:cNvSpPr>
              <p:nvPr/>
            </p:nvSpPr>
            <p:spPr bwMode="auto">
              <a:xfrm>
                <a:off x="2906266" y="2145327"/>
                <a:ext cx="16356" cy="17866"/>
              </a:xfrm>
              <a:custGeom>
                <a:avLst/>
                <a:gdLst>
                  <a:gd name="T0" fmla="*/ 6 w 8"/>
                  <a:gd name="T1" fmla="*/ 0 h 9"/>
                  <a:gd name="T2" fmla="*/ 9 w 8"/>
                  <a:gd name="T3" fmla="*/ 5 h 9"/>
                  <a:gd name="T4" fmla="*/ 3 w 8"/>
                  <a:gd name="T5" fmla="*/ 11 h 9"/>
                  <a:gd name="T6" fmla="*/ 1 w 8"/>
                  <a:gd name="T7" fmla="*/ 9 h 9"/>
                  <a:gd name="T8" fmla="*/ 6 w 8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5" y="0"/>
                    </a:moveTo>
                    <a:cubicBezTo>
                      <a:pt x="6" y="0"/>
                      <a:pt x="8" y="2"/>
                      <a:pt x="7" y="4"/>
                    </a:cubicBezTo>
                    <a:cubicBezTo>
                      <a:pt x="7" y="6"/>
                      <a:pt x="4" y="8"/>
                      <a:pt x="2" y="9"/>
                    </a:cubicBezTo>
                    <a:cubicBezTo>
                      <a:pt x="1" y="9"/>
                      <a:pt x="0" y="8"/>
                      <a:pt x="1" y="7"/>
                    </a:cubicBezTo>
                    <a:cubicBezTo>
                      <a:pt x="1" y="5"/>
                      <a:pt x="2" y="1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5" name="Freeform 3536"/>
              <p:cNvSpPr>
                <a:spLocks noChangeAspect="1"/>
              </p:cNvSpPr>
              <p:nvPr/>
            </p:nvSpPr>
            <p:spPr bwMode="auto">
              <a:xfrm>
                <a:off x="2984774" y="2106347"/>
                <a:ext cx="11450" cy="17866"/>
              </a:xfrm>
              <a:custGeom>
                <a:avLst/>
                <a:gdLst>
                  <a:gd name="T0" fmla="*/ 0 w 6"/>
                  <a:gd name="T1" fmla="*/ 2 h 9"/>
                  <a:gd name="T2" fmla="*/ 4 w 6"/>
                  <a:gd name="T3" fmla="*/ 10 h 9"/>
                  <a:gd name="T4" fmla="*/ 7 w 6"/>
                  <a:gd name="T5" fmla="*/ 7 h 9"/>
                  <a:gd name="T6" fmla="*/ 7 w 6"/>
                  <a:gd name="T7" fmla="*/ 4 h 9"/>
                  <a:gd name="T8" fmla="*/ 5 w 6"/>
                  <a:gd name="T9" fmla="*/ 1 h 9"/>
                  <a:gd name="T10" fmla="*/ 1 w 6"/>
                  <a:gd name="T11" fmla="*/ 1 h 9"/>
                  <a:gd name="T12" fmla="*/ 0 w 6"/>
                  <a:gd name="T13" fmla="*/ 2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9"/>
                  <a:gd name="T23" fmla="*/ 6 w 6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9">
                    <a:moveTo>
                      <a:pt x="0" y="2"/>
                    </a:moveTo>
                    <a:cubicBezTo>
                      <a:pt x="0" y="4"/>
                      <a:pt x="1" y="7"/>
                      <a:pt x="3" y="8"/>
                    </a:cubicBezTo>
                    <a:cubicBezTo>
                      <a:pt x="4" y="9"/>
                      <a:pt x="5" y="7"/>
                      <a:pt x="6" y="6"/>
                    </a:cubicBezTo>
                    <a:cubicBezTo>
                      <a:pt x="6" y="5"/>
                      <a:pt x="6" y="4"/>
                      <a:pt x="6" y="3"/>
                    </a:cubicBezTo>
                    <a:cubicBezTo>
                      <a:pt x="6" y="2"/>
                      <a:pt x="5" y="1"/>
                      <a:pt x="4" y="1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1" y="1"/>
                      <a:pt x="0" y="1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6" name="Freeform 3537"/>
              <p:cNvSpPr>
                <a:spLocks noChangeAspect="1"/>
              </p:cNvSpPr>
              <p:nvPr/>
            </p:nvSpPr>
            <p:spPr bwMode="auto">
              <a:xfrm>
                <a:off x="2726351" y="2034886"/>
                <a:ext cx="14721" cy="11369"/>
              </a:xfrm>
              <a:custGeom>
                <a:avLst/>
                <a:gdLst>
                  <a:gd name="T0" fmla="*/ 1 w 8"/>
                  <a:gd name="T1" fmla="*/ 0 h 6"/>
                  <a:gd name="T2" fmla="*/ 0 w 8"/>
                  <a:gd name="T3" fmla="*/ 2 h 6"/>
                  <a:gd name="T4" fmla="*/ 7 w 8"/>
                  <a:gd name="T5" fmla="*/ 7 h 6"/>
                  <a:gd name="T6" fmla="*/ 8 w 8"/>
                  <a:gd name="T7" fmla="*/ 1 h 6"/>
                  <a:gd name="T8" fmla="*/ 1 w 8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6"/>
                  <a:gd name="T17" fmla="*/ 8 w 8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6">
                    <a:moveTo>
                      <a:pt x="1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2" y="4"/>
                      <a:pt x="3" y="6"/>
                      <a:pt x="6" y="6"/>
                    </a:cubicBezTo>
                    <a:cubicBezTo>
                      <a:pt x="7" y="6"/>
                      <a:pt x="8" y="2"/>
                      <a:pt x="7" y="1"/>
                    </a:cubicBezTo>
                    <a:cubicBezTo>
                      <a:pt x="6" y="0"/>
                      <a:pt x="3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7" name="Freeform 3538"/>
              <p:cNvSpPr>
                <a:spLocks noChangeAspect="1"/>
              </p:cNvSpPr>
              <p:nvPr/>
            </p:nvSpPr>
            <p:spPr bwMode="auto">
              <a:xfrm>
                <a:off x="2696911" y="2039757"/>
                <a:ext cx="21263" cy="17866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2 h 9"/>
                  <a:gd name="T4" fmla="*/ 7 w 11"/>
                  <a:gd name="T5" fmla="*/ 11 h 9"/>
                  <a:gd name="T6" fmla="*/ 13 w 11"/>
                  <a:gd name="T7" fmla="*/ 7 h 9"/>
                  <a:gd name="T8" fmla="*/ 12 w 11"/>
                  <a:gd name="T9" fmla="*/ 1 h 9"/>
                  <a:gd name="T10" fmla="*/ 7 w 11"/>
                  <a:gd name="T11" fmla="*/ 0 h 9"/>
                  <a:gd name="T12" fmla="*/ 2 w 11"/>
                  <a:gd name="T13" fmla="*/ 0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9"/>
                  <a:gd name="T23" fmla="*/ 11 w 11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9">
                    <a:moveTo>
                      <a:pt x="2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2" y="5"/>
                      <a:pt x="3" y="8"/>
                      <a:pt x="6" y="9"/>
                    </a:cubicBezTo>
                    <a:cubicBezTo>
                      <a:pt x="8" y="9"/>
                      <a:pt x="10" y="7"/>
                      <a:pt x="11" y="6"/>
                    </a:cubicBezTo>
                    <a:cubicBezTo>
                      <a:pt x="11" y="5"/>
                      <a:pt x="11" y="3"/>
                      <a:pt x="10" y="1"/>
                    </a:cubicBezTo>
                    <a:cubicBezTo>
                      <a:pt x="10" y="0"/>
                      <a:pt x="8" y="0"/>
                      <a:pt x="6" y="0"/>
                    </a:cubicBezTo>
                    <a:cubicBezTo>
                      <a:pt x="5" y="0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8" name="Freeform 3539"/>
              <p:cNvSpPr>
                <a:spLocks noChangeAspect="1"/>
              </p:cNvSpPr>
              <p:nvPr/>
            </p:nvSpPr>
            <p:spPr bwMode="auto">
              <a:xfrm>
                <a:off x="2647843" y="2078737"/>
                <a:ext cx="22898" cy="35731"/>
              </a:xfrm>
              <a:custGeom>
                <a:avLst/>
                <a:gdLst>
                  <a:gd name="T0" fmla="*/ 11 w 12"/>
                  <a:gd name="T1" fmla="*/ 1 h 18"/>
                  <a:gd name="T2" fmla="*/ 13 w 12"/>
                  <a:gd name="T3" fmla="*/ 4 h 18"/>
                  <a:gd name="T4" fmla="*/ 13 w 12"/>
                  <a:gd name="T5" fmla="*/ 10 h 18"/>
                  <a:gd name="T6" fmla="*/ 6 w 12"/>
                  <a:gd name="T7" fmla="*/ 21 h 18"/>
                  <a:gd name="T8" fmla="*/ 1 w 12"/>
                  <a:gd name="T9" fmla="*/ 17 h 18"/>
                  <a:gd name="T10" fmla="*/ 1 w 12"/>
                  <a:gd name="T11" fmla="*/ 9 h 18"/>
                  <a:gd name="T12" fmla="*/ 7 w 12"/>
                  <a:gd name="T13" fmla="*/ 1 h 18"/>
                  <a:gd name="T14" fmla="*/ 11 w 12"/>
                  <a:gd name="T15" fmla="*/ 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"/>
                  <a:gd name="T25" fmla="*/ 0 h 18"/>
                  <a:gd name="T26" fmla="*/ 12 w 12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" h="18">
                    <a:moveTo>
                      <a:pt x="9" y="1"/>
                    </a:moveTo>
                    <a:cubicBezTo>
                      <a:pt x="10" y="1"/>
                      <a:pt x="11" y="2"/>
                      <a:pt x="11" y="3"/>
                    </a:cubicBezTo>
                    <a:cubicBezTo>
                      <a:pt x="12" y="5"/>
                      <a:pt x="12" y="7"/>
                      <a:pt x="11" y="8"/>
                    </a:cubicBezTo>
                    <a:cubicBezTo>
                      <a:pt x="10" y="11"/>
                      <a:pt x="8" y="15"/>
                      <a:pt x="5" y="17"/>
                    </a:cubicBezTo>
                    <a:cubicBezTo>
                      <a:pt x="3" y="18"/>
                      <a:pt x="2" y="15"/>
                      <a:pt x="1" y="14"/>
                    </a:cubicBezTo>
                    <a:cubicBezTo>
                      <a:pt x="0" y="12"/>
                      <a:pt x="0" y="9"/>
                      <a:pt x="1" y="7"/>
                    </a:cubicBezTo>
                    <a:cubicBezTo>
                      <a:pt x="2" y="5"/>
                      <a:pt x="4" y="3"/>
                      <a:pt x="6" y="1"/>
                    </a:cubicBezTo>
                    <a:cubicBezTo>
                      <a:pt x="7" y="1"/>
                      <a:pt x="8" y="0"/>
                      <a:pt x="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29" name="Freeform 3540"/>
              <p:cNvSpPr>
                <a:spLocks noChangeAspect="1"/>
              </p:cNvSpPr>
              <p:nvPr/>
            </p:nvSpPr>
            <p:spPr bwMode="auto">
              <a:xfrm>
                <a:off x="2569335" y="2062495"/>
                <a:ext cx="49068" cy="32483"/>
              </a:xfrm>
              <a:custGeom>
                <a:avLst/>
                <a:gdLst>
                  <a:gd name="T0" fmla="*/ 26 w 25"/>
                  <a:gd name="T1" fmla="*/ 0 h 17"/>
                  <a:gd name="T2" fmla="*/ 30 w 25"/>
                  <a:gd name="T3" fmla="*/ 1 h 17"/>
                  <a:gd name="T4" fmla="*/ 29 w 25"/>
                  <a:gd name="T5" fmla="*/ 5 h 17"/>
                  <a:gd name="T6" fmla="*/ 19 w 25"/>
                  <a:gd name="T7" fmla="*/ 12 h 17"/>
                  <a:gd name="T8" fmla="*/ 13 w 25"/>
                  <a:gd name="T9" fmla="*/ 19 h 17"/>
                  <a:gd name="T10" fmla="*/ 7 w 25"/>
                  <a:gd name="T11" fmla="*/ 16 h 17"/>
                  <a:gd name="T12" fmla="*/ 2 w 25"/>
                  <a:gd name="T13" fmla="*/ 20 h 17"/>
                  <a:gd name="T14" fmla="*/ 1 w 25"/>
                  <a:gd name="T15" fmla="*/ 18 h 17"/>
                  <a:gd name="T16" fmla="*/ 1 w 25"/>
                  <a:gd name="T17" fmla="*/ 13 h 17"/>
                  <a:gd name="T18" fmla="*/ 10 w 25"/>
                  <a:gd name="T19" fmla="*/ 4 h 17"/>
                  <a:gd name="T20" fmla="*/ 11 w 25"/>
                  <a:gd name="T21" fmla="*/ 0 h 17"/>
                  <a:gd name="T22" fmla="*/ 16 w 25"/>
                  <a:gd name="T23" fmla="*/ 4 h 17"/>
                  <a:gd name="T24" fmla="*/ 20 w 25"/>
                  <a:gd name="T25" fmla="*/ 1 h 17"/>
                  <a:gd name="T26" fmla="*/ 23 w 25"/>
                  <a:gd name="T27" fmla="*/ 1 h 17"/>
                  <a:gd name="T28" fmla="*/ 26 w 25"/>
                  <a:gd name="T29" fmla="*/ 0 h 1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5"/>
                  <a:gd name="T46" fmla="*/ 0 h 17"/>
                  <a:gd name="T47" fmla="*/ 25 w 25"/>
                  <a:gd name="T48" fmla="*/ 17 h 1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5" h="17">
                    <a:moveTo>
                      <a:pt x="22" y="0"/>
                    </a:moveTo>
                    <a:cubicBezTo>
                      <a:pt x="23" y="0"/>
                      <a:pt x="25" y="0"/>
                      <a:pt x="25" y="1"/>
                    </a:cubicBezTo>
                    <a:cubicBezTo>
                      <a:pt x="25" y="2"/>
                      <a:pt x="25" y="4"/>
                      <a:pt x="24" y="4"/>
                    </a:cubicBezTo>
                    <a:cubicBezTo>
                      <a:pt x="22" y="7"/>
                      <a:pt x="19" y="8"/>
                      <a:pt x="16" y="10"/>
                    </a:cubicBezTo>
                    <a:cubicBezTo>
                      <a:pt x="14" y="11"/>
                      <a:pt x="13" y="14"/>
                      <a:pt x="11" y="16"/>
                    </a:cubicBezTo>
                    <a:cubicBezTo>
                      <a:pt x="9" y="16"/>
                      <a:pt x="8" y="14"/>
                      <a:pt x="6" y="14"/>
                    </a:cubicBezTo>
                    <a:cubicBezTo>
                      <a:pt x="4" y="15"/>
                      <a:pt x="4" y="17"/>
                      <a:pt x="2" y="17"/>
                    </a:cubicBezTo>
                    <a:cubicBezTo>
                      <a:pt x="1" y="17"/>
                      <a:pt x="1" y="16"/>
                      <a:pt x="1" y="15"/>
                    </a:cubicBezTo>
                    <a:cubicBezTo>
                      <a:pt x="0" y="14"/>
                      <a:pt x="0" y="12"/>
                      <a:pt x="1" y="11"/>
                    </a:cubicBezTo>
                    <a:cubicBezTo>
                      <a:pt x="2" y="8"/>
                      <a:pt x="6" y="6"/>
                      <a:pt x="8" y="3"/>
                    </a:cubicBezTo>
                    <a:cubicBezTo>
                      <a:pt x="8" y="2"/>
                      <a:pt x="8" y="0"/>
                      <a:pt x="9" y="0"/>
                    </a:cubicBezTo>
                    <a:cubicBezTo>
                      <a:pt x="11" y="0"/>
                      <a:pt x="11" y="3"/>
                      <a:pt x="13" y="3"/>
                    </a:cubicBezTo>
                    <a:cubicBezTo>
                      <a:pt x="14" y="3"/>
                      <a:pt x="16" y="1"/>
                      <a:pt x="17" y="1"/>
                    </a:cubicBezTo>
                    <a:cubicBezTo>
                      <a:pt x="18" y="1"/>
                      <a:pt x="19" y="1"/>
                      <a:pt x="19" y="1"/>
                    </a:cubicBezTo>
                    <a:cubicBezTo>
                      <a:pt x="20" y="1"/>
                      <a:pt x="21" y="0"/>
                      <a:pt x="2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0" name="Freeform 3541"/>
              <p:cNvSpPr>
                <a:spLocks noChangeAspect="1"/>
              </p:cNvSpPr>
              <p:nvPr/>
            </p:nvSpPr>
            <p:spPr bwMode="auto">
              <a:xfrm>
                <a:off x="2505546" y="1942310"/>
                <a:ext cx="158653" cy="115314"/>
              </a:xfrm>
              <a:custGeom>
                <a:avLst/>
                <a:gdLst>
                  <a:gd name="T0" fmla="*/ 90 w 81"/>
                  <a:gd name="T1" fmla="*/ 46 h 59"/>
                  <a:gd name="T2" fmla="*/ 92 w 81"/>
                  <a:gd name="T3" fmla="*/ 51 h 59"/>
                  <a:gd name="T4" fmla="*/ 90 w 81"/>
                  <a:gd name="T5" fmla="*/ 52 h 59"/>
                  <a:gd name="T6" fmla="*/ 96 w 81"/>
                  <a:gd name="T7" fmla="*/ 53 h 59"/>
                  <a:gd name="T8" fmla="*/ 95 w 81"/>
                  <a:gd name="T9" fmla="*/ 55 h 59"/>
                  <a:gd name="T10" fmla="*/ 85 w 81"/>
                  <a:gd name="T11" fmla="*/ 59 h 59"/>
                  <a:gd name="T12" fmla="*/ 78 w 81"/>
                  <a:gd name="T13" fmla="*/ 58 h 59"/>
                  <a:gd name="T14" fmla="*/ 77 w 81"/>
                  <a:gd name="T15" fmla="*/ 55 h 59"/>
                  <a:gd name="T16" fmla="*/ 73 w 81"/>
                  <a:gd name="T17" fmla="*/ 57 h 59"/>
                  <a:gd name="T18" fmla="*/ 68 w 81"/>
                  <a:gd name="T19" fmla="*/ 54 h 59"/>
                  <a:gd name="T20" fmla="*/ 67 w 81"/>
                  <a:gd name="T21" fmla="*/ 55 h 59"/>
                  <a:gd name="T22" fmla="*/ 63 w 81"/>
                  <a:gd name="T23" fmla="*/ 53 h 59"/>
                  <a:gd name="T24" fmla="*/ 65 w 81"/>
                  <a:gd name="T25" fmla="*/ 51 h 59"/>
                  <a:gd name="T26" fmla="*/ 60 w 81"/>
                  <a:gd name="T27" fmla="*/ 49 h 59"/>
                  <a:gd name="T28" fmla="*/ 57 w 81"/>
                  <a:gd name="T29" fmla="*/ 49 h 59"/>
                  <a:gd name="T30" fmla="*/ 57 w 81"/>
                  <a:gd name="T31" fmla="*/ 45 h 59"/>
                  <a:gd name="T32" fmla="*/ 50 w 81"/>
                  <a:gd name="T33" fmla="*/ 46 h 59"/>
                  <a:gd name="T34" fmla="*/ 48 w 81"/>
                  <a:gd name="T35" fmla="*/ 54 h 59"/>
                  <a:gd name="T36" fmla="*/ 41 w 81"/>
                  <a:gd name="T37" fmla="*/ 58 h 59"/>
                  <a:gd name="T38" fmla="*/ 37 w 81"/>
                  <a:gd name="T39" fmla="*/ 59 h 59"/>
                  <a:gd name="T40" fmla="*/ 34 w 81"/>
                  <a:gd name="T41" fmla="*/ 65 h 59"/>
                  <a:gd name="T42" fmla="*/ 25 w 81"/>
                  <a:gd name="T43" fmla="*/ 70 h 59"/>
                  <a:gd name="T44" fmla="*/ 20 w 81"/>
                  <a:gd name="T45" fmla="*/ 70 h 59"/>
                  <a:gd name="T46" fmla="*/ 20 w 81"/>
                  <a:gd name="T47" fmla="*/ 60 h 59"/>
                  <a:gd name="T48" fmla="*/ 22 w 81"/>
                  <a:gd name="T49" fmla="*/ 55 h 59"/>
                  <a:gd name="T50" fmla="*/ 19 w 81"/>
                  <a:gd name="T51" fmla="*/ 53 h 59"/>
                  <a:gd name="T52" fmla="*/ 17 w 81"/>
                  <a:gd name="T53" fmla="*/ 55 h 59"/>
                  <a:gd name="T54" fmla="*/ 11 w 81"/>
                  <a:gd name="T55" fmla="*/ 55 h 59"/>
                  <a:gd name="T56" fmla="*/ 4 w 81"/>
                  <a:gd name="T57" fmla="*/ 59 h 59"/>
                  <a:gd name="T58" fmla="*/ 0 w 81"/>
                  <a:gd name="T59" fmla="*/ 57 h 59"/>
                  <a:gd name="T60" fmla="*/ 7 w 81"/>
                  <a:gd name="T61" fmla="*/ 48 h 59"/>
                  <a:gd name="T62" fmla="*/ 16 w 81"/>
                  <a:gd name="T63" fmla="*/ 45 h 59"/>
                  <a:gd name="T64" fmla="*/ 17 w 81"/>
                  <a:gd name="T65" fmla="*/ 34 h 59"/>
                  <a:gd name="T66" fmla="*/ 22 w 81"/>
                  <a:gd name="T67" fmla="*/ 23 h 59"/>
                  <a:gd name="T68" fmla="*/ 24 w 81"/>
                  <a:gd name="T69" fmla="*/ 13 h 59"/>
                  <a:gd name="T70" fmla="*/ 29 w 81"/>
                  <a:gd name="T71" fmla="*/ 6 h 59"/>
                  <a:gd name="T72" fmla="*/ 35 w 81"/>
                  <a:gd name="T73" fmla="*/ 1 h 59"/>
                  <a:gd name="T74" fmla="*/ 37 w 81"/>
                  <a:gd name="T75" fmla="*/ 5 h 59"/>
                  <a:gd name="T76" fmla="*/ 40 w 81"/>
                  <a:gd name="T77" fmla="*/ 8 h 59"/>
                  <a:gd name="T78" fmla="*/ 36 w 81"/>
                  <a:gd name="T79" fmla="*/ 11 h 59"/>
                  <a:gd name="T80" fmla="*/ 38 w 81"/>
                  <a:gd name="T81" fmla="*/ 19 h 59"/>
                  <a:gd name="T82" fmla="*/ 41 w 81"/>
                  <a:gd name="T83" fmla="*/ 19 h 59"/>
                  <a:gd name="T84" fmla="*/ 44 w 81"/>
                  <a:gd name="T85" fmla="*/ 12 h 59"/>
                  <a:gd name="T86" fmla="*/ 49 w 81"/>
                  <a:gd name="T87" fmla="*/ 18 h 59"/>
                  <a:gd name="T88" fmla="*/ 50 w 81"/>
                  <a:gd name="T89" fmla="*/ 19 h 59"/>
                  <a:gd name="T90" fmla="*/ 59 w 81"/>
                  <a:gd name="T91" fmla="*/ 22 h 59"/>
                  <a:gd name="T92" fmla="*/ 60 w 81"/>
                  <a:gd name="T93" fmla="*/ 25 h 59"/>
                  <a:gd name="T94" fmla="*/ 77 w 81"/>
                  <a:gd name="T95" fmla="*/ 34 h 59"/>
                  <a:gd name="T96" fmla="*/ 77 w 81"/>
                  <a:gd name="T97" fmla="*/ 40 h 59"/>
                  <a:gd name="T98" fmla="*/ 78 w 81"/>
                  <a:gd name="T99" fmla="*/ 43 h 59"/>
                  <a:gd name="T100" fmla="*/ 73 w 81"/>
                  <a:gd name="T101" fmla="*/ 48 h 59"/>
                  <a:gd name="T102" fmla="*/ 79 w 81"/>
                  <a:gd name="T103" fmla="*/ 48 h 59"/>
                  <a:gd name="T104" fmla="*/ 81 w 81"/>
                  <a:gd name="T105" fmla="*/ 46 h 59"/>
                  <a:gd name="T106" fmla="*/ 87 w 81"/>
                  <a:gd name="T107" fmla="*/ 48 h 59"/>
                  <a:gd name="T108" fmla="*/ 90 w 81"/>
                  <a:gd name="T109" fmla="*/ 46 h 59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1"/>
                  <a:gd name="T166" fmla="*/ 0 h 59"/>
                  <a:gd name="T167" fmla="*/ 81 w 81"/>
                  <a:gd name="T168" fmla="*/ 59 h 59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1" h="59">
                    <a:moveTo>
                      <a:pt x="75" y="38"/>
                    </a:moveTo>
                    <a:cubicBezTo>
                      <a:pt x="77" y="38"/>
                      <a:pt x="77" y="40"/>
                      <a:pt x="77" y="42"/>
                    </a:cubicBezTo>
                    <a:cubicBezTo>
                      <a:pt x="77" y="43"/>
                      <a:pt x="74" y="43"/>
                      <a:pt x="75" y="43"/>
                    </a:cubicBezTo>
                    <a:cubicBezTo>
                      <a:pt x="76" y="44"/>
                      <a:pt x="79" y="43"/>
                      <a:pt x="80" y="44"/>
                    </a:cubicBezTo>
                    <a:cubicBezTo>
                      <a:pt x="81" y="44"/>
                      <a:pt x="80" y="45"/>
                      <a:pt x="79" y="46"/>
                    </a:cubicBezTo>
                    <a:cubicBezTo>
                      <a:pt x="77" y="47"/>
                      <a:pt x="74" y="49"/>
                      <a:pt x="71" y="49"/>
                    </a:cubicBezTo>
                    <a:cubicBezTo>
                      <a:pt x="69" y="50"/>
                      <a:pt x="67" y="49"/>
                      <a:pt x="65" y="48"/>
                    </a:cubicBezTo>
                    <a:cubicBezTo>
                      <a:pt x="64" y="48"/>
                      <a:pt x="64" y="47"/>
                      <a:pt x="64" y="46"/>
                    </a:cubicBezTo>
                    <a:cubicBezTo>
                      <a:pt x="63" y="46"/>
                      <a:pt x="62" y="47"/>
                      <a:pt x="61" y="47"/>
                    </a:cubicBezTo>
                    <a:cubicBezTo>
                      <a:pt x="60" y="46"/>
                      <a:pt x="59" y="45"/>
                      <a:pt x="57" y="45"/>
                    </a:cubicBezTo>
                    <a:cubicBezTo>
                      <a:pt x="56" y="45"/>
                      <a:pt x="57" y="47"/>
                      <a:pt x="56" y="46"/>
                    </a:cubicBezTo>
                    <a:cubicBezTo>
                      <a:pt x="55" y="46"/>
                      <a:pt x="54" y="45"/>
                      <a:pt x="53" y="44"/>
                    </a:cubicBezTo>
                    <a:cubicBezTo>
                      <a:pt x="53" y="43"/>
                      <a:pt x="55" y="42"/>
                      <a:pt x="54" y="42"/>
                    </a:cubicBezTo>
                    <a:cubicBezTo>
                      <a:pt x="53" y="41"/>
                      <a:pt x="51" y="41"/>
                      <a:pt x="50" y="41"/>
                    </a:cubicBezTo>
                    <a:cubicBezTo>
                      <a:pt x="49" y="41"/>
                      <a:pt x="48" y="42"/>
                      <a:pt x="48" y="41"/>
                    </a:cubicBezTo>
                    <a:cubicBezTo>
                      <a:pt x="48" y="40"/>
                      <a:pt x="50" y="38"/>
                      <a:pt x="48" y="37"/>
                    </a:cubicBezTo>
                    <a:cubicBezTo>
                      <a:pt x="46" y="36"/>
                      <a:pt x="44" y="36"/>
                      <a:pt x="42" y="38"/>
                    </a:cubicBezTo>
                    <a:cubicBezTo>
                      <a:pt x="40" y="40"/>
                      <a:pt x="41" y="43"/>
                      <a:pt x="40" y="45"/>
                    </a:cubicBezTo>
                    <a:cubicBezTo>
                      <a:pt x="38" y="47"/>
                      <a:pt x="36" y="47"/>
                      <a:pt x="34" y="48"/>
                    </a:cubicBezTo>
                    <a:cubicBezTo>
                      <a:pt x="33" y="48"/>
                      <a:pt x="32" y="48"/>
                      <a:pt x="31" y="49"/>
                    </a:cubicBezTo>
                    <a:cubicBezTo>
                      <a:pt x="29" y="50"/>
                      <a:pt x="29" y="53"/>
                      <a:pt x="28" y="54"/>
                    </a:cubicBezTo>
                    <a:cubicBezTo>
                      <a:pt x="26" y="56"/>
                      <a:pt x="23" y="57"/>
                      <a:pt x="21" y="58"/>
                    </a:cubicBezTo>
                    <a:cubicBezTo>
                      <a:pt x="20" y="59"/>
                      <a:pt x="18" y="59"/>
                      <a:pt x="17" y="58"/>
                    </a:cubicBezTo>
                    <a:cubicBezTo>
                      <a:pt x="16" y="55"/>
                      <a:pt x="17" y="53"/>
                      <a:pt x="17" y="50"/>
                    </a:cubicBezTo>
                    <a:cubicBezTo>
                      <a:pt x="17" y="49"/>
                      <a:pt x="18" y="47"/>
                      <a:pt x="18" y="46"/>
                    </a:cubicBezTo>
                    <a:cubicBezTo>
                      <a:pt x="18" y="45"/>
                      <a:pt x="17" y="44"/>
                      <a:pt x="16" y="44"/>
                    </a:cubicBezTo>
                    <a:cubicBezTo>
                      <a:pt x="15" y="44"/>
                      <a:pt x="15" y="46"/>
                      <a:pt x="14" y="46"/>
                    </a:cubicBezTo>
                    <a:cubicBezTo>
                      <a:pt x="12" y="47"/>
                      <a:pt x="11" y="46"/>
                      <a:pt x="9" y="46"/>
                    </a:cubicBezTo>
                    <a:cubicBezTo>
                      <a:pt x="7" y="47"/>
                      <a:pt x="5" y="49"/>
                      <a:pt x="3" y="49"/>
                    </a:cubicBezTo>
                    <a:cubicBezTo>
                      <a:pt x="2" y="49"/>
                      <a:pt x="0" y="48"/>
                      <a:pt x="0" y="47"/>
                    </a:cubicBezTo>
                    <a:cubicBezTo>
                      <a:pt x="1" y="44"/>
                      <a:pt x="3" y="42"/>
                      <a:pt x="6" y="40"/>
                    </a:cubicBezTo>
                    <a:cubicBezTo>
                      <a:pt x="8" y="39"/>
                      <a:pt x="12" y="40"/>
                      <a:pt x="13" y="37"/>
                    </a:cubicBezTo>
                    <a:cubicBezTo>
                      <a:pt x="15" y="35"/>
                      <a:pt x="14" y="31"/>
                      <a:pt x="14" y="28"/>
                    </a:cubicBezTo>
                    <a:cubicBezTo>
                      <a:pt x="15" y="25"/>
                      <a:pt x="17" y="22"/>
                      <a:pt x="18" y="19"/>
                    </a:cubicBezTo>
                    <a:cubicBezTo>
                      <a:pt x="18" y="16"/>
                      <a:pt x="19" y="14"/>
                      <a:pt x="20" y="11"/>
                    </a:cubicBezTo>
                    <a:cubicBezTo>
                      <a:pt x="21" y="9"/>
                      <a:pt x="22" y="7"/>
                      <a:pt x="24" y="5"/>
                    </a:cubicBezTo>
                    <a:cubicBezTo>
                      <a:pt x="25" y="4"/>
                      <a:pt x="26" y="1"/>
                      <a:pt x="29" y="1"/>
                    </a:cubicBezTo>
                    <a:cubicBezTo>
                      <a:pt x="30" y="0"/>
                      <a:pt x="30" y="3"/>
                      <a:pt x="31" y="4"/>
                    </a:cubicBezTo>
                    <a:cubicBezTo>
                      <a:pt x="32" y="5"/>
                      <a:pt x="33" y="6"/>
                      <a:pt x="33" y="7"/>
                    </a:cubicBezTo>
                    <a:cubicBezTo>
                      <a:pt x="32" y="8"/>
                      <a:pt x="30" y="8"/>
                      <a:pt x="30" y="9"/>
                    </a:cubicBezTo>
                    <a:cubicBezTo>
                      <a:pt x="30" y="11"/>
                      <a:pt x="31" y="14"/>
                      <a:pt x="32" y="16"/>
                    </a:cubicBezTo>
                    <a:cubicBezTo>
                      <a:pt x="32" y="16"/>
                      <a:pt x="34" y="17"/>
                      <a:pt x="34" y="16"/>
                    </a:cubicBezTo>
                    <a:cubicBezTo>
                      <a:pt x="35" y="14"/>
                      <a:pt x="35" y="11"/>
                      <a:pt x="37" y="10"/>
                    </a:cubicBezTo>
                    <a:cubicBezTo>
                      <a:pt x="39" y="10"/>
                      <a:pt x="40" y="13"/>
                      <a:pt x="41" y="15"/>
                    </a:cubicBezTo>
                    <a:cubicBezTo>
                      <a:pt x="42" y="15"/>
                      <a:pt x="42" y="16"/>
                      <a:pt x="42" y="16"/>
                    </a:cubicBezTo>
                    <a:cubicBezTo>
                      <a:pt x="44" y="17"/>
                      <a:pt x="47" y="17"/>
                      <a:pt x="49" y="18"/>
                    </a:cubicBezTo>
                    <a:cubicBezTo>
                      <a:pt x="50" y="18"/>
                      <a:pt x="49" y="20"/>
                      <a:pt x="50" y="21"/>
                    </a:cubicBezTo>
                    <a:cubicBezTo>
                      <a:pt x="54" y="24"/>
                      <a:pt x="60" y="24"/>
                      <a:pt x="64" y="28"/>
                    </a:cubicBezTo>
                    <a:cubicBezTo>
                      <a:pt x="65" y="29"/>
                      <a:pt x="63" y="31"/>
                      <a:pt x="64" y="33"/>
                    </a:cubicBezTo>
                    <a:cubicBezTo>
                      <a:pt x="64" y="34"/>
                      <a:pt x="66" y="35"/>
                      <a:pt x="65" y="36"/>
                    </a:cubicBezTo>
                    <a:cubicBezTo>
                      <a:pt x="65" y="38"/>
                      <a:pt x="61" y="38"/>
                      <a:pt x="61" y="40"/>
                    </a:cubicBezTo>
                    <a:cubicBezTo>
                      <a:pt x="61" y="42"/>
                      <a:pt x="64" y="40"/>
                      <a:pt x="66" y="40"/>
                    </a:cubicBezTo>
                    <a:cubicBezTo>
                      <a:pt x="67" y="40"/>
                      <a:pt x="67" y="38"/>
                      <a:pt x="68" y="38"/>
                    </a:cubicBezTo>
                    <a:cubicBezTo>
                      <a:pt x="70" y="38"/>
                      <a:pt x="71" y="40"/>
                      <a:pt x="73" y="40"/>
                    </a:cubicBezTo>
                    <a:cubicBezTo>
                      <a:pt x="74" y="40"/>
                      <a:pt x="74" y="38"/>
                      <a:pt x="75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1" name="Freeform 3542"/>
              <p:cNvSpPr>
                <a:spLocks noChangeAspect="1"/>
              </p:cNvSpPr>
              <p:nvPr/>
            </p:nvSpPr>
            <p:spPr bwMode="auto">
              <a:xfrm>
                <a:off x="2585691" y="1937438"/>
                <a:ext cx="26169" cy="21114"/>
              </a:xfrm>
              <a:custGeom>
                <a:avLst/>
                <a:gdLst>
                  <a:gd name="T0" fmla="*/ 1 w 13"/>
                  <a:gd name="T1" fmla="*/ 1 h 11"/>
                  <a:gd name="T2" fmla="*/ 1 w 13"/>
                  <a:gd name="T3" fmla="*/ 4 h 11"/>
                  <a:gd name="T4" fmla="*/ 4 w 13"/>
                  <a:gd name="T5" fmla="*/ 4 h 11"/>
                  <a:gd name="T6" fmla="*/ 4 w 13"/>
                  <a:gd name="T7" fmla="*/ 8 h 11"/>
                  <a:gd name="T8" fmla="*/ 7 w 13"/>
                  <a:gd name="T9" fmla="*/ 9 h 11"/>
                  <a:gd name="T10" fmla="*/ 7 w 13"/>
                  <a:gd name="T11" fmla="*/ 12 h 11"/>
                  <a:gd name="T12" fmla="*/ 15 w 13"/>
                  <a:gd name="T13" fmla="*/ 11 h 11"/>
                  <a:gd name="T14" fmla="*/ 12 w 13"/>
                  <a:gd name="T15" fmla="*/ 8 h 11"/>
                  <a:gd name="T16" fmla="*/ 10 w 13"/>
                  <a:gd name="T17" fmla="*/ 6 h 11"/>
                  <a:gd name="T18" fmla="*/ 6 w 13"/>
                  <a:gd name="T19" fmla="*/ 1 h 11"/>
                  <a:gd name="T20" fmla="*/ 1 w 13"/>
                  <a:gd name="T21" fmla="*/ 1 h 1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3"/>
                  <a:gd name="T34" fmla="*/ 0 h 11"/>
                  <a:gd name="T35" fmla="*/ 13 w 13"/>
                  <a:gd name="T36" fmla="*/ 11 h 1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3" h="11">
                    <a:moveTo>
                      <a:pt x="1" y="1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3" y="2"/>
                      <a:pt x="3" y="3"/>
                    </a:cubicBezTo>
                    <a:cubicBezTo>
                      <a:pt x="4" y="4"/>
                      <a:pt x="2" y="6"/>
                      <a:pt x="3" y="7"/>
                    </a:cubicBezTo>
                    <a:cubicBezTo>
                      <a:pt x="4" y="8"/>
                      <a:pt x="5" y="7"/>
                      <a:pt x="6" y="8"/>
                    </a:cubicBezTo>
                    <a:cubicBezTo>
                      <a:pt x="6" y="8"/>
                      <a:pt x="5" y="10"/>
                      <a:pt x="6" y="10"/>
                    </a:cubicBezTo>
                    <a:cubicBezTo>
                      <a:pt x="8" y="10"/>
                      <a:pt x="10" y="11"/>
                      <a:pt x="12" y="9"/>
                    </a:cubicBezTo>
                    <a:cubicBezTo>
                      <a:pt x="13" y="9"/>
                      <a:pt x="11" y="8"/>
                      <a:pt x="10" y="7"/>
                    </a:cubicBezTo>
                    <a:cubicBezTo>
                      <a:pt x="9" y="6"/>
                      <a:pt x="9" y="6"/>
                      <a:pt x="8" y="5"/>
                    </a:cubicBezTo>
                    <a:cubicBezTo>
                      <a:pt x="7" y="4"/>
                      <a:pt x="6" y="2"/>
                      <a:pt x="5" y="1"/>
                    </a:cubicBezTo>
                    <a:cubicBezTo>
                      <a:pt x="4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2" name="Freeform 3543"/>
              <p:cNvSpPr>
                <a:spLocks noChangeAspect="1"/>
              </p:cNvSpPr>
              <p:nvPr/>
            </p:nvSpPr>
            <p:spPr bwMode="auto">
              <a:xfrm>
                <a:off x="2544800" y="1848110"/>
                <a:ext cx="14721" cy="25986"/>
              </a:xfrm>
              <a:custGeom>
                <a:avLst/>
                <a:gdLst>
                  <a:gd name="T0" fmla="*/ 5 w 7"/>
                  <a:gd name="T1" fmla="*/ 0 h 14"/>
                  <a:gd name="T2" fmla="*/ 8 w 7"/>
                  <a:gd name="T3" fmla="*/ 3 h 14"/>
                  <a:gd name="T4" fmla="*/ 8 w 7"/>
                  <a:gd name="T5" fmla="*/ 13 h 14"/>
                  <a:gd name="T6" fmla="*/ 5 w 7"/>
                  <a:gd name="T7" fmla="*/ 16 h 14"/>
                  <a:gd name="T8" fmla="*/ 3 w 7"/>
                  <a:gd name="T9" fmla="*/ 14 h 14"/>
                  <a:gd name="T10" fmla="*/ 3 w 7"/>
                  <a:gd name="T11" fmla="*/ 9 h 14"/>
                  <a:gd name="T12" fmla="*/ 0 w 7"/>
                  <a:gd name="T13" fmla="*/ 5 h 14"/>
                  <a:gd name="T14" fmla="*/ 3 w 7"/>
                  <a:gd name="T15" fmla="*/ 2 h 14"/>
                  <a:gd name="T16" fmla="*/ 5 w 7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"/>
                  <a:gd name="T28" fmla="*/ 0 h 14"/>
                  <a:gd name="T29" fmla="*/ 7 w 7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" h="14">
                    <a:moveTo>
                      <a:pt x="4" y="0"/>
                    </a:moveTo>
                    <a:cubicBezTo>
                      <a:pt x="5" y="0"/>
                      <a:pt x="6" y="2"/>
                      <a:pt x="6" y="3"/>
                    </a:cubicBezTo>
                    <a:cubicBezTo>
                      <a:pt x="7" y="6"/>
                      <a:pt x="7" y="8"/>
                      <a:pt x="6" y="11"/>
                    </a:cubicBezTo>
                    <a:cubicBezTo>
                      <a:pt x="6" y="12"/>
                      <a:pt x="5" y="14"/>
                      <a:pt x="4" y="14"/>
                    </a:cubicBezTo>
                    <a:cubicBezTo>
                      <a:pt x="3" y="14"/>
                      <a:pt x="2" y="13"/>
                      <a:pt x="2" y="12"/>
                    </a:cubicBezTo>
                    <a:cubicBezTo>
                      <a:pt x="1" y="10"/>
                      <a:pt x="2" y="9"/>
                      <a:pt x="2" y="8"/>
                    </a:cubicBezTo>
                    <a:cubicBezTo>
                      <a:pt x="1" y="7"/>
                      <a:pt x="0" y="6"/>
                      <a:pt x="0" y="4"/>
                    </a:cubicBezTo>
                    <a:cubicBezTo>
                      <a:pt x="0" y="3"/>
                      <a:pt x="1" y="3"/>
                      <a:pt x="2" y="2"/>
                    </a:cubicBezTo>
                    <a:cubicBezTo>
                      <a:pt x="3" y="2"/>
                      <a:pt x="3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3" name="Freeform 3544"/>
              <p:cNvSpPr>
                <a:spLocks noChangeAspect="1"/>
              </p:cNvSpPr>
              <p:nvPr/>
            </p:nvSpPr>
            <p:spPr bwMode="auto">
              <a:xfrm>
                <a:off x="2279835" y="1776648"/>
                <a:ext cx="96500" cy="68214"/>
              </a:xfrm>
              <a:custGeom>
                <a:avLst/>
                <a:gdLst>
                  <a:gd name="T0" fmla="*/ 57 w 49"/>
                  <a:gd name="T1" fmla="*/ 28 h 35"/>
                  <a:gd name="T2" fmla="*/ 58 w 49"/>
                  <a:gd name="T3" fmla="*/ 30 h 35"/>
                  <a:gd name="T4" fmla="*/ 52 w 49"/>
                  <a:gd name="T5" fmla="*/ 34 h 35"/>
                  <a:gd name="T6" fmla="*/ 46 w 49"/>
                  <a:gd name="T7" fmla="*/ 37 h 35"/>
                  <a:gd name="T8" fmla="*/ 41 w 49"/>
                  <a:gd name="T9" fmla="*/ 42 h 35"/>
                  <a:gd name="T10" fmla="*/ 33 w 49"/>
                  <a:gd name="T11" fmla="*/ 40 h 35"/>
                  <a:gd name="T12" fmla="*/ 18 w 49"/>
                  <a:gd name="T13" fmla="*/ 32 h 35"/>
                  <a:gd name="T14" fmla="*/ 16 w 49"/>
                  <a:gd name="T15" fmla="*/ 31 h 35"/>
                  <a:gd name="T16" fmla="*/ 13 w 49"/>
                  <a:gd name="T17" fmla="*/ 31 h 35"/>
                  <a:gd name="T18" fmla="*/ 10 w 49"/>
                  <a:gd name="T19" fmla="*/ 28 h 35"/>
                  <a:gd name="T20" fmla="*/ 7 w 49"/>
                  <a:gd name="T21" fmla="*/ 30 h 35"/>
                  <a:gd name="T22" fmla="*/ 0 w 49"/>
                  <a:gd name="T23" fmla="*/ 26 h 35"/>
                  <a:gd name="T24" fmla="*/ 6 w 49"/>
                  <a:gd name="T25" fmla="*/ 22 h 35"/>
                  <a:gd name="T26" fmla="*/ 10 w 49"/>
                  <a:gd name="T27" fmla="*/ 24 h 35"/>
                  <a:gd name="T28" fmla="*/ 16 w 49"/>
                  <a:gd name="T29" fmla="*/ 22 h 35"/>
                  <a:gd name="T30" fmla="*/ 20 w 49"/>
                  <a:gd name="T31" fmla="*/ 17 h 35"/>
                  <a:gd name="T32" fmla="*/ 22 w 49"/>
                  <a:gd name="T33" fmla="*/ 10 h 35"/>
                  <a:gd name="T34" fmla="*/ 24 w 49"/>
                  <a:gd name="T35" fmla="*/ 14 h 35"/>
                  <a:gd name="T36" fmla="*/ 30 w 49"/>
                  <a:gd name="T37" fmla="*/ 13 h 35"/>
                  <a:gd name="T38" fmla="*/ 25 w 49"/>
                  <a:gd name="T39" fmla="*/ 10 h 35"/>
                  <a:gd name="T40" fmla="*/ 25 w 49"/>
                  <a:gd name="T41" fmla="*/ 5 h 35"/>
                  <a:gd name="T42" fmla="*/ 30 w 49"/>
                  <a:gd name="T43" fmla="*/ 0 h 35"/>
                  <a:gd name="T44" fmla="*/ 36 w 49"/>
                  <a:gd name="T45" fmla="*/ 6 h 35"/>
                  <a:gd name="T46" fmla="*/ 36 w 49"/>
                  <a:gd name="T47" fmla="*/ 10 h 35"/>
                  <a:gd name="T48" fmla="*/ 41 w 49"/>
                  <a:gd name="T49" fmla="*/ 11 h 35"/>
                  <a:gd name="T50" fmla="*/ 47 w 49"/>
                  <a:gd name="T51" fmla="*/ 18 h 35"/>
                  <a:gd name="T52" fmla="*/ 47 w 49"/>
                  <a:gd name="T53" fmla="*/ 24 h 35"/>
                  <a:gd name="T54" fmla="*/ 49 w 49"/>
                  <a:gd name="T55" fmla="*/ 24 h 35"/>
                  <a:gd name="T56" fmla="*/ 49 w 49"/>
                  <a:gd name="T57" fmla="*/ 30 h 35"/>
                  <a:gd name="T58" fmla="*/ 57 w 49"/>
                  <a:gd name="T59" fmla="*/ 28 h 3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49"/>
                  <a:gd name="T91" fmla="*/ 0 h 35"/>
                  <a:gd name="T92" fmla="*/ 49 w 49"/>
                  <a:gd name="T93" fmla="*/ 35 h 35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49" h="35">
                    <a:moveTo>
                      <a:pt x="47" y="23"/>
                    </a:moveTo>
                    <a:cubicBezTo>
                      <a:pt x="47" y="23"/>
                      <a:pt x="49" y="25"/>
                      <a:pt x="48" y="25"/>
                    </a:cubicBezTo>
                    <a:cubicBezTo>
                      <a:pt x="47" y="27"/>
                      <a:pt x="44" y="27"/>
                      <a:pt x="43" y="28"/>
                    </a:cubicBezTo>
                    <a:cubicBezTo>
                      <a:pt x="41" y="29"/>
                      <a:pt x="40" y="30"/>
                      <a:pt x="38" y="31"/>
                    </a:cubicBezTo>
                    <a:cubicBezTo>
                      <a:pt x="37" y="32"/>
                      <a:pt x="36" y="34"/>
                      <a:pt x="34" y="35"/>
                    </a:cubicBezTo>
                    <a:cubicBezTo>
                      <a:pt x="32" y="35"/>
                      <a:pt x="29" y="34"/>
                      <a:pt x="27" y="33"/>
                    </a:cubicBezTo>
                    <a:cubicBezTo>
                      <a:pt x="23" y="32"/>
                      <a:pt x="19" y="29"/>
                      <a:pt x="15" y="27"/>
                    </a:cubicBezTo>
                    <a:cubicBezTo>
                      <a:pt x="14" y="27"/>
                      <a:pt x="14" y="26"/>
                      <a:pt x="13" y="26"/>
                    </a:cubicBezTo>
                    <a:cubicBezTo>
                      <a:pt x="13" y="25"/>
                      <a:pt x="12" y="26"/>
                      <a:pt x="11" y="26"/>
                    </a:cubicBezTo>
                    <a:cubicBezTo>
                      <a:pt x="10" y="25"/>
                      <a:pt x="9" y="23"/>
                      <a:pt x="8" y="23"/>
                    </a:cubicBezTo>
                    <a:cubicBezTo>
                      <a:pt x="7" y="23"/>
                      <a:pt x="7" y="25"/>
                      <a:pt x="6" y="25"/>
                    </a:cubicBezTo>
                    <a:cubicBezTo>
                      <a:pt x="4" y="25"/>
                      <a:pt x="1" y="24"/>
                      <a:pt x="0" y="22"/>
                    </a:cubicBezTo>
                    <a:cubicBezTo>
                      <a:pt x="0" y="20"/>
                      <a:pt x="3" y="18"/>
                      <a:pt x="5" y="18"/>
                    </a:cubicBezTo>
                    <a:cubicBezTo>
                      <a:pt x="6" y="18"/>
                      <a:pt x="7" y="20"/>
                      <a:pt x="8" y="20"/>
                    </a:cubicBezTo>
                    <a:cubicBezTo>
                      <a:pt x="9" y="20"/>
                      <a:pt x="11" y="19"/>
                      <a:pt x="13" y="18"/>
                    </a:cubicBezTo>
                    <a:cubicBezTo>
                      <a:pt x="14" y="17"/>
                      <a:pt x="16" y="16"/>
                      <a:pt x="17" y="14"/>
                    </a:cubicBezTo>
                    <a:cubicBezTo>
                      <a:pt x="18" y="12"/>
                      <a:pt x="16" y="9"/>
                      <a:pt x="18" y="8"/>
                    </a:cubicBezTo>
                    <a:cubicBezTo>
                      <a:pt x="19" y="7"/>
                      <a:pt x="19" y="11"/>
                      <a:pt x="20" y="12"/>
                    </a:cubicBezTo>
                    <a:cubicBezTo>
                      <a:pt x="22" y="12"/>
                      <a:pt x="24" y="13"/>
                      <a:pt x="25" y="11"/>
                    </a:cubicBezTo>
                    <a:cubicBezTo>
                      <a:pt x="25" y="10"/>
                      <a:pt x="22" y="10"/>
                      <a:pt x="21" y="8"/>
                    </a:cubicBezTo>
                    <a:cubicBezTo>
                      <a:pt x="21" y="7"/>
                      <a:pt x="21" y="5"/>
                      <a:pt x="21" y="4"/>
                    </a:cubicBezTo>
                    <a:cubicBezTo>
                      <a:pt x="22" y="2"/>
                      <a:pt x="24" y="0"/>
                      <a:pt x="25" y="0"/>
                    </a:cubicBezTo>
                    <a:cubicBezTo>
                      <a:pt x="28" y="1"/>
                      <a:pt x="29" y="3"/>
                      <a:pt x="30" y="5"/>
                    </a:cubicBezTo>
                    <a:cubicBezTo>
                      <a:pt x="31" y="6"/>
                      <a:pt x="30" y="7"/>
                      <a:pt x="30" y="8"/>
                    </a:cubicBezTo>
                    <a:cubicBezTo>
                      <a:pt x="31" y="9"/>
                      <a:pt x="33" y="8"/>
                      <a:pt x="34" y="9"/>
                    </a:cubicBezTo>
                    <a:cubicBezTo>
                      <a:pt x="36" y="11"/>
                      <a:pt x="38" y="13"/>
                      <a:pt x="39" y="15"/>
                    </a:cubicBezTo>
                    <a:cubicBezTo>
                      <a:pt x="39" y="17"/>
                      <a:pt x="38" y="19"/>
                      <a:pt x="39" y="20"/>
                    </a:cubicBezTo>
                    <a:cubicBezTo>
                      <a:pt x="39" y="21"/>
                      <a:pt x="41" y="19"/>
                      <a:pt x="41" y="20"/>
                    </a:cubicBezTo>
                    <a:cubicBezTo>
                      <a:pt x="42" y="21"/>
                      <a:pt x="40" y="24"/>
                      <a:pt x="41" y="25"/>
                    </a:cubicBezTo>
                    <a:cubicBezTo>
                      <a:pt x="43" y="26"/>
                      <a:pt x="45" y="23"/>
                      <a:pt x="47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4" name="Freeform 3545"/>
              <p:cNvSpPr>
                <a:spLocks noChangeAspect="1"/>
              </p:cNvSpPr>
              <p:nvPr/>
            </p:nvSpPr>
            <p:spPr bwMode="auto">
              <a:xfrm>
                <a:off x="2364886" y="1789641"/>
                <a:ext cx="13085" cy="16241"/>
              </a:xfrm>
              <a:custGeom>
                <a:avLst/>
                <a:gdLst>
                  <a:gd name="T0" fmla="*/ 7 w 7"/>
                  <a:gd name="T1" fmla="*/ 9 h 9"/>
                  <a:gd name="T2" fmla="*/ 7 w 7"/>
                  <a:gd name="T3" fmla="*/ 4 h 9"/>
                  <a:gd name="T4" fmla="*/ 5 w 7"/>
                  <a:gd name="T5" fmla="*/ 1 h 9"/>
                  <a:gd name="T6" fmla="*/ 0 w 7"/>
                  <a:gd name="T7" fmla="*/ 1 h 9"/>
                  <a:gd name="T8" fmla="*/ 1 w 7"/>
                  <a:gd name="T9" fmla="*/ 2 h 9"/>
                  <a:gd name="T10" fmla="*/ 5 w 7"/>
                  <a:gd name="T11" fmla="*/ 6 h 9"/>
                  <a:gd name="T12" fmla="*/ 5 w 7"/>
                  <a:gd name="T13" fmla="*/ 8 h 9"/>
                  <a:gd name="T14" fmla="*/ 7 w 7"/>
                  <a:gd name="T15" fmla="*/ 9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"/>
                  <a:gd name="T25" fmla="*/ 0 h 9"/>
                  <a:gd name="T26" fmla="*/ 7 w 7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" h="9">
                    <a:moveTo>
                      <a:pt x="6" y="8"/>
                    </a:moveTo>
                    <a:cubicBezTo>
                      <a:pt x="7" y="7"/>
                      <a:pt x="7" y="5"/>
                      <a:pt x="6" y="4"/>
                    </a:cubicBezTo>
                    <a:cubicBezTo>
                      <a:pt x="6" y="2"/>
                      <a:pt x="5" y="1"/>
                      <a:pt x="4" y="1"/>
                    </a:cubicBezTo>
                    <a:cubicBezTo>
                      <a:pt x="3" y="0"/>
                      <a:pt x="1" y="0"/>
                      <a:pt x="0" y="1"/>
                    </a:cubicBezTo>
                    <a:cubicBezTo>
                      <a:pt x="0" y="1"/>
                      <a:pt x="1" y="2"/>
                      <a:pt x="1" y="2"/>
                    </a:cubicBezTo>
                    <a:cubicBezTo>
                      <a:pt x="2" y="3"/>
                      <a:pt x="3" y="3"/>
                      <a:pt x="4" y="5"/>
                    </a:cubicBezTo>
                    <a:cubicBezTo>
                      <a:pt x="4" y="5"/>
                      <a:pt x="3" y="6"/>
                      <a:pt x="4" y="7"/>
                    </a:cubicBezTo>
                    <a:cubicBezTo>
                      <a:pt x="4" y="8"/>
                      <a:pt x="5" y="9"/>
                      <a:pt x="6" y="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5" name="Freeform 3546"/>
              <p:cNvSpPr>
                <a:spLocks noChangeAspect="1"/>
              </p:cNvSpPr>
              <p:nvPr/>
            </p:nvSpPr>
            <p:spPr bwMode="auto">
              <a:xfrm>
                <a:off x="2256937" y="1815627"/>
                <a:ext cx="11450" cy="17866"/>
              </a:xfrm>
              <a:custGeom>
                <a:avLst/>
                <a:gdLst>
                  <a:gd name="T0" fmla="*/ 5 w 6"/>
                  <a:gd name="T1" fmla="*/ 1 h 9"/>
                  <a:gd name="T2" fmla="*/ 7 w 6"/>
                  <a:gd name="T3" fmla="*/ 6 h 9"/>
                  <a:gd name="T4" fmla="*/ 2 w 6"/>
                  <a:gd name="T5" fmla="*/ 10 h 9"/>
                  <a:gd name="T6" fmla="*/ 2 w 6"/>
                  <a:gd name="T7" fmla="*/ 2 h 9"/>
                  <a:gd name="T8" fmla="*/ 5 w 6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9"/>
                  <a:gd name="T17" fmla="*/ 6 w 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9">
                    <a:moveTo>
                      <a:pt x="4" y="1"/>
                    </a:moveTo>
                    <a:cubicBezTo>
                      <a:pt x="5" y="2"/>
                      <a:pt x="6" y="4"/>
                      <a:pt x="6" y="5"/>
                    </a:cubicBezTo>
                    <a:cubicBezTo>
                      <a:pt x="5" y="7"/>
                      <a:pt x="3" y="9"/>
                      <a:pt x="2" y="8"/>
                    </a:cubicBezTo>
                    <a:cubicBezTo>
                      <a:pt x="0" y="7"/>
                      <a:pt x="1" y="4"/>
                      <a:pt x="2" y="2"/>
                    </a:cubicBezTo>
                    <a:cubicBezTo>
                      <a:pt x="2" y="1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6" name="Freeform 3547"/>
              <p:cNvSpPr>
                <a:spLocks noChangeAspect="1"/>
              </p:cNvSpPr>
              <p:nvPr/>
            </p:nvSpPr>
            <p:spPr bwMode="auto">
              <a:xfrm>
                <a:off x="2219319" y="1828620"/>
                <a:ext cx="13085" cy="11369"/>
              </a:xfrm>
              <a:custGeom>
                <a:avLst/>
                <a:gdLst>
                  <a:gd name="T0" fmla="*/ 7 w 7"/>
                  <a:gd name="T1" fmla="*/ 1 h 6"/>
                  <a:gd name="T2" fmla="*/ 6 w 7"/>
                  <a:gd name="T3" fmla="*/ 6 h 6"/>
                  <a:gd name="T4" fmla="*/ 0 w 7"/>
                  <a:gd name="T5" fmla="*/ 5 h 6"/>
                  <a:gd name="T6" fmla="*/ 2 w 7"/>
                  <a:gd name="T7" fmla="*/ 2 h 6"/>
                  <a:gd name="T8" fmla="*/ 7 w 7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6" y="1"/>
                    </a:moveTo>
                    <a:cubicBezTo>
                      <a:pt x="7" y="2"/>
                      <a:pt x="6" y="4"/>
                      <a:pt x="5" y="5"/>
                    </a:cubicBezTo>
                    <a:cubicBezTo>
                      <a:pt x="4" y="6"/>
                      <a:pt x="2" y="5"/>
                      <a:pt x="0" y="4"/>
                    </a:cubicBezTo>
                    <a:cubicBezTo>
                      <a:pt x="0" y="4"/>
                      <a:pt x="1" y="2"/>
                      <a:pt x="2" y="2"/>
                    </a:cubicBezTo>
                    <a:cubicBezTo>
                      <a:pt x="3" y="1"/>
                      <a:pt x="5" y="0"/>
                      <a:pt x="6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7" name="Freeform 3548"/>
              <p:cNvSpPr>
                <a:spLocks noChangeAspect="1"/>
              </p:cNvSpPr>
              <p:nvPr/>
            </p:nvSpPr>
            <p:spPr bwMode="auto">
              <a:xfrm>
                <a:off x="2158802" y="1835117"/>
                <a:ext cx="13085" cy="12993"/>
              </a:xfrm>
              <a:custGeom>
                <a:avLst/>
                <a:gdLst>
                  <a:gd name="T0" fmla="*/ 1 w 7"/>
                  <a:gd name="T1" fmla="*/ 0 h 6"/>
                  <a:gd name="T2" fmla="*/ 7 w 7"/>
                  <a:gd name="T3" fmla="*/ 3 h 6"/>
                  <a:gd name="T4" fmla="*/ 5 w 7"/>
                  <a:gd name="T5" fmla="*/ 7 h 6"/>
                  <a:gd name="T6" fmla="*/ 0 w 7"/>
                  <a:gd name="T7" fmla="*/ 1 h 6"/>
                  <a:gd name="T8" fmla="*/ 1 w 7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6"/>
                  <a:gd name="T17" fmla="*/ 7 w 7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6">
                    <a:moveTo>
                      <a:pt x="1" y="0"/>
                    </a:moveTo>
                    <a:cubicBezTo>
                      <a:pt x="3" y="0"/>
                      <a:pt x="5" y="1"/>
                      <a:pt x="6" y="2"/>
                    </a:cubicBezTo>
                    <a:cubicBezTo>
                      <a:pt x="7" y="3"/>
                      <a:pt x="5" y="6"/>
                      <a:pt x="4" y="5"/>
                    </a:cubicBezTo>
                    <a:cubicBezTo>
                      <a:pt x="2" y="5"/>
                      <a:pt x="1" y="3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8" name="Freeform 3549"/>
              <p:cNvSpPr>
                <a:spLocks noChangeAspect="1"/>
              </p:cNvSpPr>
              <p:nvPr/>
            </p:nvSpPr>
            <p:spPr bwMode="auto">
              <a:xfrm>
                <a:off x="2353437" y="1791266"/>
                <a:ext cx="9814" cy="9745"/>
              </a:xfrm>
              <a:custGeom>
                <a:avLst/>
                <a:gdLst>
                  <a:gd name="T0" fmla="*/ 0 w 5"/>
                  <a:gd name="T1" fmla="*/ 1 h 5"/>
                  <a:gd name="T2" fmla="*/ 5 w 5"/>
                  <a:gd name="T3" fmla="*/ 2 h 5"/>
                  <a:gd name="T4" fmla="*/ 4 w 5"/>
                  <a:gd name="T5" fmla="*/ 6 h 5"/>
                  <a:gd name="T6" fmla="*/ 0 w 5"/>
                  <a:gd name="T7" fmla="*/ 1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5"/>
                  <a:gd name="T14" fmla="*/ 5 w 5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5">
                    <a:moveTo>
                      <a:pt x="0" y="1"/>
                    </a:moveTo>
                    <a:cubicBezTo>
                      <a:pt x="1" y="0"/>
                      <a:pt x="4" y="1"/>
                      <a:pt x="4" y="2"/>
                    </a:cubicBezTo>
                    <a:cubicBezTo>
                      <a:pt x="5" y="3"/>
                      <a:pt x="4" y="5"/>
                      <a:pt x="3" y="5"/>
                    </a:cubicBezTo>
                    <a:cubicBezTo>
                      <a:pt x="1" y="4"/>
                      <a:pt x="0" y="2"/>
                      <a:pt x="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39" name="Freeform 3550"/>
              <p:cNvSpPr>
                <a:spLocks noChangeAspect="1"/>
              </p:cNvSpPr>
              <p:nvPr/>
            </p:nvSpPr>
            <p:spPr bwMode="auto">
              <a:xfrm>
                <a:off x="1488211" y="1805883"/>
                <a:ext cx="9814" cy="14618"/>
              </a:xfrm>
              <a:custGeom>
                <a:avLst/>
                <a:gdLst>
                  <a:gd name="T0" fmla="*/ 2 w 5"/>
                  <a:gd name="T1" fmla="*/ 1 h 7"/>
                  <a:gd name="T2" fmla="*/ 5 w 5"/>
                  <a:gd name="T3" fmla="*/ 8 h 7"/>
                  <a:gd name="T4" fmla="*/ 1 w 5"/>
                  <a:gd name="T5" fmla="*/ 6 h 7"/>
                  <a:gd name="T6" fmla="*/ 2 w 5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7"/>
                  <a:gd name="T14" fmla="*/ 5 w 5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7">
                    <a:moveTo>
                      <a:pt x="2" y="1"/>
                    </a:moveTo>
                    <a:cubicBezTo>
                      <a:pt x="4" y="1"/>
                      <a:pt x="5" y="4"/>
                      <a:pt x="4" y="6"/>
                    </a:cubicBezTo>
                    <a:cubicBezTo>
                      <a:pt x="4" y="7"/>
                      <a:pt x="1" y="6"/>
                      <a:pt x="1" y="5"/>
                    </a:cubicBezTo>
                    <a:cubicBezTo>
                      <a:pt x="0" y="3"/>
                      <a:pt x="1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0" name="Freeform 3551"/>
              <p:cNvSpPr>
                <a:spLocks noChangeAspect="1"/>
              </p:cNvSpPr>
              <p:nvPr/>
            </p:nvSpPr>
            <p:spPr bwMode="auto">
              <a:xfrm>
                <a:off x="1498024" y="1804259"/>
                <a:ext cx="13085" cy="17866"/>
              </a:xfrm>
              <a:custGeom>
                <a:avLst/>
                <a:gdLst>
                  <a:gd name="T0" fmla="*/ 5 w 6"/>
                  <a:gd name="T1" fmla="*/ 1 h 9"/>
                  <a:gd name="T2" fmla="*/ 8 w 6"/>
                  <a:gd name="T3" fmla="*/ 9 h 9"/>
                  <a:gd name="T4" fmla="*/ 1 w 6"/>
                  <a:gd name="T5" fmla="*/ 10 h 9"/>
                  <a:gd name="T6" fmla="*/ 1 w 6"/>
                  <a:gd name="T7" fmla="*/ 2 h 9"/>
                  <a:gd name="T8" fmla="*/ 5 w 6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9"/>
                  <a:gd name="T17" fmla="*/ 6 w 6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9">
                    <a:moveTo>
                      <a:pt x="4" y="1"/>
                    </a:moveTo>
                    <a:cubicBezTo>
                      <a:pt x="5" y="2"/>
                      <a:pt x="6" y="5"/>
                      <a:pt x="6" y="7"/>
                    </a:cubicBezTo>
                    <a:cubicBezTo>
                      <a:pt x="5" y="8"/>
                      <a:pt x="2" y="9"/>
                      <a:pt x="1" y="8"/>
                    </a:cubicBezTo>
                    <a:cubicBezTo>
                      <a:pt x="0" y="6"/>
                      <a:pt x="0" y="4"/>
                      <a:pt x="1" y="2"/>
                    </a:cubicBezTo>
                    <a:cubicBezTo>
                      <a:pt x="1" y="1"/>
                      <a:pt x="3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1" name="Freeform 3552"/>
              <p:cNvSpPr>
                <a:spLocks noChangeAspect="1"/>
              </p:cNvSpPr>
              <p:nvPr/>
            </p:nvSpPr>
            <p:spPr bwMode="auto">
              <a:xfrm>
                <a:off x="1507838" y="1789641"/>
                <a:ext cx="34348" cy="25986"/>
              </a:xfrm>
              <a:custGeom>
                <a:avLst/>
                <a:gdLst>
                  <a:gd name="T0" fmla="*/ 15 w 17"/>
                  <a:gd name="T1" fmla="*/ 0 h 14"/>
                  <a:gd name="T2" fmla="*/ 21 w 17"/>
                  <a:gd name="T3" fmla="*/ 5 h 14"/>
                  <a:gd name="T4" fmla="*/ 12 w 17"/>
                  <a:gd name="T5" fmla="*/ 11 h 14"/>
                  <a:gd name="T6" fmla="*/ 5 w 17"/>
                  <a:gd name="T7" fmla="*/ 15 h 14"/>
                  <a:gd name="T8" fmla="*/ 1 w 17"/>
                  <a:gd name="T9" fmla="*/ 10 h 14"/>
                  <a:gd name="T10" fmla="*/ 2 w 17"/>
                  <a:gd name="T11" fmla="*/ 6 h 14"/>
                  <a:gd name="T12" fmla="*/ 11 w 17"/>
                  <a:gd name="T13" fmla="*/ 6 h 14"/>
                  <a:gd name="T14" fmla="*/ 15 w 17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7"/>
                  <a:gd name="T25" fmla="*/ 0 h 14"/>
                  <a:gd name="T26" fmla="*/ 17 w 17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7" h="14">
                    <a:moveTo>
                      <a:pt x="12" y="0"/>
                    </a:moveTo>
                    <a:cubicBezTo>
                      <a:pt x="14" y="0"/>
                      <a:pt x="17" y="2"/>
                      <a:pt x="17" y="4"/>
                    </a:cubicBezTo>
                    <a:cubicBezTo>
                      <a:pt x="16" y="7"/>
                      <a:pt x="13" y="8"/>
                      <a:pt x="10" y="10"/>
                    </a:cubicBezTo>
                    <a:cubicBezTo>
                      <a:pt x="8" y="11"/>
                      <a:pt x="6" y="14"/>
                      <a:pt x="4" y="13"/>
                    </a:cubicBezTo>
                    <a:cubicBezTo>
                      <a:pt x="2" y="13"/>
                      <a:pt x="1" y="11"/>
                      <a:pt x="1" y="9"/>
                    </a:cubicBezTo>
                    <a:cubicBezTo>
                      <a:pt x="0" y="8"/>
                      <a:pt x="1" y="6"/>
                      <a:pt x="2" y="5"/>
                    </a:cubicBezTo>
                    <a:cubicBezTo>
                      <a:pt x="4" y="4"/>
                      <a:pt x="7" y="6"/>
                      <a:pt x="9" y="5"/>
                    </a:cubicBezTo>
                    <a:cubicBezTo>
                      <a:pt x="10" y="4"/>
                      <a:pt x="10" y="0"/>
                      <a:pt x="1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2" name="Freeform 3553"/>
              <p:cNvSpPr>
                <a:spLocks noChangeAspect="1"/>
              </p:cNvSpPr>
              <p:nvPr/>
            </p:nvSpPr>
            <p:spPr bwMode="auto">
              <a:xfrm>
                <a:off x="2510454" y="1609363"/>
                <a:ext cx="590448" cy="495361"/>
              </a:xfrm>
              <a:custGeom>
                <a:avLst/>
                <a:gdLst>
                  <a:gd name="T0" fmla="*/ 264 w 301"/>
                  <a:gd name="T1" fmla="*/ 259 h 254"/>
                  <a:gd name="T2" fmla="*/ 263 w 301"/>
                  <a:gd name="T3" fmla="*/ 279 h 254"/>
                  <a:gd name="T4" fmla="*/ 275 w 301"/>
                  <a:gd name="T5" fmla="*/ 303 h 254"/>
                  <a:gd name="T6" fmla="*/ 227 w 301"/>
                  <a:gd name="T7" fmla="*/ 282 h 254"/>
                  <a:gd name="T8" fmla="*/ 213 w 301"/>
                  <a:gd name="T9" fmla="*/ 265 h 254"/>
                  <a:gd name="T10" fmla="*/ 195 w 301"/>
                  <a:gd name="T11" fmla="*/ 250 h 254"/>
                  <a:gd name="T12" fmla="*/ 180 w 301"/>
                  <a:gd name="T13" fmla="*/ 243 h 254"/>
                  <a:gd name="T14" fmla="*/ 176 w 301"/>
                  <a:gd name="T15" fmla="*/ 238 h 254"/>
                  <a:gd name="T16" fmla="*/ 138 w 301"/>
                  <a:gd name="T17" fmla="*/ 247 h 254"/>
                  <a:gd name="T18" fmla="*/ 140 w 301"/>
                  <a:gd name="T19" fmla="*/ 219 h 254"/>
                  <a:gd name="T20" fmla="*/ 186 w 301"/>
                  <a:gd name="T21" fmla="*/ 215 h 254"/>
                  <a:gd name="T22" fmla="*/ 217 w 301"/>
                  <a:gd name="T23" fmla="*/ 169 h 254"/>
                  <a:gd name="T24" fmla="*/ 198 w 301"/>
                  <a:gd name="T25" fmla="*/ 134 h 254"/>
                  <a:gd name="T26" fmla="*/ 183 w 301"/>
                  <a:gd name="T27" fmla="*/ 130 h 254"/>
                  <a:gd name="T28" fmla="*/ 178 w 301"/>
                  <a:gd name="T29" fmla="*/ 119 h 254"/>
                  <a:gd name="T30" fmla="*/ 157 w 301"/>
                  <a:gd name="T31" fmla="*/ 95 h 254"/>
                  <a:gd name="T32" fmla="*/ 132 w 301"/>
                  <a:gd name="T33" fmla="*/ 92 h 254"/>
                  <a:gd name="T34" fmla="*/ 116 w 301"/>
                  <a:gd name="T35" fmla="*/ 107 h 254"/>
                  <a:gd name="T36" fmla="*/ 95 w 301"/>
                  <a:gd name="T37" fmla="*/ 106 h 254"/>
                  <a:gd name="T38" fmla="*/ 47 w 301"/>
                  <a:gd name="T39" fmla="*/ 101 h 254"/>
                  <a:gd name="T40" fmla="*/ 34 w 301"/>
                  <a:gd name="T41" fmla="*/ 97 h 254"/>
                  <a:gd name="T42" fmla="*/ 19 w 301"/>
                  <a:gd name="T43" fmla="*/ 73 h 254"/>
                  <a:gd name="T44" fmla="*/ 2 w 301"/>
                  <a:gd name="T45" fmla="*/ 62 h 254"/>
                  <a:gd name="T46" fmla="*/ 61 w 301"/>
                  <a:gd name="T47" fmla="*/ 1 h 254"/>
                  <a:gd name="T48" fmla="*/ 54 w 301"/>
                  <a:gd name="T49" fmla="*/ 30 h 254"/>
                  <a:gd name="T50" fmla="*/ 50 w 301"/>
                  <a:gd name="T51" fmla="*/ 71 h 254"/>
                  <a:gd name="T52" fmla="*/ 70 w 301"/>
                  <a:gd name="T53" fmla="*/ 68 h 254"/>
                  <a:gd name="T54" fmla="*/ 79 w 301"/>
                  <a:gd name="T55" fmla="*/ 48 h 254"/>
                  <a:gd name="T56" fmla="*/ 74 w 301"/>
                  <a:gd name="T57" fmla="*/ 25 h 254"/>
                  <a:gd name="T58" fmla="*/ 79 w 301"/>
                  <a:gd name="T59" fmla="*/ 12 h 254"/>
                  <a:gd name="T60" fmla="*/ 131 w 301"/>
                  <a:gd name="T61" fmla="*/ 8 h 254"/>
                  <a:gd name="T62" fmla="*/ 124 w 301"/>
                  <a:gd name="T63" fmla="*/ 48 h 254"/>
                  <a:gd name="T64" fmla="*/ 150 w 301"/>
                  <a:gd name="T65" fmla="*/ 42 h 254"/>
                  <a:gd name="T66" fmla="*/ 155 w 301"/>
                  <a:gd name="T67" fmla="*/ 41 h 254"/>
                  <a:gd name="T68" fmla="*/ 191 w 301"/>
                  <a:gd name="T69" fmla="*/ 35 h 254"/>
                  <a:gd name="T70" fmla="*/ 201 w 301"/>
                  <a:gd name="T71" fmla="*/ 48 h 254"/>
                  <a:gd name="T72" fmla="*/ 211 w 301"/>
                  <a:gd name="T73" fmla="*/ 59 h 254"/>
                  <a:gd name="T74" fmla="*/ 221 w 301"/>
                  <a:gd name="T75" fmla="*/ 74 h 254"/>
                  <a:gd name="T76" fmla="*/ 252 w 301"/>
                  <a:gd name="T77" fmla="*/ 70 h 254"/>
                  <a:gd name="T78" fmla="*/ 245 w 301"/>
                  <a:gd name="T79" fmla="*/ 83 h 254"/>
                  <a:gd name="T80" fmla="*/ 239 w 301"/>
                  <a:gd name="T81" fmla="*/ 96 h 254"/>
                  <a:gd name="T82" fmla="*/ 264 w 301"/>
                  <a:gd name="T83" fmla="*/ 84 h 254"/>
                  <a:gd name="T84" fmla="*/ 266 w 301"/>
                  <a:gd name="T85" fmla="*/ 96 h 254"/>
                  <a:gd name="T86" fmla="*/ 264 w 301"/>
                  <a:gd name="T87" fmla="*/ 109 h 254"/>
                  <a:gd name="T88" fmla="*/ 271 w 301"/>
                  <a:gd name="T89" fmla="*/ 113 h 254"/>
                  <a:gd name="T90" fmla="*/ 279 w 301"/>
                  <a:gd name="T91" fmla="*/ 120 h 254"/>
                  <a:gd name="T92" fmla="*/ 283 w 301"/>
                  <a:gd name="T93" fmla="*/ 133 h 254"/>
                  <a:gd name="T94" fmla="*/ 293 w 301"/>
                  <a:gd name="T95" fmla="*/ 145 h 254"/>
                  <a:gd name="T96" fmla="*/ 303 w 301"/>
                  <a:gd name="T97" fmla="*/ 162 h 254"/>
                  <a:gd name="T98" fmla="*/ 325 w 301"/>
                  <a:gd name="T99" fmla="*/ 168 h 254"/>
                  <a:gd name="T100" fmla="*/ 331 w 301"/>
                  <a:gd name="T101" fmla="*/ 184 h 254"/>
                  <a:gd name="T102" fmla="*/ 356 w 301"/>
                  <a:gd name="T103" fmla="*/ 181 h 254"/>
                  <a:gd name="T104" fmla="*/ 348 w 301"/>
                  <a:gd name="T105" fmla="*/ 201 h 254"/>
                  <a:gd name="T106" fmla="*/ 329 w 301"/>
                  <a:gd name="T107" fmla="*/ 208 h 254"/>
                  <a:gd name="T108" fmla="*/ 308 w 301"/>
                  <a:gd name="T109" fmla="*/ 216 h 254"/>
                  <a:gd name="T110" fmla="*/ 300 w 301"/>
                  <a:gd name="T111" fmla="*/ 198 h 254"/>
                  <a:gd name="T112" fmla="*/ 273 w 301"/>
                  <a:gd name="T113" fmla="*/ 193 h 254"/>
                  <a:gd name="T114" fmla="*/ 277 w 301"/>
                  <a:gd name="T115" fmla="*/ 213 h 254"/>
                  <a:gd name="T116" fmla="*/ 301 w 301"/>
                  <a:gd name="T117" fmla="*/ 243 h 254"/>
                  <a:gd name="T118" fmla="*/ 296 w 301"/>
                  <a:gd name="T119" fmla="*/ 279 h 25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01"/>
                  <a:gd name="T181" fmla="*/ 0 h 254"/>
                  <a:gd name="T182" fmla="*/ 301 w 301"/>
                  <a:gd name="T183" fmla="*/ 254 h 25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01" h="254">
                    <a:moveTo>
                      <a:pt x="248" y="236"/>
                    </a:moveTo>
                    <a:cubicBezTo>
                      <a:pt x="245" y="237"/>
                      <a:pt x="243" y="234"/>
                      <a:pt x="241" y="233"/>
                    </a:cubicBezTo>
                    <a:cubicBezTo>
                      <a:pt x="239" y="232"/>
                      <a:pt x="238" y="230"/>
                      <a:pt x="236" y="229"/>
                    </a:cubicBezTo>
                    <a:cubicBezTo>
                      <a:pt x="235" y="229"/>
                      <a:pt x="234" y="231"/>
                      <a:pt x="233" y="230"/>
                    </a:cubicBezTo>
                    <a:cubicBezTo>
                      <a:pt x="231" y="230"/>
                      <a:pt x="231" y="227"/>
                      <a:pt x="230" y="227"/>
                    </a:cubicBezTo>
                    <a:cubicBezTo>
                      <a:pt x="228" y="225"/>
                      <a:pt x="225" y="226"/>
                      <a:pt x="224" y="224"/>
                    </a:cubicBezTo>
                    <a:cubicBezTo>
                      <a:pt x="222" y="222"/>
                      <a:pt x="223" y="217"/>
                      <a:pt x="220" y="216"/>
                    </a:cubicBezTo>
                    <a:cubicBezTo>
                      <a:pt x="217" y="215"/>
                      <a:pt x="221" y="222"/>
                      <a:pt x="218" y="222"/>
                    </a:cubicBezTo>
                    <a:cubicBezTo>
                      <a:pt x="215" y="222"/>
                      <a:pt x="215" y="217"/>
                      <a:pt x="213" y="216"/>
                    </a:cubicBezTo>
                    <a:cubicBezTo>
                      <a:pt x="212" y="215"/>
                      <a:pt x="211" y="216"/>
                      <a:pt x="209" y="216"/>
                    </a:cubicBezTo>
                    <a:cubicBezTo>
                      <a:pt x="208" y="216"/>
                      <a:pt x="206" y="214"/>
                      <a:pt x="206" y="216"/>
                    </a:cubicBezTo>
                    <a:cubicBezTo>
                      <a:pt x="207" y="219"/>
                      <a:pt x="210" y="222"/>
                      <a:pt x="213" y="225"/>
                    </a:cubicBezTo>
                    <a:cubicBezTo>
                      <a:pt x="214" y="226"/>
                      <a:pt x="217" y="227"/>
                      <a:pt x="219" y="228"/>
                    </a:cubicBezTo>
                    <a:cubicBezTo>
                      <a:pt x="220" y="229"/>
                      <a:pt x="218" y="231"/>
                      <a:pt x="219" y="232"/>
                    </a:cubicBezTo>
                    <a:cubicBezTo>
                      <a:pt x="221" y="234"/>
                      <a:pt x="225" y="234"/>
                      <a:pt x="227" y="236"/>
                    </a:cubicBezTo>
                    <a:cubicBezTo>
                      <a:pt x="229" y="238"/>
                      <a:pt x="229" y="241"/>
                      <a:pt x="231" y="242"/>
                    </a:cubicBezTo>
                    <a:cubicBezTo>
                      <a:pt x="232" y="243"/>
                      <a:pt x="234" y="242"/>
                      <a:pt x="235" y="243"/>
                    </a:cubicBezTo>
                    <a:cubicBezTo>
                      <a:pt x="236" y="244"/>
                      <a:pt x="237" y="246"/>
                      <a:pt x="236" y="247"/>
                    </a:cubicBezTo>
                    <a:cubicBezTo>
                      <a:pt x="235" y="248"/>
                      <a:pt x="232" y="246"/>
                      <a:pt x="232" y="247"/>
                    </a:cubicBezTo>
                    <a:cubicBezTo>
                      <a:pt x="232" y="249"/>
                      <a:pt x="236" y="251"/>
                      <a:pt x="235" y="252"/>
                    </a:cubicBezTo>
                    <a:cubicBezTo>
                      <a:pt x="234" y="254"/>
                      <a:pt x="231" y="253"/>
                      <a:pt x="229" y="252"/>
                    </a:cubicBezTo>
                    <a:cubicBezTo>
                      <a:pt x="227" y="252"/>
                      <a:pt x="225" y="250"/>
                      <a:pt x="223" y="249"/>
                    </a:cubicBezTo>
                    <a:cubicBezTo>
                      <a:pt x="221" y="248"/>
                      <a:pt x="218" y="246"/>
                      <a:pt x="215" y="245"/>
                    </a:cubicBezTo>
                    <a:cubicBezTo>
                      <a:pt x="213" y="244"/>
                      <a:pt x="210" y="245"/>
                      <a:pt x="207" y="245"/>
                    </a:cubicBezTo>
                    <a:cubicBezTo>
                      <a:pt x="205" y="244"/>
                      <a:pt x="202" y="244"/>
                      <a:pt x="200" y="243"/>
                    </a:cubicBezTo>
                    <a:cubicBezTo>
                      <a:pt x="198" y="242"/>
                      <a:pt x="197" y="239"/>
                      <a:pt x="195" y="237"/>
                    </a:cubicBezTo>
                    <a:cubicBezTo>
                      <a:pt x="194" y="236"/>
                      <a:pt x="194" y="233"/>
                      <a:pt x="193" y="233"/>
                    </a:cubicBezTo>
                    <a:cubicBezTo>
                      <a:pt x="191" y="233"/>
                      <a:pt x="190" y="235"/>
                      <a:pt x="189" y="235"/>
                    </a:cubicBezTo>
                    <a:cubicBezTo>
                      <a:pt x="187" y="235"/>
                      <a:pt x="186" y="234"/>
                      <a:pt x="184" y="233"/>
                    </a:cubicBezTo>
                    <a:cubicBezTo>
                      <a:pt x="183" y="232"/>
                      <a:pt x="181" y="232"/>
                      <a:pt x="180" y="231"/>
                    </a:cubicBezTo>
                    <a:cubicBezTo>
                      <a:pt x="179" y="230"/>
                      <a:pt x="181" y="229"/>
                      <a:pt x="180" y="228"/>
                    </a:cubicBezTo>
                    <a:cubicBezTo>
                      <a:pt x="179" y="228"/>
                      <a:pt x="178" y="229"/>
                      <a:pt x="177" y="229"/>
                    </a:cubicBezTo>
                    <a:cubicBezTo>
                      <a:pt x="175" y="228"/>
                      <a:pt x="174" y="226"/>
                      <a:pt x="173" y="225"/>
                    </a:cubicBezTo>
                    <a:cubicBezTo>
                      <a:pt x="172" y="224"/>
                      <a:pt x="168" y="223"/>
                      <a:pt x="170" y="222"/>
                    </a:cubicBezTo>
                    <a:cubicBezTo>
                      <a:pt x="172" y="220"/>
                      <a:pt x="175" y="222"/>
                      <a:pt x="178" y="221"/>
                    </a:cubicBezTo>
                    <a:cubicBezTo>
                      <a:pt x="179" y="221"/>
                      <a:pt x="179" y="219"/>
                      <a:pt x="178" y="218"/>
                    </a:cubicBezTo>
                    <a:cubicBezTo>
                      <a:pt x="177" y="217"/>
                      <a:pt x="175" y="217"/>
                      <a:pt x="174" y="217"/>
                    </a:cubicBezTo>
                    <a:cubicBezTo>
                      <a:pt x="172" y="216"/>
                      <a:pt x="172" y="214"/>
                      <a:pt x="171" y="214"/>
                    </a:cubicBezTo>
                    <a:cubicBezTo>
                      <a:pt x="170" y="213"/>
                      <a:pt x="170" y="216"/>
                      <a:pt x="169" y="216"/>
                    </a:cubicBezTo>
                    <a:cubicBezTo>
                      <a:pt x="168" y="215"/>
                      <a:pt x="168" y="213"/>
                      <a:pt x="167" y="212"/>
                    </a:cubicBezTo>
                    <a:cubicBezTo>
                      <a:pt x="166" y="211"/>
                      <a:pt x="164" y="213"/>
                      <a:pt x="163" y="212"/>
                    </a:cubicBezTo>
                    <a:cubicBezTo>
                      <a:pt x="162" y="211"/>
                      <a:pt x="163" y="209"/>
                      <a:pt x="163" y="208"/>
                    </a:cubicBezTo>
                    <a:cubicBezTo>
                      <a:pt x="162" y="206"/>
                      <a:pt x="159" y="206"/>
                      <a:pt x="158" y="205"/>
                    </a:cubicBezTo>
                    <a:cubicBezTo>
                      <a:pt x="158" y="203"/>
                      <a:pt x="159" y="200"/>
                      <a:pt x="159" y="198"/>
                    </a:cubicBezTo>
                    <a:cubicBezTo>
                      <a:pt x="159" y="198"/>
                      <a:pt x="157" y="198"/>
                      <a:pt x="157" y="198"/>
                    </a:cubicBezTo>
                    <a:cubicBezTo>
                      <a:pt x="155" y="200"/>
                      <a:pt x="155" y="202"/>
                      <a:pt x="154" y="204"/>
                    </a:cubicBezTo>
                    <a:cubicBezTo>
                      <a:pt x="153" y="205"/>
                      <a:pt x="154" y="203"/>
                      <a:pt x="154" y="202"/>
                    </a:cubicBezTo>
                    <a:cubicBezTo>
                      <a:pt x="154" y="201"/>
                      <a:pt x="156" y="198"/>
                      <a:pt x="155" y="197"/>
                    </a:cubicBezTo>
                    <a:cubicBezTo>
                      <a:pt x="153" y="197"/>
                      <a:pt x="152" y="201"/>
                      <a:pt x="150" y="202"/>
                    </a:cubicBezTo>
                    <a:cubicBezTo>
                      <a:pt x="149" y="202"/>
                      <a:pt x="150" y="200"/>
                      <a:pt x="150" y="199"/>
                    </a:cubicBezTo>
                    <a:cubicBezTo>
                      <a:pt x="150" y="197"/>
                      <a:pt x="151" y="195"/>
                      <a:pt x="150" y="194"/>
                    </a:cubicBezTo>
                    <a:cubicBezTo>
                      <a:pt x="149" y="194"/>
                      <a:pt x="149" y="197"/>
                      <a:pt x="148" y="197"/>
                    </a:cubicBezTo>
                    <a:cubicBezTo>
                      <a:pt x="147" y="196"/>
                      <a:pt x="148" y="194"/>
                      <a:pt x="147" y="193"/>
                    </a:cubicBezTo>
                    <a:cubicBezTo>
                      <a:pt x="145" y="192"/>
                      <a:pt x="144" y="191"/>
                      <a:pt x="142" y="191"/>
                    </a:cubicBezTo>
                    <a:cubicBezTo>
                      <a:pt x="141" y="192"/>
                      <a:pt x="141" y="195"/>
                      <a:pt x="142" y="196"/>
                    </a:cubicBezTo>
                    <a:cubicBezTo>
                      <a:pt x="143" y="197"/>
                      <a:pt x="147" y="196"/>
                      <a:pt x="147" y="198"/>
                    </a:cubicBezTo>
                    <a:cubicBezTo>
                      <a:pt x="147" y="200"/>
                      <a:pt x="145" y="202"/>
                      <a:pt x="143" y="202"/>
                    </a:cubicBezTo>
                    <a:cubicBezTo>
                      <a:pt x="141" y="202"/>
                      <a:pt x="140" y="200"/>
                      <a:pt x="138" y="200"/>
                    </a:cubicBezTo>
                    <a:cubicBezTo>
                      <a:pt x="136" y="199"/>
                      <a:pt x="134" y="197"/>
                      <a:pt x="132" y="198"/>
                    </a:cubicBezTo>
                    <a:cubicBezTo>
                      <a:pt x="131" y="199"/>
                      <a:pt x="133" y="201"/>
                      <a:pt x="132" y="202"/>
                    </a:cubicBezTo>
                    <a:cubicBezTo>
                      <a:pt x="130" y="203"/>
                      <a:pt x="127" y="202"/>
                      <a:pt x="125" y="203"/>
                    </a:cubicBezTo>
                    <a:cubicBezTo>
                      <a:pt x="124" y="203"/>
                      <a:pt x="125" y="205"/>
                      <a:pt x="124" y="206"/>
                    </a:cubicBezTo>
                    <a:cubicBezTo>
                      <a:pt x="122" y="207"/>
                      <a:pt x="118" y="206"/>
                      <a:pt x="115" y="206"/>
                    </a:cubicBezTo>
                    <a:cubicBezTo>
                      <a:pt x="113" y="205"/>
                      <a:pt x="112" y="203"/>
                      <a:pt x="110" y="202"/>
                    </a:cubicBezTo>
                    <a:cubicBezTo>
                      <a:pt x="109" y="202"/>
                      <a:pt x="107" y="203"/>
                      <a:pt x="106" y="202"/>
                    </a:cubicBezTo>
                    <a:cubicBezTo>
                      <a:pt x="105" y="200"/>
                      <a:pt x="104" y="197"/>
                      <a:pt x="104" y="194"/>
                    </a:cubicBezTo>
                    <a:cubicBezTo>
                      <a:pt x="104" y="192"/>
                      <a:pt x="105" y="190"/>
                      <a:pt x="107" y="189"/>
                    </a:cubicBezTo>
                    <a:cubicBezTo>
                      <a:pt x="110" y="187"/>
                      <a:pt x="113" y="189"/>
                      <a:pt x="115" y="188"/>
                    </a:cubicBezTo>
                    <a:cubicBezTo>
                      <a:pt x="116" y="187"/>
                      <a:pt x="115" y="186"/>
                      <a:pt x="116" y="184"/>
                    </a:cubicBezTo>
                    <a:cubicBezTo>
                      <a:pt x="116" y="184"/>
                      <a:pt x="116" y="182"/>
                      <a:pt x="117" y="182"/>
                    </a:cubicBezTo>
                    <a:cubicBezTo>
                      <a:pt x="120" y="182"/>
                      <a:pt x="122" y="182"/>
                      <a:pt x="125" y="182"/>
                    </a:cubicBezTo>
                    <a:cubicBezTo>
                      <a:pt x="127" y="182"/>
                      <a:pt x="128" y="183"/>
                      <a:pt x="129" y="183"/>
                    </a:cubicBezTo>
                    <a:cubicBezTo>
                      <a:pt x="131" y="183"/>
                      <a:pt x="133" y="182"/>
                      <a:pt x="135" y="183"/>
                    </a:cubicBezTo>
                    <a:cubicBezTo>
                      <a:pt x="137" y="183"/>
                      <a:pt x="139" y="184"/>
                      <a:pt x="141" y="184"/>
                    </a:cubicBezTo>
                    <a:cubicBezTo>
                      <a:pt x="142" y="184"/>
                      <a:pt x="144" y="183"/>
                      <a:pt x="145" y="183"/>
                    </a:cubicBezTo>
                    <a:cubicBezTo>
                      <a:pt x="146" y="183"/>
                      <a:pt x="148" y="184"/>
                      <a:pt x="149" y="183"/>
                    </a:cubicBezTo>
                    <a:cubicBezTo>
                      <a:pt x="151" y="182"/>
                      <a:pt x="152" y="180"/>
                      <a:pt x="155" y="179"/>
                    </a:cubicBezTo>
                    <a:cubicBezTo>
                      <a:pt x="156" y="179"/>
                      <a:pt x="159" y="181"/>
                      <a:pt x="160" y="180"/>
                    </a:cubicBezTo>
                    <a:cubicBezTo>
                      <a:pt x="161" y="178"/>
                      <a:pt x="160" y="175"/>
                      <a:pt x="158" y="173"/>
                    </a:cubicBezTo>
                    <a:cubicBezTo>
                      <a:pt x="157" y="172"/>
                      <a:pt x="153" y="171"/>
                      <a:pt x="153" y="169"/>
                    </a:cubicBezTo>
                    <a:cubicBezTo>
                      <a:pt x="153" y="167"/>
                      <a:pt x="156" y="164"/>
                      <a:pt x="158" y="162"/>
                    </a:cubicBezTo>
                    <a:cubicBezTo>
                      <a:pt x="162" y="159"/>
                      <a:pt x="167" y="157"/>
                      <a:pt x="170" y="154"/>
                    </a:cubicBezTo>
                    <a:cubicBezTo>
                      <a:pt x="172" y="152"/>
                      <a:pt x="173" y="149"/>
                      <a:pt x="175" y="147"/>
                    </a:cubicBezTo>
                    <a:cubicBezTo>
                      <a:pt x="176" y="145"/>
                      <a:pt x="181" y="144"/>
                      <a:pt x="181" y="141"/>
                    </a:cubicBezTo>
                    <a:cubicBezTo>
                      <a:pt x="182" y="138"/>
                      <a:pt x="178" y="136"/>
                      <a:pt x="177" y="133"/>
                    </a:cubicBezTo>
                    <a:cubicBezTo>
                      <a:pt x="176" y="131"/>
                      <a:pt x="176" y="129"/>
                      <a:pt x="177" y="127"/>
                    </a:cubicBezTo>
                    <a:cubicBezTo>
                      <a:pt x="177" y="126"/>
                      <a:pt x="178" y="125"/>
                      <a:pt x="178" y="124"/>
                    </a:cubicBezTo>
                    <a:cubicBezTo>
                      <a:pt x="176" y="123"/>
                      <a:pt x="174" y="123"/>
                      <a:pt x="172" y="122"/>
                    </a:cubicBezTo>
                    <a:cubicBezTo>
                      <a:pt x="171" y="122"/>
                      <a:pt x="169" y="121"/>
                      <a:pt x="168" y="120"/>
                    </a:cubicBezTo>
                    <a:cubicBezTo>
                      <a:pt x="167" y="119"/>
                      <a:pt x="168" y="117"/>
                      <a:pt x="168" y="116"/>
                    </a:cubicBezTo>
                    <a:cubicBezTo>
                      <a:pt x="167" y="114"/>
                      <a:pt x="167" y="112"/>
                      <a:pt x="165" y="112"/>
                    </a:cubicBezTo>
                    <a:cubicBezTo>
                      <a:pt x="164" y="112"/>
                      <a:pt x="166" y="115"/>
                      <a:pt x="165" y="117"/>
                    </a:cubicBezTo>
                    <a:cubicBezTo>
                      <a:pt x="164" y="118"/>
                      <a:pt x="162" y="118"/>
                      <a:pt x="161" y="117"/>
                    </a:cubicBezTo>
                    <a:cubicBezTo>
                      <a:pt x="159" y="116"/>
                      <a:pt x="160" y="113"/>
                      <a:pt x="159" y="111"/>
                    </a:cubicBezTo>
                    <a:cubicBezTo>
                      <a:pt x="159" y="111"/>
                      <a:pt x="157" y="112"/>
                      <a:pt x="157" y="112"/>
                    </a:cubicBezTo>
                    <a:cubicBezTo>
                      <a:pt x="156" y="110"/>
                      <a:pt x="156" y="109"/>
                      <a:pt x="157" y="107"/>
                    </a:cubicBezTo>
                    <a:cubicBezTo>
                      <a:pt x="157" y="106"/>
                      <a:pt x="160" y="104"/>
                      <a:pt x="158" y="104"/>
                    </a:cubicBezTo>
                    <a:cubicBezTo>
                      <a:pt x="156" y="105"/>
                      <a:pt x="155" y="107"/>
                      <a:pt x="153" y="108"/>
                    </a:cubicBezTo>
                    <a:cubicBezTo>
                      <a:pt x="153" y="108"/>
                      <a:pt x="152" y="105"/>
                      <a:pt x="152" y="106"/>
                    </a:cubicBezTo>
                    <a:cubicBezTo>
                      <a:pt x="151" y="107"/>
                      <a:pt x="153" y="110"/>
                      <a:pt x="151" y="111"/>
                    </a:cubicBezTo>
                    <a:cubicBezTo>
                      <a:pt x="147" y="114"/>
                      <a:pt x="142" y="116"/>
                      <a:pt x="137" y="116"/>
                    </a:cubicBezTo>
                    <a:cubicBezTo>
                      <a:pt x="135" y="116"/>
                      <a:pt x="136" y="112"/>
                      <a:pt x="137" y="111"/>
                    </a:cubicBezTo>
                    <a:cubicBezTo>
                      <a:pt x="138" y="109"/>
                      <a:pt x="140" y="107"/>
                      <a:pt x="142" y="106"/>
                    </a:cubicBezTo>
                    <a:cubicBezTo>
                      <a:pt x="144" y="104"/>
                      <a:pt x="148" y="105"/>
                      <a:pt x="150" y="103"/>
                    </a:cubicBezTo>
                    <a:cubicBezTo>
                      <a:pt x="152" y="102"/>
                      <a:pt x="149" y="100"/>
                      <a:pt x="148" y="99"/>
                    </a:cubicBezTo>
                    <a:cubicBezTo>
                      <a:pt x="147" y="98"/>
                      <a:pt x="144" y="99"/>
                      <a:pt x="143" y="97"/>
                    </a:cubicBezTo>
                    <a:cubicBezTo>
                      <a:pt x="142" y="96"/>
                      <a:pt x="145" y="92"/>
                      <a:pt x="143" y="92"/>
                    </a:cubicBezTo>
                    <a:cubicBezTo>
                      <a:pt x="141" y="90"/>
                      <a:pt x="137" y="95"/>
                      <a:pt x="135" y="94"/>
                    </a:cubicBezTo>
                    <a:cubicBezTo>
                      <a:pt x="133" y="92"/>
                      <a:pt x="138" y="89"/>
                      <a:pt x="137" y="87"/>
                    </a:cubicBezTo>
                    <a:cubicBezTo>
                      <a:pt x="137" y="85"/>
                      <a:pt x="134" y="88"/>
                      <a:pt x="132" y="89"/>
                    </a:cubicBezTo>
                    <a:cubicBezTo>
                      <a:pt x="131" y="90"/>
                      <a:pt x="130" y="94"/>
                      <a:pt x="130" y="92"/>
                    </a:cubicBezTo>
                    <a:cubicBezTo>
                      <a:pt x="129" y="88"/>
                      <a:pt x="132" y="83"/>
                      <a:pt x="131" y="79"/>
                    </a:cubicBezTo>
                    <a:cubicBezTo>
                      <a:pt x="130" y="77"/>
                      <a:pt x="128" y="82"/>
                      <a:pt x="126" y="82"/>
                    </a:cubicBezTo>
                    <a:cubicBezTo>
                      <a:pt x="124" y="82"/>
                      <a:pt x="124" y="79"/>
                      <a:pt x="122" y="78"/>
                    </a:cubicBezTo>
                    <a:cubicBezTo>
                      <a:pt x="121" y="77"/>
                      <a:pt x="119" y="77"/>
                      <a:pt x="118" y="76"/>
                    </a:cubicBezTo>
                    <a:cubicBezTo>
                      <a:pt x="118" y="74"/>
                      <a:pt x="122" y="69"/>
                      <a:pt x="119" y="70"/>
                    </a:cubicBezTo>
                    <a:cubicBezTo>
                      <a:pt x="117" y="70"/>
                      <a:pt x="117" y="75"/>
                      <a:pt x="115" y="76"/>
                    </a:cubicBezTo>
                    <a:cubicBezTo>
                      <a:pt x="113" y="77"/>
                      <a:pt x="114" y="72"/>
                      <a:pt x="112" y="72"/>
                    </a:cubicBezTo>
                    <a:cubicBezTo>
                      <a:pt x="110" y="72"/>
                      <a:pt x="109" y="76"/>
                      <a:pt x="110" y="77"/>
                    </a:cubicBezTo>
                    <a:cubicBezTo>
                      <a:pt x="112" y="80"/>
                      <a:pt x="117" y="78"/>
                      <a:pt x="119" y="81"/>
                    </a:cubicBezTo>
                    <a:cubicBezTo>
                      <a:pt x="121" y="83"/>
                      <a:pt x="120" y="87"/>
                      <a:pt x="118" y="88"/>
                    </a:cubicBezTo>
                    <a:cubicBezTo>
                      <a:pt x="115" y="90"/>
                      <a:pt x="110" y="90"/>
                      <a:pt x="106" y="89"/>
                    </a:cubicBezTo>
                    <a:cubicBezTo>
                      <a:pt x="105" y="89"/>
                      <a:pt x="105" y="85"/>
                      <a:pt x="103" y="85"/>
                    </a:cubicBezTo>
                    <a:cubicBezTo>
                      <a:pt x="98" y="83"/>
                      <a:pt x="93" y="83"/>
                      <a:pt x="87" y="83"/>
                    </a:cubicBezTo>
                    <a:cubicBezTo>
                      <a:pt x="86" y="83"/>
                      <a:pt x="89" y="85"/>
                      <a:pt x="90" y="85"/>
                    </a:cubicBezTo>
                    <a:cubicBezTo>
                      <a:pt x="92" y="87"/>
                      <a:pt x="95" y="87"/>
                      <a:pt x="97" y="89"/>
                    </a:cubicBezTo>
                    <a:cubicBezTo>
                      <a:pt x="98" y="90"/>
                      <a:pt x="95" y="91"/>
                      <a:pt x="93" y="91"/>
                    </a:cubicBezTo>
                    <a:cubicBezTo>
                      <a:pt x="90" y="90"/>
                      <a:pt x="88" y="87"/>
                      <a:pt x="85" y="86"/>
                    </a:cubicBezTo>
                    <a:cubicBezTo>
                      <a:pt x="83" y="84"/>
                      <a:pt x="81" y="81"/>
                      <a:pt x="79" y="80"/>
                    </a:cubicBezTo>
                    <a:cubicBezTo>
                      <a:pt x="77" y="79"/>
                      <a:pt x="75" y="79"/>
                      <a:pt x="73" y="79"/>
                    </a:cubicBezTo>
                    <a:cubicBezTo>
                      <a:pt x="72" y="79"/>
                      <a:pt x="75" y="80"/>
                      <a:pt x="76" y="81"/>
                    </a:cubicBezTo>
                    <a:cubicBezTo>
                      <a:pt x="78" y="83"/>
                      <a:pt x="82" y="84"/>
                      <a:pt x="83" y="87"/>
                    </a:cubicBezTo>
                    <a:cubicBezTo>
                      <a:pt x="83" y="88"/>
                      <a:pt x="80" y="88"/>
                      <a:pt x="79" y="88"/>
                    </a:cubicBezTo>
                    <a:cubicBezTo>
                      <a:pt x="74" y="88"/>
                      <a:pt x="70" y="86"/>
                      <a:pt x="66" y="86"/>
                    </a:cubicBezTo>
                    <a:cubicBezTo>
                      <a:pt x="62" y="86"/>
                      <a:pt x="58" y="87"/>
                      <a:pt x="55" y="86"/>
                    </a:cubicBezTo>
                    <a:cubicBezTo>
                      <a:pt x="53" y="85"/>
                      <a:pt x="56" y="81"/>
                      <a:pt x="54" y="80"/>
                    </a:cubicBezTo>
                    <a:cubicBezTo>
                      <a:pt x="52" y="80"/>
                      <a:pt x="53" y="84"/>
                      <a:pt x="52" y="85"/>
                    </a:cubicBezTo>
                    <a:cubicBezTo>
                      <a:pt x="49" y="86"/>
                      <a:pt x="46" y="83"/>
                      <a:pt x="43" y="84"/>
                    </a:cubicBezTo>
                    <a:cubicBezTo>
                      <a:pt x="42" y="84"/>
                      <a:pt x="46" y="86"/>
                      <a:pt x="45" y="86"/>
                    </a:cubicBezTo>
                    <a:cubicBezTo>
                      <a:pt x="43" y="87"/>
                      <a:pt x="41" y="85"/>
                      <a:pt x="39" y="84"/>
                    </a:cubicBezTo>
                    <a:cubicBezTo>
                      <a:pt x="38" y="83"/>
                      <a:pt x="36" y="82"/>
                      <a:pt x="35" y="80"/>
                    </a:cubicBezTo>
                    <a:cubicBezTo>
                      <a:pt x="34" y="79"/>
                      <a:pt x="36" y="76"/>
                      <a:pt x="35" y="76"/>
                    </a:cubicBezTo>
                    <a:cubicBezTo>
                      <a:pt x="33" y="76"/>
                      <a:pt x="35" y="79"/>
                      <a:pt x="33" y="80"/>
                    </a:cubicBezTo>
                    <a:cubicBezTo>
                      <a:pt x="33" y="81"/>
                      <a:pt x="31" y="80"/>
                      <a:pt x="31" y="80"/>
                    </a:cubicBezTo>
                    <a:cubicBezTo>
                      <a:pt x="30" y="79"/>
                      <a:pt x="31" y="77"/>
                      <a:pt x="30" y="76"/>
                    </a:cubicBezTo>
                    <a:cubicBezTo>
                      <a:pt x="30" y="76"/>
                      <a:pt x="29" y="76"/>
                      <a:pt x="28" y="76"/>
                    </a:cubicBezTo>
                    <a:cubicBezTo>
                      <a:pt x="28" y="78"/>
                      <a:pt x="30" y="80"/>
                      <a:pt x="28" y="81"/>
                    </a:cubicBezTo>
                    <a:cubicBezTo>
                      <a:pt x="26" y="81"/>
                      <a:pt x="23" y="79"/>
                      <a:pt x="20" y="78"/>
                    </a:cubicBezTo>
                    <a:cubicBezTo>
                      <a:pt x="19" y="78"/>
                      <a:pt x="18" y="80"/>
                      <a:pt x="17" y="80"/>
                    </a:cubicBezTo>
                    <a:cubicBezTo>
                      <a:pt x="16" y="79"/>
                      <a:pt x="17" y="77"/>
                      <a:pt x="16" y="76"/>
                    </a:cubicBezTo>
                    <a:cubicBezTo>
                      <a:pt x="14" y="74"/>
                      <a:pt x="11" y="73"/>
                      <a:pt x="10" y="71"/>
                    </a:cubicBezTo>
                    <a:cubicBezTo>
                      <a:pt x="8" y="69"/>
                      <a:pt x="8" y="66"/>
                      <a:pt x="7" y="63"/>
                    </a:cubicBezTo>
                    <a:cubicBezTo>
                      <a:pt x="7" y="63"/>
                      <a:pt x="6" y="61"/>
                      <a:pt x="7" y="61"/>
                    </a:cubicBezTo>
                    <a:cubicBezTo>
                      <a:pt x="10" y="61"/>
                      <a:pt x="13" y="61"/>
                      <a:pt x="16" y="61"/>
                    </a:cubicBezTo>
                    <a:cubicBezTo>
                      <a:pt x="19" y="62"/>
                      <a:pt x="20" y="64"/>
                      <a:pt x="23" y="65"/>
                    </a:cubicBezTo>
                    <a:cubicBezTo>
                      <a:pt x="25" y="65"/>
                      <a:pt x="30" y="67"/>
                      <a:pt x="31" y="64"/>
                    </a:cubicBezTo>
                    <a:cubicBezTo>
                      <a:pt x="31" y="61"/>
                      <a:pt x="26" y="61"/>
                      <a:pt x="24" y="59"/>
                    </a:cubicBezTo>
                    <a:cubicBezTo>
                      <a:pt x="23" y="59"/>
                      <a:pt x="24" y="57"/>
                      <a:pt x="23" y="57"/>
                    </a:cubicBezTo>
                    <a:cubicBezTo>
                      <a:pt x="21" y="57"/>
                      <a:pt x="18" y="58"/>
                      <a:pt x="16" y="58"/>
                    </a:cubicBezTo>
                    <a:cubicBezTo>
                      <a:pt x="11" y="58"/>
                      <a:pt x="6" y="58"/>
                      <a:pt x="1" y="56"/>
                    </a:cubicBezTo>
                    <a:cubicBezTo>
                      <a:pt x="0" y="56"/>
                      <a:pt x="1" y="54"/>
                      <a:pt x="2" y="52"/>
                    </a:cubicBezTo>
                    <a:cubicBezTo>
                      <a:pt x="3" y="49"/>
                      <a:pt x="4" y="46"/>
                      <a:pt x="5" y="43"/>
                    </a:cubicBezTo>
                    <a:cubicBezTo>
                      <a:pt x="6" y="41"/>
                      <a:pt x="8" y="40"/>
                      <a:pt x="9" y="37"/>
                    </a:cubicBezTo>
                    <a:cubicBezTo>
                      <a:pt x="10" y="35"/>
                      <a:pt x="8" y="32"/>
                      <a:pt x="9" y="30"/>
                    </a:cubicBezTo>
                    <a:cubicBezTo>
                      <a:pt x="10" y="27"/>
                      <a:pt x="14" y="26"/>
                      <a:pt x="16" y="23"/>
                    </a:cubicBezTo>
                    <a:cubicBezTo>
                      <a:pt x="19" y="20"/>
                      <a:pt x="20" y="16"/>
                      <a:pt x="23" y="13"/>
                    </a:cubicBezTo>
                    <a:cubicBezTo>
                      <a:pt x="27" y="9"/>
                      <a:pt x="32" y="6"/>
                      <a:pt x="37" y="4"/>
                    </a:cubicBezTo>
                    <a:cubicBezTo>
                      <a:pt x="41" y="2"/>
                      <a:pt x="46" y="1"/>
                      <a:pt x="51" y="1"/>
                    </a:cubicBezTo>
                    <a:cubicBezTo>
                      <a:pt x="55" y="0"/>
                      <a:pt x="59" y="1"/>
                      <a:pt x="63" y="1"/>
                    </a:cubicBezTo>
                    <a:cubicBezTo>
                      <a:pt x="65" y="1"/>
                      <a:pt x="67" y="0"/>
                      <a:pt x="68" y="1"/>
                    </a:cubicBezTo>
                    <a:cubicBezTo>
                      <a:pt x="69" y="2"/>
                      <a:pt x="68" y="4"/>
                      <a:pt x="67" y="5"/>
                    </a:cubicBezTo>
                    <a:cubicBezTo>
                      <a:pt x="65" y="6"/>
                      <a:pt x="61" y="7"/>
                      <a:pt x="59" y="8"/>
                    </a:cubicBezTo>
                    <a:cubicBezTo>
                      <a:pt x="57" y="9"/>
                      <a:pt x="54" y="10"/>
                      <a:pt x="53" y="12"/>
                    </a:cubicBezTo>
                    <a:cubicBezTo>
                      <a:pt x="51" y="14"/>
                      <a:pt x="52" y="17"/>
                      <a:pt x="51" y="19"/>
                    </a:cubicBezTo>
                    <a:cubicBezTo>
                      <a:pt x="49" y="22"/>
                      <a:pt x="46" y="23"/>
                      <a:pt x="45" y="25"/>
                    </a:cubicBezTo>
                    <a:cubicBezTo>
                      <a:pt x="45" y="28"/>
                      <a:pt x="48" y="30"/>
                      <a:pt x="48" y="32"/>
                    </a:cubicBezTo>
                    <a:cubicBezTo>
                      <a:pt x="48" y="35"/>
                      <a:pt x="45" y="37"/>
                      <a:pt x="45" y="39"/>
                    </a:cubicBezTo>
                    <a:cubicBezTo>
                      <a:pt x="44" y="41"/>
                      <a:pt x="44" y="44"/>
                      <a:pt x="45" y="45"/>
                    </a:cubicBezTo>
                    <a:cubicBezTo>
                      <a:pt x="47" y="48"/>
                      <a:pt x="51" y="50"/>
                      <a:pt x="53" y="52"/>
                    </a:cubicBezTo>
                    <a:cubicBezTo>
                      <a:pt x="54" y="53"/>
                      <a:pt x="57" y="53"/>
                      <a:pt x="56" y="54"/>
                    </a:cubicBezTo>
                    <a:cubicBezTo>
                      <a:pt x="55" y="56"/>
                      <a:pt x="51" y="56"/>
                      <a:pt x="49" y="57"/>
                    </a:cubicBezTo>
                    <a:cubicBezTo>
                      <a:pt x="46" y="58"/>
                      <a:pt x="44" y="58"/>
                      <a:pt x="42" y="59"/>
                    </a:cubicBezTo>
                    <a:cubicBezTo>
                      <a:pt x="40" y="60"/>
                      <a:pt x="38" y="62"/>
                      <a:pt x="38" y="64"/>
                    </a:cubicBezTo>
                    <a:cubicBezTo>
                      <a:pt x="38" y="65"/>
                      <a:pt x="41" y="63"/>
                      <a:pt x="42" y="62"/>
                    </a:cubicBezTo>
                    <a:cubicBezTo>
                      <a:pt x="45" y="62"/>
                      <a:pt x="47" y="60"/>
                      <a:pt x="50" y="59"/>
                    </a:cubicBezTo>
                    <a:cubicBezTo>
                      <a:pt x="51" y="59"/>
                      <a:pt x="53" y="58"/>
                      <a:pt x="54" y="59"/>
                    </a:cubicBezTo>
                    <a:cubicBezTo>
                      <a:pt x="55" y="61"/>
                      <a:pt x="53" y="63"/>
                      <a:pt x="53" y="65"/>
                    </a:cubicBezTo>
                    <a:cubicBezTo>
                      <a:pt x="53" y="66"/>
                      <a:pt x="55" y="67"/>
                      <a:pt x="55" y="66"/>
                    </a:cubicBezTo>
                    <a:cubicBezTo>
                      <a:pt x="57" y="63"/>
                      <a:pt x="57" y="60"/>
                      <a:pt x="58" y="57"/>
                    </a:cubicBezTo>
                    <a:cubicBezTo>
                      <a:pt x="58" y="56"/>
                      <a:pt x="59" y="55"/>
                      <a:pt x="60" y="54"/>
                    </a:cubicBezTo>
                    <a:cubicBezTo>
                      <a:pt x="61" y="52"/>
                      <a:pt x="62" y="50"/>
                      <a:pt x="61" y="49"/>
                    </a:cubicBezTo>
                    <a:cubicBezTo>
                      <a:pt x="59" y="46"/>
                      <a:pt x="56" y="46"/>
                      <a:pt x="53" y="45"/>
                    </a:cubicBezTo>
                    <a:cubicBezTo>
                      <a:pt x="52" y="44"/>
                      <a:pt x="49" y="42"/>
                      <a:pt x="50" y="41"/>
                    </a:cubicBezTo>
                    <a:cubicBezTo>
                      <a:pt x="51" y="38"/>
                      <a:pt x="54" y="35"/>
                      <a:pt x="57" y="34"/>
                    </a:cubicBezTo>
                    <a:cubicBezTo>
                      <a:pt x="58" y="33"/>
                      <a:pt x="60" y="36"/>
                      <a:pt x="61" y="37"/>
                    </a:cubicBezTo>
                    <a:cubicBezTo>
                      <a:pt x="63" y="38"/>
                      <a:pt x="64" y="40"/>
                      <a:pt x="66" y="40"/>
                    </a:cubicBezTo>
                    <a:cubicBezTo>
                      <a:pt x="67" y="41"/>
                      <a:pt x="67" y="38"/>
                      <a:pt x="66" y="38"/>
                    </a:cubicBezTo>
                    <a:cubicBezTo>
                      <a:pt x="65" y="36"/>
                      <a:pt x="62" y="37"/>
                      <a:pt x="61" y="35"/>
                    </a:cubicBezTo>
                    <a:cubicBezTo>
                      <a:pt x="60" y="34"/>
                      <a:pt x="63" y="32"/>
                      <a:pt x="62" y="31"/>
                    </a:cubicBezTo>
                    <a:cubicBezTo>
                      <a:pt x="62" y="30"/>
                      <a:pt x="59" y="32"/>
                      <a:pt x="58" y="31"/>
                    </a:cubicBezTo>
                    <a:cubicBezTo>
                      <a:pt x="57" y="31"/>
                      <a:pt x="57" y="29"/>
                      <a:pt x="57" y="28"/>
                    </a:cubicBezTo>
                    <a:cubicBezTo>
                      <a:pt x="57" y="24"/>
                      <a:pt x="55" y="20"/>
                      <a:pt x="57" y="18"/>
                    </a:cubicBezTo>
                    <a:cubicBezTo>
                      <a:pt x="58" y="16"/>
                      <a:pt x="60" y="20"/>
                      <a:pt x="62" y="21"/>
                    </a:cubicBezTo>
                    <a:cubicBezTo>
                      <a:pt x="65" y="22"/>
                      <a:pt x="68" y="25"/>
                      <a:pt x="71" y="25"/>
                    </a:cubicBezTo>
                    <a:cubicBezTo>
                      <a:pt x="72" y="25"/>
                      <a:pt x="72" y="23"/>
                      <a:pt x="71" y="22"/>
                    </a:cubicBezTo>
                    <a:cubicBezTo>
                      <a:pt x="68" y="20"/>
                      <a:pt x="64" y="20"/>
                      <a:pt x="61" y="17"/>
                    </a:cubicBezTo>
                    <a:cubicBezTo>
                      <a:pt x="60" y="16"/>
                      <a:pt x="64" y="16"/>
                      <a:pt x="65" y="16"/>
                    </a:cubicBezTo>
                    <a:cubicBezTo>
                      <a:pt x="68" y="16"/>
                      <a:pt x="71" y="19"/>
                      <a:pt x="73" y="17"/>
                    </a:cubicBezTo>
                    <a:cubicBezTo>
                      <a:pt x="75" y="15"/>
                      <a:pt x="69" y="16"/>
                      <a:pt x="67" y="14"/>
                    </a:cubicBezTo>
                    <a:cubicBezTo>
                      <a:pt x="66" y="13"/>
                      <a:pt x="65" y="11"/>
                      <a:pt x="66" y="10"/>
                    </a:cubicBezTo>
                    <a:cubicBezTo>
                      <a:pt x="68" y="9"/>
                      <a:pt x="69" y="12"/>
                      <a:pt x="71" y="12"/>
                    </a:cubicBezTo>
                    <a:cubicBezTo>
                      <a:pt x="72" y="11"/>
                      <a:pt x="73" y="8"/>
                      <a:pt x="74" y="8"/>
                    </a:cubicBezTo>
                    <a:cubicBezTo>
                      <a:pt x="76" y="7"/>
                      <a:pt x="78" y="9"/>
                      <a:pt x="80" y="9"/>
                    </a:cubicBezTo>
                    <a:cubicBezTo>
                      <a:pt x="81" y="8"/>
                      <a:pt x="79" y="6"/>
                      <a:pt x="80" y="6"/>
                    </a:cubicBezTo>
                    <a:cubicBezTo>
                      <a:pt x="85" y="4"/>
                      <a:pt x="89" y="2"/>
                      <a:pt x="94" y="2"/>
                    </a:cubicBezTo>
                    <a:cubicBezTo>
                      <a:pt x="99" y="1"/>
                      <a:pt x="104" y="1"/>
                      <a:pt x="108" y="3"/>
                    </a:cubicBezTo>
                    <a:cubicBezTo>
                      <a:pt x="109" y="3"/>
                      <a:pt x="109" y="6"/>
                      <a:pt x="109" y="7"/>
                    </a:cubicBezTo>
                    <a:cubicBezTo>
                      <a:pt x="109" y="9"/>
                      <a:pt x="107" y="11"/>
                      <a:pt x="108" y="13"/>
                    </a:cubicBezTo>
                    <a:cubicBezTo>
                      <a:pt x="109" y="15"/>
                      <a:pt x="112" y="14"/>
                      <a:pt x="113" y="16"/>
                    </a:cubicBezTo>
                    <a:cubicBezTo>
                      <a:pt x="114" y="17"/>
                      <a:pt x="112" y="19"/>
                      <a:pt x="112" y="21"/>
                    </a:cubicBezTo>
                    <a:cubicBezTo>
                      <a:pt x="112" y="23"/>
                      <a:pt x="114" y="24"/>
                      <a:pt x="113" y="25"/>
                    </a:cubicBezTo>
                    <a:cubicBezTo>
                      <a:pt x="110" y="29"/>
                      <a:pt x="104" y="30"/>
                      <a:pt x="101" y="34"/>
                    </a:cubicBezTo>
                    <a:cubicBezTo>
                      <a:pt x="100" y="35"/>
                      <a:pt x="106" y="32"/>
                      <a:pt x="107" y="34"/>
                    </a:cubicBezTo>
                    <a:cubicBezTo>
                      <a:pt x="108" y="36"/>
                      <a:pt x="104" y="38"/>
                      <a:pt x="103" y="40"/>
                    </a:cubicBezTo>
                    <a:cubicBezTo>
                      <a:pt x="103" y="41"/>
                      <a:pt x="103" y="44"/>
                      <a:pt x="105" y="44"/>
                    </a:cubicBezTo>
                    <a:cubicBezTo>
                      <a:pt x="107" y="43"/>
                      <a:pt x="108" y="40"/>
                      <a:pt x="110" y="38"/>
                    </a:cubicBezTo>
                    <a:cubicBezTo>
                      <a:pt x="111" y="37"/>
                      <a:pt x="111" y="36"/>
                      <a:pt x="113" y="35"/>
                    </a:cubicBezTo>
                    <a:cubicBezTo>
                      <a:pt x="114" y="35"/>
                      <a:pt x="115" y="37"/>
                      <a:pt x="116" y="36"/>
                    </a:cubicBezTo>
                    <a:cubicBezTo>
                      <a:pt x="117" y="35"/>
                      <a:pt x="115" y="32"/>
                      <a:pt x="116" y="32"/>
                    </a:cubicBezTo>
                    <a:cubicBezTo>
                      <a:pt x="118" y="32"/>
                      <a:pt x="118" y="35"/>
                      <a:pt x="120" y="36"/>
                    </a:cubicBezTo>
                    <a:cubicBezTo>
                      <a:pt x="122" y="37"/>
                      <a:pt x="125" y="33"/>
                      <a:pt x="125" y="35"/>
                    </a:cubicBezTo>
                    <a:cubicBezTo>
                      <a:pt x="126" y="37"/>
                      <a:pt x="122" y="40"/>
                      <a:pt x="123" y="43"/>
                    </a:cubicBezTo>
                    <a:cubicBezTo>
                      <a:pt x="124" y="45"/>
                      <a:pt x="127" y="44"/>
                      <a:pt x="128" y="43"/>
                    </a:cubicBezTo>
                    <a:cubicBezTo>
                      <a:pt x="129" y="42"/>
                      <a:pt x="125" y="39"/>
                      <a:pt x="127" y="38"/>
                    </a:cubicBezTo>
                    <a:cubicBezTo>
                      <a:pt x="128" y="37"/>
                      <a:pt x="130" y="40"/>
                      <a:pt x="132" y="41"/>
                    </a:cubicBezTo>
                    <a:cubicBezTo>
                      <a:pt x="133" y="42"/>
                      <a:pt x="134" y="45"/>
                      <a:pt x="134" y="44"/>
                    </a:cubicBezTo>
                    <a:cubicBezTo>
                      <a:pt x="134" y="42"/>
                      <a:pt x="133" y="40"/>
                      <a:pt x="132" y="38"/>
                    </a:cubicBezTo>
                    <a:cubicBezTo>
                      <a:pt x="131" y="36"/>
                      <a:pt x="128" y="35"/>
                      <a:pt x="129" y="34"/>
                    </a:cubicBezTo>
                    <a:cubicBezTo>
                      <a:pt x="131" y="33"/>
                      <a:pt x="133" y="36"/>
                      <a:pt x="135" y="36"/>
                    </a:cubicBezTo>
                    <a:cubicBezTo>
                      <a:pt x="137" y="37"/>
                      <a:pt x="140" y="38"/>
                      <a:pt x="143" y="37"/>
                    </a:cubicBezTo>
                    <a:cubicBezTo>
                      <a:pt x="144" y="37"/>
                      <a:pt x="141" y="36"/>
                      <a:pt x="140" y="35"/>
                    </a:cubicBezTo>
                    <a:cubicBezTo>
                      <a:pt x="137" y="34"/>
                      <a:pt x="133" y="35"/>
                      <a:pt x="132" y="32"/>
                    </a:cubicBezTo>
                    <a:cubicBezTo>
                      <a:pt x="132" y="30"/>
                      <a:pt x="136" y="28"/>
                      <a:pt x="138" y="27"/>
                    </a:cubicBezTo>
                    <a:cubicBezTo>
                      <a:pt x="140" y="26"/>
                      <a:pt x="143" y="24"/>
                      <a:pt x="145" y="25"/>
                    </a:cubicBezTo>
                    <a:cubicBezTo>
                      <a:pt x="150" y="25"/>
                      <a:pt x="155" y="27"/>
                      <a:pt x="159" y="29"/>
                    </a:cubicBezTo>
                    <a:cubicBezTo>
                      <a:pt x="160" y="29"/>
                      <a:pt x="161" y="32"/>
                      <a:pt x="162" y="31"/>
                    </a:cubicBezTo>
                    <a:cubicBezTo>
                      <a:pt x="163" y="31"/>
                      <a:pt x="162" y="27"/>
                      <a:pt x="163" y="28"/>
                    </a:cubicBezTo>
                    <a:cubicBezTo>
                      <a:pt x="167" y="29"/>
                      <a:pt x="170" y="31"/>
                      <a:pt x="171" y="35"/>
                    </a:cubicBezTo>
                    <a:cubicBezTo>
                      <a:pt x="172" y="37"/>
                      <a:pt x="168" y="38"/>
                      <a:pt x="166" y="39"/>
                    </a:cubicBezTo>
                    <a:cubicBezTo>
                      <a:pt x="164" y="41"/>
                      <a:pt x="162" y="42"/>
                      <a:pt x="161" y="44"/>
                    </a:cubicBezTo>
                    <a:cubicBezTo>
                      <a:pt x="161" y="45"/>
                      <a:pt x="162" y="46"/>
                      <a:pt x="162" y="46"/>
                    </a:cubicBezTo>
                    <a:cubicBezTo>
                      <a:pt x="164" y="44"/>
                      <a:pt x="165" y="41"/>
                      <a:pt x="168" y="40"/>
                    </a:cubicBezTo>
                    <a:cubicBezTo>
                      <a:pt x="171" y="39"/>
                      <a:pt x="175" y="37"/>
                      <a:pt x="177" y="40"/>
                    </a:cubicBezTo>
                    <a:cubicBezTo>
                      <a:pt x="179" y="42"/>
                      <a:pt x="175" y="44"/>
                      <a:pt x="173" y="46"/>
                    </a:cubicBezTo>
                    <a:cubicBezTo>
                      <a:pt x="171" y="47"/>
                      <a:pt x="168" y="47"/>
                      <a:pt x="168" y="48"/>
                    </a:cubicBezTo>
                    <a:cubicBezTo>
                      <a:pt x="167" y="50"/>
                      <a:pt x="172" y="48"/>
                      <a:pt x="172" y="49"/>
                    </a:cubicBezTo>
                    <a:cubicBezTo>
                      <a:pt x="172" y="51"/>
                      <a:pt x="169" y="53"/>
                      <a:pt x="169" y="55"/>
                    </a:cubicBezTo>
                    <a:cubicBezTo>
                      <a:pt x="169" y="56"/>
                      <a:pt x="171" y="56"/>
                      <a:pt x="172" y="56"/>
                    </a:cubicBezTo>
                    <a:cubicBezTo>
                      <a:pt x="174" y="54"/>
                      <a:pt x="174" y="51"/>
                      <a:pt x="176" y="49"/>
                    </a:cubicBezTo>
                    <a:cubicBezTo>
                      <a:pt x="178" y="47"/>
                      <a:pt x="181" y="43"/>
                      <a:pt x="181" y="45"/>
                    </a:cubicBezTo>
                    <a:cubicBezTo>
                      <a:pt x="182" y="48"/>
                      <a:pt x="178" y="50"/>
                      <a:pt x="177" y="53"/>
                    </a:cubicBezTo>
                    <a:cubicBezTo>
                      <a:pt x="176" y="54"/>
                      <a:pt x="175" y="58"/>
                      <a:pt x="176" y="58"/>
                    </a:cubicBezTo>
                    <a:cubicBezTo>
                      <a:pt x="179" y="56"/>
                      <a:pt x="179" y="48"/>
                      <a:pt x="182" y="50"/>
                    </a:cubicBezTo>
                    <a:cubicBezTo>
                      <a:pt x="185" y="51"/>
                      <a:pt x="179" y="56"/>
                      <a:pt x="180" y="59"/>
                    </a:cubicBezTo>
                    <a:cubicBezTo>
                      <a:pt x="182" y="61"/>
                      <a:pt x="183" y="53"/>
                      <a:pt x="185" y="54"/>
                    </a:cubicBezTo>
                    <a:cubicBezTo>
                      <a:pt x="187" y="56"/>
                      <a:pt x="181" y="63"/>
                      <a:pt x="184" y="62"/>
                    </a:cubicBezTo>
                    <a:cubicBezTo>
                      <a:pt x="188" y="62"/>
                      <a:pt x="189" y="57"/>
                      <a:pt x="190" y="54"/>
                    </a:cubicBezTo>
                    <a:cubicBezTo>
                      <a:pt x="192" y="52"/>
                      <a:pt x="192" y="48"/>
                      <a:pt x="194" y="47"/>
                    </a:cubicBezTo>
                    <a:cubicBezTo>
                      <a:pt x="196" y="46"/>
                      <a:pt x="200" y="47"/>
                      <a:pt x="202" y="49"/>
                    </a:cubicBezTo>
                    <a:cubicBezTo>
                      <a:pt x="203" y="50"/>
                      <a:pt x="199" y="54"/>
                      <a:pt x="201" y="54"/>
                    </a:cubicBezTo>
                    <a:cubicBezTo>
                      <a:pt x="202" y="55"/>
                      <a:pt x="202" y="50"/>
                      <a:pt x="204" y="50"/>
                    </a:cubicBezTo>
                    <a:cubicBezTo>
                      <a:pt x="207" y="50"/>
                      <a:pt x="209" y="53"/>
                      <a:pt x="210" y="55"/>
                    </a:cubicBezTo>
                    <a:cubicBezTo>
                      <a:pt x="211" y="55"/>
                      <a:pt x="211" y="57"/>
                      <a:pt x="210" y="58"/>
                    </a:cubicBezTo>
                    <a:cubicBezTo>
                      <a:pt x="209" y="59"/>
                      <a:pt x="207" y="60"/>
                      <a:pt x="205" y="61"/>
                    </a:cubicBezTo>
                    <a:cubicBezTo>
                      <a:pt x="203" y="62"/>
                      <a:pt x="200" y="60"/>
                      <a:pt x="198" y="61"/>
                    </a:cubicBezTo>
                    <a:cubicBezTo>
                      <a:pt x="196" y="62"/>
                      <a:pt x="196" y="65"/>
                      <a:pt x="195" y="67"/>
                    </a:cubicBezTo>
                    <a:cubicBezTo>
                      <a:pt x="194" y="69"/>
                      <a:pt x="191" y="72"/>
                      <a:pt x="193" y="73"/>
                    </a:cubicBezTo>
                    <a:cubicBezTo>
                      <a:pt x="195" y="74"/>
                      <a:pt x="197" y="70"/>
                      <a:pt x="199" y="69"/>
                    </a:cubicBezTo>
                    <a:cubicBezTo>
                      <a:pt x="201" y="67"/>
                      <a:pt x="204" y="66"/>
                      <a:pt x="206" y="67"/>
                    </a:cubicBezTo>
                    <a:cubicBezTo>
                      <a:pt x="208" y="67"/>
                      <a:pt x="203" y="70"/>
                      <a:pt x="204" y="69"/>
                    </a:cubicBezTo>
                    <a:cubicBezTo>
                      <a:pt x="206" y="68"/>
                      <a:pt x="208" y="67"/>
                      <a:pt x="210" y="65"/>
                    </a:cubicBezTo>
                    <a:cubicBezTo>
                      <a:pt x="211" y="64"/>
                      <a:pt x="212" y="61"/>
                      <a:pt x="213" y="61"/>
                    </a:cubicBezTo>
                    <a:cubicBezTo>
                      <a:pt x="215" y="62"/>
                      <a:pt x="215" y="65"/>
                      <a:pt x="214" y="67"/>
                    </a:cubicBezTo>
                    <a:cubicBezTo>
                      <a:pt x="213" y="69"/>
                      <a:pt x="210" y="71"/>
                      <a:pt x="207" y="72"/>
                    </a:cubicBezTo>
                    <a:cubicBezTo>
                      <a:pt x="205" y="73"/>
                      <a:pt x="202" y="73"/>
                      <a:pt x="200" y="74"/>
                    </a:cubicBezTo>
                    <a:cubicBezTo>
                      <a:pt x="198" y="75"/>
                      <a:pt x="197" y="77"/>
                      <a:pt x="196" y="79"/>
                    </a:cubicBezTo>
                    <a:cubicBezTo>
                      <a:pt x="196" y="80"/>
                      <a:pt x="198" y="80"/>
                      <a:pt x="199" y="80"/>
                    </a:cubicBezTo>
                    <a:cubicBezTo>
                      <a:pt x="200" y="79"/>
                      <a:pt x="200" y="76"/>
                      <a:pt x="202" y="75"/>
                    </a:cubicBezTo>
                    <a:cubicBezTo>
                      <a:pt x="203" y="74"/>
                      <a:pt x="205" y="75"/>
                      <a:pt x="205" y="76"/>
                    </a:cubicBezTo>
                    <a:cubicBezTo>
                      <a:pt x="206" y="78"/>
                      <a:pt x="203" y="80"/>
                      <a:pt x="203" y="82"/>
                    </a:cubicBezTo>
                    <a:cubicBezTo>
                      <a:pt x="203" y="83"/>
                      <a:pt x="205" y="82"/>
                      <a:pt x="206" y="81"/>
                    </a:cubicBezTo>
                    <a:cubicBezTo>
                      <a:pt x="207" y="79"/>
                      <a:pt x="207" y="75"/>
                      <a:pt x="209" y="73"/>
                    </a:cubicBezTo>
                    <a:cubicBezTo>
                      <a:pt x="212" y="70"/>
                      <a:pt x="216" y="68"/>
                      <a:pt x="220" y="67"/>
                    </a:cubicBezTo>
                    <a:cubicBezTo>
                      <a:pt x="221" y="66"/>
                      <a:pt x="221" y="69"/>
                      <a:pt x="220" y="70"/>
                    </a:cubicBezTo>
                    <a:cubicBezTo>
                      <a:pt x="218" y="72"/>
                      <a:pt x="214" y="73"/>
                      <a:pt x="212" y="75"/>
                    </a:cubicBezTo>
                    <a:cubicBezTo>
                      <a:pt x="211" y="76"/>
                      <a:pt x="212" y="78"/>
                      <a:pt x="213" y="77"/>
                    </a:cubicBezTo>
                    <a:cubicBezTo>
                      <a:pt x="218" y="75"/>
                      <a:pt x="222" y="71"/>
                      <a:pt x="227" y="69"/>
                    </a:cubicBezTo>
                    <a:cubicBezTo>
                      <a:pt x="228" y="69"/>
                      <a:pt x="228" y="71"/>
                      <a:pt x="229" y="72"/>
                    </a:cubicBezTo>
                    <a:cubicBezTo>
                      <a:pt x="231" y="73"/>
                      <a:pt x="235" y="73"/>
                      <a:pt x="235" y="75"/>
                    </a:cubicBezTo>
                    <a:cubicBezTo>
                      <a:pt x="236" y="77"/>
                      <a:pt x="232" y="78"/>
                      <a:pt x="230" y="79"/>
                    </a:cubicBezTo>
                    <a:cubicBezTo>
                      <a:pt x="228" y="80"/>
                      <a:pt x="225" y="79"/>
                      <a:pt x="222" y="80"/>
                    </a:cubicBezTo>
                    <a:cubicBezTo>
                      <a:pt x="220" y="81"/>
                      <a:pt x="218" y="83"/>
                      <a:pt x="216" y="85"/>
                    </a:cubicBezTo>
                    <a:cubicBezTo>
                      <a:pt x="215" y="85"/>
                      <a:pt x="215" y="87"/>
                      <a:pt x="216" y="87"/>
                    </a:cubicBezTo>
                    <a:cubicBezTo>
                      <a:pt x="220" y="86"/>
                      <a:pt x="222" y="84"/>
                      <a:pt x="226" y="83"/>
                    </a:cubicBezTo>
                    <a:cubicBezTo>
                      <a:pt x="227" y="82"/>
                      <a:pt x="231" y="80"/>
                      <a:pt x="231" y="81"/>
                    </a:cubicBezTo>
                    <a:cubicBezTo>
                      <a:pt x="230" y="84"/>
                      <a:pt x="227" y="85"/>
                      <a:pt x="224" y="87"/>
                    </a:cubicBezTo>
                    <a:cubicBezTo>
                      <a:pt x="223" y="88"/>
                      <a:pt x="221" y="88"/>
                      <a:pt x="220" y="89"/>
                    </a:cubicBezTo>
                    <a:cubicBezTo>
                      <a:pt x="219" y="89"/>
                      <a:pt x="220" y="91"/>
                      <a:pt x="220" y="91"/>
                    </a:cubicBezTo>
                    <a:cubicBezTo>
                      <a:pt x="224" y="90"/>
                      <a:pt x="227" y="88"/>
                      <a:pt x="230" y="86"/>
                    </a:cubicBezTo>
                    <a:cubicBezTo>
                      <a:pt x="233" y="85"/>
                      <a:pt x="235" y="82"/>
                      <a:pt x="238" y="80"/>
                    </a:cubicBezTo>
                    <a:cubicBezTo>
                      <a:pt x="239" y="80"/>
                      <a:pt x="240" y="81"/>
                      <a:pt x="241" y="81"/>
                    </a:cubicBezTo>
                    <a:cubicBezTo>
                      <a:pt x="243" y="83"/>
                      <a:pt x="246" y="85"/>
                      <a:pt x="248" y="87"/>
                    </a:cubicBezTo>
                    <a:cubicBezTo>
                      <a:pt x="249" y="88"/>
                      <a:pt x="250" y="91"/>
                      <a:pt x="248" y="91"/>
                    </a:cubicBezTo>
                    <a:cubicBezTo>
                      <a:pt x="244" y="92"/>
                      <a:pt x="240" y="90"/>
                      <a:pt x="235" y="91"/>
                    </a:cubicBezTo>
                    <a:cubicBezTo>
                      <a:pt x="232" y="91"/>
                      <a:pt x="229" y="92"/>
                      <a:pt x="226" y="94"/>
                    </a:cubicBezTo>
                    <a:cubicBezTo>
                      <a:pt x="225" y="95"/>
                      <a:pt x="229" y="94"/>
                      <a:pt x="230" y="95"/>
                    </a:cubicBezTo>
                    <a:cubicBezTo>
                      <a:pt x="233" y="95"/>
                      <a:pt x="236" y="97"/>
                      <a:pt x="239" y="97"/>
                    </a:cubicBezTo>
                    <a:cubicBezTo>
                      <a:pt x="243" y="98"/>
                      <a:pt x="247" y="97"/>
                      <a:pt x="250" y="98"/>
                    </a:cubicBezTo>
                    <a:cubicBezTo>
                      <a:pt x="252" y="99"/>
                      <a:pt x="253" y="100"/>
                      <a:pt x="253" y="101"/>
                    </a:cubicBezTo>
                    <a:cubicBezTo>
                      <a:pt x="253" y="102"/>
                      <a:pt x="251" y="103"/>
                      <a:pt x="251" y="103"/>
                    </a:cubicBezTo>
                    <a:cubicBezTo>
                      <a:pt x="248" y="103"/>
                      <a:pt x="245" y="103"/>
                      <a:pt x="243" y="103"/>
                    </a:cubicBezTo>
                    <a:cubicBezTo>
                      <a:pt x="240" y="102"/>
                      <a:pt x="237" y="100"/>
                      <a:pt x="233" y="100"/>
                    </a:cubicBezTo>
                    <a:cubicBezTo>
                      <a:pt x="231" y="100"/>
                      <a:pt x="228" y="101"/>
                      <a:pt x="226" y="102"/>
                    </a:cubicBezTo>
                    <a:cubicBezTo>
                      <a:pt x="225" y="103"/>
                      <a:pt x="224" y="106"/>
                      <a:pt x="226" y="106"/>
                    </a:cubicBezTo>
                    <a:cubicBezTo>
                      <a:pt x="228" y="107"/>
                      <a:pt x="231" y="104"/>
                      <a:pt x="234" y="104"/>
                    </a:cubicBezTo>
                    <a:cubicBezTo>
                      <a:pt x="235" y="104"/>
                      <a:pt x="238" y="104"/>
                      <a:pt x="238" y="105"/>
                    </a:cubicBezTo>
                    <a:cubicBezTo>
                      <a:pt x="239" y="107"/>
                      <a:pt x="236" y="107"/>
                      <a:pt x="235" y="108"/>
                    </a:cubicBezTo>
                    <a:cubicBezTo>
                      <a:pt x="233" y="108"/>
                      <a:pt x="230" y="106"/>
                      <a:pt x="230" y="108"/>
                    </a:cubicBezTo>
                    <a:cubicBezTo>
                      <a:pt x="231" y="110"/>
                      <a:pt x="238" y="110"/>
                      <a:pt x="236" y="111"/>
                    </a:cubicBezTo>
                    <a:cubicBezTo>
                      <a:pt x="233" y="113"/>
                      <a:pt x="228" y="110"/>
                      <a:pt x="224" y="111"/>
                    </a:cubicBezTo>
                    <a:cubicBezTo>
                      <a:pt x="223" y="112"/>
                      <a:pt x="223" y="114"/>
                      <a:pt x="224" y="114"/>
                    </a:cubicBezTo>
                    <a:cubicBezTo>
                      <a:pt x="227" y="115"/>
                      <a:pt x="231" y="112"/>
                      <a:pt x="233" y="114"/>
                    </a:cubicBezTo>
                    <a:cubicBezTo>
                      <a:pt x="235" y="116"/>
                      <a:pt x="224" y="116"/>
                      <a:pt x="226" y="117"/>
                    </a:cubicBezTo>
                    <a:cubicBezTo>
                      <a:pt x="232" y="119"/>
                      <a:pt x="239" y="116"/>
                      <a:pt x="245" y="118"/>
                    </a:cubicBezTo>
                    <a:cubicBezTo>
                      <a:pt x="249" y="119"/>
                      <a:pt x="236" y="117"/>
                      <a:pt x="235" y="120"/>
                    </a:cubicBezTo>
                    <a:cubicBezTo>
                      <a:pt x="234" y="122"/>
                      <a:pt x="242" y="119"/>
                      <a:pt x="244" y="121"/>
                    </a:cubicBezTo>
                    <a:cubicBezTo>
                      <a:pt x="245" y="123"/>
                      <a:pt x="238" y="123"/>
                      <a:pt x="238" y="126"/>
                    </a:cubicBezTo>
                    <a:cubicBezTo>
                      <a:pt x="238" y="128"/>
                      <a:pt x="242" y="123"/>
                      <a:pt x="244" y="123"/>
                    </a:cubicBezTo>
                    <a:cubicBezTo>
                      <a:pt x="245" y="124"/>
                      <a:pt x="242" y="127"/>
                      <a:pt x="244" y="127"/>
                    </a:cubicBezTo>
                    <a:cubicBezTo>
                      <a:pt x="246" y="128"/>
                      <a:pt x="249" y="122"/>
                      <a:pt x="251" y="124"/>
                    </a:cubicBezTo>
                    <a:cubicBezTo>
                      <a:pt x="253" y="126"/>
                      <a:pt x="247" y="129"/>
                      <a:pt x="249" y="132"/>
                    </a:cubicBezTo>
                    <a:cubicBezTo>
                      <a:pt x="250" y="133"/>
                      <a:pt x="252" y="127"/>
                      <a:pt x="253" y="128"/>
                    </a:cubicBezTo>
                    <a:cubicBezTo>
                      <a:pt x="255" y="130"/>
                      <a:pt x="251" y="136"/>
                      <a:pt x="253" y="135"/>
                    </a:cubicBezTo>
                    <a:cubicBezTo>
                      <a:pt x="256" y="135"/>
                      <a:pt x="255" y="127"/>
                      <a:pt x="258" y="128"/>
                    </a:cubicBezTo>
                    <a:cubicBezTo>
                      <a:pt x="261" y="128"/>
                      <a:pt x="256" y="137"/>
                      <a:pt x="258" y="136"/>
                    </a:cubicBezTo>
                    <a:cubicBezTo>
                      <a:pt x="262" y="136"/>
                      <a:pt x="260" y="130"/>
                      <a:pt x="262" y="127"/>
                    </a:cubicBezTo>
                    <a:cubicBezTo>
                      <a:pt x="263" y="126"/>
                      <a:pt x="266" y="127"/>
                      <a:pt x="266" y="128"/>
                    </a:cubicBezTo>
                    <a:cubicBezTo>
                      <a:pt x="267" y="131"/>
                      <a:pt x="262" y="132"/>
                      <a:pt x="263" y="134"/>
                    </a:cubicBezTo>
                    <a:cubicBezTo>
                      <a:pt x="264" y="137"/>
                      <a:pt x="269" y="135"/>
                      <a:pt x="271" y="137"/>
                    </a:cubicBezTo>
                    <a:cubicBezTo>
                      <a:pt x="272" y="137"/>
                      <a:pt x="272" y="139"/>
                      <a:pt x="271" y="140"/>
                    </a:cubicBezTo>
                    <a:cubicBezTo>
                      <a:pt x="270" y="141"/>
                      <a:pt x="266" y="139"/>
                      <a:pt x="265" y="141"/>
                    </a:cubicBezTo>
                    <a:cubicBezTo>
                      <a:pt x="264" y="143"/>
                      <a:pt x="267" y="145"/>
                      <a:pt x="268" y="145"/>
                    </a:cubicBezTo>
                    <a:cubicBezTo>
                      <a:pt x="271" y="146"/>
                      <a:pt x="273" y="142"/>
                      <a:pt x="276" y="142"/>
                    </a:cubicBezTo>
                    <a:cubicBezTo>
                      <a:pt x="277" y="142"/>
                      <a:pt x="278" y="144"/>
                      <a:pt x="279" y="144"/>
                    </a:cubicBezTo>
                    <a:cubicBezTo>
                      <a:pt x="281" y="144"/>
                      <a:pt x="283" y="140"/>
                      <a:pt x="284" y="142"/>
                    </a:cubicBezTo>
                    <a:cubicBezTo>
                      <a:pt x="284" y="144"/>
                      <a:pt x="281" y="146"/>
                      <a:pt x="280" y="148"/>
                    </a:cubicBezTo>
                    <a:cubicBezTo>
                      <a:pt x="279" y="150"/>
                      <a:pt x="276" y="151"/>
                      <a:pt x="276" y="153"/>
                    </a:cubicBezTo>
                    <a:cubicBezTo>
                      <a:pt x="276" y="154"/>
                      <a:pt x="278" y="154"/>
                      <a:pt x="279" y="154"/>
                    </a:cubicBezTo>
                    <a:cubicBezTo>
                      <a:pt x="280" y="153"/>
                      <a:pt x="280" y="149"/>
                      <a:pt x="282" y="150"/>
                    </a:cubicBezTo>
                    <a:cubicBezTo>
                      <a:pt x="284" y="150"/>
                      <a:pt x="282" y="154"/>
                      <a:pt x="283" y="155"/>
                    </a:cubicBezTo>
                    <a:cubicBezTo>
                      <a:pt x="285" y="155"/>
                      <a:pt x="284" y="150"/>
                      <a:pt x="286" y="150"/>
                    </a:cubicBezTo>
                    <a:cubicBezTo>
                      <a:pt x="287" y="150"/>
                      <a:pt x="288" y="154"/>
                      <a:pt x="289" y="153"/>
                    </a:cubicBezTo>
                    <a:cubicBezTo>
                      <a:pt x="291" y="153"/>
                      <a:pt x="289" y="149"/>
                      <a:pt x="290" y="149"/>
                    </a:cubicBezTo>
                    <a:cubicBezTo>
                      <a:pt x="292" y="148"/>
                      <a:pt x="295" y="150"/>
                      <a:pt x="297" y="151"/>
                    </a:cubicBezTo>
                    <a:cubicBezTo>
                      <a:pt x="298" y="152"/>
                      <a:pt x="301" y="154"/>
                      <a:pt x="300" y="156"/>
                    </a:cubicBezTo>
                    <a:cubicBezTo>
                      <a:pt x="298" y="158"/>
                      <a:pt x="292" y="155"/>
                      <a:pt x="292" y="158"/>
                    </a:cubicBezTo>
                    <a:cubicBezTo>
                      <a:pt x="292" y="160"/>
                      <a:pt x="299" y="159"/>
                      <a:pt x="299" y="162"/>
                    </a:cubicBezTo>
                    <a:cubicBezTo>
                      <a:pt x="299" y="164"/>
                      <a:pt x="295" y="163"/>
                      <a:pt x="292" y="163"/>
                    </a:cubicBezTo>
                    <a:cubicBezTo>
                      <a:pt x="290" y="163"/>
                      <a:pt x="288" y="162"/>
                      <a:pt x="286" y="163"/>
                    </a:cubicBezTo>
                    <a:cubicBezTo>
                      <a:pt x="285" y="163"/>
                      <a:pt x="282" y="164"/>
                      <a:pt x="283" y="165"/>
                    </a:cubicBezTo>
                    <a:cubicBezTo>
                      <a:pt x="284" y="167"/>
                      <a:pt x="288" y="166"/>
                      <a:pt x="290" y="167"/>
                    </a:cubicBezTo>
                    <a:cubicBezTo>
                      <a:pt x="291" y="168"/>
                      <a:pt x="288" y="169"/>
                      <a:pt x="287" y="169"/>
                    </a:cubicBezTo>
                    <a:cubicBezTo>
                      <a:pt x="285" y="169"/>
                      <a:pt x="280" y="167"/>
                      <a:pt x="280" y="169"/>
                    </a:cubicBezTo>
                    <a:cubicBezTo>
                      <a:pt x="281" y="172"/>
                      <a:pt x="288" y="172"/>
                      <a:pt x="288" y="176"/>
                    </a:cubicBezTo>
                    <a:cubicBezTo>
                      <a:pt x="288" y="178"/>
                      <a:pt x="283" y="174"/>
                      <a:pt x="281" y="175"/>
                    </a:cubicBezTo>
                    <a:cubicBezTo>
                      <a:pt x="280" y="175"/>
                      <a:pt x="282" y="177"/>
                      <a:pt x="282" y="177"/>
                    </a:cubicBezTo>
                    <a:cubicBezTo>
                      <a:pt x="280" y="178"/>
                      <a:pt x="277" y="178"/>
                      <a:pt x="275" y="177"/>
                    </a:cubicBezTo>
                    <a:cubicBezTo>
                      <a:pt x="274" y="177"/>
                      <a:pt x="275" y="172"/>
                      <a:pt x="274" y="173"/>
                    </a:cubicBezTo>
                    <a:cubicBezTo>
                      <a:pt x="272" y="175"/>
                      <a:pt x="272" y="179"/>
                      <a:pt x="272" y="181"/>
                    </a:cubicBezTo>
                    <a:cubicBezTo>
                      <a:pt x="272" y="184"/>
                      <a:pt x="274" y="189"/>
                      <a:pt x="271" y="191"/>
                    </a:cubicBezTo>
                    <a:cubicBezTo>
                      <a:pt x="270" y="193"/>
                      <a:pt x="268" y="190"/>
                      <a:pt x="266" y="188"/>
                    </a:cubicBezTo>
                    <a:cubicBezTo>
                      <a:pt x="265" y="187"/>
                      <a:pt x="264" y="184"/>
                      <a:pt x="263" y="184"/>
                    </a:cubicBezTo>
                    <a:cubicBezTo>
                      <a:pt x="261" y="183"/>
                      <a:pt x="261" y="187"/>
                      <a:pt x="260" y="187"/>
                    </a:cubicBezTo>
                    <a:cubicBezTo>
                      <a:pt x="258" y="187"/>
                      <a:pt x="258" y="185"/>
                      <a:pt x="257" y="183"/>
                    </a:cubicBezTo>
                    <a:cubicBezTo>
                      <a:pt x="257" y="182"/>
                      <a:pt x="258" y="181"/>
                      <a:pt x="257" y="180"/>
                    </a:cubicBezTo>
                    <a:cubicBezTo>
                      <a:pt x="257" y="179"/>
                      <a:pt x="255" y="179"/>
                      <a:pt x="255" y="177"/>
                    </a:cubicBezTo>
                    <a:cubicBezTo>
                      <a:pt x="254" y="175"/>
                      <a:pt x="254" y="173"/>
                      <a:pt x="255" y="172"/>
                    </a:cubicBezTo>
                    <a:cubicBezTo>
                      <a:pt x="256" y="169"/>
                      <a:pt x="260" y="170"/>
                      <a:pt x="261" y="168"/>
                    </a:cubicBezTo>
                    <a:cubicBezTo>
                      <a:pt x="262" y="167"/>
                      <a:pt x="263" y="163"/>
                      <a:pt x="262" y="163"/>
                    </a:cubicBezTo>
                    <a:cubicBezTo>
                      <a:pt x="258" y="164"/>
                      <a:pt x="256" y="167"/>
                      <a:pt x="253" y="169"/>
                    </a:cubicBezTo>
                    <a:cubicBezTo>
                      <a:pt x="252" y="169"/>
                      <a:pt x="250" y="171"/>
                      <a:pt x="250" y="170"/>
                    </a:cubicBezTo>
                    <a:cubicBezTo>
                      <a:pt x="249" y="168"/>
                      <a:pt x="251" y="166"/>
                      <a:pt x="250" y="165"/>
                    </a:cubicBezTo>
                    <a:cubicBezTo>
                      <a:pt x="249" y="164"/>
                      <a:pt x="246" y="166"/>
                      <a:pt x="244" y="165"/>
                    </a:cubicBezTo>
                    <a:cubicBezTo>
                      <a:pt x="243" y="165"/>
                      <a:pt x="241" y="164"/>
                      <a:pt x="240" y="162"/>
                    </a:cubicBezTo>
                    <a:cubicBezTo>
                      <a:pt x="239" y="161"/>
                      <a:pt x="241" y="158"/>
                      <a:pt x="240" y="157"/>
                    </a:cubicBezTo>
                    <a:cubicBezTo>
                      <a:pt x="237" y="156"/>
                      <a:pt x="233" y="156"/>
                      <a:pt x="231" y="158"/>
                    </a:cubicBezTo>
                    <a:cubicBezTo>
                      <a:pt x="230" y="160"/>
                      <a:pt x="235" y="161"/>
                      <a:pt x="235" y="164"/>
                    </a:cubicBezTo>
                    <a:cubicBezTo>
                      <a:pt x="235" y="165"/>
                      <a:pt x="233" y="165"/>
                      <a:pt x="231" y="164"/>
                    </a:cubicBezTo>
                    <a:cubicBezTo>
                      <a:pt x="230" y="163"/>
                      <a:pt x="229" y="160"/>
                      <a:pt x="228" y="161"/>
                    </a:cubicBezTo>
                    <a:cubicBezTo>
                      <a:pt x="226" y="162"/>
                      <a:pt x="228" y="164"/>
                      <a:pt x="228" y="166"/>
                    </a:cubicBezTo>
                    <a:cubicBezTo>
                      <a:pt x="229" y="168"/>
                      <a:pt x="234" y="169"/>
                      <a:pt x="233" y="171"/>
                    </a:cubicBezTo>
                    <a:cubicBezTo>
                      <a:pt x="232" y="173"/>
                      <a:pt x="227" y="173"/>
                      <a:pt x="225" y="172"/>
                    </a:cubicBezTo>
                    <a:cubicBezTo>
                      <a:pt x="223" y="170"/>
                      <a:pt x="224" y="166"/>
                      <a:pt x="221" y="165"/>
                    </a:cubicBezTo>
                    <a:cubicBezTo>
                      <a:pt x="220" y="165"/>
                      <a:pt x="220" y="168"/>
                      <a:pt x="221" y="170"/>
                    </a:cubicBezTo>
                    <a:cubicBezTo>
                      <a:pt x="221" y="172"/>
                      <a:pt x="222" y="176"/>
                      <a:pt x="224" y="177"/>
                    </a:cubicBezTo>
                    <a:cubicBezTo>
                      <a:pt x="226" y="178"/>
                      <a:pt x="229" y="176"/>
                      <a:pt x="231" y="177"/>
                    </a:cubicBezTo>
                    <a:cubicBezTo>
                      <a:pt x="233" y="180"/>
                      <a:pt x="232" y="184"/>
                      <a:pt x="233" y="187"/>
                    </a:cubicBezTo>
                    <a:cubicBezTo>
                      <a:pt x="233" y="190"/>
                      <a:pt x="231" y="193"/>
                      <a:pt x="233" y="195"/>
                    </a:cubicBezTo>
                    <a:cubicBezTo>
                      <a:pt x="234" y="196"/>
                      <a:pt x="235" y="191"/>
                      <a:pt x="237" y="191"/>
                    </a:cubicBezTo>
                    <a:cubicBezTo>
                      <a:pt x="239" y="191"/>
                      <a:pt x="241" y="193"/>
                      <a:pt x="243" y="194"/>
                    </a:cubicBezTo>
                    <a:cubicBezTo>
                      <a:pt x="244" y="195"/>
                      <a:pt x="247" y="194"/>
                      <a:pt x="248" y="195"/>
                    </a:cubicBezTo>
                    <a:cubicBezTo>
                      <a:pt x="249" y="197"/>
                      <a:pt x="246" y="200"/>
                      <a:pt x="247" y="202"/>
                    </a:cubicBezTo>
                    <a:cubicBezTo>
                      <a:pt x="248" y="203"/>
                      <a:pt x="250" y="201"/>
                      <a:pt x="251" y="202"/>
                    </a:cubicBezTo>
                    <a:cubicBezTo>
                      <a:pt x="252" y="203"/>
                      <a:pt x="251" y="205"/>
                      <a:pt x="251" y="206"/>
                    </a:cubicBezTo>
                    <a:cubicBezTo>
                      <a:pt x="251" y="208"/>
                      <a:pt x="252" y="210"/>
                      <a:pt x="253" y="212"/>
                    </a:cubicBezTo>
                    <a:cubicBezTo>
                      <a:pt x="255" y="216"/>
                      <a:pt x="258" y="218"/>
                      <a:pt x="259" y="222"/>
                    </a:cubicBezTo>
                    <a:cubicBezTo>
                      <a:pt x="259" y="224"/>
                      <a:pt x="256" y="224"/>
                      <a:pt x="254" y="223"/>
                    </a:cubicBezTo>
                    <a:cubicBezTo>
                      <a:pt x="252" y="222"/>
                      <a:pt x="250" y="217"/>
                      <a:pt x="249" y="219"/>
                    </a:cubicBezTo>
                    <a:cubicBezTo>
                      <a:pt x="248" y="224"/>
                      <a:pt x="252" y="228"/>
                      <a:pt x="252" y="233"/>
                    </a:cubicBezTo>
                    <a:cubicBezTo>
                      <a:pt x="251" y="234"/>
                      <a:pt x="248" y="231"/>
                      <a:pt x="247" y="232"/>
                    </a:cubicBezTo>
                    <a:cubicBezTo>
                      <a:pt x="246" y="233"/>
                      <a:pt x="249" y="236"/>
                      <a:pt x="248" y="23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3" name="Freeform 3554"/>
              <p:cNvSpPr>
                <a:spLocks noChangeAspect="1"/>
              </p:cNvSpPr>
              <p:nvPr/>
            </p:nvSpPr>
            <p:spPr bwMode="auto">
              <a:xfrm>
                <a:off x="2757427" y="1844862"/>
                <a:ext cx="50704" cy="48724"/>
              </a:xfrm>
              <a:custGeom>
                <a:avLst/>
                <a:gdLst>
                  <a:gd name="T0" fmla="*/ 29 w 26"/>
                  <a:gd name="T1" fmla="*/ 2 h 25"/>
                  <a:gd name="T2" fmla="*/ 31 w 26"/>
                  <a:gd name="T3" fmla="*/ 5 h 25"/>
                  <a:gd name="T4" fmla="*/ 29 w 26"/>
                  <a:gd name="T5" fmla="*/ 20 h 25"/>
                  <a:gd name="T6" fmla="*/ 17 w 26"/>
                  <a:gd name="T7" fmla="*/ 29 h 25"/>
                  <a:gd name="T8" fmla="*/ 4 w 26"/>
                  <a:gd name="T9" fmla="*/ 28 h 25"/>
                  <a:gd name="T10" fmla="*/ 0 w 26"/>
                  <a:gd name="T11" fmla="*/ 23 h 25"/>
                  <a:gd name="T12" fmla="*/ 4 w 26"/>
                  <a:gd name="T13" fmla="*/ 11 h 25"/>
                  <a:gd name="T14" fmla="*/ 11 w 26"/>
                  <a:gd name="T15" fmla="*/ 2 h 25"/>
                  <a:gd name="T16" fmla="*/ 20 w 26"/>
                  <a:gd name="T17" fmla="*/ 0 h 25"/>
                  <a:gd name="T18" fmla="*/ 29 w 26"/>
                  <a:gd name="T19" fmla="*/ 2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5"/>
                  <a:gd name="T32" fmla="*/ 26 w 26"/>
                  <a:gd name="T33" fmla="*/ 25 h 2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5">
                    <a:moveTo>
                      <a:pt x="24" y="2"/>
                    </a:moveTo>
                    <a:cubicBezTo>
                      <a:pt x="25" y="2"/>
                      <a:pt x="26" y="3"/>
                      <a:pt x="26" y="4"/>
                    </a:cubicBezTo>
                    <a:cubicBezTo>
                      <a:pt x="25" y="9"/>
                      <a:pt x="26" y="14"/>
                      <a:pt x="24" y="17"/>
                    </a:cubicBezTo>
                    <a:cubicBezTo>
                      <a:pt x="22" y="21"/>
                      <a:pt x="18" y="23"/>
                      <a:pt x="14" y="24"/>
                    </a:cubicBezTo>
                    <a:cubicBezTo>
                      <a:pt x="11" y="25"/>
                      <a:pt x="6" y="24"/>
                      <a:pt x="3" y="23"/>
                    </a:cubicBezTo>
                    <a:cubicBezTo>
                      <a:pt x="1" y="23"/>
                      <a:pt x="0" y="21"/>
                      <a:pt x="0" y="19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4" y="7"/>
                      <a:pt x="6" y="4"/>
                      <a:pt x="9" y="2"/>
                    </a:cubicBezTo>
                    <a:cubicBezTo>
                      <a:pt x="11" y="1"/>
                      <a:pt x="14" y="0"/>
                      <a:pt x="17" y="0"/>
                    </a:cubicBezTo>
                    <a:cubicBezTo>
                      <a:pt x="19" y="0"/>
                      <a:pt x="22" y="1"/>
                      <a:pt x="2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4" name="Freeform 3555"/>
              <p:cNvSpPr>
                <a:spLocks noChangeAspect="1"/>
              </p:cNvSpPr>
              <p:nvPr/>
            </p:nvSpPr>
            <p:spPr bwMode="auto">
              <a:xfrm>
                <a:off x="2811402" y="1851358"/>
                <a:ext cx="32712" cy="21114"/>
              </a:xfrm>
              <a:custGeom>
                <a:avLst/>
                <a:gdLst>
                  <a:gd name="T0" fmla="*/ 3 w 16"/>
                  <a:gd name="T1" fmla="*/ 2 h 11"/>
                  <a:gd name="T2" fmla="*/ 1 w 16"/>
                  <a:gd name="T3" fmla="*/ 5 h 11"/>
                  <a:gd name="T4" fmla="*/ 3 w 16"/>
                  <a:gd name="T5" fmla="*/ 12 h 11"/>
                  <a:gd name="T6" fmla="*/ 11 w 16"/>
                  <a:gd name="T7" fmla="*/ 11 h 11"/>
                  <a:gd name="T8" fmla="*/ 17 w 16"/>
                  <a:gd name="T9" fmla="*/ 12 h 11"/>
                  <a:gd name="T10" fmla="*/ 19 w 16"/>
                  <a:gd name="T11" fmla="*/ 5 h 11"/>
                  <a:gd name="T12" fmla="*/ 12 w 16"/>
                  <a:gd name="T13" fmla="*/ 2 h 11"/>
                  <a:gd name="T14" fmla="*/ 7 w 16"/>
                  <a:gd name="T15" fmla="*/ 0 h 11"/>
                  <a:gd name="T16" fmla="*/ 3 w 16"/>
                  <a:gd name="T17" fmla="*/ 2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11"/>
                  <a:gd name="T29" fmla="*/ 16 w 16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11">
                    <a:moveTo>
                      <a:pt x="2" y="2"/>
                    </a:moveTo>
                    <a:cubicBezTo>
                      <a:pt x="1" y="2"/>
                      <a:pt x="1" y="3"/>
                      <a:pt x="1" y="4"/>
                    </a:cubicBezTo>
                    <a:cubicBezTo>
                      <a:pt x="1" y="6"/>
                      <a:pt x="0" y="9"/>
                      <a:pt x="2" y="10"/>
                    </a:cubicBezTo>
                    <a:cubicBezTo>
                      <a:pt x="4" y="11"/>
                      <a:pt x="7" y="9"/>
                      <a:pt x="9" y="9"/>
                    </a:cubicBezTo>
                    <a:cubicBezTo>
                      <a:pt x="11" y="9"/>
                      <a:pt x="13" y="11"/>
                      <a:pt x="14" y="10"/>
                    </a:cubicBezTo>
                    <a:cubicBezTo>
                      <a:pt x="16" y="9"/>
                      <a:pt x="16" y="6"/>
                      <a:pt x="15" y="4"/>
                    </a:cubicBezTo>
                    <a:cubicBezTo>
                      <a:pt x="14" y="2"/>
                      <a:pt x="12" y="3"/>
                      <a:pt x="10" y="2"/>
                    </a:cubicBezTo>
                    <a:cubicBezTo>
                      <a:pt x="9" y="2"/>
                      <a:pt x="8" y="1"/>
                      <a:pt x="6" y="0"/>
                    </a:cubicBezTo>
                    <a:cubicBezTo>
                      <a:pt x="4" y="0"/>
                      <a:pt x="3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5" name="Freeform 3556"/>
              <p:cNvSpPr>
                <a:spLocks noChangeAspect="1"/>
              </p:cNvSpPr>
              <p:nvPr/>
            </p:nvSpPr>
            <p:spPr bwMode="auto">
              <a:xfrm>
                <a:off x="2808131" y="1830245"/>
                <a:ext cx="9814" cy="17866"/>
              </a:xfrm>
              <a:custGeom>
                <a:avLst/>
                <a:gdLst>
                  <a:gd name="T0" fmla="*/ 1 w 5"/>
                  <a:gd name="T1" fmla="*/ 1 h 9"/>
                  <a:gd name="T2" fmla="*/ 0 w 5"/>
                  <a:gd name="T3" fmla="*/ 5 h 9"/>
                  <a:gd name="T4" fmla="*/ 2 w 5"/>
                  <a:gd name="T5" fmla="*/ 10 h 9"/>
                  <a:gd name="T6" fmla="*/ 5 w 5"/>
                  <a:gd name="T7" fmla="*/ 7 h 9"/>
                  <a:gd name="T8" fmla="*/ 5 w 5"/>
                  <a:gd name="T9" fmla="*/ 2 h 9"/>
                  <a:gd name="T10" fmla="*/ 1 w 5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9"/>
                  <a:gd name="T20" fmla="*/ 5 w 5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9">
                    <a:moveTo>
                      <a:pt x="1" y="1"/>
                    </a:moveTo>
                    <a:cubicBezTo>
                      <a:pt x="0" y="1"/>
                      <a:pt x="0" y="3"/>
                      <a:pt x="0" y="4"/>
                    </a:cubicBezTo>
                    <a:cubicBezTo>
                      <a:pt x="0" y="5"/>
                      <a:pt x="1" y="8"/>
                      <a:pt x="2" y="8"/>
                    </a:cubicBezTo>
                    <a:cubicBezTo>
                      <a:pt x="3" y="9"/>
                      <a:pt x="4" y="7"/>
                      <a:pt x="4" y="6"/>
                    </a:cubicBezTo>
                    <a:cubicBezTo>
                      <a:pt x="5" y="4"/>
                      <a:pt x="4" y="3"/>
                      <a:pt x="4" y="2"/>
                    </a:cubicBezTo>
                    <a:cubicBezTo>
                      <a:pt x="3" y="1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6" name="Freeform 3557"/>
              <p:cNvSpPr>
                <a:spLocks noChangeAspect="1"/>
              </p:cNvSpPr>
              <p:nvPr/>
            </p:nvSpPr>
            <p:spPr bwMode="auto">
              <a:xfrm>
                <a:off x="2713267" y="1801011"/>
                <a:ext cx="37619" cy="29234"/>
              </a:xfrm>
              <a:custGeom>
                <a:avLst/>
                <a:gdLst>
                  <a:gd name="T0" fmla="*/ 18 w 19"/>
                  <a:gd name="T1" fmla="*/ 0 h 15"/>
                  <a:gd name="T2" fmla="*/ 23 w 19"/>
                  <a:gd name="T3" fmla="*/ 2 h 15"/>
                  <a:gd name="T4" fmla="*/ 15 w 19"/>
                  <a:gd name="T5" fmla="*/ 8 h 15"/>
                  <a:gd name="T6" fmla="*/ 10 w 19"/>
                  <a:gd name="T7" fmla="*/ 16 h 15"/>
                  <a:gd name="T8" fmla="*/ 2 w 19"/>
                  <a:gd name="T9" fmla="*/ 17 h 15"/>
                  <a:gd name="T10" fmla="*/ 0 w 19"/>
                  <a:gd name="T11" fmla="*/ 13 h 15"/>
                  <a:gd name="T12" fmla="*/ 8 w 19"/>
                  <a:gd name="T13" fmla="*/ 7 h 15"/>
                  <a:gd name="T14" fmla="*/ 15 w 19"/>
                  <a:gd name="T15" fmla="*/ 2 h 15"/>
                  <a:gd name="T16" fmla="*/ 18 w 19"/>
                  <a:gd name="T17" fmla="*/ 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15"/>
                  <a:gd name="T29" fmla="*/ 19 w 19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15">
                    <a:moveTo>
                      <a:pt x="15" y="0"/>
                    </a:moveTo>
                    <a:cubicBezTo>
                      <a:pt x="17" y="0"/>
                      <a:pt x="19" y="1"/>
                      <a:pt x="19" y="2"/>
                    </a:cubicBezTo>
                    <a:cubicBezTo>
                      <a:pt x="17" y="5"/>
                      <a:pt x="14" y="5"/>
                      <a:pt x="12" y="7"/>
                    </a:cubicBezTo>
                    <a:cubicBezTo>
                      <a:pt x="11" y="9"/>
                      <a:pt x="10" y="11"/>
                      <a:pt x="8" y="13"/>
                    </a:cubicBezTo>
                    <a:cubicBezTo>
                      <a:pt x="6" y="14"/>
                      <a:pt x="4" y="15"/>
                      <a:pt x="2" y="14"/>
                    </a:cubicBezTo>
                    <a:cubicBezTo>
                      <a:pt x="1" y="14"/>
                      <a:pt x="0" y="12"/>
                      <a:pt x="0" y="11"/>
                    </a:cubicBezTo>
                    <a:cubicBezTo>
                      <a:pt x="2" y="9"/>
                      <a:pt x="5" y="8"/>
                      <a:pt x="7" y="6"/>
                    </a:cubicBezTo>
                    <a:cubicBezTo>
                      <a:pt x="8" y="5"/>
                      <a:pt x="10" y="3"/>
                      <a:pt x="12" y="2"/>
                    </a:cubicBezTo>
                    <a:cubicBezTo>
                      <a:pt x="13" y="1"/>
                      <a:pt x="14" y="0"/>
                      <a:pt x="1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7" name="Freeform 3558"/>
              <p:cNvSpPr>
                <a:spLocks noChangeAspect="1"/>
              </p:cNvSpPr>
              <p:nvPr/>
            </p:nvSpPr>
            <p:spPr bwMode="auto">
              <a:xfrm>
                <a:off x="2736165" y="1786393"/>
                <a:ext cx="26169" cy="12993"/>
              </a:xfrm>
              <a:custGeom>
                <a:avLst/>
                <a:gdLst>
                  <a:gd name="T0" fmla="*/ 1 w 14"/>
                  <a:gd name="T1" fmla="*/ 5 h 6"/>
                  <a:gd name="T2" fmla="*/ 11 w 14"/>
                  <a:gd name="T3" fmla="*/ 1 h 6"/>
                  <a:gd name="T4" fmla="*/ 16 w 14"/>
                  <a:gd name="T5" fmla="*/ 3 h 6"/>
                  <a:gd name="T6" fmla="*/ 9 w 14"/>
                  <a:gd name="T7" fmla="*/ 5 h 6"/>
                  <a:gd name="T8" fmla="*/ 1 w 14"/>
                  <a:gd name="T9" fmla="*/ 5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6"/>
                  <a:gd name="T17" fmla="*/ 14 w 1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6">
                    <a:moveTo>
                      <a:pt x="1" y="4"/>
                    </a:moveTo>
                    <a:cubicBezTo>
                      <a:pt x="3" y="1"/>
                      <a:pt x="7" y="1"/>
                      <a:pt x="10" y="1"/>
                    </a:cubicBezTo>
                    <a:cubicBezTo>
                      <a:pt x="12" y="0"/>
                      <a:pt x="14" y="1"/>
                      <a:pt x="14" y="2"/>
                    </a:cubicBezTo>
                    <a:cubicBezTo>
                      <a:pt x="13" y="4"/>
                      <a:pt x="10" y="4"/>
                      <a:pt x="8" y="4"/>
                    </a:cubicBezTo>
                    <a:cubicBezTo>
                      <a:pt x="6" y="4"/>
                      <a:pt x="0" y="6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8" name="Freeform 3559"/>
              <p:cNvSpPr>
                <a:spLocks noChangeAspect="1"/>
              </p:cNvSpPr>
              <p:nvPr/>
            </p:nvSpPr>
            <p:spPr bwMode="auto">
              <a:xfrm>
                <a:off x="2701817" y="1784769"/>
                <a:ext cx="21263" cy="9745"/>
              </a:xfrm>
              <a:custGeom>
                <a:avLst/>
                <a:gdLst>
                  <a:gd name="T0" fmla="*/ 1 w 11"/>
                  <a:gd name="T1" fmla="*/ 2 h 5"/>
                  <a:gd name="T2" fmla="*/ 5 w 11"/>
                  <a:gd name="T3" fmla="*/ 6 h 5"/>
                  <a:gd name="T4" fmla="*/ 13 w 11"/>
                  <a:gd name="T5" fmla="*/ 4 h 5"/>
                  <a:gd name="T6" fmla="*/ 11 w 11"/>
                  <a:gd name="T7" fmla="*/ 1 h 5"/>
                  <a:gd name="T8" fmla="*/ 1 w 11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5"/>
                  <a:gd name="T17" fmla="*/ 11 w 1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5">
                    <a:moveTo>
                      <a:pt x="1" y="2"/>
                    </a:moveTo>
                    <a:cubicBezTo>
                      <a:pt x="0" y="3"/>
                      <a:pt x="2" y="5"/>
                      <a:pt x="4" y="5"/>
                    </a:cubicBezTo>
                    <a:cubicBezTo>
                      <a:pt x="6" y="5"/>
                      <a:pt x="9" y="4"/>
                      <a:pt x="11" y="3"/>
                    </a:cubicBezTo>
                    <a:cubicBezTo>
                      <a:pt x="11" y="2"/>
                      <a:pt x="10" y="1"/>
                      <a:pt x="9" y="1"/>
                    </a:cubicBezTo>
                    <a:cubicBezTo>
                      <a:pt x="6" y="1"/>
                      <a:pt x="3" y="0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49" name="Freeform 3560"/>
              <p:cNvSpPr>
                <a:spLocks noChangeAspect="1"/>
              </p:cNvSpPr>
              <p:nvPr/>
            </p:nvSpPr>
            <p:spPr bwMode="auto">
              <a:xfrm>
                <a:off x="2721444" y="1843238"/>
                <a:ext cx="14721" cy="14618"/>
              </a:xfrm>
              <a:custGeom>
                <a:avLst/>
                <a:gdLst>
                  <a:gd name="T0" fmla="*/ 1 w 7"/>
                  <a:gd name="T1" fmla="*/ 3 h 7"/>
                  <a:gd name="T2" fmla="*/ 1 w 7"/>
                  <a:gd name="T3" fmla="*/ 8 h 7"/>
                  <a:gd name="T4" fmla="*/ 5 w 7"/>
                  <a:gd name="T5" fmla="*/ 6 h 7"/>
                  <a:gd name="T6" fmla="*/ 8 w 7"/>
                  <a:gd name="T7" fmla="*/ 3 h 7"/>
                  <a:gd name="T8" fmla="*/ 1 w 7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7"/>
                  <a:gd name="T17" fmla="*/ 7 w 7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7">
                    <a:moveTo>
                      <a:pt x="1" y="2"/>
                    </a:moveTo>
                    <a:cubicBezTo>
                      <a:pt x="0" y="3"/>
                      <a:pt x="0" y="5"/>
                      <a:pt x="1" y="6"/>
                    </a:cubicBezTo>
                    <a:cubicBezTo>
                      <a:pt x="1" y="7"/>
                      <a:pt x="3" y="6"/>
                      <a:pt x="4" y="5"/>
                    </a:cubicBezTo>
                    <a:cubicBezTo>
                      <a:pt x="5" y="4"/>
                      <a:pt x="7" y="3"/>
                      <a:pt x="6" y="2"/>
                    </a:cubicBezTo>
                    <a:cubicBezTo>
                      <a:pt x="5" y="0"/>
                      <a:pt x="2" y="1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0" name="Freeform 3561"/>
              <p:cNvSpPr>
                <a:spLocks noChangeAspect="1"/>
              </p:cNvSpPr>
              <p:nvPr/>
            </p:nvSpPr>
            <p:spPr bwMode="auto">
              <a:xfrm>
                <a:off x="2552979" y="1770152"/>
                <a:ext cx="22898" cy="11369"/>
              </a:xfrm>
              <a:custGeom>
                <a:avLst/>
                <a:gdLst>
                  <a:gd name="T0" fmla="*/ 2 w 12"/>
                  <a:gd name="T1" fmla="*/ 1 h 6"/>
                  <a:gd name="T2" fmla="*/ 6 w 12"/>
                  <a:gd name="T3" fmla="*/ 6 h 6"/>
                  <a:gd name="T4" fmla="*/ 13 w 12"/>
                  <a:gd name="T5" fmla="*/ 6 h 6"/>
                  <a:gd name="T6" fmla="*/ 12 w 12"/>
                  <a:gd name="T7" fmla="*/ 1 h 6"/>
                  <a:gd name="T8" fmla="*/ 2 w 12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6"/>
                  <a:gd name="T17" fmla="*/ 12 w 1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6">
                    <a:moveTo>
                      <a:pt x="2" y="1"/>
                    </a:moveTo>
                    <a:cubicBezTo>
                      <a:pt x="0" y="2"/>
                      <a:pt x="4" y="5"/>
                      <a:pt x="5" y="5"/>
                    </a:cubicBezTo>
                    <a:cubicBezTo>
                      <a:pt x="7" y="6"/>
                      <a:pt x="9" y="6"/>
                      <a:pt x="11" y="5"/>
                    </a:cubicBezTo>
                    <a:cubicBezTo>
                      <a:pt x="12" y="4"/>
                      <a:pt x="11" y="2"/>
                      <a:pt x="10" y="1"/>
                    </a:cubicBezTo>
                    <a:cubicBezTo>
                      <a:pt x="7" y="0"/>
                      <a:pt x="4" y="1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1" name="Freeform 3562"/>
              <p:cNvSpPr>
                <a:spLocks noChangeAspect="1"/>
              </p:cNvSpPr>
              <p:nvPr/>
            </p:nvSpPr>
            <p:spPr bwMode="auto">
              <a:xfrm>
                <a:off x="2727986" y="1609363"/>
                <a:ext cx="99771" cy="50349"/>
              </a:xfrm>
              <a:custGeom>
                <a:avLst/>
                <a:gdLst>
                  <a:gd name="T0" fmla="*/ 25 w 51"/>
                  <a:gd name="T1" fmla="*/ 6 h 26"/>
                  <a:gd name="T2" fmla="*/ 39 w 51"/>
                  <a:gd name="T3" fmla="*/ 5 h 26"/>
                  <a:gd name="T4" fmla="*/ 50 w 51"/>
                  <a:gd name="T5" fmla="*/ 12 h 26"/>
                  <a:gd name="T6" fmla="*/ 56 w 51"/>
                  <a:gd name="T7" fmla="*/ 16 h 26"/>
                  <a:gd name="T8" fmla="*/ 61 w 51"/>
                  <a:gd name="T9" fmla="*/ 24 h 26"/>
                  <a:gd name="T10" fmla="*/ 60 w 51"/>
                  <a:gd name="T11" fmla="*/ 27 h 26"/>
                  <a:gd name="T12" fmla="*/ 49 w 51"/>
                  <a:gd name="T13" fmla="*/ 24 h 26"/>
                  <a:gd name="T14" fmla="*/ 33 w 51"/>
                  <a:gd name="T15" fmla="*/ 25 h 26"/>
                  <a:gd name="T16" fmla="*/ 19 w 51"/>
                  <a:gd name="T17" fmla="*/ 30 h 26"/>
                  <a:gd name="T18" fmla="*/ 12 w 51"/>
                  <a:gd name="T19" fmla="*/ 30 h 26"/>
                  <a:gd name="T20" fmla="*/ 7 w 51"/>
                  <a:gd name="T21" fmla="*/ 24 h 26"/>
                  <a:gd name="T22" fmla="*/ 8 w 51"/>
                  <a:gd name="T23" fmla="*/ 17 h 26"/>
                  <a:gd name="T24" fmla="*/ 7 w 51"/>
                  <a:gd name="T25" fmla="*/ 16 h 26"/>
                  <a:gd name="T26" fmla="*/ 0 w 51"/>
                  <a:gd name="T27" fmla="*/ 14 h 26"/>
                  <a:gd name="T28" fmla="*/ 5 w 51"/>
                  <a:gd name="T29" fmla="*/ 1 h 26"/>
                  <a:gd name="T30" fmla="*/ 10 w 51"/>
                  <a:gd name="T31" fmla="*/ 1 h 26"/>
                  <a:gd name="T32" fmla="*/ 25 w 51"/>
                  <a:gd name="T33" fmla="*/ 6 h 2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26"/>
                  <a:gd name="T53" fmla="*/ 51 w 51"/>
                  <a:gd name="T54" fmla="*/ 26 h 2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26">
                    <a:moveTo>
                      <a:pt x="21" y="5"/>
                    </a:moveTo>
                    <a:cubicBezTo>
                      <a:pt x="25" y="6"/>
                      <a:pt x="29" y="3"/>
                      <a:pt x="33" y="4"/>
                    </a:cubicBezTo>
                    <a:cubicBezTo>
                      <a:pt x="37" y="4"/>
                      <a:pt x="39" y="8"/>
                      <a:pt x="42" y="10"/>
                    </a:cubicBezTo>
                    <a:cubicBezTo>
                      <a:pt x="43" y="11"/>
                      <a:pt x="46" y="12"/>
                      <a:pt x="47" y="13"/>
                    </a:cubicBezTo>
                    <a:cubicBezTo>
                      <a:pt x="49" y="15"/>
                      <a:pt x="50" y="18"/>
                      <a:pt x="51" y="20"/>
                    </a:cubicBezTo>
                    <a:cubicBezTo>
                      <a:pt x="51" y="21"/>
                      <a:pt x="51" y="23"/>
                      <a:pt x="50" y="23"/>
                    </a:cubicBezTo>
                    <a:cubicBezTo>
                      <a:pt x="47" y="23"/>
                      <a:pt x="44" y="21"/>
                      <a:pt x="41" y="20"/>
                    </a:cubicBezTo>
                    <a:cubicBezTo>
                      <a:pt x="36" y="20"/>
                      <a:pt x="32" y="20"/>
                      <a:pt x="28" y="21"/>
                    </a:cubicBezTo>
                    <a:cubicBezTo>
                      <a:pt x="24" y="21"/>
                      <a:pt x="20" y="24"/>
                      <a:pt x="16" y="25"/>
                    </a:cubicBezTo>
                    <a:cubicBezTo>
                      <a:pt x="14" y="25"/>
                      <a:pt x="12" y="26"/>
                      <a:pt x="10" y="25"/>
                    </a:cubicBezTo>
                    <a:cubicBezTo>
                      <a:pt x="8" y="24"/>
                      <a:pt x="7" y="22"/>
                      <a:pt x="6" y="20"/>
                    </a:cubicBezTo>
                    <a:cubicBezTo>
                      <a:pt x="6" y="18"/>
                      <a:pt x="7" y="16"/>
                      <a:pt x="7" y="14"/>
                    </a:cubicBezTo>
                    <a:cubicBezTo>
                      <a:pt x="7" y="14"/>
                      <a:pt x="6" y="13"/>
                      <a:pt x="6" y="13"/>
                    </a:cubicBezTo>
                    <a:cubicBezTo>
                      <a:pt x="4" y="12"/>
                      <a:pt x="1" y="14"/>
                      <a:pt x="0" y="12"/>
                    </a:cubicBezTo>
                    <a:cubicBezTo>
                      <a:pt x="0" y="8"/>
                      <a:pt x="2" y="5"/>
                      <a:pt x="4" y="1"/>
                    </a:cubicBezTo>
                    <a:cubicBezTo>
                      <a:pt x="5" y="0"/>
                      <a:pt x="7" y="1"/>
                      <a:pt x="8" y="1"/>
                    </a:cubicBezTo>
                    <a:cubicBezTo>
                      <a:pt x="13" y="2"/>
                      <a:pt x="17" y="5"/>
                      <a:pt x="21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2" name="Freeform 3563"/>
              <p:cNvSpPr>
                <a:spLocks noChangeAspect="1"/>
              </p:cNvSpPr>
              <p:nvPr/>
            </p:nvSpPr>
            <p:spPr bwMode="auto">
              <a:xfrm>
                <a:off x="2407411" y="1593122"/>
                <a:ext cx="127576" cy="99073"/>
              </a:xfrm>
              <a:custGeom>
                <a:avLst/>
                <a:gdLst>
                  <a:gd name="T0" fmla="*/ 74 w 65"/>
                  <a:gd name="T1" fmla="*/ 6 h 50"/>
                  <a:gd name="T2" fmla="*/ 78 w 65"/>
                  <a:gd name="T3" fmla="*/ 7 h 50"/>
                  <a:gd name="T4" fmla="*/ 68 w 65"/>
                  <a:gd name="T5" fmla="*/ 16 h 50"/>
                  <a:gd name="T6" fmla="*/ 58 w 65"/>
                  <a:gd name="T7" fmla="*/ 27 h 50"/>
                  <a:gd name="T8" fmla="*/ 46 w 65"/>
                  <a:gd name="T9" fmla="*/ 39 h 50"/>
                  <a:gd name="T10" fmla="*/ 28 w 65"/>
                  <a:gd name="T11" fmla="*/ 35 h 50"/>
                  <a:gd name="T12" fmla="*/ 20 w 65"/>
                  <a:gd name="T13" fmla="*/ 37 h 50"/>
                  <a:gd name="T14" fmla="*/ 20 w 65"/>
                  <a:gd name="T15" fmla="*/ 39 h 50"/>
                  <a:gd name="T16" fmla="*/ 26 w 65"/>
                  <a:gd name="T17" fmla="*/ 41 h 50"/>
                  <a:gd name="T18" fmla="*/ 28 w 65"/>
                  <a:gd name="T19" fmla="*/ 46 h 50"/>
                  <a:gd name="T20" fmla="*/ 14 w 65"/>
                  <a:gd name="T21" fmla="*/ 60 h 50"/>
                  <a:gd name="T22" fmla="*/ 11 w 65"/>
                  <a:gd name="T23" fmla="*/ 59 h 50"/>
                  <a:gd name="T24" fmla="*/ 1 w 65"/>
                  <a:gd name="T25" fmla="*/ 59 h 50"/>
                  <a:gd name="T26" fmla="*/ 4 w 65"/>
                  <a:gd name="T27" fmla="*/ 54 h 50"/>
                  <a:gd name="T28" fmla="*/ 4 w 65"/>
                  <a:gd name="T29" fmla="*/ 44 h 50"/>
                  <a:gd name="T30" fmla="*/ 0 w 65"/>
                  <a:gd name="T31" fmla="*/ 39 h 50"/>
                  <a:gd name="T32" fmla="*/ 4 w 65"/>
                  <a:gd name="T33" fmla="*/ 23 h 50"/>
                  <a:gd name="T34" fmla="*/ 4 w 65"/>
                  <a:gd name="T35" fmla="*/ 20 h 50"/>
                  <a:gd name="T36" fmla="*/ 6 w 65"/>
                  <a:gd name="T37" fmla="*/ 12 h 50"/>
                  <a:gd name="T38" fmla="*/ 16 w 65"/>
                  <a:gd name="T39" fmla="*/ 15 h 50"/>
                  <a:gd name="T40" fmla="*/ 18 w 65"/>
                  <a:gd name="T41" fmla="*/ 13 h 50"/>
                  <a:gd name="T42" fmla="*/ 11 w 65"/>
                  <a:gd name="T43" fmla="*/ 6 h 50"/>
                  <a:gd name="T44" fmla="*/ 17 w 65"/>
                  <a:gd name="T45" fmla="*/ 4 h 50"/>
                  <a:gd name="T46" fmla="*/ 31 w 65"/>
                  <a:gd name="T47" fmla="*/ 1 h 50"/>
                  <a:gd name="T48" fmla="*/ 34 w 65"/>
                  <a:gd name="T49" fmla="*/ 4 h 50"/>
                  <a:gd name="T50" fmla="*/ 38 w 65"/>
                  <a:gd name="T51" fmla="*/ 1 h 50"/>
                  <a:gd name="T52" fmla="*/ 52 w 65"/>
                  <a:gd name="T53" fmla="*/ 2 h 50"/>
                  <a:gd name="T54" fmla="*/ 53 w 65"/>
                  <a:gd name="T55" fmla="*/ 6 h 50"/>
                  <a:gd name="T56" fmla="*/ 59 w 65"/>
                  <a:gd name="T57" fmla="*/ 2 h 50"/>
                  <a:gd name="T58" fmla="*/ 74 w 65"/>
                  <a:gd name="T59" fmla="*/ 6 h 5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5"/>
                  <a:gd name="T91" fmla="*/ 0 h 50"/>
                  <a:gd name="T92" fmla="*/ 65 w 65"/>
                  <a:gd name="T93" fmla="*/ 50 h 50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5" h="50">
                    <a:moveTo>
                      <a:pt x="62" y="5"/>
                    </a:moveTo>
                    <a:cubicBezTo>
                      <a:pt x="63" y="5"/>
                      <a:pt x="65" y="5"/>
                      <a:pt x="65" y="6"/>
                    </a:cubicBezTo>
                    <a:cubicBezTo>
                      <a:pt x="63" y="9"/>
                      <a:pt x="60" y="11"/>
                      <a:pt x="57" y="13"/>
                    </a:cubicBezTo>
                    <a:cubicBezTo>
                      <a:pt x="54" y="16"/>
                      <a:pt x="51" y="19"/>
                      <a:pt x="48" y="22"/>
                    </a:cubicBezTo>
                    <a:cubicBezTo>
                      <a:pt x="45" y="26"/>
                      <a:pt x="42" y="31"/>
                      <a:pt x="38" y="32"/>
                    </a:cubicBezTo>
                    <a:cubicBezTo>
                      <a:pt x="33" y="33"/>
                      <a:pt x="28" y="30"/>
                      <a:pt x="23" y="29"/>
                    </a:cubicBezTo>
                    <a:cubicBezTo>
                      <a:pt x="21" y="29"/>
                      <a:pt x="19" y="29"/>
                      <a:pt x="17" y="30"/>
                    </a:cubicBezTo>
                    <a:cubicBezTo>
                      <a:pt x="16" y="30"/>
                      <a:pt x="17" y="31"/>
                      <a:pt x="17" y="32"/>
                    </a:cubicBezTo>
                    <a:cubicBezTo>
                      <a:pt x="18" y="33"/>
                      <a:pt x="21" y="33"/>
                      <a:pt x="22" y="34"/>
                    </a:cubicBezTo>
                    <a:cubicBezTo>
                      <a:pt x="23" y="35"/>
                      <a:pt x="24" y="36"/>
                      <a:pt x="23" y="38"/>
                    </a:cubicBezTo>
                    <a:cubicBezTo>
                      <a:pt x="21" y="42"/>
                      <a:pt x="16" y="46"/>
                      <a:pt x="12" y="49"/>
                    </a:cubicBezTo>
                    <a:cubicBezTo>
                      <a:pt x="11" y="50"/>
                      <a:pt x="10" y="49"/>
                      <a:pt x="9" y="48"/>
                    </a:cubicBezTo>
                    <a:cubicBezTo>
                      <a:pt x="7" y="48"/>
                      <a:pt x="4" y="49"/>
                      <a:pt x="1" y="48"/>
                    </a:cubicBezTo>
                    <a:cubicBezTo>
                      <a:pt x="0" y="47"/>
                      <a:pt x="2" y="46"/>
                      <a:pt x="3" y="44"/>
                    </a:cubicBezTo>
                    <a:cubicBezTo>
                      <a:pt x="3" y="42"/>
                      <a:pt x="4" y="39"/>
                      <a:pt x="3" y="36"/>
                    </a:cubicBezTo>
                    <a:cubicBezTo>
                      <a:pt x="3" y="34"/>
                      <a:pt x="0" y="34"/>
                      <a:pt x="0" y="32"/>
                    </a:cubicBezTo>
                    <a:cubicBezTo>
                      <a:pt x="0" y="28"/>
                      <a:pt x="2" y="23"/>
                      <a:pt x="3" y="19"/>
                    </a:cubicBezTo>
                    <a:cubicBezTo>
                      <a:pt x="3" y="18"/>
                      <a:pt x="3" y="17"/>
                      <a:pt x="3" y="16"/>
                    </a:cubicBezTo>
                    <a:cubicBezTo>
                      <a:pt x="4" y="14"/>
                      <a:pt x="3" y="11"/>
                      <a:pt x="5" y="10"/>
                    </a:cubicBezTo>
                    <a:cubicBezTo>
                      <a:pt x="8" y="9"/>
                      <a:pt x="10" y="12"/>
                      <a:pt x="13" y="12"/>
                    </a:cubicBezTo>
                    <a:cubicBezTo>
                      <a:pt x="14" y="12"/>
                      <a:pt x="15" y="11"/>
                      <a:pt x="15" y="11"/>
                    </a:cubicBezTo>
                    <a:cubicBezTo>
                      <a:pt x="13" y="8"/>
                      <a:pt x="9" y="8"/>
                      <a:pt x="9" y="5"/>
                    </a:cubicBezTo>
                    <a:cubicBezTo>
                      <a:pt x="9" y="3"/>
                      <a:pt x="12" y="4"/>
                      <a:pt x="14" y="3"/>
                    </a:cubicBezTo>
                    <a:cubicBezTo>
                      <a:pt x="18" y="2"/>
                      <a:pt x="22" y="1"/>
                      <a:pt x="26" y="1"/>
                    </a:cubicBezTo>
                    <a:cubicBezTo>
                      <a:pt x="27" y="1"/>
                      <a:pt x="27" y="3"/>
                      <a:pt x="28" y="3"/>
                    </a:cubicBezTo>
                    <a:cubicBezTo>
                      <a:pt x="29" y="3"/>
                      <a:pt x="30" y="1"/>
                      <a:pt x="32" y="1"/>
                    </a:cubicBezTo>
                    <a:cubicBezTo>
                      <a:pt x="35" y="0"/>
                      <a:pt x="39" y="0"/>
                      <a:pt x="43" y="2"/>
                    </a:cubicBezTo>
                    <a:cubicBezTo>
                      <a:pt x="44" y="2"/>
                      <a:pt x="43" y="5"/>
                      <a:pt x="44" y="5"/>
                    </a:cubicBezTo>
                    <a:cubicBezTo>
                      <a:pt x="46" y="5"/>
                      <a:pt x="47" y="2"/>
                      <a:pt x="49" y="2"/>
                    </a:cubicBezTo>
                    <a:cubicBezTo>
                      <a:pt x="54" y="1"/>
                      <a:pt x="58" y="3"/>
                      <a:pt x="62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3" name="Freeform 3564"/>
              <p:cNvSpPr>
                <a:spLocks noChangeAspect="1"/>
              </p:cNvSpPr>
              <p:nvPr/>
            </p:nvSpPr>
            <p:spPr bwMode="auto">
              <a:xfrm>
                <a:off x="2265115" y="1606115"/>
                <a:ext cx="124305" cy="112066"/>
              </a:xfrm>
              <a:custGeom>
                <a:avLst/>
                <a:gdLst>
                  <a:gd name="T0" fmla="*/ 52 w 64"/>
                  <a:gd name="T1" fmla="*/ 26 h 58"/>
                  <a:gd name="T2" fmla="*/ 56 w 64"/>
                  <a:gd name="T3" fmla="*/ 20 h 58"/>
                  <a:gd name="T4" fmla="*/ 69 w 64"/>
                  <a:gd name="T5" fmla="*/ 14 h 58"/>
                  <a:gd name="T6" fmla="*/ 66 w 64"/>
                  <a:gd name="T7" fmla="*/ 10 h 58"/>
                  <a:gd name="T8" fmla="*/ 74 w 64"/>
                  <a:gd name="T9" fmla="*/ 4 h 58"/>
                  <a:gd name="T10" fmla="*/ 70 w 64"/>
                  <a:gd name="T11" fmla="*/ 0 h 58"/>
                  <a:gd name="T12" fmla="*/ 56 w 64"/>
                  <a:gd name="T13" fmla="*/ 4 h 58"/>
                  <a:gd name="T14" fmla="*/ 46 w 64"/>
                  <a:gd name="T15" fmla="*/ 6 h 58"/>
                  <a:gd name="T16" fmla="*/ 39 w 64"/>
                  <a:gd name="T17" fmla="*/ 4 h 58"/>
                  <a:gd name="T18" fmla="*/ 34 w 64"/>
                  <a:gd name="T19" fmla="*/ 5 h 58"/>
                  <a:gd name="T20" fmla="*/ 31 w 64"/>
                  <a:gd name="T21" fmla="*/ 2 h 58"/>
                  <a:gd name="T22" fmla="*/ 24 w 64"/>
                  <a:gd name="T23" fmla="*/ 6 h 58"/>
                  <a:gd name="T24" fmla="*/ 30 w 64"/>
                  <a:gd name="T25" fmla="*/ 10 h 58"/>
                  <a:gd name="T26" fmla="*/ 28 w 64"/>
                  <a:gd name="T27" fmla="*/ 12 h 58"/>
                  <a:gd name="T28" fmla="*/ 19 w 64"/>
                  <a:gd name="T29" fmla="*/ 8 h 58"/>
                  <a:gd name="T30" fmla="*/ 18 w 64"/>
                  <a:gd name="T31" fmla="*/ 12 h 58"/>
                  <a:gd name="T32" fmla="*/ 26 w 64"/>
                  <a:gd name="T33" fmla="*/ 17 h 58"/>
                  <a:gd name="T34" fmla="*/ 33 w 64"/>
                  <a:gd name="T35" fmla="*/ 17 h 58"/>
                  <a:gd name="T36" fmla="*/ 28 w 64"/>
                  <a:gd name="T37" fmla="*/ 23 h 58"/>
                  <a:gd name="T38" fmla="*/ 32 w 64"/>
                  <a:gd name="T39" fmla="*/ 27 h 58"/>
                  <a:gd name="T40" fmla="*/ 24 w 64"/>
                  <a:gd name="T41" fmla="*/ 35 h 58"/>
                  <a:gd name="T42" fmla="*/ 15 w 64"/>
                  <a:gd name="T43" fmla="*/ 33 h 58"/>
                  <a:gd name="T44" fmla="*/ 10 w 64"/>
                  <a:gd name="T45" fmla="*/ 26 h 58"/>
                  <a:gd name="T46" fmla="*/ 5 w 64"/>
                  <a:gd name="T47" fmla="*/ 26 h 58"/>
                  <a:gd name="T48" fmla="*/ 0 w 64"/>
                  <a:gd name="T49" fmla="*/ 33 h 58"/>
                  <a:gd name="T50" fmla="*/ 2 w 64"/>
                  <a:gd name="T51" fmla="*/ 42 h 58"/>
                  <a:gd name="T52" fmla="*/ 10 w 64"/>
                  <a:gd name="T53" fmla="*/ 45 h 58"/>
                  <a:gd name="T54" fmla="*/ 15 w 64"/>
                  <a:gd name="T55" fmla="*/ 46 h 58"/>
                  <a:gd name="T56" fmla="*/ 24 w 64"/>
                  <a:gd name="T57" fmla="*/ 52 h 58"/>
                  <a:gd name="T58" fmla="*/ 26 w 64"/>
                  <a:gd name="T59" fmla="*/ 58 h 58"/>
                  <a:gd name="T60" fmla="*/ 32 w 64"/>
                  <a:gd name="T61" fmla="*/ 61 h 58"/>
                  <a:gd name="T62" fmla="*/ 33 w 64"/>
                  <a:gd name="T63" fmla="*/ 68 h 58"/>
                  <a:gd name="T64" fmla="*/ 39 w 64"/>
                  <a:gd name="T65" fmla="*/ 68 h 58"/>
                  <a:gd name="T66" fmla="*/ 43 w 64"/>
                  <a:gd name="T67" fmla="*/ 69 h 58"/>
                  <a:gd name="T68" fmla="*/ 49 w 64"/>
                  <a:gd name="T69" fmla="*/ 64 h 58"/>
                  <a:gd name="T70" fmla="*/ 47 w 64"/>
                  <a:gd name="T71" fmla="*/ 58 h 58"/>
                  <a:gd name="T72" fmla="*/ 52 w 64"/>
                  <a:gd name="T73" fmla="*/ 61 h 58"/>
                  <a:gd name="T74" fmla="*/ 62 w 64"/>
                  <a:gd name="T75" fmla="*/ 61 h 58"/>
                  <a:gd name="T76" fmla="*/ 69 w 64"/>
                  <a:gd name="T77" fmla="*/ 56 h 58"/>
                  <a:gd name="T78" fmla="*/ 68 w 64"/>
                  <a:gd name="T79" fmla="*/ 46 h 58"/>
                  <a:gd name="T80" fmla="*/ 75 w 64"/>
                  <a:gd name="T81" fmla="*/ 40 h 58"/>
                  <a:gd name="T82" fmla="*/ 74 w 64"/>
                  <a:gd name="T83" fmla="*/ 36 h 58"/>
                  <a:gd name="T84" fmla="*/ 65 w 64"/>
                  <a:gd name="T85" fmla="*/ 36 h 58"/>
                  <a:gd name="T86" fmla="*/ 68 w 64"/>
                  <a:gd name="T87" fmla="*/ 31 h 58"/>
                  <a:gd name="T88" fmla="*/ 65 w 64"/>
                  <a:gd name="T89" fmla="*/ 25 h 58"/>
                  <a:gd name="T90" fmla="*/ 59 w 64"/>
                  <a:gd name="T91" fmla="*/ 23 h 58"/>
                  <a:gd name="T92" fmla="*/ 52 w 64"/>
                  <a:gd name="T93" fmla="*/ 26 h 5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64"/>
                  <a:gd name="T142" fmla="*/ 0 h 58"/>
                  <a:gd name="T143" fmla="*/ 64 w 64"/>
                  <a:gd name="T144" fmla="*/ 58 h 5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64" h="58">
                    <a:moveTo>
                      <a:pt x="44" y="22"/>
                    </a:moveTo>
                    <a:cubicBezTo>
                      <a:pt x="42" y="21"/>
                      <a:pt x="45" y="18"/>
                      <a:pt x="47" y="17"/>
                    </a:cubicBezTo>
                    <a:cubicBezTo>
                      <a:pt x="50" y="14"/>
                      <a:pt x="55" y="15"/>
                      <a:pt x="58" y="12"/>
                    </a:cubicBezTo>
                    <a:cubicBezTo>
                      <a:pt x="59" y="11"/>
                      <a:pt x="56" y="9"/>
                      <a:pt x="56" y="8"/>
                    </a:cubicBezTo>
                    <a:cubicBezTo>
                      <a:pt x="58" y="6"/>
                      <a:pt x="62" y="5"/>
                      <a:pt x="62" y="3"/>
                    </a:cubicBezTo>
                    <a:cubicBezTo>
                      <a:pt x="63" y="1"/>
                      <a:pt x="60" y="0"/>
                      <a:pt x="59" y="0"/>
                    </a:cubicBezTo>
                    <a:cubicBezTo>
                      <a:pt x="55" y="1"/>
                      <a:pt x="51" y="3"/>
                      <a:pt x="47" y="3"/>
                    </a:cubicBezTo>
                    <a:cubicBezTo>
                      <a:pt x="44" y="4"/>
                      <a:pt x="42" y="6"/>
                      <a:pt x="39" y="5"/>
                    </a:cubicBezTo>
                    <a:cubicBezTo>
                      <a:pt x="37" y="5"/>
                      <a:pt x="35" y="3"/>
                      <a:pt x="33" y="3"/>
                    </a:cubicBezTo>
                    <a:cubicBezTo>
                      <a:pt x="32" y="2"/>
                      <a:pt x="31" y="4"/>
                      <a:pt x="29" y="4"/>
                    </a:cubicBezTo>
                    <a:cubicBezTo>
                      <a:pt x="28" y="4"/>
                      <a:pt x="27" y="2"/>
                      <a:pt x="26" y="2"/>
                    </a:cubicBezTo>
                    <a:cubicBezTo>
                      <a:pt x="24" y="3"/>
                      <a:pt x="20" y="3"/>
                      <a:pt x="20" y="5"/>
                    </a:cubicBezTo>
                    <a:cubicBezTo>
                      <a:pt x="20" y="7"/>
                      <a:pt x="24" y="6"/>
                      <a:pt x="25" y="8"/>
                    </a:cubicBezTo>
                    <a:cubicBezTo>
                      <a:pt x="26" y="8"/>
                      <a:pt x="25" y="10"/>
                      <a:pt x="24" y="10"/>
                    </a:cubicBezTo>
                    <a:cubicBezTo>
                      <a:pt x="21" y="10"/>
                      <a:pt x="20" y="7"/>
                      <a:pt x="16" y="7"/>
                    </a:cubicBezTo>
                    <a:cubicBezTo>
                      <a:pt x="15" y="7"/>
                      <a:pt x="14" y="9"/>
                      <a:pt x="15" y="10"/>
                    </a:cubicBezTo>
                    <a:cubicBezTo>
                      <a:pt x="17" y="12"/>
                      <a:pt x="19" y="13"/>
                      <a:pt x="22" y="14"/>
                    </a:cubicBezTo>
                    <a:cubicBezTo>
                      <a:pt x="24" y="15"/>
                      <a:pt x="27" y="12"/>
                      <a:pt x="28" y="14"/>
                    </a:cubicBezTo>
                    <a:cubicBezTo>
                      <a:pt x="28" y="16"/>
                      <a:pt x="24" y="17"/>
                      <a:pt x="24" y="19"/>
                    </a:cubicBezTo>
                    <a:cubicBezTo>
                      <a:pt x="23" y="21"/>
                      <a:pt x="28" y="22"/>
                      <a:pt x="27" y="23"/>
                    </a:cubicBezTo>
                    <a:cubicBezTo>
                      <a:pt x="26" y="26"/>
                      <a:pt x="23" y="28"/>
                      <a:pt x="20" y="29"/>
                    </a:cubicBezTo>
                    <a:cubicBezTo>
                      <a:pt x="18" y="30"/>
                      <a:pt x="15" y="30"/>
                      <a:pt x="13" y="28"/>
                    </a:cubicBezTo>
                    <a:cubicBezTo>
                      <a:pt x="11" y="27"/>
                      <a:pt x="10" y="23"/>
                      <a:pt x="8" y="22"/>
                    </a:cubicBezTo>
                    <a:cubicBezTo>
                      <a:pt x="7" y="21"/>
                      <a:pt x="5" y="21"/>
                      <a:pt x="4" y="22"/>
                    </a:cubicBezTo>
                    <a:cubicBezTo>
                      <a:pt x="2" y="23"/>
                      <a:pt x="0" y="26"/>
                      <a:pt x="0" y="28"/>
                    </a:cubicBezTo>
                    <a:cubicBezTo>
                      <a:pt x="0" y="31"/>
                      <a:pt x="1" y="33"/>
                      <a:pt x="2" y="35"/>
                    </a:cubicBezTo>
                    <a:cubicBezTo>
                      <a:pt x="4" y="36"/>
                      <a:pt x="6" y="38"/>
                      <a:pt x="8" y="38"/>
                    </a:cubicBezTo>
                    <a:cubicBezTo>
                      <a:pt x="9" y="39"/>
                      <a:pt x="12" y="38"/>
                      <a:pt x="13" y="39"/>
                    </a:cubicBezTo>
                    <a:cubicBezTo>
                      <a:pt x="16" y="40"/>
                      <a:pt x="18" y="42"/>
                      <a:pt x="20" y="44"/>
                    </a:cubicBezTo>
                    <a:cubicBezTo>
                      <a:pt x="21" y="45"/>
                      <a:pt x="21" y="48"/>
                      <a:pt x="22" y="49"/>
                    </a:cubicBezTo>
                    <a:cubicBezTo>
                      <a:pt x="24" y="51"/>
                      <a:pt x="26" y="50"/>
                      <a:pt x="27" y="51"/>
                    </a:cubicBezTo>
                    <a:cubicBezTo>
                      <a:pt x="28" y="53"/>
                      <a:pt x="27" y="56"/>
                      <a:pt x="28" y="57"/>
                    </a:cubicBezTo>
                    <a:cubicBezTo>
                      <a:pt x="29" y="58"/>
                      <a:pt x="31" y="57"/>
                      <a:pt x="33" y="57"/>
                    </a:cubicBezTo>
                    <a:cubicBezTo>
                      <a:pt x="34" y="57"/>
                      <a:pt x="35" y="58"/>
                      <a:pt x="36" y="58"/>
                    </a:cubicBezTo>
                    <a:cubicBezTo>
                      <a:pt x="38" y="57"/>
                      <a:pt x="40" y="56"/>
                      <a:pt x="41" y="54"/>
                    </a:cubicBezTo>
                    <a:cubicBezTo>
                      <a:pt x="42" y="52"/>
                      <a:pt x="39" y="50"/>
                      <a:pt x="40" y="49"/>
                    </a:cubicBezTo>
                    <a:cubicBezTo>
                      <a:pt x="41" y="47"/>
                      <a:pt x="42" y="51"/>
                      <a:pt x="44" y="51"/>
                    </a:cubicBezTo>
                    <a:cubicBezTo>
                      <a:pt x="46" y="52"/>
                      <a:pt x="49" y="52"/>
                      <a:pt x="52" y="51"/>
                    </a:cubicBezTo>
                    <a:cubicBezTo>
                      <a:pt x="54" y="51"/>
                      <a:pt x="57" y="50"/>
                      <a:pt x="58" y="47"/>
                    </a:cubicBezTo>
                    <a:cubicBezTo>
                      <a:pt x="59" y="45"/>
                      <a:pt x="56" y="42"/>
                      <a:pt x="57" y="39"/>
                    </a:cubicBezTo>
                    <a:cubicBezTo>
                      <a:pt x="58" y="37"/>
                      <a:pt x="62" y="36"/>
                      <a:pt x="63" y="34"/>
                    </a:cubicBezTo>
                    <a:cubicBezTo>
                      <a:pt x="64" y="33"/>
                      <a:pt x="64" y="30"/>
                      <a:pt x="62" y="30"/>
                    </a:cubicBezTo>
                    <a:cubicBezTo>
                      <a:pt x="60" y="28"/>
                      <a:pt x="57" y="31"/>
                      <a:pt x="55" y="30"/>
                    </a:cubicBezTo>
                    <a:cubicBezTo>
                      <a:pt x="54" y="29"/>
                      <a:pt x="57" y="27"/>
                      <a:pt x="57" y="26"/>
                    </a:cubicBezTo>
                    <a:cubicBezTo>
                      <a:pt x="57" y="24"/>
                      <a:pt x="56" y="22"/>
                      <a:pt x="55" y="21"/>
                    </a:cubicBezTo>
                    <a:cubicBezTo>
                      <a:pt x="54" y="20"/>
                      <a:pt x="51" y="19"/>
                      <a:pt x="50" y="19"/>
                    </a:cubicBezTo>
                    <a:cubicBezTo>
                      <a:pt x="47" y="19"/>
                      <a:pt x="46" y="24"/>
                      <a:pt x="44" y="2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4" name="Freeform 3565"/>
              <p:cNvSpPr>
                <a:spLocks noChangeAspect="1"/>
              </p:cNvSpPr>
              <p:nvPr/>
            </p:nvSpPr>
            <p:spPr bwMode="auto">
              <a:xfrm>
                <a:off x="2337081" y="1593122"/>
                <a:ext cx="40890" cy="17866"/>
              </a:xfrm>
              <a:custGeom>
                <a:avLst/>
                <a:gdLst>
                  <a:gd name="T0" fmla="*/ 4 w 21"/>
                  <a:gd name="T1" fmla="*/ 9 h 9"/>
                  <a:gd name="T2" fmla="*/ 1 w 21"/>
                  <a:gd name="T3" fmla="*/ 10 h 9"/>
                  <a:gd name="T4" fmla="*/ 7 w 21"/>
                  <a:gd name="T5" fmla="*/ 11 h 9"/>
                  <a:gd name="T6" fmla="*/ 15 w 21"/>
                  <a:gd name="T7" fmla="*/ 9 h 9"/>
                  <a:gd name="T8" fmla="*/ 21 w 21"/>
                  <a:gd name="T9" fmla="*/ 6 h 9"/>
                  <a:gd name="T10" fmla="*/ 23 w 21"/>
                  <a:gd name="T11" fmla="*/ 2 h 9"/>
                  <a:gd name="T12" fmla="*/ 17 w 21"/>
                  <a:gd name="T13" fmla="*/ 4 h 9"/>
                  <a:gd name="T14" fmla="*/ 8 w 21"/>
                  <a:gd name="T15" fmla="*/ 6 h 9"/>
                  <a:gd name="T16" fmla="*/ 4 w 21"/>
                  <a:gd name="T17" fmla="*/ 9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9"/>
                  <a:gd name="T29" fmla="*/ 21 w 21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9">
                    <a:moveTo>
                      <a:pt x="3" y="7"/>
                    </a:moveTo>
                    <a:cubicBezTo>
                      <a:pt x="2" y="7"/>
                      <a:pt x="0" y="8"/>
                      <a:pt x="1" y="8"/>
                    </a:cubicBezTo>
                    <a:cubicBezTo>
                      <a:pt x="3" y="9"/>
                      <a:pt x="4" y="9"/>
                      <a:pt x="6" y="9"/>
                    </a:cubicBezTo>
                    <a:cubicBezTo>
                      <a:pt x="8" y="8"/>
                      <a:pt x="11" y="8"/>
                      <a:pt x="13" y="7"/>
                    </a:cubicBezTo>
                    <a:cubicBezTo>
                      <a:pt x="15" y="7"/>
                      <a:pt x="16" y="6"/>
                      <a:pt x="18" y="5"/>
                    </a:cubicBezTo>
                    <a:cubicBezTo>
                      <a:pt x="19" y="4"/>
                      <a:pt x="21" y="2"/>
                      <a:pt x="19" y="2"/>
                    </a:cubicBezTo>
                    <a:cubicBezTo>
                      <a:pt x="18" y="0"/>
                      <a:pt x="16" y="2"/>
                      <a:pt x="14" y="3"/>
                    </a:cubicBezTo>
                    <a:cubicBezTo>
                      <a:pt x="11" y="4"/>
                      <a:pt x="9" y="4"/>
                      <a:pt x="7" y="5"/>
                    </a:cubicBezTo>
                    <a:cubicBezTo>
                      <a:pt x="6" y="6"/>
                      <a:pt x="4" y="6"/>
                      <a:pt x="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5" name="Freeform 3566"/>
              <p:cNvSpPr>
                <a:spLocks noChangeAspect="1"/>
              </p:cNvSpPr>
              <p:nvPr/>
            </p:nvSpPr>
            <p:spPr bwMode="auto">
              <a:xfrm>
                <a:off x="2377970" y="1633725"/>
                <a:ext cx="14721" cy="16241"/>
              </a:xfrm>
              <a:custGeom>
                <a:avLst/>
                <a:gdLst>
                  <a:gd name="T0" fmla="*/ 6 w 7"/>
                  <a:gd name="T1" fmla="*/ 1 h 9"/>
                  <a:gd name="T2" fmla="*/ 9 w 7"/>
                  <a:gd name="T3" fmla="*/ 4 h 9"/>
                  <a:gd name="T4" fmla="*/ 6 w 7"/>
                  <a:gd name="T5" fmla="*/ 9 h 9"/>
                  <a:gd name="T6" fmla="*/ 1 w 7"/>
                  <a:gd name="T7" fmla="*/ 9 h 9"/>
                  <a:gd name="T8" fmla="*/ 1 w 7"/>
                  <a:gd name="T9" fmla="*/ 3 h 9"/>
                  <a:gd name="T10" fmla="*/ 6 w 7"/>
                  <a:gd name="T11" fmla="*/ 1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9"/>
                  <a:gd name="T20" fmla="*/ 7 w 7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9">
                    <a:moveTo>
                      <a:pt x="5" y="1"/>
                    </a:moveTo>
                    <a:cubicBezTo>
                      <a:pt x="6" y="1"/>
                      <a:pt x="7" y="3"/>
                      <a:pt x="7" y="4"/>
                    </a:cubicBezTo>
                    <a:cubicBezTo>
                      <a:pt x="7" y="6"/>
                      <a:pt x="6" y="7"/>
                      <a:pt x="5" y="8"/>
                    </a:cubicBezTo>
                    <a:cubicBezTo>
                      <a:pt x="4" y="8"/>
                      <a:pt x="2" y="9"/>
                      <a:pt x="1" y="8"/>
                    </a:cubicBezTo>
                    <a:cubicBezTo>
                      <a:pt x="0" y="6"/>
                      <a:pt x="0" y="4"/>
                      <a:pt x="1" y="3"/>
                    </a:cubicBezTo>
                    <a:cubicBezTo>
                      <a:pt x="2" y="1"/>
                      <a:pt x="3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6" name="Freeform 3567"/>
              <p:cNvSpPr>
                <a:spLocks noChangeAspect="1"/>
              </p:cNvSpPr>
              <p:nvPr/>
            </p:nvSpPr>
            <p:spPr bwMode="auto">
              <a:xfrm>
                <a:off x="2409047" y="1529780"/>
                <a:ext cx="73602" cy="48724"/>
              </a:xfrm>
              <a:custGeom>
                <a:avLst/>
                <a:gdLst>
                  <a:gd name="T0" fmla="*/ 44 w 37"/>
                  <a:gd name="T1" fmla="*/ 16 h 25"/>
                  <a:gd name="T2" fmla="*/ 41 w 37"/>
                  <a:gd name="T3" fmla="*/ 28 h 25"/>
                  <a:gd name="T4" fmla="*/ 38 w 37"/>
                  <a:gd name="T5" fmla="*/ 30 h 25"/>
                  <a:gd name="T6" fmla="*/ 26 w 37"/>
                  <a:gd name="T7" fmla="*/ 29 h 25"/>
                  <a:gd name="T8" fmla="*/ 19 w 37"/>
                  <a:gd name="T9" fmla="*/ 29 h 25"/>
                  <a:gd name="T10" fmla="*/ 17 w 37"/>
                  <a:gd name="T11" fmla="*/ 25 h 25"/>
                  <a:gd name="T12" fmla="*/ 13 w 37"/>
                  <a:gd name="T13" fmla="*/ 26 h 25"/>
                  <a:gd name="T14" fmla="*/ 9 w 37"/>
                  <a:gd name="T15" fmla="*/ 24 h 25"/>
                  <a:gd name="T16" fmla="*/ 9 w 37"/>
                  <a:gd name="T17" fmla="*/ 20 h 25"/>
                  <a:gd name="T18" fmla="*/ 5 w 37"/>
                  <a:gd name="T19" fmla="*/ 20 h 25"/>
                  <a:gd name="T20" fmla="*/ 4 w 37"/>
                  <a:gd name="T21" fmla="*/ 18 h 25"/>
                  <a:gd name="T22" fmla="*/ 0 w 37"/>
                  <a:gd name="T23" fmla="*/ 18 h 25"/>
                  <a:gd name="T24" fmla="*/ 4 w 37"/>
                  <a:gd name="T25" fmla="*/ 13 h 25"/>
                  <a:gd name="T26" fmla="*/ 12 w 37"/>
                  <a:gd name="T27" fmla="*/ 8 h 25"/>
                  <a:gd name="T28" fmla="*/ 22 w 37"/>
                  <a:gd name="T29" fmla="*/ 1 h 25"/>
                  <a:gd name="T30" fmla="*/ 29 w 37"/>
                  <a:gd name="T31" fmla="*/ 0 h 25"/>
                  <a:gd name="T32" fmla="*/ 39 w 37"/>
                  <a:gd name="T33" fmla="*/ 4 h 25"/>
                  <a:gd name="T34" fmla="*/ 45 w 37"/>
                  <a:gd name="T35" fmla="*/ 10 h 25"/>
                  <a:gd name="T36" fmla="*/ 44 w 37"/>
                  <a:gd name="T37" fmla="*/ 16 h 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7"/>
                  <a:gd name="T58" fmla="*/ 0 h 25"/>
                  <a:gd name="T59" fmla="*/ 37 w 37"/>
                  <a:gd name="T60" fmla="*/ 25 h 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7" h="25">
                    <a:moveTo>
                      <a:pt x="36" y="13"/>
                    </a:moveTo>
                    <a:cubicBezTo>
                      <a:pt x="35" y="16"/>
                      <a:pt x="35" y="20"/>
                      <a:pt x="34" y="23"/>
                    </a:cubicBezTo>
                    <a:cubicBezTo>
                      <a:pt x="34" y="24"/>
                      <a:pt x="32" y="24"/>
                      <a:pt x="31" y="25"/>
                    </a:cubicBezTo>
                    <a:cubicBezTo>
                      <a:pt x="28" y="25"/>
                      <a:pt x="25" y="25"/>
                      <a:pt x="21" y="24"/>
                    </a:cubicBezTo>
                    <a:cubicBezTo>
                      <a:pt x="20" y="24"/>
                      <a:pt x="18" y="24"/>
                      <a:pt x="16" y="24"/>
                    </a:cubicBezTo>
                    <a:cubicBezTo>
                      <a:pt x="15" y="23"/>
                      <a:pt x="15" y="21"/>
                      <a:pt x="14" y="21"/>
                    </a:cubicBezTo>
                    <a:cubicBezTo>
                      <a:pt x="13" y="21"/>
                      <a:pt x="12" y="22"/>
                      <a:pt x="11" y="22"/>
                    </a:cubicBezTo>
                    <a:cubicBezTo>
                      <a:pt x="9" y="22"/>
                      <a:pt x="8" y="21"/>
                      <a:pt x="7" y="20"/>
                    </a:cubicBezTo>
                    <a:cubicBezTo>
                      <a:pt x="6" y="19"/>
                      <a:pt x="8" y="17"/>
                      <a:pt x="7" y="17"/>
                    </a:cubicBezTo>
                    <a:cubicBezTo>
                      <a:pt x="6" y="16"/>
                      <a:pt x="5" y="17"/>
                      <a:pt x="4" y="17"/>
                    </a:cubicBezTo>
                    <a:cubicBezTo>
                      <a:pt x="3" y="17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5"/>
                    </a:cubicBezTo>
                    <a:cubicBezTo>
                      <a:pt x="0" y="13"/>
                      <a:pt x="1" y="12"/>
                      <a:pt x="3" y="11"/>
                    </a:cubicBezTo>
                    <a:cubicBezTo>
                      <a:pt x="5" y="9"/>
                      <a:pt x="8" y="8"/>
                      <a:pt x="10" y="7"/>
                    </a:cubicBezTo>
                    <a:cubicBezTo>
                      <a:pt x="13" y="5"/>
                      <a:pt x="15" y="2"/>
                      <a:pt x="18" y="1"/>
                    </a:cubicBezTo>
                    <a:cubicBezTo>
                      <a:pt x="20" y="0"/>
                      <a:pt x="22" y="0"/>
                      <a:pt x="24" y="0"/>
                    </a:cubicBezTo>
                    <a:cubicBezTo>
                      <a:pt x="27" y="0"/>
                      <a:pt x="30" y="1"/>
                      <a:pt x="32" y="3"/>
                    </a:cubicBezTo>
                    <a:cubicBezTo>
                      <a:pt x="34" y="4"/>
                      <a:pt x="36" y="6"/>
                      <a:pt x="37" y="8"/>
                    </a:cubicBezTo>
                    <a:cubicBezTo>
                      <a:pt x="37" y="10"/>
                      <a:pt x="36" y="11"/>
                      <a:pt x="36" y="1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7" name="Freeform 3568"/>
              <p:cNvSpPr>
                <a:spLocks noChangeAspect="1"/>
              </p:cNvSpPr>
              <p:nvPr/>
            </p:nvSpPr>
            <p:spPr bwMode="auto">
              <a:xfrm>
                <a:off x="2456479" y="1513539"/>
                <a:ext cx="11450" cy="14618"/>
              </a:xfrm>
              <a:custGeom>
                <a:avLst/>
                <a:gdLst>
                  <a:gd name="T0" fmla="*/ 1 w 6"/>
                  <a:gd name="T1" fmla="*/ 1 h 7"/>
                  <a:gd name="T2" fmla="*/ 1 w 6"/>
                  <a:gd name="T3" fmla="*/ 6 h 7"/>
                  <a:gd name="T4" fmla="*/ 6 w 6"/>
                  <a:gd name="T5" fmla="*/ 8 h 7"/>
                  <a:gd name="T6" fmla="*/ 6 w 6"/>
                  <a:gd name="T7" fmla="*/ 1 h 7"/>
                  <a:gd name="T8" fmla="*/ 1 w 6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"/>
                  <a:gd name="T17" fmla="*/ 6 w 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">
                    <a:moveTo>
                      <a:pt x="1" y="1"/>
                    </a:moveTo>
                    <a:cubicBezTo>
                      <a:pt x="0" y="2"/>
                      <a:pt x="0" y="4"/>
                      <a:pt x="1" y="5"/>
                    </a:cubicBezTo>
                    <a:cubicBezTo>
                      <a:pt x="2" y="6"/>
                      <a:pt x="4" y="7"/>
                      <a:pt x="5" y="6"/>
                    </a:cubicBezTo>
                    <a:cubicBezTo>
                      <a:pt x="6" y="5"/>
                      <a:pt x="6" y="2"/>
                      <a:pt x="5" y="1"/>
                    </a:cubicBezTo>
                    <a:cubicBezTo>
                      <a:pt x="4" y="0"/>
                      <a:pt x="2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8" name="Freeform 3569"/>
              <p:cNvSpPr>
                <a:spLocks noChangeAspect="1"/>
              </p:cNvSpPr>
              <p:nvPr/>
            </p:nvSpPr>
            <p:spPr bwMode="auto">
              <a:xfrm>
                <a:off x="2404140" y="1528157"/>
                <a:ext cx="24534" cy="16241"/>
              </a:xfrm>
              <a:custGeom>
                <a:avLst/>
                <a:gdLst>
                  <a:gd name="T0" fmla="*/ 15 w 13"/>
                  <a:gd name="T1" fmla="*/ 2 h 9"/>
                  <a:gd name="T2" fmla="*/ 13 w 13"/>
                  <a:gd name="T3" fmla="*/ 4 h 9"/>
                  <a:gd name="T4" fmla="*/ 9 w 13"/>
                  <a:gd name="T5" fmla="*/ 2 h 9"/>
                  <a:gd name="T6" fmla="*/ 6 w 13"/>
                  <a:gd name="T7" fmla="*/ 8 h 9"/>
                  <a:gd name="T8" fmla="*/ 1 w 13"/>
                  <a:gd name="T9" fmla="*/ 9 h 9"/>
                  <a:gd name="T10" fmla="*/ 2 w 13"/>
                  <a:gd name="T11" fmla="*/ 3 h 9"/>
                  <a:gd name="T12" fmla="*/ 7 w 13"/>
                  <a:gd name="T13" fmla="*/ 2 h 9"/>
                  <a:gd name="T14" fmla="*/ 12 w 13"/>
                  <a:gd name="T15" fmla="*/ 0 h 9"/>
                  <a:gd name="T16" fmla="*/ 15 w 13"/>
                  <a:gd name="T17" fmla="*/ 2 h 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9"/>
                  <a:gd name="T29" fmla="*/ 13 w 13"/>
                  <a:gd name="T30" fmla="*/ 9 h 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9">
                    <a:moveTo>
                      <a:pt x="13" y="2"/>
                    </a:moveTo>
                    <a:cubicBezTo>
                      <a:pt x="13" y="3"/>
                      <a:pt x="12" y="4"/>
                      <a:pt x="11" y="4"/>
                    </a:cubicBezTo>
                    <a:cubicBezTo>
                      <a:pt x="10" y="4"/>
                      <a:pt x="9" y="2"/>
                      <a:pt x="8" y="2"/>
                    </a:cubicBezTo>
                    <a:cubicBezTo>
                      <a:pt x="6" y="3"/>
                      <a:pt x="7" y="6"/>
                      <a:pt x="5" y="7"/>
                    </a:cubicBezTo>
                    <a:cubicBezTo>
                      <a:pt x="4" y="8"/>
                      <a:pt x="2" y="9"/>
                      <a:pt x="1" y="8"/>
                    </a:cubicBezTo>
                    <a:cubicBezTo>
                      <a:pt x="0" y="7"/>
                      <a:pt x="1" y="5"/>
                      <a:pt x="2" y="3"/>
                    </a:cubicBezTo>
                    <a:cubicBezTo>
                      <a:pt x="3" y="2"/>
                      <a:pt x="5" y="3"/>
                      <a:pt x="6" y="2"/>
                    </a:cubicBezTo>
                    <a:cubicBezTo>
                      <a:pt x="7" y="2"/>
                      <a:pt x="8" y="0"/>
                      <a:pt x="10" y="0"/>
                    </a:cubicBezTo>
                    <a:cubicBezTo>
                      <a:pt x="11" y="0"/>
                      <a:pt x="12" y="1"/>
                      <a:pt x="13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59" name="Freeform 3570"/>
              <p:cNvSpPr>
                <a:spLocks noChangeAspect="1"/>
              </p:cNvSpPr>
              <p:nvPr/>
            </p:nvSpPr>
            <p:spPr bwMode="auto">
              <a:xfrm>
                <a:off x="2168615" y="1609363"/>
                <a:ext cx="60517" cy="43852"/>
              </a:xfrm>
              <a:custGeom>
                <a:avLst/>
                <a:gdLst>
                  <a:gd name="T0" fmla="*/ 35 w 31"/>
                  <a:gd name="T1" fmla="*/ 5 h 22"/>
                  <a:gd name="T2" fmla="*/ 37 w 31"/>
                  <a:gd name="T3" fmla="*/ 9 h 22"/>
                  <a:gd name="T4" fmla="*/ 24 w 31"/>
                  <a:gd name="T5" fmla="*/ 21 h 22"/>
                  <a:gd name="T6" fmla="*/ 23 w 31"/>
                  <a:gd name="T7" fmla="*/ 26 h 22"/>
                  <a:gd name="T8" fmla="*/ 18 w 31"/>
                  <a:gd name="T9" fmla="*/ 20 h 22"/>
                  <a:gd name="T10" fmla="*/ 10 w 31"/>
                  <a:gd name="T11" fmla="*/ 12 h 22"/>
                  <a:gd name="T12" fmla="*/ 1 w 31"/>
                  <a:gd name="T13" fmla="*/ 9 h 22"/>
                  <a:gd name="T14" fmla="*/ 5 w 31"/>
                  <a:gd name="T15" fmla="*/ 5 h 22"/>
                  <a:gd name="T16" fmla="*/ 13 w 31"/>
                  <a:gd name="T17" fmla="*/ 4 h 22"/>
                  <a:gd name="T18" fmla="*/ 20 w 31"/>
                  <a:gd name="T19" fmla="*/ 4 h 22"/>
                  <a:gd name="T20" fmla="*/ 26 w 31"/>
                  <a:gd name="T21" fmla="*/ 0 h 22"/>
                  <a:gd name="T22" fmla="*/ 35 w 31"/>
                  <a:gd name="T23" fmla="*/ 5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1"/>
                  <a:gd name="T37" fmla="*/ 0 h 22"/>
                  <a:gd name="T38" fmla="*/ 31 w 31"/>
                  <a:gd name="T39" fmla="*/ 22 h 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1" h="22">
                    <a:moveTo>
                      <a:pt x="29" y="4"/>
                    </a:moveTo>
                    <a:cubicBezTo>
                      <a:pt x="30" y="4"/>
                      <a:pt x="31" y="6"/>
                      <a:pt x="31" y="7"/>
                    </a:cubicBezTo>
                    <a:cubicBezTo>
                      <a:pt x="28" y="11"/>
                      <a:pt x="23" y="14"/>
                      <a:pt x="20" y="17"/>
                    </a:cubicBezTo>
                    <a:cubicBezTo>
                      <a:pt x="20" y="18"/>
                      <a:pt x="21" y="22"/>
                      <a:pt x="19" y="21"/>
                    </a:cubicBezTo>
                    <a:cubicBezTo>
                      <a:pt x="17" y="21"/>
                      <a:pt x="16" y="18"/>
                      <a:pt x="15" y="16"/>
                    </a:cubicBezTo>
                    <a:cubicBezTo>
                      <a:pt x="13" y="14"/>
                      <a:pt x="11" y="11"/>
                      <a:pt x="8" y="10"/>
                    </a:cubicBezTo>
                    <a:cubicBezTo>
                      <a:pt x="6" y="8"/>
                      <a:pt x="3" y="9"/>
                      <a:pt x="1" y="7"/>
                    </a:cubicBezTo>
                    <a:cubicBezTo>
                      <a:pt x="0" y="6"/>
                      <a:pt x="3" y="5"/>
                      <a:pt x="4" y="4"/>
                    </a:cubicBezTo>
                    <a:cubicBezTo>
                      <a:pt x="6" y="3"/>
                      <a:pt x="9" y="3"/>
                      <a:pt x="11" y="3"/>
                    </a:cubicBezTo>
                    <a:cubicBezTo>
                      <a:pt x="13" y="2"/>
                      <a:pt x="15" y="3"/>
                      <a:pt x="17" y="3"/>
                    </a:cubicBezTo>
                    <a:cubicBezTo>
                      <a:pt x="19" y="3"/>
                      <a:pt x="20" y="0"/>
                      <a:pt x="22" y="0"/>
                    </a:cubicBezTo>
                    <a:cubicBezTo>
                      <a:pt x="25" y="1"/>
                      <a:pt x="27" y="2"/>
                      <a:pt x="29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0" name="Freeform 3571"/>
              <p:cNvSpPr>
                <a:spLocks noChangeAspect="1"/>
              </p:cNvSpPr>
              <p:nvPr/>
            </p:nvSpPr>
            <p:spPr bwMode="auto">
              <a:xfrm>
                <a:off x="1888930" y="1627228"/>
                <a:ext cx="381093" cy="212762"/>
              </a:xfrm>
              <a:custGeom>
                <a:avLst/>
                <a:gdLst>
                  <a:gd name="T0" fmla="*/ 189 w 194"/>
                  <a:gd name="T1" fmla="*/ 37 h 109"/>
                  <a:gd name="T2" fmla="*/ 190 w 194"/>
                  <a:gd name="T3" fmla="*/ 60 h 109"/>
                  <a:gd name="T4" fmla="*/ 211 w 194"/>
                  <a:gd name="T5" fmla="*/ 76 h 109"/>
                  <a:gd name="T6" fmla="*/ 231 w 194"/>
                  <a:gd name="T7" fmla="*/ 87 h 109"/>
                  <a:gd name="T8" fmla="*/ 221 w 194"/>
                  <a:gd name="T9" fmla="*/ 96 h 109"/>
                  <a:gd name="T10" fmla="*/ 203 w 194"/>
                  <a:gd name="T11" fmla="*/ 97 h 109"/>
                  <a:gd name="T12" fmla="*/ 193 w 194"/>
                  <a:gd name="T13" fmla="*/ 100 h 109"/>
                  <a:gd name="T14" fmla="*/ 198 w 194"/>
                  <a:gd name="T15" fmla="*/ 111 h 109"/>
                  <a:gd name="T16" fmla="*/ 211 w 194"/>
                  <a:gd name="T17" fmla="*/ 109 h 109"/>
                  <a:gd name="T18" fmla="*/ 187 w 194"/>
                  <a:gd name="T19" fmla="*/ 123 h 109"/>
                  <a:gd name="T20" fmla="*/ 169 w 194"/>
                  <a:gd name="T21" fmla="*/ 120 h 109"/>
                  <a:gd name="T22" fmla="*/ 156 w 194"/>
                  <a:gd name="T23" fmla="*/ 113 h 109"/>
                  <a:gd name="T24" fmla="*/ 153 w 194"/>
                  <a:gd name="T25" fmla="*/ 106 h 109"/>
                  <a:gd name="T26" fmla="*/ 126 w 194"/>
                  <a:gd name="T27" fmla="*/ 119 h 109"/>
                  <a:gd name="T28" fmla="*/ 107 w 194"/>
                  <a:gd name="T29" fmla="*/ 126 h 109"/>
                  <a:gd name="T30" fmla="*/ 79 w 194"/>
                  <a:gd name="T31" fmla="*/ 130 h 109"/>
                  <a:gd name="T32" fmla="*/ 52 w 194"/>
                  <a:gd name="T33" fmla="*/ 119 h 109"/>
                  <a:gd name="T34" fmla="*/ 34 w 194"/>
                  <a:gd name="T35" fmla="*/ 111 h 109"/>
                  <a:gd name="T36" fmla="*/ 17 w 194"/>
                  <a:gd name="T37" fmla="*/ 103 h 109"/>
                  <a:gd name="T38" fmla="*/ 20 w 194"/>
                  <a:gd name="T39" fmla="*/ 88 h 109"/>
                  <a:gd name="T40" fmla="*/ 50 w 194"/>
                  <a:gd name="T41" fmla="*/ 83 h 109"/>
                  <a:gd name="T42" fmla="*/ 79 w 194"/>
                  <a:gd name="T43" fmla="*/ 85 h 109"/>
                  <a:gd name="T44" fmla="*/ 91 w 194"/>
                  <a:gd name="T45" fmla="*/ 81 h 109"/>
                  <a:gd name="T46" fmla="*/ 56 w 194"/>
                  <a:gd name="T47" fmla="*/ 71 h 109"/>
                  <a:gd name="T48" fmla="*/ 23 w 194"/>
                  <a:gd name="T49" fmla="*/ 73 h 109"/>
                  <a:gd name="T50" fmla="*/ 8 w 194"/>
                  <a:gd name="T51" fmla="*/ 65 h 109"/>
                  <a:gd name="T52" fmla="*/ 35 w 194"/>
                  <a:gd name="T53" fmla="*/ 56 h 109"/>
                  <a:gd name="T54" fmla="*/ 50 w 194"/>
                  <a:gd name="T55" fmla="*/ 52 h 109"/>
                  <a:gd name="T56" fmla="*/ 20 w 194"/>
                  <a:gd name="T57" fmla="*/ 56 h 109"/>
                  <a:gd name="T58" fmla="*/ 11 w 194"/>
                  <a:gd name="T59" fmla="*/ 56 h 109"/>
                  <a:gd name="T60" fmla="*/ 5 w 194"/>
                  <a:gd name="T61" fmla="*/ 49 h 109"/>
                  <a:gd name="T62" fmla="*/ 13 w 194"/>
                  <a:gd name="T63" fmla="*/ 37 h 109"/>
                  <a:gd name="T64" fmla="*/ 16 w 194"/>
                  <a:gd name="T65" fmla="*/ 25 h 109"/>
                  <a:gd name="T66" fmla="*/ 47 w 194"/>
                  <a:gd name="T67" fmla="*/ 8 h 109"/>
                  <a:gd name="T68" fmla="*/ 74 w 194"/>
                  <a:gd name="T69" fmla="*/ 1 h 109"/>
                  <a:gd name="T70" fmla="*/ 78 w 194"/>
                  <a:gd name="T71" fmla="*/ 14 h 109"/>
                  <a:gd name="T72" fmla="*/ 70 w 194"/>
                  <a:gd name="T73" fmla="*/ 23 h 109"/>
                  <a:gd name="T74" fmla="*/ 84 w 194"/>
                  <a:gd name="T75" fmla="*/ 19 h 109"/>
                  <a:gd name="T76" fmla="*/ 112 w 194"/>
                  <a:gd name="T77" fmla="*/ 17 h 109"/>
                  <a:gd name="T78" fmla="*/ 101 w 194"/>
                  <a:gd name="T79" fmla="*/ 31 h 109"/>
                  <a:gd name="T80" fmla="*/ 113 w 194"/>
                  <a:gd name="T81" fmla="*/ 31 h 109"/>
                  <a:gd name="T82" fmla="*/ 127 w 194"/>
                  <a:gd name="T83" fmla="*/ 24 h 109"/>
                  <a:gd name="T84" fmla="*/ 131 w 194"/>
                  <a:gd name="T85" fmla="*/ 11 h 109"/>
                  <a:gd name="T86" fmla="*/ 142 w 194"/>
                  <a:gd name="T87" fmla="*/ 36 h 109"/>
                  <a:gd name="T88" fmla="*/ 160 w 194"/>
                  <a:gd name="T89" fmla="*/ 43 h 109"/>
                  <a:gd name="T90" fmla="*/ 156 w 194"/>
                  <a:gd name="T91" fmla="*/ 14 h 109"/>
                  <a:gd name="T92" fmla="*/ 171 w 194"/>
                  <a:gd name="T93" fmla="*/ 6 h 109"/>
                  <a:gd name="T94" fmla="*/ 191 w 194"/>
                  <a:gd name="T95" fmla="*/ 14 h 10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94"/>
                  <a:gd name="T145" fmla="*/ 0 h 109"/>
                  <a:gd name="T146" fmla="*/ 194 w 194"/>
                  <a:gd name="T147" fmla="*/ 109 h 10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94" h="109">
                    <a:moveTo>
                      <a:pt x="159" y="12"/>
                    </a:moveTo>
                    <a:cubicBezTo>
                      <a:pt x="160" y="14"/>
                      <a:pt x="159" y="17"/>
                      <a:pt x="159" y="20"/>
                    </a:cubicBezTo>
                    <a:cubicBezTo>
                      <a:pt x="159" y="24"/>
                      <a:pt x="157" y="27"/>
                      <a:pt x="157" y="31"/>
                    </a:cubicBezTo>
                    <a:cubicBezTo>
                      <a:pt x="158" y="34"/>
                      <a:pt x="160" y="36"/>
                      <a:pt x="162" y="38"/>
                    </a:cubicBezTo>
                    <a:cubicBezTo>
                      <a:pt x="162" y="40"/>
                      <a:pt x="163" y="41"/>
                      <a:pt x="162" y="42"/>
                    </a:cubicBezTo>
                    <a:cubicBezTo>
                      <a:pt x="162" y="45"/>
                      <a:pt x="158" y="47"/>
                      <a:pt x="158" y="50"/>
                    </a:cubicBezTo>
                    <a:cubicBezTo>
                      <a:pt x="158" y="54"/>
                      <a:pt x="161" y="56"/>
                      <a:pt x="164" y="59"/>
                    </a:cubicBezTo>
                    <a:cubicBezTo>
                      <a:pt x="166" y="61"/>
                      <a:pt x="169" y="62"/>
                      <a:pt x="172" y="63"/>
                    </a:cubicBezTo>
                    <a:cubicBezTo>
                      <a:pt x="173" y="64"/>
                      <a:pt x="175" y="62"/>
                      <a:pt x="176" y="63"/>
                    </a:cubicBezTo>
                    <a:cubicBezTo>
                      <a:pt x="179" y="64"/>
                      <a:pt x="181" y="67"/>
                      <a:pt x="184" y="69"/>
                    </a:cubicBezTo>
                    <a:cubicBezTo>
                      <a:pt x="185" y="70"/>
                      <a:pt x="185" y="72"/>
                      <a:pt x="186" y="72"/>
                    </a:cubicBezTo>
                    <a:cubicBezTo>
                      <a:pt x="188" y="73"/>
                      <a:pt x="191" y="71"/>
                      <a:pt x="192" y="72"/>
                    </a:cubicBezTo>
                    <a:cubicBezTo>
                      <a:pt x="194" y="73"/>
                      <a:pt x="193" y="76"/>
                      <a:pt x="192" y="78"/>
                    </a:cubicBezTo>
                    <a:cubicBezTo>
                      <a:pt x="191" y="80"/>
                      <a:pt x="190" y="83"/>
                      <a:pt x="188" y="83"/>
                    </a:cubicBezTo>
                    <a:cubicBezTo>
                      <a:pt x="186" y="84"/>
                      <a:pt x="185" y="81"/>
                      <a:pt x="184" y="80"/>
                    </a:cubicBezTo>
                    <a:cubicBezTo>
                      <a:pt x="182" y="80"/>
                      <a:pt x="182" y="83"/>
                      <a:pt x="181" y="83"/>
                    </a:cubicBezTo>
                    <a:cubicBezTo>
                      <a:pt x="179" y="82"/>
                      <a:pt x="178" y="80"/>
                      <a:pt x="176" y="80"/>
                    </a:cubicBezTo>
                    <a:cubicBezTo>
                      <a:pt x="174" y="79"/>
                      <a:pt x="171" y="79"/>
                      <a:pt x="169" y="81"/>
                    </a:cubicBezTo>
                    <a:cubicBezTo>
                      <a:pt x="168" y="82"/>
                      <a:pt x="171" y="84"/>
                      <a:pt x="169" y="85"/>
                    </a:cubicBezTo>
                    <a:cubicBezTo>
                      <a:pt x="167" y="86"/>
                      <a:pt x="165" y="84"/>
                      <a:pt x="164" y="83"/>
                    </a:cubicBezTo>
                    <a:cubicBezTo>
                      <a:pt x="163" y="83"/>
                      <a:pt x="161" y="82"/>
                      <a:pt x="161" y="83"/>
                    </a:cubicBezTo>
                    <a:cubicBezTo>
                      <a:pt x="161" y="84"/>
                      <a:pt x="162" y="85"/>
                      <a:pt x="162" y="87"/>
                    </a:cubicBezTo>
                    <a:cubicBezTo>
                      <a:pt x="163" y="89"/>
                      <a:pt x="161" y="92"/>
                      <a:pt x="162" y="94"/>
                    </a:cubicBezTo>
                    <a:cubicBezTo>
                      <a:pt x="162" y="95"/>
                      <a:pt x="164" y="93"/>
                      <a:pt x="165" y="92"/>
                    </a:cubicBezTo>
                    <a:cubicBezTo>
                      <a:pt x="167" y="91"/>
                      <a:pt x="167" y="90"/>
                      <a:pt x="169" y="89"/>
                    </a:cubicBezTo>
                    <a:cubicBezTo>
                      <a:pt x="170" y="88"/>
                      <a:pt x="172" y="88"/>
                      <a:pt x="174" y="88"/>
                    </a:cubicBezTo>
                    <a:cubicBezTo>
                      <a:pt x="175" y="89"/>
                      <a:pt x="176" y="90"/>
                      <a:pt x="176" y="91"/>
                    </a:cubicBezTo>
                    <a:cubicBezTo>
                      <a:pt x="176" y="93"/>
                      <a:pt x="176" y="96"/>
                      <a:pt x="175" y="98"/>
                    </a:cubicBezTo>
                    <a:cubicBezTo>
                      <a:pt x="173" y="100"/>
                      <a:pt x="169" y="101"/>
                      <a:pt x="167" y="101"/>
                    </a:cubicBezTo>
                    <a:cubicBezTo>
                      <a:pt x="163" y="102"/>
                      <a:pt x="160" y="103"/>
                      <a:pt x="156" y="102"/>
                    </a:cubicBezTo>
                    <a:cubicBezTo>
                      <a:pt x="153" y="102"/>
                      <a:pt x="150" y="101"/>
                      <a:pt x="147" y="100"/>
                    </a:cubicBezTo>
                    <a:cubicBezTo>
                      <a:pt x="146" y="100"/>
                      <a:pt x="145" y="100"/>
                      <a:pt x="144" y="100"/>
                    </a:cubicBezTo>
                    <a:cubicBezTo>
                      <a:pt x="143" y="100"/>
                      <a:pt x="141" y="101"/>
                      <a:pt x="141" y="100"/>
                    </a:cubicBezTo>
                    <a:cubicBezTo>
                      <a:pt x="140" y="99"/>
                      <a:pt x="142" y="96"/>
                      <a:pt x="141" y="95"/>
                    </a:cubicBezTo>
                    <a:cubicBezTo>
                      <a:pt x="140" y="94"/>
                      <a:pt x="138" y="95"/>
                      <a:pt x="136" y="94"/>
                    </a:cubicBezTo>
                    <a:cubicBezTo>
                      <a:pt x="134" y="94"/>
                      <a:pt x="132" y="95"/>
                      <a:pt x="130" y="94"/>
                    </a:cubicBezTo>
                    <a:cubicBezTo>
                      <a:pt x="129" y="94"/>
                      <a:pt x="129" y="93"/>
                      <a:pt x="128" y="92"/>
                    </a:cubicBezTo>
                    <a:cubicBezTo>
                      <a:pt x="128" y="91"/>
                      <a:pt x="129" y="90"/>
                      <a:pt x="128" y="89"/>
                    </a:cubicBezTo>
                    <a:cubicBezTo>
                      <a:pt x="128" y="89"/>
                      <a:pt x="127" y="88"/>
                      <a:pt x="127" y="88"/>
                    </a:cubicBezTo>
                    <a:cubicBezTo>
                      <a:pt x="124" y="89"/>
                      <a:pt x="122" y="91"/>
                      <a:pt x="120" y="92"/>
                    </a:cubicBezTo>
                    <a:cubicBezTo>
                      <a:pt x="117" y="94"/>
                      <a:pt x="116" y="96"/>
                      <a:pt x="113" y="98"/>
                    </a:cubicBezTo>
                    <a:cubicBezTo>
                      <a:pt x="111" y="99"/>
                      <a:pt x="108" y="99"/>
                      <a:pt x="105" y="99"/>
                    </a:cubicBezTo>
                    <a:cubicBezTo>
                      <a:pt x="104" y="100"/>
                      <a:pt x="102" y="99"/>
                      <a:pt x="100" y="99"/>
                    </a:cubicBezTo>
                    <a:cubicBezTo>
                      <a:pt x="97" y="100"/>
                      <a:pt x="96" y="102"/>
                      <a:pt x="94" y="103"/>
                    </a:cubicBezTo>
                    <a:cubicBezTo>
                      <a:pt x="92" y="104"/>
                      <a:pt x="90" y="105"/>
                      <a:pt x="89" y="105"/>
                    </a:cubicBezTo>
                    <a:cubicBezTo>
                      <a:pt x="87" y="106"/>
                      <a:pt x="85" y="107"/>
                      <a:pt x="82" y="107"/>
                    </a:cubicBezTo>
                    <a:cubicBezTo>
                      <a:pt x="79" y="107"/>
                      <a:pt x="76" y="106"/>
                      <a:pt x="73" y="107"/>
                    </a:cubicBezTo>
                    <a:cubicBezTo>
                      <a:pt x="71" y="107"/>
                      <a:pt x="68" y="108"/>
                      <a:pt x="66" y="108"/>
                    </a:cubicBezTo>
                    <a:cubicBezTo>
                      <a:pt x="61" y="108"/>
                      <a:pt x="56" y="109"/>
                      <a:pt x="51" y="108"/>
                    </a:cubicBezTo>
                    <a:cubicBezTo>
                      <a:pt x="49" y="108"/>
                      <a:pt x="47" y="106"/>
                      <a:pt x="45" y="105"/>
                    </a:cubicBezTo>
                    <a:cubicBezTo>
                      <a:pt x="44" y="103"/>
                      <a:pt x="43" y="101"/>
                      <a:pt x="43" y="99"/>
                    </a:cubicBezTo>
                    <a:cubicBezTo>
                      <a:pt x="43" y="98"/>
                      <a:pt x="45" y="96"/>
                      <a:pt x="45" y="94"/>
                    </a:cubicBezTo>
                    <a:cubicBezTo>
                      <a:pt x="44" y="93"/>
                      <a:pt x="41" y="93"/>
                      <a:pt x="40" y="92"/>
                    </a:cubicBezTo>
                    <a:cubicBezTo>
                      <a:pt x="36" y="92"/>
                      <a:pt x="32" y="93"/>
                      <a:pt x="28" y="92"/>
                    </a:cubicBezTo>
                    <a:cubicBezTo>
                      <a:pt x="25" y="92"/>
                      <a:pt x="23" y="91"/>
                      <a:pt x="20" y="90"/>
                    </a:cubicBezTo>
                    <a:cubicBezTo>
                      <a:pt x="18" y="89"/>
                      <a:pt x="16" y="90"/>
                      <a:pt x="15" y="89"/>
                    </a:cubicBezTo>
                    <a:cubicBezTo>
                      <a:pt x="14" y="88"/>
                      <a:pt x="15" y="87"/>
                      <a:pt x="14" y="86"/>
                    </a:cubicBezTo>
                    <a:cubicBezTo>
                      <a:pt x="13" y="83"/>
                      <a:pt x="10" y="82"/>
                      <a:pt x="9" y="80"/>
                    </a:cubicBezTo>
                    <a:cubicBezTo>
                      <a:pt x="9" y="78"/>
                      <a:pt x="8" y="77"/>
                      <a:pt x="9" y="76"/>
                    </a:cubicBezTo>
                    <a:cubicBezTo>
                      <a:pt x="11" y="74"/>
                      <a:pt x="14" y="74"/>
                      <a:pt x="17" y="73"/>
                    </a:cubicBezTo>
                    <a:cubicBezTo>
                      <a:pt x="20" y="72"/>
                      <a:pt x="23" y="72"/>
                      <a:pt x="26" y="71"/>
                    </a:cubicBezTo>
                    <a:cubicBezTo>
                      <a:pt x="30" y="71"/>
                      <a:pt x="33" y="71"/>
                      <a:pt x="36" y="71"/>
                    </a:cubicBezTo>
                    <a:cubicBezTo>
                      <a:pt x="38" y="70"/>
                      <a:pt x="40" y="69"/>
                      <a:pt x="42" y="69"/>
                    </a:cubicBezTo>
                    <a:cubicBezTo>
                      <a:pt x="46" y="68"/>
                      <a:pt x="49" y="69"/>
                      <a:pt x="52" y="69"/>
                    </a:cubicBezTo>
                    <a:cubicBezTo>
                      <a:pt x="54" y="69"/>
                      <a:pt x="56" y="69"/>
                      <a:pt x="57" y="69"/>
                    </a:cubicBezTo>
                    <a:cubicBezTo>
                      <a:pt x="60" y="70"/>
                      <a:pt x="63" y="71"/>
                      <a:pt x="66" y="71"/>
                    </a:cubicBezTo>
                    <a:cubicBezTo>
                      <a:pt x="67" y="71"/>
                      <a:pt x="68" y="70"/>
                      <a:pt x="69" y="70"/>
                    </a:cubicBezTo>
                    <a:cubicBezTo>
                      <a:pt x="71" y="69"/>
                      <a:pt x="74" y="70"/>
                      <a:pt x="76" y="70"/>
                    </a:cubicBezTo>
                    <a:cubicBezTo>
                      <a:pt x="77" y="70"/>
                      <a:pt x="77" y="68"/>
                      <a:pt x="76" y="67"/>
                    </a:cubicBezTo>
                    <a:cubicBezTo>
                      <a:pt x="73" y="66"/>
                      <a:pt x="69" y="65"/>
                      <a:pt x="65" y="64"/>
                    </a:cubicBezTo>
                    <a:cubicBezTo>
                      <a:pt x="61" y="63"/>
                      <a:pt x="57" y="62"/>
                      <a:pt x="53" y="61"/>
                    </a:cubicBezTo>
                    <a:cubicBezTo>
                      <a:pt x="51" y="60"/>
                      <a:pt x="49" y="59"/>
                      <a:pt x="47" y="59"/>
                    </a:cubicBezTo>
                    <a:cubicBezTo>
                      <a:pt x="44" y="60"/>
                      <a:pt x="43" y="62"/>
                      <a:pt x="40" y="63"/>
                    </a:cubicBezTo>
                    <a:cubicBezTo>
                      <a:pt x="36" y="64"/>
                      <a:pt x="33" y="63"/>
                      <a:pt x="29" y="63"/>
                    </a:cubicBezTo>
                    <a:cubicBezTo>
                      <a:pt x="25" y="62"/>
                      <a:pt x="22" y="61"/>
                      <a:pt x="19" y="61"/>
                    </a:cubicBezTo>
                    <a:cubicBezTo>
                      <a:pt x="16" y="60"/>
                      <a:pt x="14" y="61"/>
                      <a:pt x="12" y="61"/>
                    </a:cubicBezTo>
                    <a:cubicBezTo>
                      <a:pt x="10" y="60"/>
                      <a:pt x="8" y="59"/>
                      <a:pt x="7" y="57"/>
                    </a:cubicBezTo>
                    <a:cubicBezTo>
                      <a:pt x="6" y="56"/>
                      <a:pt x="6" y="55"/>
                      <a:pt x="7" y="54"/>
                    </a:cubicBezTo>
                    <a:cubicBezTo>
                      <a:pt x="9" y="52"/>
                      <a:pt x="12" y="51"/>
                      <a:pt x="15" y="50"/>
                    </a:cubicBezTo>
                    <a:cubicBezTo>
                      <a:pt x="17" y="49"/>
                      <a:pt x="20" y="48"/>
                      <a:pt x="23" y="48"/>
                    </a:cubicBezTo>
                    <a:cubicBezTo>
                      <a:pt x="25" y="47"/>
                      <a:pt x="27" y="48"/>
                      <a:pt x="29" y="47"/>
                    </a:cubicBezTo>
                    <a:cubicBezTo>
                      <a:pt x="31" y="47"/>
                      <a:pt x="32" y="46"/>
                      <a:pt x="34" y="46"/>
                    </a:cubicBezTo>
                    <a:cubicBezTo>
                      <a:pt x="36" y="45"/>
                      <a:pt x="38" y="46"/>
                      <a:pt x="40" y="45"/>
                    </a:cubicBezTo>
                    <a:cubicBezTo>
                      <a:pt x="41" y="45"/>
                      <a:pt x="43" y="44"/>
                      <a:pt x="42" y="43"/>
                    </a:cubicBezTo>
                    <a:cubicBezTo>
                      <a:pt x="40" y="42"/>
                      <a:pt x="38" y="43"/>
                      <a:pt x="35" y="43"/>
                    </a:cubicBezTo>
                    <a:cubicBezTo>
                      <a:pt x="33" y="43"/>
                      <a:pt x="30" y="44"/>
                      <a:pt x="28" y="44"/>
                    </a:cubicBezTo>
                    <a:cubicBezTo>
                      <a:pt x="24" y="45"/>
                      <a:pt x="21" y="47"/>
                      <a:pt x="17" y="47"/>
                    </a:cubicBezTo>
                    <a:cubicBezTo>
                      <a:pt x="17" y="47"/>
                      <a:pt x="17" y="45"/>
                      <a:pt x="16" y="45"/>
                    </a:cubicBezTo>
                    <a:cubicBezTo>
                      <a:pt x="14" y="45"/>
                      <a:pt x="14" y="47"/>
                      <a:pt x="13" y="47"/>
                    </a:cubicBezTo>
                    <a:cubicBezTo>
                      <a:pt x="11" y="48"/>
                      <a:pt x="9" y="48"/>
                      <a:pt x="9" y="47"/>
                    </a:cubicBezTo>
                    <a:cubicBezTo>
                      <a:pt x="9" y="45"/>
                      <a:pt x="13" y="45"/>
                      <a:pt x="13" y="42"/>
                    </a:cubicBezTo>
                    <a:cubicBezTo>
                      <a:pt x="14" y="42"/>
                      <a:pt x="12" y="41"/>
                      <a:pt x="11" y="41"/>
                    </a:cubicBezTo>
                    <a:cubicBezTo>
                      <a:pt x="9" y="40"/>
                      <a:pt x="6" y="41"/>
                      <a:pt x="4" y="41"/>
                    </a:cubicBezTo>
                    <a:cubicBezTo>
                      <a:pt x="3" y="41"/>
                      <a:pt x="1" y="42"/>
                      <a:pt x="1" y="41"/>
                    </a:cubicBezTo>
                    <a:cubicBezTo>
                      <a:pt x="0" y="39"/>
                      <a:pt x="0" y="37"/>
                      <a:pt x="1" y="36"/>
                    </a:cubicBezTo>
                    <a:cubicBezTo>
                      <a:pt x="4" y="33"/>
                      <a:pt x="8" y="33"/>
                      <a:pt x="11" y="31"/>
                    </a:cubicBezTo>
                    <a:cubicBezTo>
                      <a:pt x="12" y="30"/>
                      <a:pt x="15" y="28"/>
                      <a:pt x="16" y="26"/>
                    </a:cubicBezTo>
                    <a:cubicBezTo>
                      <a:pt x="16" y="25"/>
                      <a:pt x="15" y="24"/>
                      <a:pt x="14" y="24"/>
                    </a:cubicBezTo>
                    <a:cubicBezTo>
                      <a:pt x="14" y="23"/>
                      <a:pt x="12" y="22"/>
                      <a:pt x="13" y="21"/>
                    </a:cubicBezTo>
                    <a:cubicBezTo>
                      <a:pt x="14" y="18"/>
                      <a:pt x="17" y="17"/>
                      <a:pt x="19" y="15"/>
                    </a:cubicBezTo>
                    <a:cubicBezTo>
                      <a:pt x="21" y="14"/>
                      <a:pt x="23" y="14"/>
                      <a:pt x="25" y="13"/>
                    </a:cubicBezTo>
                    <a:cubicBezTo>
                      <a:pt x="29" y="11"/>
                      <a:pt x="34" y="9"/>
                      <a:pt x="39" y="7"/>
                    </a:cubicBezTo>
                    <a:cubicBezTo>
                      <a:pt x="41" y="6"/>
                      <a:pt x="43" y="6"/>
                      <a:pt x="46" y="5"/>
                    </a:cubicBezTo>
                    <a:cubicBezTo>
                      <a:pt x="49" y="4"/>
                      <a:pt x="52" y="2"/>
                      <a:pt x="55" y="1"/>
                    </a:cubicBezTo>
                    <a:cubicBezTo>
                      <a:pt x="57" y="0"/>
                      <a:pt x="60" y="0"/>
                      <a:pt x="62" y="1"/>
                    </a:cubicBezTo>
                    <a:cubicBezTo>
                      <a:pt x="64" y="1"/>
                      <a:pt x="66" y="1"/>
                      <a:pt x="67" y="3"/>
                    </a:cubicBezTo>
                    <a:cubicBezTo>
                      <a:pt x="67" y="5"/>
                      <a:pt x="65" y="7"/>
                      <a:pt x="65" y="10"/>
                    </a:cubicBezTo>
                    <a:cubicBezTo>
                      <a:pt x="64" y="10"/>
                      <a:pt x="66" y="12"/>
                      <a:pt x="65" y="12"/>
                    </a:cubicBezTo>
                    <a:cubicBezTo>
                      <a:pt x="64" y="13"/>
                      <a:pt x="62" y="13"/>
                      <a:pt x="61" y="14"/>
                    </a:cubicBezTo>
                    <a:cubicBezTo>
                      <a:pt x="59" y="15"/>
                      <a:pt x="56" y="16"/>
                      <a:pt x="55" y="19"/>
                    </a:cubicBezTo>
                    <a:cubicBezTo>
                      <a:pt x="55" y="20"/>
                      <a:pt x="57" y="19"/>
                      <a:pt x="58" y="19"/>
                    </a:cubicBezTo>
                    <a:cubicBezTo>
                      <a:pt x="60" y="19"/>
                      <a:pt x="62" y="17"/>
                      <a:pt x="64" y="17"/>
                    </a:cubicBezTo>
                    <a:cubicBezTo>
                      <a:pt x="66" y="17"/>
                      <a:pt x="69" y="19"/>
                      <a:pt x="71" y="19"/>
                    </a:cubicBezTo>
                    <a:cubicBezTo>
                      <a:pt x="72" y="18"/>
                      <a:pt x="70" y="17"/>
                      <a:pt x="70" y="16"/>
                    </a:cubicBezTo>
                    <a:cubicBezTo>
                      <a:pt x="72" y="13"/>
                      <a:pt x="73" y="9"/>
                      <a:pt x="76" y="8"/>
                    </a:cubicBezTo>
                    <a:cubicBezTo>
                      <a:pt x="79" y="7"/>
                      <a:pt x="82" y="10"/>
                      <a:pt x="85" y="11"/>
                    </a:cubicBezTo>
                    <a:cubicBezTo>
                      <a:pt x="88" y="12"/>
                      <a:pt x="91" y="12"/>
                      <a:pt x="93" y="14"/>
                    </a:cubicBezTo>
                    <a:cubicBezTo>
                      <a:pt x="94" y="15"/>
                      <a:pt x="94" y="17"/>
                      <a:pt x="93" y="18"/>
                    </a:cubicBezTo>
                    <a:cubicBezTo>
                      <a:pt x="90" y="21"/>
                      <a:pt x="85" y="23"/>
                      <a:pt x="82" y="26"/>
                    </a:cubicBezTo>
                    <a:cubicBezTo>
                      <a:pt x="81" y="26"/>
                      <a:pt x="84" y="26"/>
                      <a:pt x="84" y="26"/>
                    </a:cubicBezTo>
                    <a:cubicBezTo>
                      <a:pt x="86" y="26"/>
                      <a:pt x="87" y="27"/>
                      <a:pt x="89" y="27"/>
                    </a:cubicBezTo>
                    <a:cubicBezTo>
                      <a:pt x="90" y="26"/>
                      <a:pt x="89" y="24"/>
                      <a:pt x="90" y="24"/>
                    </a:cubicBezTo>
                    <a:cubicBezTo>
                      <a:pt x="91" y="24"/>
                      <a:pt x="92" y="26"/>
                      <a:pt x="94" y="26"/>
                    </a:cubicBezTo>
                    <a:cubicBezTo>
                      <a:pt x="95" y="25"/>
                      <a:pt x="95" y="22"/>
                      <a:pt x="96" y="21"/>
                    </a:cubicBezTo>
                    <a:cubicBezTo>
                      <a:pt x="98" y="19"/>
                      <a:pt x="99" y="18"/>
                      <a:pt x="101" y="18"/>
                    </a:cubicBezTo>
                    <a:cubicBezTo>
                      <a:pt x="103" y="18"/>
                      <a:pt x="104" y="21"/>
                      <a:pt x="106" y="20"/>
                    </a:cubicBezTo>
                    <a:cubicBezTo>
                      <a:pt x="108" y="19"/>
                      <a:pt x="108" y="17"/>
                      <a:pt x="108" y="15"/>
                    </a:cubicBezTo>
                    <a:cubicBezTo>
                      <a:pt x="108" y="13"/>
                      <a:pt x="104" y="12"/>
                      <a:pt x="105" y="10"/>
                    </a:cubicBezTo>
                    <a:cubicBezTo>
                      <a:pt x="105" y="9"/>
                      <a:pt x="107" y="9"/>
                      <a:pt x="109" y="9"/>
                    </a:cubicBezTo>
                    <a:cubicBezTo>
                      <a:pt x="112" y="10"/>
                      <a:pt x="115" y="11"/>
                      <a:pt x="117" y="13"/>
                    </a:cubicBezTo>
                    <a:cubicBezTo>
                      <a:pt x="119" y="16"/>
                      <a:pt x="122" y="19"/>
                      <a:pt x="122" y="22"/>
                    </a:cubicBezTo>
                    <a:cubicBezTo>
                      <a:pt x="122" y="25"/>
                      <a:pt x="118" y="27"/>
                      <a:pt x="118" y="30"/>
                    </a:cubicBezTo>
                    <a:cubicBezTo>
                      <a:pt x="118" y="33"/>
                      <a:pt x="121" y="36"/>
                      <a:pt x="123" y="38"/>
                    </a:cubicBezTo>
                    <a:cubicBezTo>
                      <a:pt x="124" y="39"/>
                      <a:pt x="125" y="40"/>
                      <a:pt x="127" y="40"/>
                    </a:cubicBezTo>
                    <a:cubicBezTo>
                      <a:pt x="129" y="40"/>
                      <a:pt x="132" y="38"/>
                      <a:pt x="133" y="36"/>
                    </a:cubicBezTo>
                    <a:cubicBezTo>
                      <a:pt x="134" y="35"/>
                      <a:pt x="133" y="33"/>
                      <a:pt x="132" y="31"/>
                    </a:cubicBezTo>
                    <a:cubicBezTo>
                      <a:pt x="131" y="30"/>
                      <a:pt x="129" y="30"/>
                      <a:pt x="128" y="28"/>
                    </a:cubicBezTo>
                    <a:cubicBezTo>
                      <a:pt x="128" y="23"/>
                      <a:pt x="130" y="17"/>
                      <a:pt x="130" y="12"/>
                    </a:cubicBezTo>
                    <a:cubicBezTo>
                      <a:pt x="131" y="9"/>
                      <a:pt x="131" y="5"/>
                      <a:pt x="132" y="2"/>
                    </a:cubicBezTo>
                    <a:cubicBezTo>
                      <a:pt x="133" y="1"/>
                      <a:pt x="135" y="1"/>
                      <a:pt x="136" y="2"/>
                    </a:cubicBezTo>
                    <a:cubicBezTo>
                      <a:pt x="138" y="2"/>
                      <a:pt x="140" y="5"/>
                      <a:pt x="142" y="5"/>
                    </a:cubicBezTo>
                    <a:cubicBezTo>
                      <a:pt x="144" y="5"/>
                      <a:pt x="143" y="2"/>
                      <a:pt x="144" y="2"/>
                    </a:cubicBezTo>
                    <a:cubicBezTo>
                      <a:pt x="147" y="3"/>
                      <a:pt x="150" y="6"/>
                      <a:pt x="153" y="8"/>
                    </a:cubicBezTo>
                    <a:cubicBezTo>
                      <a:pt x="155" y="9"/>
                      <a:pt x="158" y="10"/>
                      <a:pt x="159" y="1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1" name="Freeform 3572"/>
              <p:cNvSpPr>
                <a:spLocks noChangeAspect="1"/>
              </p:cNvSpPr>
              <p:nvPr/>
            </p:nvSpPr>
            <p:spPr bwMode="auto">
              <a:xfrm>
                <a:off x="1746633" y="1576881"/>
                <a:ext cx="250245" cy="154293"/>
              </a:xfrm>
              <a:custGeom>
                <a:avLst/>
                <a:gdLst>
                  <a:gd name="T0" fmla="*/ 153 w 128"/>
                  <a:gd name="T1" fmla="*/ 28 h 79"/>
                  <a:gd name="T2" fmla="*/ 151 w 128"/>
                  <a:gd name="T3" fmla="*/ 23 h 79"/>
                  <a:gd name="T4" fmla="*/ 141 w 128"/>
                  <a:gd name="T5" fmla="*/ 19 h 79"/>
                  <a:gd name="T6" fmla="*/ 133 w 128"/>
                  <a:gd name="T7" fmla="*/ 11 h 79"/>
                  <a:gd name="T8" fmla="*/ 123 w 128"/>
                  <a:gd name="T9" fmla="*/ 8 h 79"/>
                  <a:gd name="T10" fmla="*/ 116 w 128"/>
                  <a:gd name="T11" fmla="*/ 11 h 79"/>
                  <a:gd name="T12" fmla="*/ 110 w 128"/>
                  <a:gd name="T13" fmla="*/ 16 h 79"/>
                  <a:gd name="T14" fmla="*/ 106 w 128"/>
                  <a:gd name="T15" fmla="*/ 14 h 79"/>
                  <a:gd name="T16" fmla="*/ 106 w 128"/>
                  <a:gd name="T17" fmla="*/ 11 h 79"/>
                  <a:gd name="T18" fmla="*/ 103 w 128"/>
                  <a:gd name="T19" fmla="*/ 10 h 79"/>
                  <a:gd name="T20" fmla="*/ 100 w 128"/>
                  <a:gd name="T21" fmla="*/ 13 h 79"/>
                  <a:gd name="T22" fmla="*/ 98 w 128"/>
                  <a:gd name="T23" fmla="*/ 10 h 79"/>
                  <a:gd name="T24" fmla="*/ 87 w 128"/>
                  <a:gd name="T25" fmla="*/ 6 h 79"/>
                  <a:gd name="T26" fmla="*/ 80 w 128"/>
                  <a:gd name="T27" fmla="*/ 1 h 79"/>
                  <a:gd name="T28" fmla="*/ 69 w 128"/>
                  <a:gd name="T29" fmla="*/ 5 h 79"/>
                  <a:gd name="T30" fmla="*/ 53 w 128"/>
                  <a:gd name="T31" fmla="*/ 5 h 79"/>
                  <a:gd name="T32" fmla="*/ 37 w 128"/>
                  <a:gd name="T33" fmla="*/ 5 h 79"/>
                  <a:gd name="T34" fmla="*/ 35 w 128"/>
                  <a:gd name="T35" fmla="*/ 6 h 79"/>
                  <a:gd name="T36" fmla="*/ 38 w 128"/>
                  <a:gd name="T37" fmla="*/ 16 h 79"/>
                  <a:gd name="T38" fmla="*/ 39 w 128"/>
                  <a:gd name="T39" fmla="*/ 22 h 79"/>
                  <a:gd name="T40" fmla="*/ 38 w 128"/>
                  <a:gd name="T41" fmla="*/ 25 h 79"/>
                  <a:gd name="T42" fmla="*/ 35 w 128"/>
                  <a:gd name="T43" fmla="*/ 30 h 79"/>
                  <a:gd name="T44" fmla="*/ 25 w 128"/>
                  <a:gd name="T45" fmla="*/ 37 h 79"/>
                  <a:gd name="T46" fmla="*/ 23 w 128"/>
                  <a:gd name="T47" fmla="*/ 38 h 79"/>
                  <a:gd name="T48" fmla="*/ 26 w 128"/>
                  <a:gd name="T49" fmla="*/ 42 h 79"/>
                  <a:gd name="T50" fmla="*/ 23 w 128"/>
                  <a:gd name="T51" fmla="*/ 46 h 79"/>
                  <a:gd name="T52" fmla="*/ 19 w 128"/>
                  <a:gd name="T53" fmla="*/ 46 h 79"/>
                  <a:gd name="T54" fmla="*/ 17 w 128"/>
                  <a:gd name="T55" fmla="*/ 54 h 79"/>
                  <a:gd name="T56" fmla="*/ 13 w 128"/>
                  <a:gd name="T57" fmla="*/ 54 h 79"/>
                  <a:gd name="T58" fmla="*/ 6 w 128"/>
                  <a:gd name="T59" fmla="*/ 65 h 79"/>
                  <a:gd name="T60" fmla="*/ 4 w 128"/>
                  <a:gd name="T61" fmla="*/ 69 h 79"/>
                  <a:gd name="T62" fmla="*/ 0 w 128"/>
                  <a:gd name="T63" fmla="*/ 71 h 79"/>
                  <a:gd name="T64" fmla="*/ 4 w 128"/>
                  <a:gd name="T65" fmla="*/ 72 h 79"/>
                  <a:gd name="T66" fmla="*/ 12 w 128"/>
                  <a:gd name="T67" fmla="*/ 71 h 79"/>
                  <a:gd name="T68" fmla="*/ 18 w 128"/>
                  <a:gd name="T69" fmla="*/ 73 h 79"/>
                  <a:gd name="T70" fmla="*/ 23 w 128"/>
                  <a:gd name="T71" fmla="*/ 77 h 79"/>
                  <a:gd name="T72" fmla="*/ 25 w 128"/>
                  <a:gd name="T73" fmla="*/ 83 h 79"/>
                  <a:gd name="T74" fmla="*/ 27 w 128"/>
                  <a:gd name="T75" fmla="*/ 91 h 79"/>
                  <a:gd name="T76" fmla="*/ 35 w 128"/>
                  <a:gd name="T77" fmla="*/ 95 h 79"/>
                  <a:gd name="T78" fmla="*/ 38 w 128"/>
                  <a:gd name="T79" fmla="*/ 91 h 79"/>
                  <a:gd name="T80" fmla="*/ 49 w 128"/>
                  <a:gd name="T81" fmla="*/ 87 h 79"/>
                  <a:gd name="T82" fmla="*/ 50 w 128"/>
                  <a:gd name="T83" fmla="*/ 83 h 79"/>
                  <a:gd name="T84" fmla="*/ 53 w 128"/>
                  <a:gd name="T85" fmla="*/ 87 h 79"/>
                  <a:gd name="T86" fmla="*/ 60 w 128"/>
                  <a:gd name="T87" fmla="*/ 85 h 79"/>
                  <a:gd name="T88" fmla="*/ 66 w 128"/>
                  <a:gd name="T89" fmla="*/ 83 h 79"/>
                  <a:gd name="T90" fmla="*/ 71 w 128"/>
                  <a:gd name="T91" fmla="*/ 73 h 79"/>
                  <a:gd name="T92" fmla="*/ 71 w 128"/>
                  <a:gd name="T93" fmla="*/ 67 h 79"/>
                  <a:gd name="T94" fmla="*/ 78 w 128"/>
                  <a:gd name="T95" fmla="*/ 64 h 79"/>
                  <a:gd name="T96" fmla="*/ 87 w 128"/>
                  <a:gd name="T97" fmla="*/ 61 h 79"/>
                  <a:gd name="T98" fmla="*/ 94 w 128"/>
                  <a:gd name="T99" fmla="*/ 57 h 79"/>
                  <a:gd name="T100" fmla="*/ 96 w 128"/>
                  <a:gd name="T101" fmla="*/ 51 h 79"/>
                  <a:gd name="T102" fmla="*/ 110 w 128"/>
                  <a:gd name="T103" fmla="*/ 44 h 79"/>
                  <a:gd name="T104" fmla="*/ 122 w 128"/>
                  <a:gd name="T105" fmla="*/ 40 h 79"/>
                  <a:gd name="T106" fmla="*/ 131 w 128"/>
                  <a:gd name="T107" fmla="*/ 35 h 79"/>
                  <a:gd name="T108" fmla="*/ 139 w 128"/>
                  <a:gd name="T109" fmla="*/ 32 h 79"/>
                  <a:gd name="T110" fmla="*/ 148 w 128"/>
                  <a:gd name="T111" fmla="*/ 31 h 79"/>
                  <a:gd name="T112" fmla="*/ 153 w 128"/>
                  <a:gd name="T113" fmla="*/ 28 h 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28"/>
                  <a:gd name="T172" fmla="*/ 0 h 79"/>
                  <a:gd name="T173" fmla="*/ 128 w 128"/>
                  <a:gd name="T174" fmla="*/ 79 h 7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28" h="79">
                    <a:moveTo>
                      <a:pt x="128" y="23"/>
                    </a:moveTo>
                    <a:cubicBezTo>
                      <a:pt x="128" y="21"/>
                      <a:pt x="127" y="20"/>
                      <a:pt x="126" y="19"/>
                    </a:cubicBezTo>
                    <a:cubicBezTo>
                      <a:pt x="124" y="18"/>
                      <a:pt x="121" y="18"/>
                      <a:pt x="118" y="16"/>
                    </a:cubicBezTo>
                    <a:cubicBezTo>
                      <a:pt x="116" y="14"/>
                      <a:pt x="114" y="10"/>
                      <a:pt x="111" y="9"/>
                    </a:cubicBezTo>
                    <a:cubicBezTo>
                      <a:pt x="109" y="7"/>
                      <a:pt x="106" y="7"/>
                      <a:pt x="103" y="7"/>
                    </a:cubicBezTo>
                    <a:cubicBezTo>
                      <a:pt x="101" y="7"/>
                      <a:pt x="99" y="8"/>
                      <a:pt x="97" y="9"/>
                    </a:cubicBezTo>
                    <a:cubicBezTo>
                      <a:pt x="95" y="10"/>
                      <a:pt x="94" y="12"/>
                      <a:pt x="92" y="13"/>
                    </a:cubicBezTo>
                    <a:cubicBezTo>
                      <a:pt x="91" y="13"/>
                      <a:pt x="89" y="13"/>
                      <a:pt x="89" y="12"/>
                    </a:cubicBezTo>
                    <a:cubicBezTo>
                      <a:pt x="88" y="11"/>
                      <a:pt x="90" y="10"/>
                      <a:pt x="89" y="9"/>
                    </a:cubicBezTo>
                    <a:cubicBezTo>
                      <a:pt x="89" y="8"/>
                      <a:pt x="87" y="8"/>
                      <a:pt x="86" y="8"/>
                    </a:cubicBezTo>
                    <a:cubicBezTo>
                      <a:pt x="85" y="8"/>
                      <a:pt x="85" y="11"/>
                      <a:pt x="84" y="11"/>
                    </a:cubicBezTo>
                    <a:cubicBezTo>
                      <a:pt x="83" y="11"/>
                      <a:pt x="83" y="9"/>
                      <a:pt x="82" y="8"/>
                    </a:cubicBezTo>
                    <a:cubicBezTo>
                      <a:pt x="79" y="7"/>
                      <a:pt x="76" y="7"/>
                      <a:pt x="73" y="5"/>
                    </a:cubicBezTo>
                    <a:cubicBezTo>
                      <a:pt x="71" y="4"/>
                      <a:pt x="70" y="1"/>
                      <a:pt x="67" y="1"/>
                    </a:cubicBezTo>
                    <a:cubicBezTo>
                      <a:pt x="64" y="0"/>
                      <a:pt x="61" y="3"/>
                      <a:pt x="58" y="4"/>
                    </a:cubicBezTo>
                    <a:cubicBezTo>
                      <a:pt x="54" y="4"/>
                      <a:pt x="49" y="4"/>
                      <a:pt x="44" y="4"/>
                    </a:cubicBezTo>
                    <a:cubicBezTo>
                      <a:pt x="40" y="4"/>
                      <a:pt x="35" y="4"/>
                      <a:pt x="31" y="4"/>
                    </a:cubicBezTo>
                    <a:cubicBezTo>
                      <a:pt x="30" y="4"/>
                      <a:pt x="29" y="4"/>
                      <a:pt x="29" y="5"/>
                    </a:cubicBezTo>
                    <a:cubicBezTo>
                      <a:pt x="29" y="8"/>
                      <a:pt x="31" y="10"/>
                      <a:pt x="32" y="13"/>
                    </a:cubicBezTo>
                    <a:cubicBezTo>
                      <a:pt x="32" y="15"/>
                      <a:pt x="33" y="16"/>
                      <a:pt x="33" y="18"/>
                    </a:cubicBezTo>
                    <a:cubicBezTo>
                      <a:pt x="33" y="19"/>
                      <a:pt x="33" y="20"/>
                      <a:pt x="32" y="21"/>
                    </a:cubicBezTo>
                    <a:cubicBezTo>
                      <a:pt x="31" y="22"/>
                      <a:pt x="30" y="23"/>
                      <a:pt x="29" y="25"/>
                    </a:cubicBezTo>
                    <a:cubicBezTo>
                      <a:pt x="27" y="27"/>
                      <a:pt x="24" y="29"/>
                      <a:pt x="21" y="31"/>
                    </a:cubicBezTo>
                    <a:cubicBezTo>
                      <a:pt x="21" y="31"/>
                      <a:pt x="19" y="31"/>
                      <a:pt x="19" y="32"/>
                    </a:cubicBezTo>
                    <a:cubicBezTo>
                      <a:pt x="19" y="33"/>
                      <a:pt x="22" y="33"/>
                      <a:pt x="22" y="35"/>
                    </a:cubicBezTo>
                    <a:cubicBezTo>
                      <a:pt x="22" y="36"/>
                      <a:pt x="20" y="37"/>
                      <a:pt x="19" y="38"/>
                    </a:cubicBezTo>
                    <a:cubicBezTo>
                      <a:pt x="18" y="39"/>
                      <a:pt x="17" y="37"/>
                      <a:pt x="16" y="38"/>
                    </a:cubicBezTo>
                    <a:cubicBezTo>
                      <a:pt x="15" y="40"/>
                      <a:pt x="16" y="43"/>
                      <a:pt x="14" y="45"/>
                    </a:cubicBezTo>
                    <a:cubicBezTo>
                      <a:pt x="13" y="46"/>
                      <a:pt x="12" y="45"/>
                      <a:pt x="11" y="45"/>
                    </a:cubicBezTo>
                    <a:cubicBezTo>
                      <a:pt x="8" y="48"/>
                      <a:pt x="7" y="51"/>
                      <a:pt x="5" y="54"/>
                    </a:cubicBezTo>
                    <a:cubicBezTo>
                      <a:pt x="4" y="56"/>
                      <a:pt x="4" y="57"/>
                      <a:pt x="3" y="57"/>
                    </a:cubicBezTo>
                    <a:cubicBezTo>
                      <a:pt x="2" y="58"/>
                      <a:pt x="0" y="58"/>
                      <a:pt x="0" y="59"/>
                    </a:cubicBezTo>
                    <a:cubicBezTo>
                      <a:pt x="0" y="60"/>
                      <a:pt x="2" y="60"/>
                      <a:pt x="3" y="60"/>
                    </a:cubicBezTo>
                    <a:cubicBezTo>
                      <a:pt x="5" y="60"/>
                      <a:pt x="7" y="58"/>
                      <a:pt x="10" y="59"/>
                    </a:cubicBezTo>
                    <a:cubicBezTo>
                      <a:pt x="12" y="59"/>
                      <a:pt x="13" y="60"/>
                      <a:pt x="15" y="61"/>
                    </a:cubicBezTo>
                    <a:cubicBezTo>
                      <a:pt x="16" y="62"/>
                      <a:pt x="18" y="63"/>
                      <a:pt x="19" y="64"/>
                    </a:cubicBezTo>
                    <a:cubicBezTo>
                      <a:pt x="20" y="66"/>
                      <a:pt x="21" y="67"/>
                      <a:pt x="21" y="69"/>
                    </a:cubicBezTo>
                    <a:cubicBezTo>
                      <a:pt x="22" y="71"/>
                      <a:pt x="21" y="74"/>
                      <a:pt x="23" y="76"/>
                    </a:cubicBezTo>
                    <a:cubicBezTo>
                      <a:pt x="24" y="78"/>
                      <a:pt x="27" y="79"/>
                      <a:pt x="29" y="79"/>
                    </a:cubicBezTo>
                    <a:cubicBezTo>
                      <a:pt x="30" y="79"/>
                      <a:pt x="30" y="77"/>
                      <a:pt x="32" y="76"/>
                    </a:cubicBezTo>
                    <a:cubicBezTo>
                      <a:pt x="34" y="74"/>
                      <a:pt x="38" y="74"/>
                      <a:pt x="41" y="72"/>
                    </a:cubicBezTo>
                    <a:cubicBezTo>
                      <a:pt x="41" y="71"/>
                      <a:pt x="41" y="69"/>
                      <a:pt x="42" y="69"/>
                    </a:cubicBezTo>
                    <a:cubicBezTo>
                      <a:pt x="43" y="69"/>
                      <a:pt x="43" y="72"/>
                      <a:pt x="44" y="72"/>
                    </a:cubicBezTo>
                    <a:cubicBezTo>
                      <a:pt x="46" y="72"/>
                      <a:pt x="48" y="72"/>
                      <a:pt x="50" y="71"/>
                    </a:cubicBezTo>
                    <a:cubicBezTo>
                      <a:pt x="52" y="71"/>
                      <a:pt x="54" y="71"/>
                      <a:pt x="55" y="69"/>
                    </a:cubicBezTo>
                    <a:cubicBezTo>
                      <a:pt x="57" y="67"/>
                      <a:pt x="59" y="64"/>
                      <a:pt x="59" y="61"/>
                    </a:cubicBezTo>
                    <a:cubicBezTo>
                      <a:pt x="60" y="59"/>
                      <a:pt x="59" y="58"/>
                      <a:pt x="59" y="56"/>
                    </a:cubicBezTo>
                    <a:cubicBezTo>
                      <a:pt x="61" y="55"/>
                      <a:pt x="63" y="54"/>
                      <a:pt x="65" y="53"/>
                    </a:cubicBezTo>
                    <a:cubicBezTo>
                      <a:pt x="67" y="52"/>
                      <a:pt x="71" y="53"/>
                      <a:pt x="73" y="51"/>
                    </a:cubicBezTo>
                    <a:cubicBezTo>
                      <a:pt x="75" y="50"/>
                      <a:pt x="77" y="48"/>
                      <a:pt x="79" y="47"/>
                    </a:cubicBezTo>
                    <a:cubicBezTo>
                      <a:pt x="80" y="45"/>
                      <a:pt x="79" y="43"/>
                      <a:pt x="80" y="42"/>
                    </a:cubicBezTo>
                    <a:cubicBezTo>
                      <a:pt x="84" y="40"/>
                      <a:pt x="88" y="39"/>
                      <a:pt x="92" y="37"/>
                    </a:cubicBezTo>
                    <a:cubicBezTo>
                      <a:pt x="95" y="36"/>
                      <a:pt x="98" y="35"/>
                      <a:pt x="102" y="33"/>
                    </a:cubicBezTo>
                    <a:cubicBezTo>
                      <a:pt x="105" y="32"/>
                      <a:pt x="107" y="30"/>
                      <a:pt x="110" y="29"/>
                    </a:cubicBezTo>
                    <a:cubicBezTo>
                      <a:pt x="112" y="28"/>
                      <a:pt x="114" y="27"/>
                      <a:pt x="116" y="27"/>
                    </a:cubicBezTo>
                    <a:cubicBezTo>
                      <a:pt x="119" y="26"/>
                      <a:pt x="122" y="27"/>
                      <a:pt x="124" y="26"/>
                    </a:cubicBezTo>
                    <a:cubicBezTo>
                      <a:pt x="126" y="25"/>
                      <a:pt x="127" y="24"/>
                      <a:pt x="128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2" name="Freeform 3573"/>
              <p:cNvSpPr>
                <a:spLocks noChangeAspect="1"/>
              </p:cNvSpPr>
              <p:nvPr/>
            </p:nvSpPr>
            <p:spPr bwMode="auto">
              <a:xfrm>
                <a:off x="1970710" y="1472936"/>
                <a:ext cx="268236" cy="116937"/>
              </a:xfrm>
              <a:custGeom>
                <a:avLst/>
                <a:gdLst>
                  <a:gd name="T0" fmla="*/ 140 w 137"/>
                  <a:gd name="T1" fmla="*/ 29 h 60"/>
                  <a:gd name="T2" fmla="*/ 128 w 137"/>
                  <a:gd name="T3" fmla="*/ 31 h 60"/>
                  <a:gd name="T4" fmla="*/ 128 w 137"/>
                  <a:gd name="T5" fmla="*/ 20 h 60"/>
                  <a:gd name="T6" fmla="*/ 127 w 137"/>
                  <a:gd name="T7" fmla="*/ 12 h 60"/>
                  <a:gd name="T8" fmla="*/ 126 w 137"/>
                  <a:gd name="T9" fmla="*/ 0 h 60"/>
                  <a:gd name="T10" fmla="*/ 108 w 137"/>
                  <a:gd name="T11" fmla="*/ 11 h 60"/>
                  <a:gd name="T12" fmla="*/ 108 w 137"/>
                  <a:gd name="T13" fmla="*/ 19 h 60"/>
                  <a:gd name="T14" fmla="*/ 104 w 137"/>
                  <a:gd name="T15" fmla="*/ 28 h 60"/>
                  <a:gd name="T16" fmla="*/ 115 w 137"/>
                  <a:gd name="T17" fmla="*/ 32 h 60"/>
                  <a:gd name="T18" fmla="*/ 107 w 137"/>
                  <a:gd name="T19" fmla="*/ 37 h 60"/>
                  <a:gd name="T20" fmla="*/ 92 w 137"/>
                  <a:gd name="T21" fmla="*/ 35 h 60"/>
                  <a:gd name="T22" fmla="*/ 87 w 137"/>
                  <a:gd name="T23" fmla="*/ 31 h 60"/>
                  <a:gd name="T24" fmla="*/ 75 w 137"/>
                  <a:gd name="T25" fmla="*/ 31 h 60"/>
                  <a:gd name="T26" fmla="*/ 72 w 137"/>
                  <a:gd name="T27" fmla="*/ 20 h 60"/>
                  <a:gd name="T28" fmla="*/ 62 w 137"/>
                  <a:gd name="T29" fmla="*/ 17 h 60"/>
                  <a:gd name="T30" fmla="*/ 56 w 137"/>
                  <a:gd name="T31" fmla="*/ 13 h 60"/>
                  <a:gd name="T32" fmla="*/ 47 w 137"/>
                  <a:gd name="T33" fmla="*/ 11 h 60"/>
                  <a:gd name="T34" fmla="*/ 32 w 137"/>
                  <a:gd name="T35" fmla="*/ 17 h 60"/>
                  <a:gd name="T36" fmla="*/ 42 w 137"/>
                  <a:gd name="T37" fmla="*/ 19 h 60"/>
                  <a:gd name="T38" fmla="*/ 29 w 137"/>
                  <a:gd name="T39" fmla="*/ 19 h 60"/>
                  <a:gd name="T40" fmla="*/ 17 w 137"/>
                  <a:gd name="T41" fmla="*/ 29 h 60"/>
                  <a:gd name="T42" fmla="*/ 37 w 137"/>
                  <a:gd name="T43" fmla="*/ 28 h 60"/>
                  <a:gd name="T44" fmla="*/ 29 w 137"/>
                  <a:gd name="T45" fmla="*/ 30 h 60"/>
                  <a:gd name="T46" fmla="*/ 14 w 137"/>
                  <a:gd name="T47" fmla="*/ 31 h 60"/>
                  <a:gd name="T48" fmla="*/ 8 w 137"/>
                  <a:gd name="T49" fmla="*/ 38 h 60"/>
                  <a:gd name="T50" fmla="*/ 30 w 137"/>
                  <a:gd name="T51" fmla="*/ 35 h 60"/>
                  <a:gd name="T52" fmla="*/ 29 w 137"/>
                  <a:gd name="T53" fmla="*/ 38 h 60"/>
                  <a:gd name="T54" fmla="*/ 7 w 137"/>
                  <a:gd name="T55" fmla="*/ 42 h 60"/>
                  <a:gd name="T56" fmla="*/ 1 w 137"/>
                  <a:gd name="T57" fmla="*/ 47 h 60"/>
                  <a:gd name="T58" fmla="*/ 18 w 137"/>
                  <a:gd name="T59" fmla="*/ 47 h 60"/>
                  <a:gd name="T60" fmla="*/ 28 w 137"/>
                  <a:gd name="T61" fmla="*/ 53 h 60"/>
                  <a:gd name="T62" fmla="*/ 34 w 137"/>
                  <a:gd name="T63" fmla="*/ 48 h 60"/>
                  <a:gd name="T64" fmla="*/ 43 w 137"/>
                  <a:gd name="T65" fmla="*/ 50 h 60"/>
                  <a:gd name="T66" fmla="*/ 47 w 137"/>
                  <a:gd name="T67" fmla="*/ 44 h 60"/>
                  <a:gd name="T68" fmla="*/ 50 w 137"/>
                  <a:gd name="T69" fmla="*/ 47 h 60"/>
                  <a:gd name="T70" fmla="*/ 62 w 137"/>
                  <a:gd name="T71" fmla="*/ 49 h 60"/>
                  <a:gd name="T72" fmla="*/ 69 w 137"/>
                  <a:gd name="T73" fmla="*/ 49 h 60"/>
                  <a:gd name="T74" fmla="*/ 81 w 137"/>
                  <a:gd name="T75" fmla="*/ 47 h 60"/>
                  <a:gd name="T76" fmla="*/ 77 w 137"/>
                  <a:gd name="T77" fmla="*/ 54 h 60"/>
                  <a:gd name="T78" fmla="*/ 60 w 137"/>
                  <a:gd name="T79" fmla="*/ 55 h 60"/>
                  <a:gd name="T80" fmla="*/ 51 w 137"/>
                  <a:gd name="T81" fmla="*/ 58 h 60"/>
                  <a:gd name="T82" fmla="*/ 40 w 137"/>
                  <a:gd name="T83" fmla="*/ 65 h 60"/>
                  <a:gd name="T84" fmla="*/ 62 w 137"/>
                  <a:gd name="T85" fmla="*/ 71 h 60"/>
                  <a:gd name="T86" fmla="*/ 83 w 137"/>
                  <a:gd name="T87" fmla="*/ 65 h 60"/>
                  <a:gd name="T88" fmla="*/ 103 w 137"/>
                  <a:gd name="T89" fmla="*/ 56 h 60"/>
                  <a:gd name="T90" fmla="*/ 120 w 137"/>
                  <a:gd name="T91" fmla="*/ 56 h 60"/>
                  <a:gd name="T92" fmla="*/ 130 w 137"/>
                  <a:gd name="T93" fmla="*/ 58 h 60"/>
                  <a:gd name="T94" fmla="*/ 148 w 137"/>
                  <a:gd name="T95" fmla="*/ 50 h 60"/>
                  <a:gd name="T96" fmla="*/ 158 w 137"/>
                  <a:gd name="T97" fmla="*/ 42 h 60"/>
                  <a:gd name="T98" fmla="*/ 158 w 137"/>
                  <a:gd name="T99" fmla="*/ 26 h 60"/>
                  <a:gd name="T100" fmla="*/ 145 w 137"/>
                  <a:gd name="T101" fmla="*/ 26 h 6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37"/>
                  <a:gd name="T154" fmla="*/ 0 h 60"/>
                  <a:gd name="T155" fmla="*/ 137 w 137"/>
                  <a:gd name="T156" fmla="*/ 60 h 6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37" h="60">
                    <a:moveTo>
                      <a:pt x="119" y="29"/>
                    </a:moveTo>
                    <a:cubicBezTo>
                      <a:pt x="117" y="30"/>
                      <a:pt x="118" y="25"/>
                      <a:pt x="117" y="24"/>
                    </a:cubicBezTo>
                    <a:cubicBezTo>
                      <a:pt x="116" y="23"/>
                      <a:pt x="114" y="22"/>
                      <a:pt x="113" y="23"/>
                    </a:cubicBezTo>
                    <a:cubicBezTo>
                      <a:pt x="111" y="23"/>
                      <a:pt x="109" y="27"/>
                      <a:pt x="107" y="26"/>
                    </a:cubicBezTo>
                    <a:cubicBezTo>
                      <a:pt x="106" y="24"/>
                      <a:pt x="110" y="22"/>
                      <a:pt x="110" y="20"/>
                    </a:cubicBezTo>
                    <a:cubicBezTo>
                      <a:pt x="110" y="18"/>
                      <a:pt x="107" y="19"/>
                      <a:pt x="107" y="17"/>
                    </a:cubicBezTo>
                    <a:cubicBezTo>
                      <a:pt x="106" y="16"/>
                      <a:pt x="108" y="15"/>
                      <a:pt x="108" y="14"/>
                    </a:cubicBezTo>
                    <a:cubicBezTo>
                      <a:pt x="108" y="13"/>
                      <a:pt x="106" y="12"/>
                      <a:pt x="106" y="10"/>
                    </a:cubicBezTo>
                    <a:cubicBezTo>
                      <a:pt x="106" y="8"/>
                      <a:pt x="108" y="6"/>
                      <a:pt x="108" y="3"/>
                    </a:cubicBezTo>
                    <a:cubicBezTo>
                      <a:pt x="108" y="2"/>
                      <a:pt x="107" y="0"/>
                      <a:pt x="105" y="0"/>
                    </a:cubicBezTo>
                    <a:cubicBezTo>
                      <a:pt x="103" y="0"/>
                      <a:pt x="101" y="3"/>
                      <a:pt x="98" y="4"/>
                    </a:cubicBezTo>
                    <a:cubicBezTo>
                      <a:pt x="96" y="6"/>
                      <a:pt x="93" y="7"/>
                      <a:pt x="90" y="9"/>
                    </a:cubicBezTo>
                    <a:cubicBezTo>
                      <a:pt x="88" y="10"/>
                      <a:pt x="86" y="12"/>
                      <a:pt x="86" y="14"/>
                    </a:cubicBezTo>
                    <a:cubicBezTo>
                      <a:pt x="86" y="16"/>
                      <a:pt x="89" y="15"/>
                      <a:pt x="90" y="16"/>
                    </a:cubicBezTo>
                    <a:cubicBezTo>
                      <a:pt x="92" y="17"/>
                      <a:pt x="95" y="18"/>
                      <a:pt x="94" y="20"/>
                    </a:cubicBezTo>
                    <a:cubicBezTo>
                      <a:pt x="93" y="22"/>
                      <a:pt x="88" y="20"/>
                      <a:pt x="87" y="23"/>
                    </a:cubicBezTo>
                    <a:cubicBezTo>
                      <a:pt x="86" y="24"/>
                      <a:pt x="90" y="24"/>
                      <a:pt x="91" y="24"/>
                    </a:cubicBezTo>
                    <a:cubicBezTo>
                      <a:pt x="93" y="25"/>
                      <a:pt x="95" y="25"/>
                      <a:pt x="96" y="27"/>
                    </a:cubicBezTo>
                    <a:cubicBezTo>
                      <a:pt x="97" y="28"/>
                      <a:pt x="96" y="30"/>
                      <a:pt x="95" y="31"/>
                    </a:cubicBezTo>
                    <a:cubicBezTo>
                      <a:pt x="93" y="32"/>
                      <a:pt x="91" y="31"/>
                      <a:pt x="89" y="31"/>
                    </a:cubicBezTo>
                    <a:cubicBezTo>
                      <a:pt x="87" y="31"/>
                      <a:pt x="85" y="31"/>
                      <a:pt x="83" y="31"/>
                    </a:cubicBezTo>
                    <a:cubicBezTo>
                      <a:pt x="81" y="30"/>
                      <a:pt x="79" y="29"/>
                      <a:pt x="77" y="29"/>
                    </a:cubicBezTo>
                    <a:cubicBezTo>
                      <a:pt x="75" y="29"/>
                      <a:pt x="74" y="32"/>
                      <a:pt x="72" y="31"/>
                    </a:cubicBezTo>
                    <a:cubicBezTo>
                      <a:pt x="71" y="30"/>
                      <a:pt x="75" y="28"/>
                      <a:pt x="73" y="26"/>
                    </a:cubicBezTo>
                    <a:cubicBezTo>
                      <a:pt x="72" y="25"/>
                      <a:pt x="70" y="26"/>
                      <a:pt x="68" y="26"/>
                    </a:cubicBezTo>
                    <a:cubicBezTo>
                      <a:pt x="66" y="26"/>
                      <a:pt x="63" y="28"/>
                      <a:pt x="63" y="26"/>
                    </a:cubicBezTo>
                    <a:cubicBezTo>
                      <a:pt x="63" y="25"/>
                      <a:pt x="68" y="25"/>
                      <a:pt x="67" y="23"/>
                    </a:cubicBezTo>
                    <a:cubicBezTo>
                      <a:pt x="67" y="20"/>
                      <a:pt x="63" y="19"/>
                      <a:pt x="60" y="17"/>
                    </a:cubicBezTo>
                    <a:cubicBezTo>
                      <a:pt x="59" y="16"/>
                      <a:pt x="59" y="14"/>
                      <a:pt x="57" y="14"/>
                    </a:cubicBezTo>
                    <a:cubicBezTo>
                      <a:pt x="56" y="13"/>
                      <a:pt x="54" y="14"/>
                      <a:pt x="52" y="14"/>
                    </a:cubicBezTo>
                    <a:cubicBezTo>
                      <a:pt x="50" y="15"/>
                      <a:pt x="47" y="17"/>
                      <a:pt x="46" y="15"/>
                    </a:cubicBezTo>
                    <a:cubicBezTo>
                      <a:pt x="44" y="15"/>
                      <a:pt x="47" y="13"/>
                      <a:pt x="47" y="11"/>
                    </a:cubicBezTo>
                    <a:cubicBezTo>
                      <a:pt x="47" y="11"/>
                      <a:pt x="48" y="9"/>
                      <a:pt x="47" y="9"/>
                    </a:cubicBezTo>
                    <a:cubicBezTo>
                      <a:pt x="44" y="9"/>
                      <a:pt x="42" y="9"/>
                      <a:pt x="39" y="9"/>
                    </a:cubicBezTo>
                    <a:cubicBezTo>
                      <a:pt x="37" y="10"/>
                      <a:pt x="34" y="10"/>
                      <a:pt x="32" y="11"/>
                    </a:cubicBezTo>
                    <a:cubicBezTo>
                      <a:pt x="30" y="12"/>
                      <a:pt x="27" y="12"/>
                      <a:pt x="27" y="14"/>
                    </a:cubicBezTo>
                    <a:cubicBezTo>
                      <a:pt x="27" y="16"/>
                      <a:pt x="30" y="15"/>
                      <a:pt x="32" y="16"/>
                    </a:cubicBezTo>
                    <a:cubicBezTo>
                      <a:pt x="33" y="16"/>
                      <a:pt x="36" y="15"/>
                      <a:pt x="35" y="16"/>
                    </a:cubicBezTo>
                    <a:cubicBezTo>
                      <a:pt x="35" y="17"/>
                      <a:pt x="33" y="18"/>
                      <a:pt x="32" y="18"/>
                    </a:cubicBezTo>
                    <a:cubicBezTo>
                      <a:pt x="29" y="18"/>
                      <a:pt x="27" y="15"/>
                      <a:pt x="24" y="16"/>
                    </a:cubicBezTo>
                    <a:cubicBezTo>
                      <a:pt x="21" y="16"/>
                      <a:pt x="18" y="18"/>
                      <a:pt x="16" y="20"/>
                    </a:cubicBezTo>
                    <a:cubicBezTo>
                      <a:pt x="15" y="21"/>
                      <a:pt x="12" y="24"/>
                      <a:pt x="14" y="24"/>
                    </a:cubicBezTo>
                    <a:cubicBezTo>
                      <a:pt x="17" y="26"/>
                      <a:pt x="20" y="23"/>
                      <a:pt x="23" y="23"/>
                    </a:cubicBezTo>
                    <a:cubicBezTo>
                      <a:pt x="26" y="23"/>
                      <a:pt x="29" y="22"/>
                      <a:pt x="31" y="23"/>
                    </a:cubicBezTo>
                    <a:cubicBezTo>
                      <a:pt x="32" y="23"/>
                      <a:pt x="33" y="25"/>
                      <a:pt x="32" y="25"/>
                    </a:cubicBezTo>
                    <a:cubicBezTo>
                      <a:pt x="30" y="26"/>
                      <a:pt x="27" y="25"/>
                      <a:pt x="24" y="25"/>
                    </a:cubicBezTo>
                    <a:cubicBezTo>
                      <a:pt x="22" y="25"/>
                      <a:pt x="20" y="26"/>
                      <a:pt x="18" y="26"/>
                    </a:cubicBezTo>
                    <a:cubicBezTo>
                      <a:pt x="16" y="27"/>
                      <a:pt x="13" y="26"/>
                      <a:pt x="12" y="26"/>
                    </a:cubicBezTo>
                    <a:cubicBezTo>
                      <a:pt x="10" y="27"/>
                      <a:pt x="8" y="28"/>
                      <a:pt x="7" y="30"/>
                    </a:cubicBezTo>
                    <a:cubicBezTo>
                      <a:pt x="7" y="30"/>
                      <a:pt x="7" y="32"/>
                      <a:pt x="7" y="32"/>
                    </a:cubicBezTo>
                    <a:cubicBezTo>
                      <a:pt x="10" y="32"/>
                      <a:pt x="13" y="32"/>
                      <a:pt x="16" y="32"/>
                    </a:cubicBezTo>
                    <a:cubicBezTo>
                      <a:pt x="19" y="31"/>
                      <a:pt x="22" y="29"/>
                      <a:pt x="25" y="29"/>
                    </a:cubicBezTo>
                    <a:cubicBezTo>
                      <a:pt x="26" y="29"/>
                      <a:pt x="29" y="29"/>
                      <a:pt x="29" y="30"/>
                    </a:cubicBezTo>
                    <a:cubicBezTo>
                      <a:pt x="28" y="32"/>
                      <a:pt x="25" y="31"/>
                      <a:pt x="24" y="32"/>
                    </a:cubicBezTo>
                    <a:cubicBezTo>
                      <a:pt x="21" y="33"/>
                      <a:pt x="17" y="35"/>
                      <a:pt x="14" y="35"/>
                    </a:cubicBezTo>
                    <a:cubicBezTo>
                      <a:pt x="11" y="36"/>
                      <a:pt x="9" y="35"/>
                      <a:pt x="6" y="35"/>
                    </a:cubicBezTo>
                    <a:cubicBezTo>
                      <a:pt x="4" y="35"/>
                      <a:pt x="3" y="35"/>
                      <a:pt x="1" y="36"/>
                    </a:cubicBezTo>
                    <a:cubicBezTo>
                      <a:pt x="0" y="37"/>
                      <a:pt x="0" y="39"/>
                      <a:pt x="1" y="39"/>
                    </a:cubicBezTo>
                    <a:cubicBezTo>
                      <a:pt x="3" y="41"/>
                      <a:pt x="6" y="42"/>
                      <a:pt x="9" y="42"/>
                    </a:cubicBezTo>
                    <a:cubicBezTo>
                      <a:pt x="11" y="42"/>
                      <a:pt x="13" y="39"/>
                      <a:pt x="15" y="39"/>
                    </a:cubicBezTo>
                    <a:cubicBezTo>
                      <a:pt x="16" y="40"/>
                      <a:pt x="16" y="43"/>
                      <a:pt x="18" y="44"/>
                    </a:cubicBezTo>
                    <a:cubicBezTo>
                      <a:pt x="19" y="45"/>
                      <a:pt x="21" y="45"/>
                      <a:pt x="23" y="44"/>
                    </a:cubicBezTo>
                    <a:cubicBezTo>
                      <a:pt x="24" y="43"/>
                      <a:pt x="22" y="41"/>
                      <a:pt x="23" y="40"/>
                    </a:cubicBezTo>
                    <a:cubicBezTo>
                      <a:pt x="24" y="39"/>
                      <a:pt x="27" y="39"/>
                      <a:pt x="28" y="40"/>
                    </a:cubicBezTo>
                    <a:cubicBezTo>
                      <a:pt x="29" y="42"/>
                      <a:pt x="25" y="45"/>
                      <a:pt x="27" y="45"/>
                    </a:cubicBezTo>
                    <a:cubicBezTo>
                      <a:pt x="30" y="46"/>
                      <a:pt x="34" y="44"/>
                      <a:pt x="36" y="42"/>
                    </a:cubicBezTo>
                    <a:cubicBezTo>
                      <a:pt x="37" y="41"/>
                      <a:pt x="36" y="39"/>
                      <a:pt x="37" y="37"/>
                    </a:cubicBezTo>
                    <a:cubicBezTo>
                      <a:pt x="37" y="36"/>
                      <a:pt x="38" y="37"/>
                      <a:pt x="39" y="37"/>
                    </a:cubicBezTo>
                    <a:cubicBezTo>
                      <a:pt x="41" y="37"/>
                      <a:pt x="42" y="35"/>
                      <a:pt x="44" y="36"/>
                    </a:cubicBezTo>
                    <a:cubicBezTo>
                      <a:pt x="45" y="36"/>
                      <a:pt x="42" y="38"/>
                      <a:pt x="42" y="39"/>
                    </a:cubicBezTo>
                    <a:cubicBezTo>
                      <a:pt x="41" y="39"/>
                      <a:pt x="39" y="41"/>
                      <a:pt x="40" y="42"/>
                    </a:cubicBezTo>
                    <a:cubicBezTo>
                      <a:pt x="44" y="43"/>
                      <a:pt x="48" y="42"/>
                      <a:pt x="52" y="41"/>
                    </a:cubicBezTo>
                    <a:cubicBezTo>
                      <a:pt x="54" y="41"/>
                      <a:pt x="54" y="39"/>
                      <a:pt x="56" y="39"/>
                    </a:cubicBezTo>
                    <a:cubicBezTo>
                      <a:pt x="57" y="39"/>
                      <a:pt x="57" y="41"/>
                      <a:pt x="58" y="41"/>
                    </a:cubicBezTo>
                    <a:cubicBezTo>
                      <a:pt x="59" y="41"/>
                      <a:pt x="60" y="41"/>
                      <a:pt x="61" y="41"/>
                    </a:cubicBezTo>
                    <a:cubicBezTo>
                      <a:pt x="64" y="40"/>
                      <a:pt x="66" y="39"/>
                      <a:pt x="68" y="39"/>
                    </a:cubicBezTo>
                    <a:cubicBezTo>
                      <a:pt x="69" y="39"/>
                      <a:pt x="72" y="39"/>
                      <a:pt x="71" y="40"/>
                    </a:cubicBezTo>
                    <a:cubicBezTo>
                      <a:pt x="70" y="42"/>
                      <a:pt x="67" y="44"/>
                      <a:pt x="64" y="45"/>
                    </a:cubicBezTo>
                    <a:cubicBezTo>
                      <a:pt x="62" y="46"/>
                      <a:pt x="60" y="44"/>
                      <a:pt x="57" y="45"/>
                    </a:cubicBezTo>
                    <a:cubicBezTo>
                      <a:pt x="55" y="45"/>
                      <a:pt x="52" y="45"/>
                      <a:pt x="50" y="46"/>
                    </a:cubicBezTo>
                    <a:cubicBezTo>
                      <a:pt x="48" y="47"/>
                      <a:pt x="47" y="48"/>
                      <a:pt x="45" y="48"/>
                    </a:cubicBezTo>
                    <a:cubicBezTo>
                      <a:pt x="44" y="48"/>
                      <a:pt x="43" y="48"/>
                      <a:pt x="43" y="48"/>
                    </a:cubicBezTo>
                    <a:cubicBezTo>
                      <a:pt x="39" y="49"/>
                      <a:pt x="36" y="50"/>
                      <a:pt x="33" y="52"/>
                    </a:cubicBezTo>
                    <a:cubicBezTo>
                      <a:pt x="33" y="52"/>
                      <a:pt x="33" y="54"/>
                      <a:pt x="33" y="54"/>
                    </a:cubicBezTo>
                    <a:cubicBezTo>
                      <a:pt x="35" y="57"/>
                      <a:pt x="38" y="59"/>
                      <a:pt x="40" y="59"/>
                    </a:cubicBezTo>
                    <a:cubicBezTo>
                      <a:pt x="44" y="60"/>
                      <a:pt x="48" y="60"/>
                      <a:pt x="52" y="59"/>
                    </a:cubicBezTo>
                    <a:cubicBezTo>
                      <a:pt x="55" y="59"/>
                      <a:pt x="57" y="56"/>
                      <a:pt x="61" y="55"/>
                    </a:cubicBezTo>
                    <a:cubicBezTo>
                      <a:pt x="63" y="54"/>
                      <a:pt x="66" y="55"/>
                      <a:pt x="69" y="54"/>
                    </a:cubicBezTo>
                    <a:cubicBezTo>
                      <a:pt x="71" y="53"/>
                      <a:pt x="71" y="49"/>
                      <a:pt x="73" y="48"/>
                    </a:cubicBezTo>
                    <a:cubicBezTo>
                      <a:pt x="78" y="47"/>
                      <a:pt x="82" y="48"/>
                      <a:pt x="86" y="47"/>
                    </a:cubicBezTo>
                    <a:cubicBezTo>
                      <a:pt x="90" y="46"/>
                      <a:pt x="92" y="42"/>
                      <a:pt x="95" y="42"/>
                    </a:cubicBezTo>
                    <a:cubicBezTo>
                      <a:pt x="97" y="42"/>
                      <a:pt x="98" y="47"/>
                      <a:pt x="100" y="47"/>
                    </a:cubicBezTo>
                    <a:cubicBezTo>
                      <a:pt x="102" y="47"/>
                      <a:pt x="103" y="43"/>
                      <a:pt x="106" y="43"/>
                    </a:cubicBezTo>
                    <a:cubicBezTo>
                      <a:pt x="108" y="43"/>
                      <a:pt x="107" y="48"/>
                      <a:pt x="109" y="48"/>
                    </a:cubicBezTo>
                    <a:cubicBezTo>
                      <a:pt x="112" y="48"/>
                      <a:pt x="114" y="44"/>
                      <a:pt x="116" y="43"/>
                    </a:cubicBezTo>
                    <a:cubicBezTo>
                      <a:pt x="119" y="42"/>
                      <a:pt x="122" y="43"/>
                      <a:pt x="124" y="42"/>
                    </a:cubicBezTo>
                    <a:cubicBezTo>
                      <a:pt x="126" y="41"/>
                      <a:pt x="125" y="38"/>
                      <a:pt x="126" y="37"/>
                    </a:cubicBezTo>
                    <a:cubicBezTo>
                      <a:pt x="127" y="35"/>
                      <a:pt x="131" y="37"/>
                      <a:pt x="132" y="35"/>
                    </a:cubicBezTo>
                    <a:cubicBezTo>
                      <a:pt x="133" y="32"/>
                      <a:pt x="135" y="29"/>
                      <a:pt x="136" y="25"/>
                    </a:cubicBezTo>
                    <a:cubicBezTo>
                      <a:pt x="137" y="24"/>
                      <a:pt x="133" y="23"/>
                      <a:pt x="132" y="22"/>
                    </a:cubicBezTo>
                    <a:cubicBezTo>
                      <a:pt x="129" y="21"/>
                      <a:pt x="127" y="18"/>
                      <a:pt x="125" y="18"/>
                    </a:cubicBezTo>
                    <a:cubicBezTo>
                      <a:pt x="123" y="18"/>
                      <a:pt x="122" y="20"/>
                      <a:pt x="121" y="22"/>
                    </a:cubicBezTo>
                    <a:cubicBezTo>
                      <a:pt x="120" y="24"/>
                      <a:pt x="122" y="28"/>
                      <a:pt x="119" y="2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3" name="Freeform 3574"/>
              <p:cNvSpPr>
                <a:spLocks noChangeAspect="1"/>
              </p:cNvSpPr>
              <p:nvPr/>
            </p:nvSpPr>
            <p:spPr bwMode="auto">
              <a:xfrm>
                <a:off x="1874209" y="1443702"/>
                <a:ext cx="171737" cy="81207"/>
              </a:xfrm>
              <a:custGeom>
                <a:avLst/>
                <a:gdLst>
                  <a:gd name="T0" fmla="*/ 92 w 88"/>
                  <a:gd name="T1" fmla="*/ 0 h 42"/>
                  <a:gd name="T2" fmla="*/ 104 w 88"/>
                  <a:gd name="T3" fmla="*/ 7 h 42"/>
                  <a:gd name="T4" fmla="*/ 103 w 88"/>
                  <a:gd name="T5" fmla="*/ 10 h 42"/>
                  <a:gd name="T6" fmla="*/ 95 w 88"/>
                  <a:gd name="T7" fmla="*/ 12 h 42"/>
                  <a:gd name="T8" fmla="*/ 92 w 88"/>
                  <a:gd name="T9" fmla="*/ 12 h 42"/>
                  <a:gd name="T10" fmla="*/ 94 w 88"/>
                  <a:gd name="T11" fmla="*/ 20 h 42"/>
                  <a:gd name="T12" fmla="*/ 88 w 88"/>
                  <a:gd name="T13" fmla="*/ 20 h 42"/>
                  <a:gd name="T14" fmla="*/ 91 w 88"/>
                  <a:gd name="T15" fmla="*/ 25 h 42"/>
                  <a:gd name="T16" fmla="*/ 79 w 88"/>
                  <a:gd name="T17" fmla="*/ 26 h 42"/>
                  <a:gd name="T18" fmla="*/ 74 w 88"/>
                  <a:gd name="T19" fmla="*/ 35 h 42"/>
                  <a:gd name="T20" fmla="*/ 67 w 88"/>
                  <a:gd name="T21" fmla="*/ 37 h 42"/>
                  <a:gd name="T22" fmla="*/ 62 w 88"/>
                  <a:gd name="T23" fmla="*/ 31 h 42"/>
                  <a:gd name="T24" fmla="*/ 66 w 88"/>
                  <a:gd name="T25" fmla="*/ 25 h 42"/>
                  <a:gd name="T26" fmla="*/ 68 w 88"/>
                  <a:gd name="T27" fmla="*/ 21 h 42"/>
                  <a:gd name="T28" fmla="*/ 62 w 88"/>
                  <a:gd name="T29" fmla="*/ 23 h 42"/>
                  <a:gd name="T30" fmla="*/ 56 w 88"/>
                  <a:gd name="T31" fmla="*/ 29 h 42"/>
                  <a:gd name="T32" fmla="*/ 51 w 88"/>
                  <a:gd name="T33" fmla="*/ 30 h 42"/>
                  <a:gd name="T34" fmla="*/ 56 w 88"/>
                  <a:gd name="T35" fmla="*/ 36 h 42"/>
                  <a:gd name="T36" fmla="*/ 48 w 88"/>
                  <a:gd name="T37" fmla="*/ 39 h 42"/>
                  <a:gd name="T38" fmla="*/ 45 w 88"/>
                  <a:gd name="T39" fmla="*/ 38 h 42"/>
                  <a:gd name="T40" fmla="*/ 44 w 88"/>
                  <a:gd name="T41" fmla="*/ 36 h 42"/>
                  <a:gd name="T42" fmla="*/ 43 w 88"/>
                  <a:gd name="T43" fmla="*/ 38 h 42"/>
                  <a:gd name="T44" fmla="*/ 37 w 88"/>
                  <a:gd name="T45" fmla="*/ 48 h 42"/>
                  <a:gd name="T46" fmla="*/ 29 w 88"/>
                  <a:gd name="T47" fmla="*/ 48 h 42"/>
                  <a:gd name="T48" fmla="*/ 29 w 88"/>
                  <a:gd name="T49" fmla="*/ 38 h 42"/>
                  <a:gd name="T50" fmla="*/ 26 w 88"/>
                  <a:gd name="T51" fmla="*/ 37 h 42"/>
                  <a:gd name="T52" fmla="*/ 23 w 88"/>
                  <a:gd name="T53" fmla="*/ 45 h 42"/>
                  <a:gd name="T54" fmla="*/ 19 w 88"/>
                  <a:gd name="T55" fmla="*/ 45 h 42"/>
                  <a:gd name="T56" fmla="*/ 12 w 88"/>
                  <a:gd name="T57" fmla="*/ 42 h 42"/>
                  <a:gd name="T58" fmla="*/ 5 w 88"/>
                  <a:gd name="T59" fmla="*/ 46 h 42"/>
                  <a:gd name="T60" fmla="*/ 0 w 88"/>
                  <a:gd name="T61" fmla="*/ 43 h 42"/>
                  <a:gd name="T62" fmla="*/ 5 w 88"/>
                  <a:gd name="T63" fmla="*/ 36 h 42"/>
                  <a:gd name="T64" fmla="*/ 14 w 88"/>
                  <a:gd name="T65" fmla="*/ 32 h 42"/>
                  <a:gd name="T66" fmla="*/ 19 w 88"/>
                  <a:gd name="T67" fmla="*/ 33 h 42"/>
                  <a:gd name="T68" fmla="*/ 26 w 88"/>
                  <a:gd name="T69" fmla="*/ 25 h 42"/>
                  <a:gd name="T70" fmla="*/ 37 w 88"/>
                  <a:gd name="T71" fmla="*/ 20 h 42"/>
                  <a:gd name="T72" fmla="*/ 51 w 88"/>
                  <a:gd name="T73" fmla="*/ 11 h 42"/>
                  <a:gd name="T74" fmla="*/ 56 w 88"/>
                  <a:gd name="T75" fmla="*/ 6 h 42"/>
                  <a:gd name="T76" fmla="*/ 67 w 88"/>
                  <a:gd name="T77" fmla="*/ 5 h 42"/>
                  <a:gd name="T78" fmla="*/ 74 w 88"/>
                  <a:gd name="T79" fmla="*/ 5 h 42"/>
                  <a:gd name="T80" fmla="*/ 81 w 88"/>
                  <a:gd name="T81" fmla="*/ 8 h 42"/>
                  <a:gd name="T82" fmla="*/ 86 w 88"/>
                  <a:gd name="T83" fmla="*/ 7 h 42"/>
                  <a:gd name="T84" fmla="*/ 86 w 88"/>
                  <a:gd name="T85" fmla="*/ 2 h 42"/>
                  <a:gd name="T86" fmla="*/ 92 w 88"/>
                  <a:gd name="T87" fmla="*/ 0 h 4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88"/>
                  <a:gd name="T133" fmla="*/ 0 h 42"/>
                  <a:gd name="T134" fmla="*/ 88 w 88"/>
                  <a:gd name="T135" fmla="*/ 42 h 4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88" h="42">
                    <a:moveTo>
                      <a:pt x="77" y="0"/>
                    </a:moveTo>
                    <a:cubicBezTo>
                      <a:pt x="81" y="1"/>
                      <a:pt x="85" y="3"/>
                      <a:pt x="87" y="6"/>
                    </a:cubicBezTo>
                    <a:cubicBezTo>
                      <a:pt x="88" y="6"/>
                      <a:pt x="87" y="8"/>
                      <a:pt x="86" y="8"/>
                    </a:cubicBezTo>
                    <a:cubicBezTo>
                      <a:pt x="84" y="9"/>
                      <a:pt x="82" y="10"/>
                      <a:pt x="80" y="10"/>
                    </a:cubicBezTo>
                    <a:cubicBezTo>
                      <a:pt x="79" y="11"/>
                      <a:pt x="77" y="9"/>
                      <a:pt x="77" y="10"/>
                    </a:cubicBezTo>
                    <a:cubicBezTo>
                      <a:pt x="77" y="13"/>
                      <a:pt x="80" y="15"/>
                      <a:pt x="79" y="17"/>
                    </a:cubicBezTo>
                    <a:cubicBezTo>
                      <a:pt x="79" y="19"/>
                      <a:pt x="75" y="16"/>
                      <a:pt x="74" y="17"/>
                    </a:cubicBezTo>
                    <a:cubicBezTo>
                      <a:pt x="73" y="18"/>
                      <a:pt x="77" y="20"/>
                      <a:pt x="76" y="21"/>
                    </a:cubicBezTo>
                    <a:cubicBezTo>
                      <a:pt x="74" y="23"/>
                      <a:pt x="69" y="21"/>
                      <a:pt x="66" y="22"/>
                    </a:cubicBezTo>
                    <a:cubicBezTo>
                      <a:pt x="64" y="24"/>
                      <a:pt x="64" y="27"/>
                      <a:pt x="62" y="29"/>
                    </a:cubicBezTo>
                    <a:cubicBezTo>
                      <a:pt x="60" y="30"/>
                      <a:pt x="58" y="31"/>
                      <a:pt x="56" y="31"/>
                    </a:cubicBezTo>
                    <a:cubicBezTo>
                      <a:pt x="54" y="30"/>
                      <a:pt x="53" y="28"/>
                      <a:pt x="52" y="26"/>
                    </a:cubicBezTo>
                    <a:cubicBezTo>
                      <a:pt x="52" y="24"/>
                      <a:pt x="54" y="23"/>
                      <a:pt x="55" y="21"/>
                    </a:cubicBezTo>
                    <a:cubicBezTo>
                      <a:pt x="56" y="20"/>
                      <a:pt x="58" y="18"/>
                      <a:pt x="57" y="18"/>
                    </a:cubicBezTo>
                    <a:cubicBezTo>
                      <a:pt x="56" y="17"/>
                      <a:pt x="54" y="18"/>
                      <a:pt x="52" y="19"/>
                    </a:cubicBezTo>
                    <a:cubicBezTo>
                      <a:pt x="50" y="21"/>
                      <a:pt x="49" y="23"/>
                      <a:pt x="47" y="24"/>
                    </a:cubicBezTo>
                    <a:cubicBezTo>
                      <a:pt x="46" y="25"/>
                      <a:pt x="43" y="24"/>
                      <a:pt x="43" y="25"/>
                    </a:cubicBezTo>
                    <a:cubicBezTo>
                      <a:pt x="43" y="27"/>
                      <a:pt x="47" y="28"/>
                      <a:pt x="47" y="30"/>
                    </a:cubicBezTo>
                    <a:cubicBezTo>
                      <a:pt x="46" y="32"/>
                      <a:pt x="42" y="33"/>
                      <a:pt x="40" y="33"/>
                    </a:cubicBezTo>
                    <a:cubicBezTo>
                      <a:pt x="39" y="34"/>
                      <a:pt x="39" y="32"/>
                      <a:pt x="38" y="32"/>
                    </a:cubicBezTo>
                    <a:cubicBezTo>
                      <a:pt x="38" y="31"/>
                      <a:pt x="38" y="29"/>
                      <a:pt x="37" y="30"/>
                    </a:cubicBezTo>
                    <a:cubicBezTo>
                      <a:pt x="36" y="30"/>
                      <a:pt x="36" y="32"/>
                      <a:pt x="36" y="32"/>
                    </a:cubicBezTo>
                    <a:cubicBezTo>
                      <a:pt x="34" y="35"/>
                      <a:pt x="34" y="38"/>
                      <a:pt x="31" y="40"/>
                    </a:cubicBezTo>
                    <a:cubicBezTo>
                      <a:pt x="29" y="41"/>
                      <a:pt x="25" y="42"/>
                      <a:pt x="24" y="40"/>
                    </a:cubicBezTo>
                    <a:cubicBezTo>
                      <a:pt x="22" y="38"/>
                      <a:pt x="25" y="35"/>
                      <a:pt x="24" y="32"/>
                    </a:cubicBezTo>
                    <a:cubicBezTo>
                      <a:pt x="24" y="31"/>
                      <a:pt x="22" y="31"/>
                      <a:pt x="22" y="31"/>
                    </a:cubicBezTo>
                    <a:cubicBezTo>
                      <a:pt x="20" y="33"/>
                      <a:pt x="21" y="36"/>
                      <a:pt x="19" y="38"/>
                    </a:cubicBezTo>
                    <a:cubicBezTo>
                      <a:pt x="18" y="39"/>
                      <a:pt x="17" y="39"/>
                      <a:pt x="16" y="38"/>
                    </a:cubicBezTo>
                    <a:cubicBezTo>
                      <a:pt x="13" y="38"/>
                      <a:pt x="12" y="35"/>
                      <a:pt x="10" y="35"/>
                    </a:cubicBezTo>
                    <a:cubicBezTo>
                      <a:pt x="7" y="35"/>
                      <a:pt x="6" y="39"/>
                      <a:pt x="4" y="39"/>
                    </a:cubicBezTo>
                    <a:cubicBezTo>
                      <a:pt x="2" y="40"/>
                      <a:pt x="0" y="38"/>
                      <a:pt x="0" y="36"/>
                    </a:cubicBezTo>
                    <a:cubicBezTo>
                      <a:pt x="0" y="34"/>
                      <a:pt x="2" y="31"/>
                      <a:pt x="4" y="30"/>
                    </a:cubicBezTo>
                    <a:cubicBezTo>
                      <a:pt x="7" y="28"/>
                      <a:pt x="9" y="27"/>
                      <a:pt x="12" y="27"/>
                    </a:cubicBezTo>
                    <a:cubicBezTo>
                      <a:pt x="13" y="27"/>
                      <a:pt x="15" y="29"/>
                      <a:pt x="16" y="28"/>
                    </a:cubicBezTo>
                    <a:cubicBezTo>
                      <a:pt x="19" y="27"/>
                      <a:pt x="20" y="23"/>
                      <a:pt x="22" y="21"/>
                    </a:cubicBezTo>
                    <a:cubicBezTo>
                      <a:pt x="25" y="19"/>
                      <a:pt x="28" y="19"/>
                      <a:pt x="31" y="17"/>
                    </a:cubicBezTo>
                    <a:cubicBezTo>
                      <a:pt x="35" y="15"/>
                      <a:pt x="39" y="12"/>
                      <a:pt x="43" y="9"/>
                    </a:cubicBezTo>
                    <a:cubicBezTo>
                      <a:pt x="44" y="8"/>
                      <a:pt x="45" y="6"/>
                      <a:pt x="47" y="5"/>
                    </a:cubicBezTo>
                    <a:cubicBezTo>
                      <a:pt x="50" y="4"/>
                      <a:pt x="53" y="4"/>
                      <a:pt x="56" y="4"/>
                    </a:cubicBezTo>
                    <a:cubicBezTo>
                      <a:pt x="58" y="3"/>
                      <a:pt x="60" y="3"/>
                      <a:pt x="62" y="4"/>
                    </a:cubicBezTo>
                    <a:cubicBezTo>
                      <a:pt x="64" y="4"/>
                      <a:pt x="66" y="7"/>
                      <a:pt x="68" y="7"/>
                    </a:cubicBezTo>
                    <a:cubicBezTo>
                      <a:pt x="70" y="8"/>
                      <a:pt x="71" y="7"/>
                      <a:pt x="72" y="6"/>
                    </a:cubicBezTo>
                    <a:cubicBezTo>
                      <a:pt x="73" y="5"/>
                      <a:pt x="71" y="3"/>
                      <a:pt x="72" y="2"/>
                    </a:cubicBezTo>
                    <a:cubicBezTo>
                      <a:pt x="73" y="0"/>
                      <a:pt x="75" y="0"/>
                      <a:pt x="7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4" name="Freeform 3575"/>
              <p:cNvSpPr>
                <a:spLocks noChangeAspect="1"/>
              </p:cNvSpPr>
              <p:nvPr/>
            </p:nvSpPr>
            <p:spPr bwMode="auto">
              <a:xfrm>
                <a:off x="1941269" y="1510291"/>
                <a:ext cx="40890" cy="29234"/>
              </a:xfrm>
              <a:custGeom>
                <a:avLst/>
                <a:gdLst>
                  <a:gd name="T0" fmla="*/ 1 w 21"/>
                  <a:gd name="T1" fmla="*/ 11 h 15"/>
                  <a:gd name="T2" fmla="*/ 1 w 21"/>
                  <a:gd name="T3" fmla="*/ 13 h 15"/>
                  <a:gd name="T4" fmla="*/ 10 w 21"/>
                  <a:gd name="T5" fmla="*/ 18 h 15"/>
                  <a:gd name="T6" fmla="*/ 14 w 21"/>
                  <a:gd name="T7" fmla="*/ 12 h 15"/>
                  <a:gd name="T8" fmla="*/ 25 w 21"/>
                  <a:gd name="T9" fmla="*/ 4 h 15"/>
                  <a:gd name="T10" fmla="*/ 24 w 21"/>
                  <a:gd name="T11" fmla="*/ 1 h 15"/>
                  <a:gd name="T12" fmla="*/ 18 w 21"/>
                  <a:gd name="T13" fmla="*/ 4 h 15"/>
                  <a:gd name="T14" fmla="*/ 10 w 21"/>
                  <a:gd name="T15" fmla="*/ 6 h 15"/>
                  <a:gd name="T16" fmla="*/ 1 w 21"/>
                  <a:gd name="T17" fmla="*/ 11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15"/>
                  <a:gd name="T29" fmla="*/ 21 w 21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15">
                    <a:moveTo>
                      <a:pt x="1" y="9"/>
                    </a:moveTo>
                    <a:cubicBezTo>
                      <a:pt x="0" y="9"/>
                      <a:pt x="0" y="11"/>
                      <a:pt x="1" y="11"/>
                    </a:cubicBezTo>
                    <a:cubicBezTo>
                      <a:pt x="3" y="13"/>
                      <a:pt x="5" y="15"/>
                      <a:pt x="8" y="15"/>
                    </a:cubicBezTo>
                    <a:cubicBezTo>
                      <a:pt x="10" y="15"/>
                      <a:pt x="11" y="12"/>
                      <a:pt x="12" y="10"/>
                    </a:cubicBezTo>
                    <a:cubicBezTo>
                      <a:pt x="15" y="8"/>
                      <a:pt x="19" y="6"/>
                      <a:pt x="21" y="3"/>
                    </a:cubicBezTo>
                    <a:cubicBezTo>
                      <a:pt x="21" y="2"/>
                      <a:pt x="21" y="1"/>
                      <a:pt x="20" y="1"/>
                    </a:cubicBezTo>
                    <a:cubicBezTo>
                      <a:pt x="18" y="0"/>
                      <a:pt x="17" y="2"/>
                      <a:pt x="15" y="3"/>
                    </a:cubicBezTo>
                    <a:cubicBezTo>
                      <a:pt x="13" y="4"/>
                      <a:pt x="10" y="4"/>
                      <a:pt x="8" y="5"/>
                    </a:cubicBezTo>
                    <a:cubicBezTo>
                      <a:pt x="5" y="6"/>
                      <a:pt x="3" y="7"/>
                      <a:pt x="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5" name="Freeform 3576"/>
              <p:cNvSpPr>
                <a:spLocks noChangeAspect="1"/>
              </p:cNvSpPr>
              <p:nvPr/>
            </p:nvSpPr>
            <p:spPr bwMode="auto">
              <a:xfrm>
                <a:off x="2049218" y="1472936"/>
                <a:ext cx="31077" cy="9745"/>
              </a:xfrm>
              <a:custGeom>
                <a:avLst/>
                <a:gdLst>
                  <a:gd name="T0" fmla="*/ 2 w 16"/>
                  <a:gd name="T1" fmla="*/ 0 h 5"/>
                  <a:gd name="T2" fmla="*/ 1 w 16"/>
                  <a:gd name="T3" fmla="*/ 4 h 5"/>
                  <a:gd name="T4" fmla="*/ 15 w 16"/>
                  <a:gd name="T5" fmla="*/ 6 h 5"/>
                  <a:gd name="T6" fmla="*/ 19 w 16"/>
                  <a:gd name="T7" fmla="*/ 2 h 5"/>
                  <a:gd name="T8" fmla="*/ 13 w 16"/>
                  <a:gd name="T9" fmla="*/ 1 h 5"/>
                  <a:gd name="T10" fmla="*/ 7 w 16"/>
                  <a:gd name="T11" fmla="*/ 1 h 5"/>
                  <a:gd name="T12" fmla="*/ 2 w 16"/>
                  <a:gd name="T13" fmla="*/ 0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5"/>
                  <a:gd name="T23" fmla="*/ 16 w 16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5">
                    <a:moveTo>
                      <a:pt x="2" y="0"/>
                    </a:moveTo>
                    <a:cubicBezTo>
                      <a:pt x="1" y="1"/>
                      <a:pt x="0" y="3"/>
                      <a:pt x="1" y="3"/>
                    </a:cubicBezTo>
                    <a:cubicBezTo>
                      <a:pt x="4" y="5"/>
                      <a:pt x="9" y="5"/>
                      <a:pt x="13" y="5"/>
                    </a:cubicBezTo>
                    <a:cubicBezTo>
                      <a:pt x="14" y="5"/>
                      <a:pt x="16" y="3"/>
                      <a:pt x="16" y="2"/>
                    </a:cubicBezTo>
                    <a:cubicBezTo>
                      <a:pt x="15" y="1"/>
                      <a:pt x="13" y="1"/>
                      <a:pt x="11" y="1"/>
                    </a:cubicBezTo>
                    <a:cubicBezTo>
                      <a:pt x="9" y="0"/>
                      <a:pt x="7" y="1"/>
                      <a:pt x="6" y="1"/>
                    </a:cubicBezTo>
                    <a:cubicBezTo>
                      <a:pt x="4" y="1"/>
                      <a:pt x="3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6" name="Freeform 3577"/>
              <p:cNvSpPr>
                <a:spLocks noChangeAspect="1"/>
              </p:cNvSpPr>
              <p:nvPr/>
            </p:nvSpPr>
            <p:spPr bwMode="auto">
              <a:xfrm>
                <a:off x="2062302" y="1420964"/>
                <a:ext cx="27806" cy="19490"/>
              </a:xfrm>
              <a:custGeom>
                <a:avLst/>
                <a:gdLst>
                  <a:gd name="T0" fmla="*/ 0 w 14"/>
                  <a:gd name="T1" fmla="*/ 2 h 10"/>
                  <a:gd name="T2" fmla="*/ 0 w 14"/>
                  <a:gd name="T3" fmla="*/ 5 h 10"/>
                  <a:gd name="T4" fmla="*/ 7 w 14"/>
                  <a:gd name="T5" fmla="*/ 8 h 10"/>
                  <a:gd name="T6" fmla="*/ 10 w 14"/>
                  <a:gd name="T7" fmla="*/ 12 h 10"/>
                  <a:gd name="T8" fmla="*/ 16 w 14"/>
                  <a:gd name="T9" fmla="*/ 8 h 10"/>
                  <a:gd name="T10" fmla="*/ 13 w 14"/>
                  <a:gd name="T11" fmla="*/ 4 h 10"/>
                  <a:gd name="T12" fmla="*/ 11 w 14"/>
                  <a:gd name="T13" fmla="*/ 1 h 10"/>
                  <a:gd name="T14" fmla="*/ 4 w 14"/>
                  <a:gd name="T15" fmla="*/ 1 h 10"/>
                  <a:gd name="T16" fmla="*/ 0 w 14"/>
                  <a:gd name="T17" fmla="*/ 2 h 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"/>
                  <a:gd name="T28" fmla="*/ 0 h 10"/>
                  <a:gd name="T29" fmla="*/ 14 w 14"/>
                  <a:gd name="T30" fmla="*/ 10 h 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" h="10">
                    <a:moveTo>
                      <a:pt x="0" y="2"/>
                    </a:moveTo>
                    <a:cubicBezTo>
                      <a:pt x="0" y="3"/>
                      <a:pt x="0" y="4"/>
                      <a:pt x="0" y="4"/>
                    </a:cubicBezTo>
                    <a:cubicBezTo>
                      <a:pt x="2" y="6"/>
                      <a:pt x="4" y="6"/>
                      <a:pt x="6" y="7"/>
                    </a:cubicBezTo>
                    <a:cubicBezTo>
                      <a:pt x="7" y="8"/>
                      <a:pt x="7" y="10"/>
                      <a:pt x="8" y="10"/>
                    </a:cubicBezTo>
                    <a:cubicBezTo>
                      <a:pt x="10" y="9"/>
                      <a:pt x="13" y="9"/>
                      <a:pt x="13" y="7"/>
                    </a:cubicBezTo>
                    <a:cubicBezTo>
                      <a:pt x="14" y="6"/>
                      <a:pt x="12" y="4"/>
                      <a:pt x="11" y="3"/>
                    </a:cubicBezTo>
                    <a:cubicBezTo>
                      <a:pt x="10" y="2"/>
                      <a:pt x="10" y="1"/>
                      <a:pt x="9" y="1"/>
                    </a:cubicBezTo>
                    <a:cubicBezTo>
                      <a:pt x="7" y="0"/>
                      <a:pt x="5" y="1"/>
                      <a:pt x="3" y="1"/>
                    </a:cubicBezTo>
                    <a:cubicBezTo>
                      <a:pt x="2" y="1"/>
                      <a:pt x="1" y="1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7" name="Freeform 3578"/>
              <p:cNvSpPr>
                <a:spLocks noChangeAspect="1"/>
              </p:cNvSpPr>
              <p:nvPr/>
            </p:nvSpPr>
            <p:spPr bwMode="auto">
              <a:xfrm>
                <a:off x="2093378" y="1416091"/>
                <a:ext cx="83416" cy="40604"/>
              </a:xfrm>
              <a:custGeom>
                <a:avLst/>
                <a:gdLst>
                  <a:gd name="T0" fmla="*/ 2 w 42"/>
                  <a:gd name="T1" fmla="*/ 7 h 21"/>
                  <a:gd name="T2" fmla="*/ 0 w 42"/>
                  <a:gd name="T3" fmla="*/ 17 h 21"/>
                  <a:gd name="T4" fmla="*/ 6 w 42"/>
                  <a:gd name="T5" fmla="*/ 23 h 21"/>
                  <a:gd name="T6" fmla="*/ 12 w 42"/>
                  <a:gd name="T7" fmla="*/ 25 h 21"/>
                  <a:gd name="T8" fmla="*/ 23 w 42"/>
                  <a:gd name="T9" fmla="*/ 20 h 21"/>
                  <a:gd name="T10" fmla="*/ 29 w 42"/>
                  <a:gd name="T11" fmla="*/ 21 h 21"/>
                  <a:gd name="T12" fmla="*/ 34 w 42"/>
                  <a:gd name="T13" fmla="*/ 20 h 21"/>
                  <a:gd name="T14" fmla="*/ 41 w 42"/>
                  <a:gd name="T15" fmla="*/ 17 h 21"/>
                  <a:gd name="T16" fmla="*/ 41 w 42"/>
                  <a:gd name="T17" fmla="*/ 13 h 21"/>
                  <a:gd name="T18" fmla="*/ 34 w 42"/>
                  <a:gd name="T19" fmla="*/ 12 h 21"/>
                  <a:gd name="T20" fmla="*/ 29 w 42"/>
                  <a:gd name="T21" fmla="*/ 11 h 21"/>
                  <a:gd name="T22" fmla="*/ 36 w 42"/>
                  <a:gd name="T23" fmla="*/ 7 h 21"/>
                  <a:gd name="T24" fmla="*/ 46 w 42"/>
                  <a:gd name="T25" fmla="*/ 7 h 21"/>
                  <a:gd name="T26" fmla="*/ 50 w 42"/>
                  <a:gd name="T27" fmla="*/ 2 h 21"/>
                  <a:gd name="T28" fmla="*/ 45 w 42"/>
                  <a:gd name="T29" fmla="*/ 0 h 21"/>
                  <a:gd name="T30" fmla="*/ 32 w 42"/>
                  <a:gd name="T31" fmla="*/ 1 h 21"/>
                  <a:gd name="T32" fmla="*/ 19 w 42"/>
                  <a:gd name="T33" fmla="*/ 4 h 21"/>
                  <a:gd name="T34" fmla="*/ 11 w 42"/>
                  <a:gd name="T35" fmla="*/ 6 h 21"/>
                  <a:gd name="T36" fmla="*/ 2 w 42"/>
                  <a:gd name="T37" fmla="*/ 7 h 2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2"/>
                  <a:gd name="T58" fmla="*/ 0 h 21"/>
                  <a:gd name="T59" fmla="*/ 42 w 42"/>
                  <a:gd name="T60" fmla="*/ 21 h 21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2" h="21">
                    <a:moveTo>
                      <a:pt x="2" y="6"/>
                    </a:moveTo>
                    <a:cubicBezTo>
                      <a:pt x="0" y="8"/>
                      <a:pt x="0" y="11"/>
                      <a:pt x="0" y="14"/>
                    </a:cubicBezTo>
                    <a:cubicBezTo>
                      <a:pt x="1" y="16"/>
                      <a:pt x="3" y="18"/>
                      <a:pt x="5" y="19"/>
                    </a:cubicBezTo>
                    <a:cubicBezTo>
                      <a:pt x="7" y="20"/>
                      <a:pt x="9" y="21"/>
                      <a:pt x="10" y="21"/>
                    </a:cubicBezTo>
                    <a:cubicBezTo>
                      <a:pt x="13" y="20"/>
                      <a:pt x="16" y="17"/>
                      <a:pt x="19" y="17"/>
                    </a:cubicBezTo>
                    <a:cubicBezTo>
                      <a:pt x="21" y="17"/>
                      <a:pt x="22" y="18"/>
                      <a:pt x="24" y="18"/>
                    </a:cubicBezTo>
                    <a:cubicBezTo>
                      <a:pt x="26" y="19"/>
                      <a:pt x="27" y="18"/>
                      <a:pt x="28" y="17"/>
                    </a:cubicBezTo>
                    <a:cubicBezTo>
                      <a:pt x="30" y="17"/>
                      <a:pt x="32" y="16"/>
                      <a:pt x="34" y="14"/>
                    </a:cubicBezTo>
                    <a:cubicBezTo>
                      <a:pt x="34" y="13"/>
                      <a:pt x="35" y="12"/>
                      <a:pt x="34" y="11"/>
                    </a:cubicBezTo>
                    <a:cubicBezTo>
                      <a:pt x="32" y="10"/>
                      <a:pt x="30" y="11"/>
                      <a:pt x="28" y="10"/>
                    </a:cubicBezTo>
                    <a:cubicBezTo>
                      <a:pt x="27" y="10"/>
                      <a:pt x="23" y="10"/>
                      <a:pt x="24" y="9"/>
                    </a:cubicBezTo>
                    <a:cubicBezTo>
                      <a:pt x="25" y="7"/>
                      <a:pt x="28" y="7"/>
                      <a:pt x="30" y="6"/>
                    </a:cubicBezTo>
                    <a:cubicBezTo>
                      <a:pt x="33" y="6"/>
                      <a:pt x="35" y="6"/>
                      <a:pt x="38" y="6"/>
                    </a:cubicBezTo>
                    <a:cubicBezTo>
                      <a:pt x="39" y="5"/>
                      <a:pt x="42" y="4"/>
                      <a:pt x="41" y="2"/>
                    </a:cubicBezTo>
                    <a:cubicBezTo>
                      <a:pt x="41" y="1"/>
                      <a:pt x="39" y="1"/>
                      <a:pt x="37" y="0"/>
                    </a:cubicBezTo>
                    <a:cubicBezTo>
                      <a:pt x="33" y="0"/>
                      <a:pt x="30" y="1"/>
                      <a:pt x="26" y="1"/>
                    </a:cubicBezTo>
                    <a:cubicBezTo>
                      <a:pt x="23" y="2"/>
                      <a:pt x="20" y="2"/>
                      <a:pt x="16" y="3"/>
                    </a:cubicBezTo>
                    <a:cubicBezTo>
                      <a:pt x="14" y="4"/>
                      <a:pt x="11" y="4"/>
                      <a:pt x="9" y="5"/>
                    </a:cubicBezTo>
                    <a:cubicBezTo>
                      <a:pt x="6" y="6"/>
                      <a:pt x="4" y="5"/>
                      <a:pt x="2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8" name="Freeform 3579"/>
              <p:cNvSpPr>
                <a:spLocks noChangeAspect="1"/>
              </p:cNvSpPr>
              <p:nvPr/>
            </p:nvSpPr>
            <p:spPr bwMode="auto">
              <a:xfrm>
                <a:off x="2103192" y="1385233"/>
                <a:ext cx="78508" cy="25986"/>
              </a:xfrm>
              <a:custGeom>
                <a:avLst/>
                <a:gdLst>
                  <a:gd name="T0" fmla="*/ 42 w 40"/>
                  <a:gd name="T1" fmla="*/ 1 h 13"/>
                  <a:gd name="T2" fmla="*/ 47 w 40"/>
                  <a:gd name="T3" fmla="*/ 7 h 13"/>
                  <a:gd name="T4" fmla="*/ 47 w 40"/>
                  <a:gd name="T5" fmla="*/ 15 h 13"/>
                  <a:gd name="T6" fmla="*/ 42 w 40"/>
                  <a:gd name="T7" fmla="*/ 15 h 13"/>
                  <a:gd name="T8" fmla="*/ 36 w 40"/>
                  <a:gd name="T9" fmla="*/ 15 h 13"/>
                  <a:gd name="T10" fmla="*/ 29 w 40"/>
                  <a:gd name="T11" fmla="*/ 12 h 13"/>
                  <a:gd name="T12" fmla="*/ 25 w 40"/>
                  <a:gd name="T13" fmla="*/ 16 h 13"/>
                  <a:gd name="T14" fmla="*/ 20 w 40"/>
                  <a:gd name="T15" fmla="*/ 15 h 13"/>
                  <a:gd name="T16" fmla="*/ 16 w 40"/>
                  <a:gd name="T17" fmla="*/ 11 h 13"/>
                  <a:gd name="T18" fmla="*/ 7 w 40"/>
                  <a:gd name="T19" fmla="*/ 15 h 13"/>
                  <a:gd name="T20" fmla="*/ 1 w 40"/>
                  <a:gd name="T21" fmla="*/ 15 h 13"/>
                  <a:gd name="T22" fmla="*/ 2 w 40"/>
                  <a:gd name="T23" fmla="*/ 10 h 13"/>
                  <a:gd name="T24" fmla="*/ 18 w 40"/>
                  <a:gd name="T25" fmla="*/ 6 h 13"/>
                  <a:gd name="T26" fmla="*/ 25 w 40"/>
                  <a:gd name="T27" fmla="*/ 6 h 13"/>
                  <a:gd name="T28" fmla="*/ 34 w 40"/>
                  <a:gd name="T29" fmla="*/ 1 h 13"/>
                  <a:gd name="T30" fmla="*/ 42 w 40"/>
                  <a:gd name="T31" fmla="*/ 1 h 1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0"/>
                  <a:gd name="T49" fmla="*/ 0 h 13"/>
                  <a:gd name="T50" fmla="*/ 40 w 40"/>
                  <a:gd name="T51" fmla="*/ 13 h 1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0" h="13">
                    <a:moveTo>
                      <a:pt x="35" y="1"/>
                    </a:moveTo>
                    <a:cubicBezTo>
                      <a:pt x="37" y="2"/>
                      <a:pt x="39" y="4"/>
                      <a:pt x="39" y="6"/>
                    </a:cubicBezTo>
                    <a:cubicBezTo>
                      <a:pt x="40" y="8"/>
                      <a:pt x="40" y="11"/>
                      <a:pt x="39" y="12"/>
                    </a:cubicBezTo>
                    <a:cubicBezTo>
                      <a:pt x="38" y="13"/>
                      <a:pt x="36" y="12"/>
                      <a:pt x="35" y="12"/>
                    </a:cubicBezTo>
                    <a:cubicBezTo>
                      <a:pt x="33" y="12"/>
                      <a:pt x="31" y="13"/>
                      <a:pt x="30" y="12"/>
                    </a:cubicBezTo>
                    <a:cubicBezTo>
                      <a:pt x="28" y="12"/>
                      <a:pt x="26" y="9"/>
                      <a:pt x="24" y="10"/>
                    </a:cubicBezTo>
                    <a:cubicBezTo>
                      <a:pt x="23" y="10"/>
                      <a:pt x="22" y="12"/>
                      <a:pt x="21" y="13"/>
                    </a:cubicBezTo>
                    <a:cubicBezTo>
                      <a:pt x="19" y="13"/>
                      <a:pt x="18" y="12"/>
                      <a:pt x="17" y="12"/>
                    </a:cubicBezTo>
                    <a:cubicBezTo>
                      <a:pt x="15" y="11"/>
                      <a:pt x="15" y="9"/>
                      <a:pt x="13" y="9"/>
                    </a:cubicBezTo>
                    <a:cubicBezTo>
                      <a:pt x="10" y="9"/>
                      <a:pt x="9" y="11"/>
                      <a:pt x="6" y="12"/>
                    </a:cubicBezTo>
                    <a:cubicBezTo>
                      <a:pt x="5" y="13"/>
                      <a:pt x="2" y="13"/>
                      <a:pt x="1" y="12"/>
                    </a:cubicBezTo>
                    <a:cubicBezTo>
                      <a:pt x="0" y="11"/>
                      <a:pt x="1" y="9"/>
                      <a:pt x="2" y="8"/>
                    </a:cubicBezTo>
                    <a:cubicBezTo>
                      <a:pt x="6" y="6"/>
                      <a:pt x="11" y="6"/>
                      <a:pt x="15" y="5"/>
                    </a:cubicBezTo>
                    <a:cubicBezTo>
                      <a:pt x="17" y="5"/>
                      <a:pt x="19" y="5"/>
                      <a:pt x="21" y="5"/>
                    </a:cubicBezTo>
                    <a:cubicBezTo>
                      <a:pt x="24" y="4"/>
                      <a:pt x="26" y="2"/>
                      <a:pt x="28" y="1"/>
                    </a:cubicBezTo>
                    <a:cubicBezTo>
                      <a:pt x="30" y="0"/>
                      <a:pt x="33" y="0"/>
                      <a:pt x="3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69" name="Freeform 3580"/>
              <p:cNvSpPr>
                <a:spLocks noChangeAspect="1"/>
              </p:cNvSpPr>
              <p:nvPr/>
            </p:nvSpPr>
            <p:spPr bwMode="auto">
              <a:xfrm>
                <a:off x="2235675" y="1537901"/>
                <a:ext cx="29441" cy="22738"/>
              </a:xfrm>
              <a:custGeom>
                <a:avLst/>
                <a:gdLst>
                  <a:gd name="T0" fmla="*/ 8 w 15"/>
                  <a:gd name="T1" fmla="*/ 1 h 12"/>
                  <a:gd name="T2" fmla="*/ 14 w 15"/>
                  <a:gd name="T3" fmla="*/ 1 h 12"/>
                  <a:gd name="T4" fmla="*/ 17 w 15"/>
                  <a:gd name="T5" fmla="*/ 9 h 12"/>
                  <a:gd name="T6" fmla="*/ 11 w 15"/>
                  <a:gd name="T7" fmla="*/ 14 h 12"/>
                  <a:gd name="T8" fmla="*/ 5 w 15"/>
                  <a:gd name="T9" fmla="*/ 12 h 12"/>
                  <a:gd name="T10" fmla="*/ 0 w 15"/>
                  <a:gd name="T11" fmla="*/ 9 h 12"/>
                  <a:gd name="T12" fmla="*/ 5 w 15"/>
                  <a:gd name="T13" fmla="*/ 2 h 12"/>
                  <a:gd name="T14" fmla="*/ 8 w 15"/>
                  <a:gd name="T15" fmla="*/ 1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12"/>
                  <a:gd name="T26" fmla="*/ 15 w 15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12">
                    <a:moveTo>
                      <a:pt x="7" y="1"/>
                    </a:moveTo>
                    <a:cubicBezTo>
                      <a:pt x="9" y="1"/>
                      <a:pt x="11" y="0"/>
                      <a:pt x="12" y="1"/>
                    </a:cubicBezTo>
                    <a:cubicBezTo>
                      <a:pt x="14" y="3"/>
                      <a:pt x="15" y="6"/>
                      <a:pt x="14" y="8"/>
                    </a:cubicBezTo>
                    <a:cubicBezTo>
                      <a:pt x="14" y="10"/>
                      <a:pt x="11" y="11"/>
                      <a:pt x="9" y="12"/>
                    </a:cubicBezTo>
                    <a:cubicBezTo>
                      <a:pt x="7" y="12"/>
                      <a:pt x="5" y="11"/>
                      <a:pt x="4" y="10"/>
                    </a:cubicBezTo>
                    <a:cubicBezTo>
                      <a:pt x="2" y="9"/>
                      <a:pt x="0" y="9"/>
                      <a:pt x="0" y="8"/>
                    </a:cubicBezTo>
                    <a:cubicBezTo>
                      <a:pt x="1" y="5"/>
                      <a:pt x="3" y="3"/>
                      <a:pt x="4" y="2"/>
                    </a:cubicBezTo>
                    <a:cubicBezTo>
                      <a:pt x="5" y="1"/>
                      <a:pt x="6" y="1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0" name="Freeform 3581"/>
              <p:cNvSpPr>
                <a:spLocks noChangeAspect="1"/>
              </p:cNvSpPr>
              <p:nvPr/>
            </p:nvSpPr>
            <p:spPr bwMode="auto">
              <a:xfrm>
                <a:off x="2247123" y="1432332"/>
                <a:ext cx="29441" cy="32483"/>
              </a:xfrm>
              <a:custGeom>
                <a:avLst/>
                <a:gdLst>
                  <a:gd name="T0" fmla="*/ 4 w 15"/>
                  <a:gd name="T1" fmla="*/ 1 h 17"/>
                  <a:gd name="T2" fmla="*/ 12 w 15"/>
                  <a:gd name="T3" fmla="*/ 7 h 17"/>
                  <a:gd name="T4" fmla="*/ 18 w 15"/>
                  <a:gd name="T5" fmla="*/ 15 h 17"/>
                  <a:gd name="T6" fmla="*/ 12 w 15"/>
                  <a:gd name="T7" fmla="*/ 19 h 17"/>
                  <a:gd name="T8" fmla="*/ 6 w 15"/>
                  <a:gd name="T9" fmla="*/ 13 h 17"/>
                  <a:gd name="T10" fmla="*/ 0 w 15"/>
                  <a:gd name="T11" fmla="*/ 4 h 17"/>
                  <a:gd name="T12" fmla="*/ 0 w 15"/>
                  <a:gd name="T13" fmla="*/ 1 h 17"/>
                  <a:gd name="T14" fmla="*/ 4 w 15"/>
                  <a:gd name="T15" fmla="*/ 1 h 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17"/>
                  <a:gd name="T26" fmla="*/ 15 w 15"/>
                  <a:gd name="T27" fmla="*/ 17 h 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17">
                    <a:moveTo>
                      <a:pt x="3" y="1"/>
                    </a:moveTo>
                    <a:cubicBezTo>
                      <a:pt x="6" y="2"/>
                      <a:pt x="8" y="4"/>
                      <a:pt x="10" y="6"/>
                    </a:cubicBezTo>
                    <a:cubicBezTo>
                      <a:pt x="12" y="8"/>
                      <a:pt x="15" y="10"/>
                      <a:pt x="15" y="13"/>
                    </a:cubicBezTo>
                    <a:cubicBezTo>
                      <a:pt x="15" y="15"/>
                      <a:pt x="11" y="17"/>
                      <a:pt x="10" y="16"/>
                    </a:cubicBezTo>
                    <a:cubicBezTo>
                      <a:pt x="7" y="16"/>
                      <a:pt x="6" y="13"/>
                      <a:pt x="5" y="11"/>
                    </a:cubicBezTo>
                    <a:cubicBezTo>
                      <a:pt x="3" y="8"/>
                      <a:pt x="1" y="6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1" name="Freeform 3582"/>
              <p:cNvSpPr>
                <a:spLocks noChangeAspect="1"/>
              </p:cNvSpPr>
              <p:nvPr/>
            </p:nvSpPr>
            <p:spPr bwMode="auto">
              <a:xfrm>
                <a:off x="2258573" y="1479433"/>
                <a:ext cx="37619" cy="19490"/>
              </a:xfrm>
              <a:custGeom>
                <a:avLst/>
                <a:gdLst>
                  <a:gd name="T0" fmla="*/ 13 w 19"/>
                  <a:gd name="T1" fmla="*/ 2 h 10"/>
                  <a:gd name="T2" fmla="*/ 22 w 19"/>
                  <a:gd name="T3" fmla="*/ 10 h 10"/>
                  <a:gd name="T4" fmla="*/ 16 w 19"/>
                  <a:gd name="T5" fmla="*/ 12 h 10"/>
                  <a:gd name="T6" fmla="*/ 7 w 19"/>
                  <a:gd name="T7" fmla="*/ 10 h 10"/>
                  <a:gd name="T8" fmla="*/ 1 w 19"/>
                  <a:gd name="T9" fmla="*/ 2 h 10"/>
                  <a:gd name="T10" fmla="*/ 13 w 19"/>
                  <a:gd name="T11" fmla="*/ 2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0"/>
                  <a:gd name="T20" fmla="*/ 19 w 19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0">
                    <a:moveTo>
                      <a:pt x="11" y="2"/>
                    </a:moveTo>
                    <a:cubicBezTo>
                      <a:pt x="14" y="3"/>
                      <a:pt x="18" y="5"/>
                      <a:pt x="18" y="8"/>
                    </a:cubicBezTo>
                    <a:cubicBezTo>
                      <a:pt x="19" y="10"/>
                      <a:pt x="15" y="10"/>
                      <a:pt x="13" y="10"/>
                    </a:cubicBezTo>
                    <a:cubicBezTo>
                      <a:pt x="11" y="10"/>
                      <a:pt x="8" y="10"/>
                      <a:pt x="6" y="8"/>
                    </a:cubicBezTo>
                    <a:cubicBezTo>
                      <a:pt x="4" y="7"/>
                      <a:pt x="0" y="4"/>
                      <a:pt x="1" y="2"/>
                    </a:cubicBezTo>
                    <a:cubicBezTo>
                      <a:pt x="4" y="0"/>
                      <a:pt x="8" y="1"/>
                      <a:pt x="1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2" name="Freeform 3583"/>
              <p:cNvSpPr>
                <a:spLocks noChangeAspect="1"/>
              </p:cNvSpPr>
              <p:nvPr/>
            </p:nvSpPr>
            <p:spPr bwMode="auto">
              <a:xfrm>
                <a:off x="2261844" y="1498922"/>
                <a:ext cx="42525" cy="11369"/>
              </a:xfrm>
              <a:custGeom>
                <a:avLst/>
                <a:gdLst>
                  <a:gd name="T0" fmla="*/ 24 w 21"/>
                  <a:gd name="T1" fmla="*/ 0 h 6"/>
                  <a:gd name="T2" fmla="*/ 26 w 21"/>
                  <a:gd name="T3" fmla="*/ 1 h 6"/>
                  <a:gd name="T4" fmla="*/ 20 w 21"/>
                  <a:gd name="T5" fmla="*/ 6 h 6"/>
                  <a:gd name="T6" fmla="*/ 7 w 21"/>
                  <a:gd name="T7" fmla="*/ 7 h 6"/>
                  <a:gd name="T8" fmla="*/ 1 w 21"/>
                  <a:gd name="T9" fmla="*/ 6 h 6"/>
                  <a:gd name="T10" fmla="*/ 1 w 21"/>
                  <a:gd name="T11" fmla="*/ 2 h 6"/>
                  <a:gd name="T12" fmla="*/ 15 w 21"/>
                  <a:gd name="T13" fmla="*/ 1 h 6"/>
                  <a:gd name="T14" fmla="*/ 24 w 21"/>
                  <a:gd name="T15" fmla="*/ 0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6"/>
                  <a:gd name="T26" fmla="*/ 21 w 21"/>
                  <a:gd name="T27" fmla="*/ 6 h 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6">
                    <a:moveTo>
                      <a:pt x="19" y="0"/>
                    </a:moveTo>
                    <a:cubicBezTo>
                      <a:pt x="20" y="0"/>
                      <a:pt x="21" y="1"/>
                      <a:pt x="21" y="1"/>
                    </a:cubicBezTo>
                    <a:cubicBezTo>
                      <a:pt x="20" y="3"/>
                      <a:pt x="18" y="4"/>
                      <a:pt x="16" y="5"/>
                    </a:cubicBezTo>
                    <a:cubicBezTo>
                      <a:pt x="13" y="6"/>
                      <a:pt x="9" y="6"/>
                      <a:pt x="6" y="6"/>
                    </a:cubicBezTo>
                    <a:cubicBezTo>
                      <a:pt x="4" y="6"/>
                      <a:pt x="2" y="6"/>
                      <a:pt x="1" y="5"/>
                    </a:cubicBezTo>
                    <a:cubicBezTo>
                      <a:pt x="0" y="4"/>
                      <a:pt x="0" y="2"/>
                      <a:pt x="1" y="2"/>
                    </a:cubicBezTo>
                    <a:cubicBezTo>
                      <a:pt x="4" y="0"/>
                      <a:pt x="8" y="2"/>
                      <a:pt x="12" y="1"/>
                    </a:cubicBezTo>
                    <a:cubicBezTo>
                      <a:pt x="14" y="1"/>
                      <a:pt x="17" y="0"/>
                      <a:pt x="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3" name="Freeform 3584"/>
              <p:cNvSpPr>
                <a:spLocks noChangeAspect="1"/>
              </p:cNvSpPr>
              <p:nvPr/>
            </p:nvSpPr>
            <p:spPr bwMode="auto">
              <a:xfrm>
                <a:off x="2268387" y="1510291"/>
                <a:ext cx="37619" cy="11369"/>
              </a:xfrm>
              <a:custGeom>
                <a:avLst/>
                <a:gdLst>
                  <a:gd name="T0" fmla="*/ 10 w 19"/>
                  <a:gd name="T1" fmla="*/ 2 h 6"/>
                  <a:gd name="T2" fmla="*/ 18 w 19"/>
                  <a:gd name="T3" fmla="*/ 0 h 6"/>
                  <a:gd name="T4" fmla="*/ 22 w 19"/>
                  <a:gd name="T5" fmla="*/ 1 h 6"/>
                  <a:gd name="T6" fmla="*/ 12 w 19"/>
                  <a:gd name="T7" fmla="*/ 4 h 6"/>
                  <a:gd name="T8" fmla="*/ 5 w 19"/>
                  <a:gd name="T9" fmla="*/ 7 h 6"/>
                  <a:gd name="T10" fmla="*/ 1 w 19"/>
                  <a:gd name="T11" fmla="*/ 5 h 6"/>
                  <a:gd name="T12" fmla="*/ 10 w 19"/>
                  <a:gd name="T13" fmla="*/ 2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6"/>
                  <a:gd name="T23" fmla="*/ 19 w 19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6">
                    <a:moveTo>
                      <a:pt x="8" y="2"/>
                    </a:moveTo>
                    <a:cubicBezTo>
                      <a:pt x="10" y="2"/>
                      <a:pt x="13" y="0"/>
                      <a:pt x="15" y="0"/>
                    </a:cubicBezTo>
                    <a:cubicBezTo>
                      <a:pt x="16" y="0"/>
                      <a:pt x="19" y="0"/>
                      <a:pt x="18" y="1"/>
                    </a:cubicBezTo>
                    <a:cubicBezTo>
                      <a:pt x="16" y="2"/>
                      <a:pt x="13" y="2"/>
                      <a:pt x="10" y="3"/>
                    </a:cubicBezTo>
                    <a:cubicBezTo>
                      <a:pt x="8" y="4"/>
                      <a:pt x="6" y="6"/>
                      <a:pt x="4" y="6"/>
                    </a:cubicBezTo>
                    <a:cubicBezTo>
                      <a:pt x="3" y="6"/>
                      <a:pt x="0" y="4"/>
                      <a:pt x="1" y="4"/>
                    </a:cubicBezTo>
                    <a:cubicBezTo>
                      <a:pt x="3" y="2"/>
                      <a:pt x="6" y="3"/>
                      <a:pt x="8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4" name="Freeform 3585"/>
              <p:cNvSpPr>
                <a:spLocks noChangeAspect="1"/>
              </p:cNvSpPr>
              <p:nvPr/>
            </p:nvSpPr>
            <p:spPr bwMode="auto">
              <a:xfrm>
                <a:off x="2281471" y="1515164"/>
                <a:ext cx="27806" cy="14618"/>
              </a:xfrm>
              <a:custGeom>
                <a:avLst/>
                <a:gdLst>
                  <a:gd name="T0" fmla="*/ 0 w 14"/>
                  <a:gd name="T1" fmla="*/ 6 h 7"/>
                  <a:gd name="T2" fmla="*/ 5 w 14"/>
                  <a:gd name="T3" fmla="*/ 8 h 7"/>
                  <a:gd name="T4" fmla="*/ 11 w 14"/>
                  <a:gd name="T5" fmla="*/ 4 h 7"/>
                  <a:gd name="T6" fmla="*/ 17 w 14"/>
                  <a:gd name="T7" fmla="*/ 1 h 7"/>
                  <a:gd name="T8" fmla="*/ 15 w 14"/>
                  <a:gd name="T9" fmla="*/ 0 h 7"/>
                  <a:gd name="T10" fmla="*/ 5 w 14"/>
                  <a:gd name="T11" fmla="*/ 3 h 7"/>
                  <a:gd name="T12" fmla="*/ 0 w 14"/>
                  <a:gd name="T13" fmla="*/ 6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7"/>
                  <a:gd name="T23" fmla="*/ 14 w 14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7">
                    <a:moveTo>
                      <a:pt x="0" y="5"/>
                    </a:moveTo>
                    <a:cubicBezTo>
                      <a:pt x="0" y="7"/>
                      <a:pt x="3" y="6"/>
                      <a:pt x="4" y="6"/>
                    </a:cubicBezTo>
                    <a:cubicBezTo>
                      <a:pt x="6" y="5"/>
                      <a:pt x="7" y="4"/>
                      <a:pt x="9" y="3"/>
                    </a:cubicBezTo>
                    <a:cubicBezTo>
                      <a:pt x="11" y="2"/>
                      <a:pt x="13" y="2"/>
                      <a:pt x="14" y="1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9" y="0"/>
                      <a:pt x="6" y="1"/>
                      <a:pt x="4" y="2"/>
                    </a:cubicBezTo>
                    <a:cubicBezTo>
                      <a:pt x="2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5" name="Freeform 3586"/>
              <p:cNvSpPr>
                <a:spLocks noChangeAspect="1"/>
              </p:cNvSpPr>
              <p:nvPr/>
            </p:nvSpPr>
            <p:spPr bwMode="auto">
              <a:xfrm>
                <a:off x="2289649" y="1482681"/>
                <a:ext cx="116127" cy="77958"/>
              </a:xfrm>
              <a:custGeom>
                <a:avLst/>
                <a:gdLst>
                  <a:gd name="T0" fmla="*/ 26 w 59"/>
                  <a:gd name="T1" fmla="*/ 34 h 40"/>
                  <a:gd name="T2" fmla="*/ 24 w 59"/>
                  <a:gd name="T3" fmla="*/ 37 h 40"/>
                  <a:gd name="T4" fmla="*/ 28 w 59"/>
                  <a:gd name="T5" fmla="*/ 40 h 40"/>
                  <a:gd name="T6" fmla="*/ 24 w 59"/>
                  <a:gd name="T7" fmla="*/ 41 h 40"/>
                  <a:gd name="T8" fmla="*/ 25 w 59"/>
                  <a:gd name="T9" fmla="*/ 47 h 40"/>
                  <a:gd name="T10" fmla="*/ 31 w 59"/>
                  <a:gd name="T11" fmla="*/ 47 h 40"/>
                  <a:gd name="T12" fmla="*/ 36 w 59"/>
                  <a:gd name="T13" fmla="*/ 44 h 40"/>
                  <a:gd name="T14" fmla="*/ 40 w 59"/>
                  <a:gd name="T15" fmla="*/ 47 h 40"/>
                  <a:gd name="T16" fmla="*/ 46 w 59"/>
                  <a:gd name="T17" fmla="*/ 47 h 40"/>
                  <a:gd name="T18" fmla="*/ 55 w 59"/>
                  <a:gd name="T19" fmla="*/ 46 h 40"/>
                  <a:gd name="T20" fmla="*/ 55 w 59"/>
                  <a:gd name="T21" fmla="*/ 42 h 40"/>
                  <a:gd name="T22" fmla="*/ 60 w 59"/>
                  <a:gd name="T23" fmla="*/ 43 h 40"/>
                  <a:gd name="T24" fmla="*/ 58 w 59"/>
                  <a:gd name="T25" fmla="*/ 38 h 40"/>
                  <a:gd name="T26" fmla="*/ 58 w 59"/>
                  <a:gd name="T27" fmla="*/ 34 h 40"/>
                  <a:gd name="T28" fmla="*/ 61 w 59"/>
                  <a:gd name="T29" fmla="*/ 31 h 40"/>
                  <a:gd name="T30" fmla="*/ 66 w 59"/>
                  <a:gd name="T31" fmla="*/ 35 h 40"/>
                  <a:gd name="T32" fmla="*/ 69 w 59"/>
                  <a:gd name="T33" fmla="*/ 29 h 40"/>
                  <a:gd name="T34" fmla="*/ 65 w 59"/>
                  <a:gd name="T35" fmla="*/ 25 h 40"/>
                  <a:gd name="T36" fmla="*/ 69 w 59"/>
                  <a:gd name="T37" fmla="*/ 17 h 40"/>
                  <a:gd name="T38" fmla="*/ 70 w 59"/>
                  <a:gd name="T39" fmla="*/ 11 h 40"/>
                  <a:gd name="T40" fmla="*/ 71 w 59"/>
                  <a:gd name="T41" fmla="*/ 5 h 40"/>
                  <a:gd name="T42" fmla="*/ 65 w 59"/>
                  <a:gd name="T43" fmla="*/ 0 h 40"/>
                  <a:gd name="T44" fmla="*/ 60 w 59"/>
                  <a:gd name="T45" fmla="*/ 1 h 40"/>
                  <a:gd name="T46" fmla="*/ 57 w 59"/>
                  <a:gd name="T47" fmla="*/ 6 h 40"/>
                  <a:gd name="T48" fmla="*/ 47 w 59"/>
                  <a:gd name="T49" fmla="*/ 1 h 40"/>
                  <a:gd name="T50" fmla="*/ 34 w 59"/>
                  <a:gd name="T51" fmla="*/ 2 h 40"/>
                  <a:gd name="T52" fmla="*/ 31 w 59"/>
                  <a:gd name="T53" fmla="*/ 7 h 40"/>
                  <a:gd name="T54" fmla="*/ 36 w 59"/>
                  <a:gd name="T55" fmla="*/ 8 h 40"/>
                  <a:gd name="T56" fmla="*/ 35 w 59"/>
                  <a:gd name="T57" fmla="*/ 12 h 40"/>
                  <a:gd name="T58" fmla="*/ 41 w 59"/>
                  <a:gd name="T59" fmla="*/ 12 h 40"/>
                  <a:gd name="T60" fmla="*/ 39 w 59"/>
                  <a:gd name="T61" fmla="*/ 17 h 40"/>
                  <a:gd name="T62" fmla="*/ 42 w 59"/>
                  <a:gd name="T63" fmla="*/ 22 h 40"/>
                  <a:gd name="T64" fmla="*/ 32 w 59"/>
                  <a:gd name="T65" fmla="*/ 18 h 40"/>
                  <a:gd name="T66" fmla="*/ 26 w 59"/>
                  <a:gd name="T67" fmla="*/ 8 h 40"/>
                  <a:gd name="T68" fmla="*/ 18 w 59"/>
                  <a:gd name="T69" fmla="*/ 6 h 40"/>
                  <a:gd name="T70" fmla="*/ 13 w 59"/>
                  <a:gd name="T71" fmla="*/ 12 h 40"/>
                  <a:gd name="T72" fmla="*/ 19 w 59"/>
                  <a:gd name="T73" fmla="*/ 14 h 40"/>
                  <a:gd name="T74" fmla="*/ 16 w 59"/>
                  <a:gd name="T75" fmla="*/ 18 h 40"/>
                  <a:gd name="T76" fmla="*/ 20 w 59"/>
                  <a:gd name="T77" fmla="*/ 18 h 40"/>
                  <a:gd name="T78" fmla="*/ 22 w 59"/>
                  <a:gd name="T79" fmla="*/ 24 h 40"/>
                  <a:gd name="T80" fmla="*/ 14 w 59"/>
                  <a:gd name="T81" fmla="*/ 23 h 40"/>
                  <a:gd name="T82" fmla="*/ 7 w 59"/>
                  <a:gd name="T83" fmla="*/ 28 h 40"/>
                  <a:gd name="T84" fmla="*/ 1 w 59"/>
                  <a:gd name="T85" fmla="*/ 29 h 40"/>
                  <a:gd name="T86" fmla="*/ 1 w 59"/>
                  <a:gd name="T87" fmla="*/ 34 h 40"/>
                  <a:gd name="T88" fmla="*/ 13 w 59"/>
                  <a:gd name="T89" fmla="*/ 31 h 40"/>
                  <a:gd name="T90" fmla="*/ 18 w 59"/>
                  <a:gd name="T91" fmla="*/ 29 h 40"/>
                  <a:gd name="T92" fmla="*/ 26 w 59"/>
                  <a:gd name="T93" fmla="*/ 29 h 40"/>
                  <a:gd name="T94" fmla="*/ 34 w 59"/>
                  <a:gd name="T95" fmla="*/ 26 h 40"/>
                  <a:gd name="T96" fmla="*/ 43 w 59"/>
                  <a:gd name="T97" fmla="*/ 26 h 40"/>
                  <a:gd name="T98" fmla="*/ 39 w 59"/>
                  <a:gd name="T99" fmla="*/ 29 h 40"/>
                  <a:gd name="T100" fmla="*/ 34 w 59"/>
                  <a:gd name="T101" fmla="*/ 32 h 40"/>
                  <a:gd name="T102" fmla="*/ 26 w 59"/>
                  <a:gd name="T103" fmla="*/ 34 h 4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9"/>
                  <a:gd name="T157" fmla="*/ 0 h 40"/>
                  <a:gd name="T158" fmla="*/ 59 w 59"/>
                  <a:gd name="T159" fmla="*/ 40 h 4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9" h="40">
                    <a:moveTo>
                      <a:pt x="22" y="28"/>
                    </a:moveTo>
                    <a:cubicBezTo>
                      <a:pt x="21" y="28"/>
                      <a:pt x="19" y="31"/>
                      <a:pt x="20" y="31"/>
                    </a:cubicBezTo>
                    <a:cubicBezTo>
                      <a:pt x="20" y="33"/>
                      <a:pt x="23" y="32"/>
                      <a:pt x="23" y="33"/>
                    </a:cubicBezTo>
                    <a:cubicBezTo>
                      <a:pt x="23" y="34"/>
                      <a:pt x="21" y="33"/>
                      <a:pt x="20" y="34"/>
                    </a:cubicBezTo>
                    <a:cubicBezTo>
                      <a:pt x="20" y="35"/>
                      <a:pt x="19" y="38"/>
                      <a:pt x="21" y="39"/>
                    </a:cubicBezTo>
                    <a:cubicBezTo>
                      <a:pt x="22" y="40"/>
                      <a:pt x="25" y="40"/>
                      <a:pt x="26" y="39"/>
                    </a:cubicBezTo>
                    <a:cubicBezTo>
                      <a:pt x="28" y="39"/>
                      <a:pt x="28" y="37"/>
                      <a:pt x="30" y="37"/>
                    </a:cubicBezTo>
                    <a:cubicBezTo>
                      <a:pt x="31" y="37"/>
                      <a:pt x="32" y="39"/>
                      <a:pt x="33" y="39"/>
                    </a:cubicBezTo>
                    <a:cubicBezTo>
                      <a:pt x="34" y="39"/>
                      <a:pt x="36" y="39"/>
                      <a:pt x="38" y="39"/>
                    </a:cubicBezTo>
                    <a:cubicBezTo>
                      <a:pt x="40" y="39"/>
                      <a:pt x="43" y="39"/>
                      <a:pt x="46" y="38"/>
                    </a:cubicBezTo>
                    <a:cubicBezTo>
                      <a:pt x="47" y="38"/>
                      <a:pt x="45" y="36"/>
                      <a:pt x="46" y="35"/>
                    </a:cubicBezTo>
                    <a:cubicBezTo>
                      <a:pt x="47" y="35"/>
                      <a:pt x="49" y="37"/>
                      <a:pt x="50" y="36"/>
                    </a:cubicBezTo>
                    <a:cubicBezTo>
                      <a:pt x="51" y="35"/>
                      <a:pt x="48" y="34"/>
                      <a:pt x="48" y="32"/>
                    </a:cubicBezTo>
                    <a:cubicBezTo>
                      <a:pt x="48" y="31"/>
                      <a:pt x="48" y="29"/>
                      <a:pt x="48" y="28"/>
                    </a:cubicBezTo>
                    <a:cubicBezTo>
                      <a:pt x="49" y="27"/>
                      <a:pt x="50" y="25"/>
                      <a:pt x="51" y="26"/>
                    </a:cubicBezTo>
                    <a:cubicBezTo>
                      <a:pt x="53" y="26"/>
                      <a:pt x="54" y="30"/>
                      <a:pt x="55" y="29"/>
                    </a:cubicBezTo>
                    <a:cubicBezTo>
                      <a:pt x="57" y="29"/>
                      <a:pt x="57" y="26"/>
                      <a:pt x="57" y="24"/>
                    </a:cubicBezTo>
                    <a:cubicBezTo>
                      <a:pt x="57" y="22"/>
                      <a:pt x="54" y="22"/>
                      <a:pt x="54" y="21"/>
                    </a:cubicBezTo>
                    <a:cubicBezTo>
                      <a:pt x="54" y="18"/>
                      <a:pt x="56" y="17"/>
                      <a:pt x="57" y="14"/>
                    </a:cubicBezTo>
                    <a:cubicBezTo>
                      <a:pt x="57" y="13"/>
                      <a:pt x="58" y="11"/>
                      <a:pt x="58" y="9"/>
                    </a:cubicBezTo>
                    <a:cubicBezTo>
                      <a:pt x="58" y="7"/>
                      <a:pt x="59" y="5"/>
                      <a:pt x="59" y="4"/>
                    </a:cubicBezTo>
                    <a:cubicBezTo>
                      <a:pt x="58" y="2"/>
                      <a:pt x="56" y="1"/>
                      <a:pt x="54" y="0"/>
                    </a:cubicBezTo>
                    <a:cubicBezTo>
                      <a:pt x="53" y="0"/>
                      <a:pt x="51" y="1"/>
                      <a:pt x="50" y="1"/>
                    </a:cubicBezTo>
                    <a:cubicBezTo>
                      <a:pt x="49" y="2"/>
                      <a:pt x="48" y="5"/>
                      <a:pt x="47" y="5"/>
                    </a:cubicBezTo>
                    <a:cubicBezTo>
                      <a:pt x="44" y="5"/>
                      <a:pt x="42" y="1"/>
                      <a:pt x="39" y="1"/>
                    </a:cubicBezTo>
                    <a:cubicBezTo>
                      <a:pt x="36" y="0"/>
                      <a:pt x="32" y="1"/>
                      <a:pt x="28" y="2"/>
                    </a:cubicBezTo>
                    <a:cubicBezTo>
                      <a:pt x="27" y="3"/>
                      <a:pt x="25" y="4"/>
                      <a:pt x="26" y="6"/>
                    </a:cubicBezTo>
                    <a:cubicBezTo>
                      <a:pt x="26" y="7"/>
                      <a:pt x="29" y="6"/>
                      <a:pt x="30" y="7"/>
                    </a:cubicBezTo>
                    <a:cubicBezTo>
                      <a:pt x="31" y="8"/>
                      <a:pt x="28" y="9"/>
                      <a:pt x="29" y="10"/>
                    </a:cubicBezTo>
                    <a:cubicBezTo>
                      <a:pt x="30" y="11"/>
                      <a:pt x="33" y="9"/>
                      <a:pt x="34" y="10"/>
                    </a:cubicBezTo>
                    <a:cubicBezTo>
                      <a:pt x="35" y="11"/>
                      <a:pt x="32" y="12"/>
                      <a:pt x="32" y="14"/>
                    </a:cubicBezTo>
                    <a:cubicBezTo>
                      <a:pt x="32" y="15"/>
                      <a:pt x="36" y="17"/>
                      <a:pt x="35" y="18"/>
                    </a:cubicBezTo>
                    <a:cubicBezTo>
                      <a:pt x="32" y="18"/>
                      <a:pt x="29" y="17"/>
                      <a:pt x="27" y="15"/>
                    </a:cubicBezTo>
                    <a:cubicBezTo>
                      <a:pt x="25" y="13"/>
                      <a:pt x="25" y="9"/>
                      <a:pt x="22" y="7"/>
                    </a:cubicBezTo>
                    <a:cubicBezTo>
                      <a:pt x="20" y="6"/>
                      <a:pt x="18" y="5"/>
                      <a:pt x="15" y="5"/>
                    </a:cubicBezTo>
                    <a:cubicBezTo>
                      <a:pt x="13" y="6"/>
                      <a:pt x="10" y="8"/>
                      <a:pt x="11" y="10"/>
                    </a:cubicBezTo>
                    <a:cubicBezTo>
                      <a:pt x="11" y="12"/>
                      <a:pt x="15" y="10"/>
                      <a:pt x="16" y="12"/>
                    </a:cubicBezTo>
                    <a:cubicBezTo>
                      <a:pt x="16" y="13"/>
                      <a:pt x="12" y="14"/>
                      <a:pt x="13" y="15"/>
                    </a:cubicBezTo>
                    <a:cubicBezTo>
                      <a:pt x="14" y="17"/>
                      <a:pt x="16" y="14"/>
                      <a:pt x="17" y="15"/>
                    </a:cubicBezTo>
                    <a:cubicBezTo>
                      <a:pt x="19" y="16"/>
                      <a:pt x="19" y="19"/>
                      <a:pt x="18" y="20"/>
                    </a:cubicBezTo>
                    <a:cubicBezTo>
                      <a:pt x="16" y="21"/>
                      <a:pt x="14" y="18"/>
                      <a:pt x="12" y="19"/>
                    </a:cubicBezTo>
                    <a:cubicBezTo>
                      <a:pt x="10" y="19"/>
                      <a:pt x="8" y="22"/>
                      <a:pt x="6" y="23"/>
                    </a:cubicBezTo>
                    <a:cubicBezTo>
                      <a:pt x="5" y="24"/>
                      <a:pt x="2" y="23"/>
                      <a:pt x="1" y="24"/>
                    </a:cubicBezTo>
                    <a:cubicBezTo>
                      <a:pt x="0" y="25"/>
                      <a:pt x="0" y="28"/>
                      <a:pt x="1" y="28"/>
                    </a:cubicBezTo>
                    <a:cubicBezTo>
                      <a:pt x="5" y="29"/>
                      <a:pt x="8" y="27"/>
                      <a:pt x="11" y="26"/>
                    </a:cubicBezTo>
                    <a:cubicBezTo>
                      <a:pt x="13" y="25"/>
                      <a:pt x="14" y="24"/>
                      <a:pt x="15" y="24"/>
                    </a:cubicBezTo>
                    <a:cubicBezTo>
                      <a:pt x="17" y="24"/>
                      <a:pt x="20" y="24"/>
                      <a:pt x="22" y="24"/>
                    </a:cubicBezTo>
                    <a:cubicBezTo>
                      <a:pt x="24" y="24"/>
                      <a:pt x="26" y="23"/>
                      <a:pt x="28" y="22"/>
                    </a:cubicBezTo>
                    <a:cubicBezTo>
                      <a:pt x="31" y="22"/>
                      <a:pt x="33" y="21"/>
                      <a:pt x="36" y="22"/>
                    </a:cubicBezTo>
                    <a:cubicBezTo>
                      <a:pt x="37" y="23"/>
                      <a:pt x="33" y="23"/>
                      <a:pt x="32" y="24"/>
                    </a:cubicBezTo>
                    <a:cubicBezTo>
                      <a:pt x="30" y="25"/>
                      <a:pt x="30" y="27"/>
                      <a:pt x="28" y="27"/>
                    </a:cubicBezTo>
                    <a:cubicBezTo>
                      <a:pt x="26" y="28"/>
                      <a:pt x="24" y="28"/>
                      <a:pt x="22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6" name="Freeform 3587"/>
              <p:cNvSpPr>
                <a:spLocks noChangeAspect="1"/>
              </p:cNvSpPr>
              <p:nvPr/>
            </p:nvSpPr>
            <p:spPr bwMode="auto">
              <a:xfrm>
                <a:off x="2327268" y="1479433"/>
                <a:ext cx="26169" cy="9745"/>
              </a:xfrm>
              <a:custGeom>
                <a:avLst/>
                <a:gdLst>
                  <a:gd name="T0" fmla="*/ 0 w 13"/>
                  <a:gd name="T1" fmla="*/ 5 h 5"/>
                  <a:gd name="T2" fmla="*/ 0 w 13"/>
                  <a:gd name="T3" fmla="*/ 6 h 5"/>
                  <a:gd name="T4" fmla="*/ 6 w 13"/>
                  <a:gd name="T5" fmla="*/ 6 h 5"/>
                  <a:gd name="T6" fmla="*/ 15 w 13"/>
                  <a:gd name="T7" fmla="*/ 1 h 5"/>
                  <a:gd name="T8" fmla="*/ 12 w 13"/>
                  <a:gd name="T9" fmla="*/ 1 h 5"/>
                  <a:gd name="T10" fmla="*/ 6 w 13"/>
                  <a:gd name="T11" fmla="*/ 1 h 5"/>
                  <a:gd name="T12" fmla="*/ 4 w 13"/>
                  <a:gd name="T13" fmla="*/ 4 h 5"/>
                  <a:gd name="T14" fmla="*/ 0 w 13"/>
                  <a:gd name="T15" fmla="*/ 5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5"/>
                  <a:gd name="T26" fmla="*/ 13 w 13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5">
                    <a:moveTo>
                      <a:pt x="0" y="4"/>
                    </a:moveTo>
                    <a:cubicBezTo>
                      <a:pt x="0" y="4"/>
                      <a:pt x="0" y="5"/>
                      <a:pt x="0" y="5"/>
                    </a:cubicBezTo>
                    <a:cubicBezTo>
                      <a:pt x="2" y="5"/>
                      <a:pt x="3" y="5"/>
                      <a:pt x="5" y="5"/>
                    </a:cubicBezTo>
                    <a:cubicBezTo>
                      <a:pt x="7" y="4"/>
                      <a:pt x="10" y="3"/>
                      <a:pt x="12" y="1"/>
                    </a:cubicBezTo>
                    <a:cubicBezTo>
                      <a:pt x="13" y="1"/>
                      <a:pt x="11" y="1"/>
                      <a:pt x="10" y="1"/>
                    </a:cubicBezTo>
                    <a:cubicBezTo>
                      <a:pt x="9" y="1"/>
                      <a:pt x="7" y="0"/>
                      <a:pt x="5" y="1"/>
                    </a:cubicBezTo>
                    <a:cubicBezTo>
                      <a:pt x="4" y="1"/>
                      <a:pt x="4" y="3"/>
                      <a:pt x="3" y="3"/>
                    </a:cubicBezTo>
                    <a:cubicBezTo>
                      <a:pt x="2" y="4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7" name="Freeform 3588"/>
              <p:cNvSpPr>
                <a:spLocks noChangeAspect="1"/>
              </p:cNvSpPr>
              <p:nvPr/>
            </p:nvSpPr>
            <p:spPr bwMode="auto">
              <a:xfrm>
                <a:off x="2323997" y="1424212"/>
                <a:ext cx="31077" cy="11369"/>
              </a:xfrm>
              <a:custGeom>
                <a:avLst/>
                <a:gdLst>
                  <a:gd name="T0" fmla="*/ 0 w 16"/>
                  <a:gd name="T1" fmla="*/ 4 h 6"/>
                  <a:gd name="T2" fmla="*/ 6 w 16"/>
                  <a:gd name="T3" fmla="*/ 7 h 6"/>
                  <a:gd name="T4" fmla="*/ 13 w 16"/>
                  <a:gd name="T5" fmla="*/ 4 h 6"/>
                  <a:gd name="T6" fmla="*/ 18 w 16"/>
                  <a:gd name="T7" fmla="*/ 5 h 6"/>
                  <a:gd name="T8" fmla="*/ 12 w 16"/>
                  <a:gd name="T9" fmla="*/ 1 h 6"/>
                  <a:gd name="T10" fmla="*/ 6 w 16"/>
                  <a:gd name="T11" fmla="*/ 1 h 6"/>
                  <a:gd name="T12" fmla="*/ 0 w 16"/>
                  <a:gd name="T13" fmla="*/ 4 h 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6"/>
                  <a:gd name="T23" fmla="*/ 16 w 16"/>
                  <a:gd name="T24" fmla="*/ 6 h 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6">
                    <a:moveTo>
                      <a:pt x="0" y="3"/>
                    </a:moveTo>
                    <a:cubicBezTo>
                      <a:pt x="0" y="5"/>
                      <a:pt x="3" y="6"/>
                      <a:pt x="5" y="6"/>
                    </a:cubicBezTo>
                    <a:cubicBezTo>
                      <a:pt x="7" y="6"/>
                      <a:pt x="9" y="4"/>
                      <a:pt x="11" y="3"/>
                    </a:cubicBezTo>
                    <a:cubicBezTo>
                      <a:pt x="13" y="3"/>
                      <a:pt x="16" y="5"/>
                      <a:pt x="15" y="4"/>
                    </a:cubicBezTo>
                    <a:cubicBezTo>
                      <a:pt x="14" y="2"/>
                      <a:pt x="12" y="1"/>
                      <a:pt x="10" y="1"/>
                    </a:cubicBezTo>
                    <a:cubicBezTo>
                      <a:pt x="9" y="0"/>
                      <a:pt x="7" y="0"/>
                      <a:pt x="5" y="1"/>
                    </a:cubicBezTo>
                    <a:cubicBezTo>
                      <a:pt x="3" y="1"/>
                      <a:pt x="0" y="1"/>
                      <a:pt x="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8" name="Freeform 3589"/>
              <p:cNvSpPr>
                <a:spLocks noChangeAspect="1"/>
              </p:cNvSpPr>
              <p:nvPr/>
            </p:nvSpPr>
            <p:spPr bwMode="auto">
              <a:xfrm>
                <a:off x="2268387" y="1354374"/>
                <a:ext cx="127576" cy="81207"/>
              </a:xfrm>
              <a:custGeom>
                <a:avLst/>
                <a:gdLst>
                  <a:gd name="T0" fmla="*/ 68 w 65"/>
                  <a:gd name="T1" fmla="*/ 33 h 42"/>
                  <a:gd name="T2" fmla="*/ 77 w 65"/>
                  <a:gd name="T3" fmla="*/ 39 h 42"/>
                  <a:gd name="T4" fmla="*/ 73 w 65"/>
                  <a:gd name="T5" fmla="*/ 45 h 42"/>
                  <a:gd name="T6" fmla="*/ 62 w 65"/>
                  <a:gd name="T7" fmla="*/ 49 h 42"/>
                  <a:gd name="T8" fmla="*/ 56 w 65"/>
                  <a:gd name="T9" fmla="*/ 44 h 42"/>
                  <a:gd name="T10" fmla="*/ 52 w 65"/>
                  <a:gd name="T11" fmla="*/ 36 h 42"/>
                  <a:gd name="T12" fmla="*/ 44 w 65"/>
                  <a:gd name="T13" fmla="*/ 35 h 42"/>
                  <a:gd name="T14" fmla="*/ 34 w 65"/>
                  <a:gd name="T15" fmla="*/ 35 h 42"/>
                  <a:gd name="T16" fmla="*/ 29 w 65"/>
                  <a:gd name="T17" fmla="*/ 31 h 42"/>
                  <a:gd name="T18" fmla="*/ 16 w 65"/>
                  <a:gd name="T19" fmla="*/ 36 h 42"/>
                  <a:gd name="T20" fmla="*/ 6 w 65"/>
                  <a:gd name="T21" fmla="*/ 30 h 42"/>
                  <a:gd name="T22" fmla="*/ 8 w 65"/>
                  <a:gd name="T23" fmla="*/ 25 h 42"/>
                  <a:gd name="T24" fmla="*/ 19 w 65"/>
                  <a:gd name="T25" fmla="*/ 27 h 42"/>
                  <a:gd name="T26" fmla="*/ 26 w 65"/>
                  <a:gd name="T27" fmla="*/ 27 h 42"/>
                  <a:gd name="T28" fmla="*/ 25 w 65"/>
                  <a:gd name="T29" fmla="*/ 23 h 42"/>
                  <a:gd name="T30" fmla="*/ 28 w 65"/>
                  <a:gd name="T31" fmla="*/ 20 h 42"/>
                  <a:gd name="T32" fmla="*/ 18 w 65"/>
                  <a:gd name="T33" fmla="*/ 19 h 42"/>
                  <a:gd name="T34" fmla="*/ 20 w 65"/>
                  <a:gd name="T35" fmla="*/ 15 h 42"/>
                  <a:gd name="T36" fmla="*/ 16 w 65"/>
                  <a:gd name="T37" fmla="*/ 15 h 42"/>
                  <a:gd name="T38" fmla="*/ 10 w 65"/>
                  <a:gd name="T39" fmla="*/ 19 h 42"/>
                  <a:gd name="T40" fmla="*/ 11 w 65"/>
                  <a:gd name="T41" fmla="*/ 13 h 42"/>
                  <a:gd name="T42" fmla="*/ 10 w 65"/>
                  <a:gd name="T43" fmla="*/ 12 h 42"/>
                  <a:gd name="T44" fmla="*/ 5 w 65"/>
                  <a:gd name="T45" fmla="*/ 15 h 42"/>
                  <a:gd name="T46" fmla="*/ 0 w 65"/>
                  <a:gd name="T47" fmla="*/ 8 h 42"/>
                  <a:gd name="T48" fmla="*/ 6 w 65"/>
                  <a:gd name="T49" fmla="*/ 5 h 42"/>
                  <a:gd name="T50" fmla="*/ 6 w 65"/>
                  <a:gd name="T51" fmla="*/ 1 h 42"/>
                  <a:gd name="T52" fmla="*/ 13 w 65"/>
                  <a:gd name="T53" fmla="*/ 5 h 42"/>
                  <a:gd name="T54" fmla="*/ 24 w 65"/>
                  <a:gd name="T55" fmla="*/ 0 h 42"/>
                  <a:gd name="T56" fmla="*/ 35 w 65"/>
                  <a:gd name="T57" fmla="*/ 2 h 42"/>
                  <a:gd name="T58" fmla="*/ 38 w 65"/>
                  <a:gd name="T59" fmla="*/ 11 h 42"/>
                  <a:gd name="T60" fmla="*/ 40 w 65"/>
                  <a:gd name="T61" fmla="*/ 14 h 42"/>
                  <a:gd name="T62" fmla="*/ 48 w 65"/>
                  <a:gd name="T63" fmla="*/ 11 h 42"/>
                  <a:gd name="T64" fmla="*/ 56 w 65"/>
                  <a:gd name="T65" fmla="*/ 17 h 42"/>
                  <a:gd name="T66" fmla="*/ 56 w 65"/>
                  <a:gd name="T67" fmla="*/ 20 h 42"/>
                  <a:gd name="T68" fmla="*/ 66 w 65"/>
                  <a:gd name="T69" fmla="*/ 19 h 42"/>
                  <a:gd name="T70" fmla="*/ 71 w 65"/>
                  <a:gd name="T71" fmla="*/ 26 h 42"/>
                  <a:gd name="T72" fmla="*/ 68 w 65"/>
                  <a:gd name="T73" fmla="*/ 33 h 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5"/>
                  <a:gd name="T112" fmla="*/ 0 h 42"/>
                  <a:gd name="T113" fmla="*/ 65 w 65"/>
                  <a:gd name="T114" fmla="*/ 42 h 4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5" h="42">
                    <a:moveTo>
                      <a:pt x="57" y="28"/>
                    </a:moveTo>
                    <a:cubicBezTo>
                      <a:pt x="59" y="30"/>
                      <a:pt x="63" y="30"/>
                      <a:pt x="64" y="33"/>
                    </a:cubicBezTo>
                    <a:cubicBezTo>
                      <a:pt x="65" y="35"/>
                      <a:pt x="63" y="38"/>
                      <a:pt x="61" y="38"/>
                    </a:cubicBezTo>
                    <a:cubicBezTo>
                      <a:pt x="58" y="38"/>
                      <a:pt x="54" y="39"/>
                      <a:pt x="52" y="41"/>
                    </a:cubicBezTo>
                    <a:cubicBezTo>
                      <a:pt x="50" y="42"/>
                      <a:pt x="48" y="38"/>
                      <a:pt x="47" y="37"/>
                    </a:cubicBezTo>
                    <a:cubicBezTo>
                      <a:pt x="45" y="35"/>
                      <a:pt x="45" y="31"/>
                      <a:pt x="43" y="30"/>
                    </a:cubicBezTo>
                    <a:cubicBezTo>
                      <a:pt x="42" y="28"/>
                      <a:pt x="39" y="29"/>
                      <a:pt x="37" y="29"/>
                    </a:cubicBezTo>
                    <a:cubicBezTo>
                      <a:pt x="34" y="29"/>
                      <a:pt x="31" y="29"/>
                      <a:pt x="28" y="29"/>
                    </a:cubicBezTo>
                    <a:cubicBezTo>
                      <a:pt x="26" y="28"/>
                      <a:pt x="26" y="26"/>
                      <a:pt x="24" y="26"/>
                    </a:cubicBezTo>
                    <a:cubicBezTo>
                      <a:pt x="20" y="27"/>
                      <a:pt x="17" y="30"/>
                      <a:pt x="13" y="30"/>
                    </a:cubicBezTo>
                    <a:cubicBezTo>
                      <a:pt x="10" y="30"/>
                      <a:pt x="7" y="27"/>
                      <a:pt x="5" y="25"/>
                    </a:cubicBezTo>
                    <a:cubicBezTo>
                      <a:pt x="4" y="24"/>
                      <a:pt x="5" y="21"/>
                      <a:pt x="7" y="21"/>
                    </a:cubicBezTo>
                    <a:cubicBezTo>
                      <a:pt x="10" y="21"/>
                      <a:pt x="13" y="23"/>
                      <a:pt x="16" y="23"/>
                    </a:cubicBezTo>
                    <a:cubicBezTo>
                      <a:pt x="18" y="24"/>
                      <a:pt x="20" y="24"/>
                      <a:pt x="22" y="23"/>
                    </a:cubicBezTo>
                    <a:cubicBezTo>
                      <a:pt x="23" y="22"/>
                      <a:pt x="21" y="20"/>
                      <a:pt x="21" y="19"/>
                    </a:cubicBezTo>
                    <a:cubicBezTo>
                      <a:pt x="21" y="18"/>
                      <a:pt x="24" y="17"/>
                      <a:pt x="23" y="17"/>
                    </a:cubicBezTo>
                    <a:cubicBezTo>
                      <a:pt x="20" y="16"/>
                      <a:pt x="17" y="18"/>
                      <a:pt x="15" y="16"/>
                    </a:cubicBezTo>
                    <a:cubicBezTo>
                      <a:pt x="14" y="15"/>
                      <a:pt x="17" y="14"/>
                      <a:pt x="17" y="13"/>
                    </a:cubicBezTo>
                    <a:cubicBezTo>
                      <a:pt x="17" y="12"/>
                      <a:pt x="15" y="12"/>
                      <a:pt x="13" y="13"/>
                    </a:cubicBezTo>
                    <a:cubicBezTo>
                      <a:pt x="11" y="14"/>
                      <a:pt x="10" y="17"/>
                      <a:pt x="8" y="16"/>
                    </a:cubicBezTo>
                    <a:cubicBezTo>
                      <a:pt x="6" y="16"/>
                      <a:pt x="9" y="13"/>
                      <a:pt x="9" y="11"/>
                    </a:cubicBezTo>
                    <a:cubicBezTo>
                      <a:pt x="9" y="10"/>
                      <a:pt x="9" y="9"/>
                      <a:pt x="8" y="10"/>
                    </a:cubicBezTo>
                    <a:cubicBezTo>
                      <a:pt x="6" y="10"/>
                      <a:pt x="5" y="13"/>
                      <a:pt x="4" y="13"/>
                    </a:cubicBezTo>
                    <a:cubicBezTo>
                      <a:pt x="2" y="12"/>
                      <a:pt x="0" y="9"/>
                      <a:pt x="0" y="7"/>
                    </a:cubicBezTo>
                    <a:cubicBezTo>
                      <a:pt x="1" y="5"/>
                      <a:pt x="4" y="6"/>
                      <a:pt x="5" y="4"/>
                    </a:cubicBezTo>
                    <a:cubicBezTo>
                      <a:pt x="6" y="3"/>
                      <a:pt x="4" y="1"/>
                      <a:pt x="5" y="1"/>
                    </a:cubicBezTo>
                    <a:cubicBezTo>
                      <a:pt x="7" y="1"/>
                      <a:pt x="8" y="4"/>
                      <a:pt x="11" y="4"/>
                    </a:cubicBezTo>
                    <a:cubicBezTo>
                      <a:pt x="14" y="4"/>
                      <a:pt x="17" y="0"/>
                      <a:pt x="20" y="0"/>
                    </a:cubicBezTo>
                    <a:cubicBezTo>
                      <a:pt x="23" y="0"/>
                      <a:pt x="26" y="0"/>
                      <a:pt x="29" y="2"/>
                    </a:cubicBezTo>
                    <a:cubicBezTo>
                      <a:pt x="31" y="4"/>
                      <a:pt x="31" y="6"/>
                      <a:pt x="32" y="9"/>
                    </a:cubicBezTo>
                    <a:cubicBezTo>
                      <a:pt x="33" y="10"/>
                      <a:pt x="32" y="12"/>
                      <a:pt x="33" y="12"/>
                    </a:cubicBezTo>
                    <a:cubicBezTo>
                      <a:pt x="35" y="12"/>
                      <a:pt x="38" y="9"/>
                      <a:pt x="40" y="9"/>
                    </a:cubicBezTo>
                    <a:cubicBezTo>
                      <a:pt x="43" y="9"/>
                      <a:pt x="45" y="12"/>
                      <a:pt x="47" y="14"/>
                    </a:cubicBezTo>
                    <a:cubicBezTo>
                      <a:pt x="48" y="15"/>
                      <a:pt x="47" y="16"/>
                      <a:pt x="47" y="17"/>
                    </a:cubicBezTo>
                    <a:cubicBezTo>
                      <a:pt x="50" y="17"/>
                      <a:pt x="53" y="15"/>
                      <a:pt x="55" y="16"/>
                    </a:cubicBezTo>
                    <a:cubicBezTo>
                      <a:pt x="57" y="17"/>
                      <a:pt x="58" y="20"/>
                      <a:pt x="59" y="22"/>
                    </a:cubicBezTo>
                    <a:cubicBezTo>
                      <a:pt x="59" y="24"/>
                      <a:pt x="56" y="26"/>
                      <a:pt x="57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79" name="Freeform 3590"/>
              <p:cNvSpPr>
                <a:spLocks noChangeAspect="1"/>
              </p:cNvSpPr>
              <p:nvPr/>
            </p:nvSpPr>
            <p:spPr bwMode="auto">
              <a:xfrm>
                <a:off x="2409047" y="1318643"/>
                <a:ext cx="29441" cy="25986"/>
              </a:xfrm>
              <a:custGeom>
                <a:avLst/>
                <a:gdLst>
                  <a:gd name="T0" fmla="*/ 6 w 15"/>
                  <a:gd name="T1" fmla="*/ 1 h 13"/>
                  <a:gd name="T2" fmla="*/ 1 w 15"/>
                  <a:gd name="T3" fmla="*/ 10 h 13"/>
                  <a:gd name="T4" fmla="*/ 8 w 15"/>
                  <a:gd name="T5" fmla="*/ 12 h 13"/>
                  <a:gd name="T6" fmla="*/ 12 w 15"/>
                  <a:gd name="T7" fmla="*/ 16 h 13"/>
                  <a:gd name="T8" fmla="*/ 16 w 15"/>
                  <a:gd name="T9" fmla="*/ 12 h 13"/>
                  <a:gd name="T10" fmla="*/ 16 w 15"/>
                  <a:gd name="T11" fmla="*/ 4 h 13"/>
                  <a:gd name="T12" fmla="*/ 10 w 15"/>
                  <a:gd name="T13" fmla="*/ 4 h 13"/>
                  <a:gd name="T14" fmla="*/ 6 w 15"/>
                  <a:gd name="T15" fmla="*/ 1 h 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13"/>
                  <a:gd name="T26" fmla="*/ 15 w 15"/>
                  <a:gd name="T27" fmla="*/ 13 h 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13">
                    <a:moveTo>
                      <a:pt x="5" y="1"/>
                    </a:moveTo>
                    <a:cubicBezTo>
                      <a:pt x="2" y="2"/>
                      <a:pt x="0" y="5"/>
                      <a:pt x="1" y="8"/>
                    </a:cubicBezTo>
                    <a:cubicBezTo>
                      <a:pt x="1" y="10"/>
                      <a:pt x="5" y="9"/>
                      <a:pt x="7" y="10"/>
                    </a:cubicBezTo>
                    <a:cubicBezTo>
                      <a:pt x="8" y="11"/>
                      <a:pt x="9" y="13"/>
                      <a:pt x="10" y="13"/>
                    </a:cubicBezTo>
                    <a:cubicBezTo>
                      <a:pt x="12" y="13"/>
                      <a:pt x="13" y="11"/>
                      <a:pt x="13" y="10"/>
                    </a:cubicBezTo>
                    <a:cubicBezTo>
                      <a:pt x="14" y="8"/>
                      <a:pt x="15" y="5"/>
                      <a:pt x="13" y="3"/>
                    </a:cubicBezTo>
                    <a:cubicBezTo>
                      <a:pt x="12" y="2"/>
                      <a:pt x="10" y="4"/>
                      <a:pt x="8" y="3"/>
                    </a:cubicBezTo>
                    <a:cubicBezTo>
                      <a:pt x="7" y="3"/>
                      <a:pt x="6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0" name="Freeform 3591"/>
              <p:cNvSpPr>
                <a:spLocks noChangeAspect="1"/>
              </p:cNvSpPr>
              <p:nvPr/>
            </p:nvSpPr>
            <p:spPr bwMode="auto">
              <a:xfrm>
                <a:off x="2417225" y="1378737"/>
                <a:ext cx="68695" cy="56845"/>
              </a:xfrm>
              <a:custGeom>
                <a:avLst/>
                <a:gdLst>
                  <a:gd name="T0" fmla="*/ 6 w 35"/>
                  <a:gd name="T1" fmla="*/ 0 h 29"/>
                  <a:gd name="T2" fmla="*/ 22 w 35"/>
                  <a:gd name="T3" fmla="*/ 5 h 29"/>
                  <a:gd name="T4" fmla="*/ 28 w 35"/>
                  <a:gd name="T5" fmla="*/ 8 h 29"/>
                  <a:gd name="T6" fmla="*/ 34 w 35"/>
                  <a:gd name="T7" fmla="*/ 11 h 29"/>
                  <a:gd name="T8" fmla="*/ 41 w 35"/>
                  <a:gd name="T9" fmla="*/ 16 h 29"/>
                  <a:gd name="T10" fmla="*/ 36 w 35"/>
                  <a:gd name="T11" fmla="*/ 21 h 29"/>
                  <a:gd name="T12" fmla="*/ 37 w 35"/>
                  <a:gd name="T13" fmla="*/ 28 h 29"/>
                  <a:gd name="T14" fmla="*/ 24 w 35"/>
                  <a:gd name="T15" fmla="*/ 33 h 29"/>
                  <a:gd name="T16" fmla="*/ 18 w 35"/>
                  <a:gd name="T17" fmla="*/ 30 h 29"/>
                  <a:gd name="T18" fmla="*/ 10 w 35"/>
                  <a:gd name="T19" fmla="*/ 35 h 29"/>
                  <a:gd name="T20" fmla="*/ 8 w 35"/>
                  <a:gd name="T21" fmla="*/ 29 h 29"/>
                  <a:gd name="T22" fmla="*/ 4 w 35"/>
                  <a:gd name="T23" fmla="*/ 24 h 29"/>
                  <a:gd name="T24" fmla="*/ 0 w 35"/>
                  <a:gd name="T25" fmla="*/ 12 h 29"/>
                  <a:gd name="T26" fmla="*/ 2 w 35"/>
                  <a:gd name="T27" fmla="*/ 2 h 29"/>
                  <a:gd name="T28" fmla="*/ 6 w 35"/>
                  <a:gd name="T29" fmla="*/ 0 h 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5"/>
                  <a:gd name="T46" fmla="*/ 0 h 29"/>
                  <a:gd name="T47" fmla="*/ 35 w 35"/>
                  <a:gd name="T48" fmla="*/ 29 h 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5" h="29">
                    <a:moveTo>
                      <a:pt x="5" y="0"/>
                    </a:moveTo>
                    <a:cubicBezTo>
                      <a:pt x="10" y="0"/>
                      <a:pt x="14" y="2"/>
                      <a:pt x="18" y="4"/>
                    </a:cubicBezTo>
                    <a:cubicBezTo>
                      <a:pt x="20" y="5"/>
                      <a:pt x="21" y="6"/>
                      <a:pt x="23" y="7"/>
                    </a:cubicBezTo>
                    <a:cubicBezTo>
                      <a:pt x="25" y="8"/>
                      <a:pt x="26" y="9"/>
                      <a:pt x="28" y="9"/>
                    </a:cubicBezTo>
                    <a:cubicBezTo>
                      <a:pt x="30" y="10"/>
                      <a:pt x="33" y="10"/>
                      <a:pt x="34" y="13"/>
                    </a:cubicBezTo>
                    <a:cubicBezTo>
                      <a:pt x="35" y="14"/>
                      <a:pt x="31" y="15"/>
                      <a:pt x="30" y="17"/>
                    </a:cubicBezTo>
                    <a:cubicBezTo>
                      <a:pt x="30" y="19"/>
                      <a:pt x="32" y="22"/>
                      <a:pt x="31" y="23"/>
                    </a:cubicBezTo>
                    <a:cubicBezTo>
                      <a:pt x="28" y="26"/>
                      <a:pt x="24" y="26"/>
                      <a:pt x="20" y="27"/>
                    </a:cubicBezTo>
                    <a:cubicBezTo>
                      <a:pt x="18" y="27"/>
                      <a:pt x="16" y="25"/>
                      <a:pt x="15" y="25"/>
                    </a:cubicBezTo>
                    <a:cubicBezTo>
                      <a:pt x="12" y="26"/>
                      <a:pt x="11" y="29"/>
                      <a:pt x="8" y="29"/>
                    </a:cubicBezTo>
                    <a:cubicBezTo>
                      <a:pt x="7" y="29"/>
                      <a:pt x="8" y="26"/>
                      <a:pt x="7" y="24"/>
                    </a:cubicBezTo>
                    <a:cubicBezTo>
                      <a:pt x="6" y="23"/>
                      <a:pt x="4" y="22"/>
                      <a:pt x="3" y="20"/>
                    </a:cubicBezTo>
                    <a:cubicBezTo>
                      <a:pt x="1" y="17"/>
                      <a:pt x="0" y="14"/>
                      <a:pt x="0" y="10"/>
                    </a:cubicBezTo>
                    <a:cubicBezTo>
                      <a:pt x="0" y="8"/>
                      <a:pt x="1" y="5"/>
                      <a:pt x="2" y="2"/>
                    </a:cubicBezTo>
                    <a:cubicBezTo>
                      <a:pt x="2" y="1"/>
                      <a:pt x="4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1" name="Freeform 3592"/>
              <p:cNvSpPr>
                <a:spLocks noChangeAspect="1"/>
              </p:cNvSpPr>
              <p:nvPr/>
            </p:nvSpPr>
            <p:spPr bwMode="auto">
              <a:xfrm>
                <a:off x="2446665" y="1437205"/>
                <a:ext cx="68695" cy="17866"/>
              </a:xfrm>
              <a:custGeom>
                <a:avLst/>
                <a:gdLst>
                  <a:gd name="T0" fmla="*/ 11 w 35"/>
                  <a:gd name="T1" fmla="*/ 0 h 9"/>
                  <a:gd name="T2" fmla="*/ 1 w 35"/>
                  <a:gd name="T3" fmla="*/ 2 h 9"/>
                  <a:gd name="T4" fmla="*/ 2 w 35"/>
                  <a:gd name="T5" fmla="*/ 9 h 9"/>
                  <a:gd name="T6" fmla="*/ 22 w 35"/>
                  <a:gd name="T7" fmla="*/ 9 h 9"/>
                  <a:gd name="T8" fmla="*/ 35 w 35"/>
                  <a:gd name="T9" fmla="*/ 10 h 9"/>
                  <a:gd name="T10" fmla="*/ 38 w 35"/>
                  <a:gd name="T11" fmla="*/ 5 h 9"/>
                  <a:gd name="T12" fmla="*/ 41 w 35"/>
                  <a:gd name="T13" fmla="*/ 2 h 9"/>
                  <a:gd name="T14" fmla="*/ 36 w 35"/>
                  <a:gd name="T15" fmla="*/ 0 h 9"/>
                  <a:gd name="T16" fmla="*/ 30 w 35"/>
                  <a:gd name="T17" fmla="*/ 1 h 9"/>
                  <a:gd name="T18" fmla="*/ 16 w 35"/>
                  <a:gd name="T19" fmla="*/ 0 h 9"/>
                  <a:gd name="T20" fmla="*/ 11 w 35"/>
                  <a:gd name="T21" fmla="*/ 0 h 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5"/>
                  <a:gd name="T34" fmla="*/ 0 h 9"/>
                  <a:gd name="T35" fmla="*/ 35 w 35"/>
                  <a:gd name="T36" fmla="*/ 9 h 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5" h="9">
                    <a:moveTo>
                      <a:pt x="9" y="0"/>
                    </a:moveTo>
                    <a:cubicBezTo>
                      <a:pt x="6" y="0"/>
                      <a:pt x="3" y="0"/>
                      <a:pt x="1" y="2"/>
                    </a:cubicBezTo>
                    <a:cubicBezTo>
                      <a:pt x="0" y="3"/>
                      <a:pt x="0" y="6"/>
                      <a:pt x="2" y="7"/>
                    </a:cubicBezTo>
                    <a:cubicBezTo>
                      <a:pt x="7" y="8"/>
                      <a:pt x="13" y="7"/>
                      <a:pt x="18" y="7"/>
                    </a:cubicBezTo>
                    <a:cubicBezTo>
                      <a:pt x="22" y="7"/>
                      <a:pt x="25" y="9"/>
                      <a:pt x="29" y="8"/>
                    </a:cubicBezTo>
                    <a:cubicBezTo>
                      <a:pt x="30" y="7"/>
                      <a:pt x="31" y="5"/>
                      <a:pt x="32" y="4"/>
                    </a:cubicBezTo>
                    <a:cubicBezTo>
                      <a:pt x="33" y="3"/>
                      <a:pt x="35" y="3"/>
                      <a:pt x="34" y="2"/>
                    </a:cubicBezTo>
                    <a:cubicBezTo>
                      <a:pt x="34" y="0"/>
                      <a:pt x="32" y="0"/>
                      <a:pt x="30" y="0"/>
                    </a:cubicBezTo>
                    <a:cubicBezTo>
                      <a:pt x="28" y="0"/>
                      <a:pt x="27" y="1"/>
                      <a:pt x="25" y="1"/>
                    </a:cubicBezTo>
                    <a:cubicBezTo>
                      <a:pt x="21" y="1"/>
                      <a:pt x="17" y="0"/>
                      <a:pt x="13" y="0"/>
                    </a:cubicBezTo>
                    <a:cubicBezTo>
                      <a:pt x="11" y="0"/>
                      <a:pt x="10" y="0"/>
                      <a:pt x="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2" name="Freeform 3593"/>
              <p:cNvSpPr>
                <a:spLocks noChangeAspect="1"/>
              </p:cNvSpPr>
              <p:nvPr/>
            </p:nvSpPr>
            <p:spPr bwMode="auto">
              <a:xfrm>
                <a:off x="2554614" y="1442077"/>
                <a:ext cx="24534" cy="17866"/>
              </a:xfrm>
              <a:custGeom>
                <a:avLst/>
                <a:gdLst>
                  <a:gd name="T0" fmla="*/ 4 w 12"/>
                  <a:gd name="T1" fmla="*/ 1 h 9"/>
                  <a:gd name="T2" fmla="*/ 0 w 12"/>
                  <a:gd name="T3" fmla="*/ 5 h 9"/>
                  <a:gd name="T4" fmla="*/ 5 w 12"/>
                  <a:gd name="T5" fmla="*/ 10 h 9"/>
                  <a:gd name="T6" fmla="*/ 11 w 12"/>
                  <a:gd name="T7" fmla="*/ 10 h 9"/>
                  <a:gd name="T8" fmla="*/ 14 w 12"/>
                  <a:gd name="T9" fmla="*/ 4 h 9"/>
                  <a:gd name="T10" fmla="*/ 8 w 12"/>
                  <a:gd name="T11" fmla="*/ 2 h 9"/>
                  <a:gd name="T12" fmla="*/ 4 w 12"/>
                  <a:gd name="T13" fmla="*/ 1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"/>
                  <a:gd name="T22" fmla="*/ 0 h 9"/>
                  <a:gd name="T23" fmla="*/ 12 w 12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" h="9">
                    <a:moveTo>
                      <a:pt x="3" y="1"/>
                    </a:moveTo>
                    <a:cubicBezTo>
                      <a:pt x="2" y="1"/>
                      <a:pt x="0" y="3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5" y="9"/>
                      <a:pt x="8" y="9"/>
                      <a:pt x="9" y="8"/>
                    </a:cubicBezTo>
                    <a:cubicBezTo>
                      <a:pt x="11" y="7"/>
                      <a:pt x="12" y="5"/>
                      <a:pt x="11" y="3"/>
                    </a:cubicBezTo>
                    <a:cubicBezTo>
                      <a:pt x="10" y="2"/>
                      <a:pt x="8" y="2"/>
                      <a:pt x="6" y="2"/>
                    </a:cubicBezTo>
                    <a:cubicBezTo>
                      <a:pt x="5" y="1"/>
                      <a:pt x="4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3" name="Freeform 3594"/>
              <p:cNvSpPr>
                <a:spLocks noChangeAspect="1"/>
              </p:cNvSpPr>
              <p:nvPr/>
            </p:nvSpPr>
            <p:spPr bwMode="auto">
              <a:xfrm>
                <a:off x="2422132" y="1466440"/>
                <a:ext cx="346745" cy="123434"/>
              </a:xfrm>
              <a:custGeom>
                <a:avLst/>
                <a:gdLst>
                  <a:gd name="T0" fmla="*/ 205 w 177"/>
                  <a:gd name="T1" fmla="*/ 42 h 63"/>
                  <a:gd name="T2" fmla="*/ 210 w 177"/>
                  <a:gd name="T3" fmla="*/ 51 h 63"/>
                  <a:gd name="T4" fmla="*/ 202 w 177"/>
                  <a:gd name="T5" fmla="*/ 59 h 63"/>
                  <a:gd name="T6" fmla="*/ 210 w 177"/>
                  <a:gd name="T7" fmla="*/ 62 h 63"/>
                  <a:gd name="T8" fmla="*/ 200 w 177"/>
                  <a:gd name="T9" fmla="*/ 62 h 63"/>
                  <a:gd name="T10" fmla="*/ 201 w 177"/>
                  <a:gd name="T11" fmla="*/ 70 h 63"/>
                  <a:gd name="T12" fmla="*/ 187 w 177"/>
                  <a:gd name="T13" fmla="*/ 69 h 63"/>
                  <a:gd name="T14" fmla="*/ 168 w 177"/>
                  <a:gd name="T15" fmla="*/ 72 h 63"/>
                  <a:gd name="T16" fmla="*/ 158 w 177"/>
                  <a:gd name="T17" fmla="*/ 71 h 63"/>
                  <a:gd name="T18" fmla="*/ 140 w 177"/>
                  <a:gd name="T19" fmla="*/ 71 h 63"/>
                  <a:gd name="T20" fmla="*/ 135 w 177"/>
                  <a:gd name="T21" fmla="*/ 71 h 63"/>
                  <a:gd name="T22" fmla="*/ 128 w 177"/>
                  <a:gd name="T23" fmla="*/ 74 h 63"/>
                  <a:gd name="T24" fmla="*/ 121 w 177"/>
                  <a:gd name="T25" fmla="*/ 72 h 63"/>
                  <a:gd name="T26" fmla="*/ 115 w 177"/>
                  <a:gd name="T27" fmla="*/ 74 h 63"/>
                  <a:gd name="T28" fmla="*/ 93 w 177"/>
                  <a:gd name="T29" fmla="*/ 63 h 63"/>
                  <a:gd name="T30" fmla="*/ 86 w 177"/>
                  <a:gd name="T31" fmla="*/ 65 h 63"/>
                  <a:gd name="T32" fmla="*/ 72 w 177"/>
                  <a:gd name="T33" fmla="*/ 70 h 63"/>
                  <a:gd name="T34" fmla="*/ 60 w 177"/>
                  <a:gd name="T35" fmla="*/ 69 h 63"/>
                  <a:gd name="T36" fmla="*/ 50 w 177"/>
                  <a:gd name="T37" fmla="*/ 55 h 63"/>
                  <a:gd name="T38" fmla="*/ 50 w 177"/>
                  <a:gd name="T39" fmla="*/ 52 h 63"/>
                  <a:gd name="T40" fmla="*/ 56 w 177"/>
                  <a:gd name="T41" fmla="*/ 41 h 63"/>
                  <a:gd name="T42" fmla="*/ 50 w 177"/>
                  <a:gd name="T43" fmla="*/ 29 h 63"/>
                  <a:gd name="T44" fmla="*/ 42 w 177"/>
                  <a:gd name="T45" fmla="*/ 24 h 63"/>
                  <a:gd name="T46" fmla="*/ 20 w 177"/>
                  <a:gd name="T47" fmla="*/ 24 h 63"/>
                  <a:gd name="T48" fmla="*/ 22 w 177"/>
                  <a:gd name="T49" fmla="*/ 19 h 63"/>
                  <a:gd name="T50" fmla="*/ 8 w 177"/>
                  <a:gd name="T51" fmla="*/ 16 h 63"/>
                  <a:gd name="T52" fmla="*/ 4 w 177"/>
                  <a:gd name="T53" fmla="*/ 13 h 63"/>
                  <a:gd name="T54" fmla="*/ 6 w 177"/>
                  <a:gd name="T55" fmla="*/ 8 h 63"/>
                  <a:gd name="T56" fmla="*/ 10 w 177"/>
                  <a:gd name="T57" fmla="*/ 1 h 63"/>
                  <a:gd name="T58" fmla="*/ 29 w 177"/>
                  <a:gd name="T59" fmla="*/ 1 h 63"/>
                  <a:gd name="T60" fmla="*/ 43 w 177"/>
                  <a:gd name="T61" fmla="*/ 4 h 63"/>
                  <a:gd name="T62" fmla="*/ 48 w 177"/>
                  <a:gd name="T63" fmla="*/ 11 h 63"/>
                  <a:gd name="T64" fmla="*/ 52 w 177"/>
                  <a:gd name="T65" fmla="*/ 12 h 63"/>
                  <a:gd name="T66" fmla="*/ 72 w 177"/>
                  <a:gd name="T67" fmla="*/ 10 h 63"/>
                  <a:gd name="T68" fmla="*/ 80 w 177"/>
                  <a:gd name="T69" fmla="*/ 18 h 63"/>
                  <a:gd name="T70" fmla="*/ 71 w 177"/>
                  <a:gd name="T71" fmla="*/ 18 h 63"/>
                  <a:gd name="T72" fmla="*/ 91 w 177"/>
                  <a:gd name="T73" fmla="*/ 21 h 63"/>
                  <a:gd name="T74" fmla="*/ 93 w 177"/>
                  <a:gd name="T75" fmla="*/ 27 h 63"/>
                  <a:gd name="T76" fmla="*/ 66 w 177"/>
                  <a:gd name="T77" fmla="*/ 21 h 63"/>
                  <a:gd name="T78" fmla="*/ 77 w 177"/>
                  <a:gd name="T79" fmla="*/ 29 h 63"/>
                  <a:gd name="T80" fmla="*/ 71 w 177"/>
                  <a:gd name="T81" fmla="*/ 35 h 63"/>
                  <a:gd name="T82" fmla="*/ 85 w 177"/>
                  <a:gd name="T83" fmla="*/ 35 h 63"/>
                  <a:gd name="T84" fmla="*/ 87 w 177"/>
                  <a:gd name="T85" fmla="*/ 41 h 63"/>
                  <a:gd name="T86" fmla="*/ 84 w 177"/>
                  <a:gd name="T87" fmla="*/ 45 h 63"/>
                  <a:gd name="T88" fmla="*/ 91 w 177"/>
                  <a:gd name="T89" fmla="*/ 48 h 63"/>
                  <a:gd name="T90" fmla="*/ 95 w 177"/>
                  <a:gd name="T91" fmla="*/ 43 h 63"/>
                  <a:gd name="T92" fmla="*/ 104 w 177"/>
                  <a:gd name="T93" fmla="*/ 46 h 63"/>
                  <a:gd name="T94" fmla="*/ 111 w 177"/>
                  <a:gd name="T95" fmla="*/ 46 h 63"/>
                  <a:gd name="T96" fmla="*/ 125 w 177"/>
                  <a:gd name="T97" fmla="*/ 47 h 63"/>
                  <a:gd name="T98" fmla="*/ 135 w 177"/>
                  <a:gd name="T99" fmla="*/ 49 h 63"/>
                  <a:gd name="T100" fmla="*/ 144 w 177"/>
                  <a:gd name="T101" fmla="*/ 41 h 63"/>
                  <a:gd name="T102" fmla="*/ 162 w 177"/>
                  <a:gd name="T103" fmla="*/ 35 h 63"/>
                  <a:gd name="T104" fmla="*/ 181 w 177"/>
                  <a:gd name="T105" fmla="*/ 34 h 63"/>
                  <a:gd name="T106" fmla="*/ 196 w 177"/>
                  <a:gd name="T107" fmla="*/ 37 h 6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77"/>
                  <a:gd name="T163" fmla="*/ 0 h 63"/>
                  <a:gd name="T164" fmla="*/ 177 w 177"/>
                  <a:gd name="T165" fmla="*/ 63 h 6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77" h="63">
                    <a:moveTo>
                      <a:pt x="173" y="33"/>
                    </a:moveTo>
                    <a:cubicBezTo>
                      <a:pt x="174" y="33"/>
                      <a:pt x="170" y="35"/>
                      <a:pt x="171" y="35"/>
                    </a:cubicBezTo>
                    <a:cubicBezTo>
                      <a:pt x="173" y="36"/>
                      <a:pt x="176" y="34"/>
                      <a:pt x="176" y="35"/>
                    </a:cubicBezTo>
                    <a:cubicBezTo>
                      <a:pt x="177" y="37"/>
                      <a:pt x="176" y="40"/>
                      <a:pt x="175" y="42"/>
                    </a:cubicBezTo>
                    <a:cubicBezTo>
                      <a:pt x="173" y="44"/>
                      <a:pt x="169" y="44"/>
                      <a:pt x="168" y="46"/>
                    </a:cubicBezTo>
                    <a:cubicBezTo>
                      <a:pt x="167" y="47"/>
                      <a:pt x="168" y="49"/>
                      <a:pt x="169" y="49"/>
                    </a:cubicBezTo>
                    <a:cubicBezTo>
                      <a:pt x="171" y="49"/>
                      <a:pt x="173" y="45"/>
                      <a:pt x="174" y="46"/>
                    </a:cubicBezTo>
                    <a:cubicBezTo>
                      <a:pt x="176" y="46"/>
                      <a:pt x="176" y="49"/>
                      <a:pt x="175" y="51"/>
                    </a:cubicBezTo>
                    <a:cubicBezTo>
                      <a:pt x="174" y="52"/>
                      <a:pt x="172" y="54"/>
                      <a:pt x="171" y="54"/>
                    </a:cubicBezTo>
                    <a:cubicBezTo>
                      <a:pt x="169" y="54"/>
                      <a:pt x="169" y="50"/>
                      <a:pt x="167" y="51"/>
                    </a:cubicBezTo>
                    <a:cubicBezTo>
                      <a:pt x="166" y="51"/>
                      <a:pt x="167" y="53"/>
                      <a:pt x="167" y="54"/>
                    </a:cubicBezTo>
                    <a:cubicBezTo>
                      <a:pt x="168" y="55"/>
                      <a:pt x="169" y="57"/>
                      <a:pt x="168" y="58"/>
                    </a:cubicBezTo>
                    <a:cubicBezTo>
                      <a:pt x="167" y="59"/>
                      <a:pt x="164" y="58"/>
                      <a:pt x="162" y="58"/>
                    </a:cubicBezTo>
                    <a:cubicBezTo>
                      <a:pt x="160" y="58"/>
                      <a:pt x="158" y="57"/>
                      <a:pt x="156" y="57"/>
                    </a:cubicBezTo>
                    <a:cubicBezTo>
                      <a:pt x="154" y="57"/>
                      <a:pt x="152" y="59"/>
                      <a:pt x="150" y="60"/>
                    </a:cubicBezTo>
                    <a:cubicBezTo>
                      <a:pt x="147" y="60"/>
                      <a:pt x="143" y="61"/>
                      <a:pt x="140" y="60"/>
                    </a:cubicBezTo>
                    <a:cubicBezTo>
                      <a:pt x="137" y="58"/>
                      <a:pt x="138" y="52"/>
                      <a:pt x="135" y="52"/>
                    </a:cubicBezTo>
                    <a:cubicBezTo>
                      <a:pt x="133" y="52"/>
                      <a:pt x="135" y="58"/>
                      <a:pt x="132" y="59"/>
                    </a:cubicBezTo>
                    <a:cubicBezTo>
                      <a:pt x="130" y="61"/>
                      <a:pt x="126" y="59"/>
                      <a:pt x="123" y="59"/>
                    </a:cubicBezTo>
                    <a:cubicBezTo>
                      <a:pt x="121" y="59"/>
                      <a:pt x="119" y="60"/>
                      <a:pt x="117" y="59"/>
                    </a:cubicBezTo>
                    <a:cubicBezTo>
                      <a:pt x="116" y="59"/>
                      <a:pt x="116" y="56"/>
                      <a:pt x="115" y="56"/>
                    </a:cubicBezTo>
                    <a:cubicBezTo>
                      <a:pt x="114" y="56"/>
                      <a:pt x="114" y="59"/>
                      <a:pt x="113" y="59"/>
                    </a:cubicBezTo>
                    <a:cubicBezTo>
                      <a:pt x="111" y="59"/>
                      <a:pt x="111" y="55"/>
                      <a:pt x="110" y="56"/>
                    </a:cubicBezTo>
                    <a:cubicBezTo>
                      <a:pt x="108" y="57"/>
                      <a:pt x="109" y="61"/>
                      <a:pt x="107" y="61"/>
                    </a:cubicBezTo>
                    <a:cubicBezTo>
                      <a:pt x="105" y="61"/>
                      <a:pt x="105" y="58"/>
                      <a:pt x="103" y="58"/>
                    </a:cubicBezTo>
                    <a:cubicBezTo>
                      <a:pt x="102" y="57"/>
                      <a:pt x="102" y="60"/>
                      <a:pt x="101" y="60"/>
                    </a:cubicBezTo>
                    <a:cubicBezTo>
                      <a:pt x="99" y="60"/>
                      <a:pt x="98" y="57"/>
                      <a:pt x="96" y="58"/>
                    </a:cubicBezTo>
                    <a:cubicBezTo>
                      <a:pt x="95" y="58"/>
                      <a:pt x="97" y="61"/>
                      <a:pt x="96" y="61"/>
                    </a:cubicBezTo>
                    <a:cubicBezTo>
                      <a:pt x="90" y="62"/>
                      <a:pt x="83" y="63"/>
                      <a:pt x="78" y="61"/>
                    </a:cubicBezTo>
                    <a:cubicBezTo>
                      <a:pt x="76" y="60"/>
                      <a:pt x="80" y="54"/>
                      <a:pt x="78" y="52"/>
                    </a:cubicBezTo>
                    <a:cubicBezTo>
                      <a:pt x="76" y="51"/>
                      <a:pt x="76" y="56"/>
                      <a:pt x="74" y="56"/>
                    </a:cubicBezTo>
                    <a:cubicBezTo>
                      <a:pt x="73" y="57"/>
                      <a:pt x="73" y="53"/>
                      <a:pt x="72" y="54"/>
                    </a:cubicBezTo>
                    <a:cubicBezTo>
                      <a:pt x="70" y="54"/>
                      <a:pt x="72" y="58"/>
                      <a:pt x="70" y="58"/>
                    </a:cubicBezTo>
                    <a:cubicBezTo>
                      <a:pt x="67" y="59"/>
                      <a:pt x="63" y="59"/>
                      <a:pt x="60" y="58"/>
                    </a:cubicBezTo>
                    <a:cubicBezTo>
                      <a:pt x="57" y="57"/>
                      <a:pt x="56" y="52"/>
                      <a:pt x="53" y="52"/>
                    </a:cubicBezTo>
                    <a:cubicBezTo>
                      <a:pt x="52" y="52"/>
                      <a:pt x="52" y="57"/>
                      <a:pt x="50" y="57"/>
                    </a:cubicBezTo>
                    <a:cubicBezTo>
                      <a:pt x="48" y="57"/>
                      <a:pt x="45" y="55"/>
                      <a:pt x="43" y="53"/>
                    </a:cubicBezTo>
                    <a:cubicBezTo>
                      <a:pt x="42" y="51"/>
                      <a:pt x="42" y="48"/>
                      <a:pt x="42" y="46"/>
                    </a:cubicBezTo>
                    <a:cubicBezTo>
                      <a:pt x="43" y="45"/>
                      <a:pt x="45" y="45"/>
                      <a:pt x="45" y="44"/>
                    </a:cubicBezTo>
                    <a:cubicBezTo>
                      <a:pt x="45" y="43"/>
                      <a:pt x="42" y="44"/>
                      <a:pt x="42" y="43"/>
                    </a:cubicBezTo>
                    <a:cubicBezTo>
                      <a:pt x="41" y="41"/>
                      <a:pt x="42" y="38"/>
                      <a:pt x="43" y="36"/>
                    </a:cubicBezTo>
                    <a:cubicBezTo>
                      <a:pt x="44" y="35"/>
                      <a:pt x="46" y="35"/>
                      <a:pt x="47" y="34"/>
                    </a:cubicBezTo>
                    <a:cubicBezTo>
                      <a:pt x="47" y="32"/>
                      <a:pt x="47" y="30"/>
                      <a:pt x="47" y="29"/>
                    </a:cubicBezTo>
                    <a:cubicBezTo>
                      <a:pt x="46" y="27"/>
                      <a:pt x="44" y="26"/>
                      <a:pt x="42" y="24"/>
                    </a:cubicBezTo>
                    <a:cubicBezTo>
                      <a:pt x="41" y="23"/>
                      <a:pt x="42" y="20"/>
                      <a:pt x="41" y="19"/>
                    </a:cubicBezTo>
                    <a:cubicBezTo>
                      <a:pt x="39" y="18"/>
                      <a:pt x="37" y="20"/>
                      <a:pt x="35" y="20"/>
                    </a:cubicBezTo>
                    <a:cubicBezTo>
                      <a:pt x="30" y="19"/>
                      <a:pt x="25" y="18"/>
                      <a:pt x="20" y="18"/>
                    </a:cubicBezTo>
                    <a:cubicBezTo>
                      <a:pt x="19" y="18"/>
                      <a:pt x="18" y="20"/>
                      <a:pt x="17" y="20"/>
                    </a:cubicBezTo>
                    <a:cubicBezTo>
                      <a:pt x="16" y="20"/>
                      <a:pt x="14" y="19"/>
                      <a:pt x="14" y="18"/>
                    </a:cubicBezTo>
                    <a:cubicBezTo>
                      <a:pt x="15" y="17"/>
                      <a:pt x="19" y="17"/>
                      <a:pt x="18" y="16"/>
                    </a:cubicBezTo>
                    <a:cubicBezTo>
                      <a:pt x="16" y="14"/>
                      <a:pt x="13" y="16"/>
                      <a:pt x="10" y="15"/>
                    </a:cubicBezTo>
                    <a:cubicBezTo>
                      <a:pt x="9" y="15"/>
                      <a:pt x="7" y="15"/>
                      <a:pt x="7" y="13"/>
                    </a:cubicBezTo>
                    <a:cubicBezTo>
                      <a:pt x="6" y="12"/>
                      <a:pt x="10" y="12"/>
                      <a:pt x="9" y="12"/>
                    </a:cubicBezTo>
                    <a:cubicBezTo>
                      <a:pt x="8" y="10"/>
                      <a:pt x="5" y="12"/>
                      <a:pt x="3" y="11"/>
                    </a:cubicBezTo>
                    <a:cubicBezTo>
                      <a:pt x="2" y="10"/>
                      <a:pt x="0" y="9"/>
                      <a:pt x="0" y="8"/>
                    </a:cubicBezTo>
                    <a:cubicBezTo>
                      <a:pt x="1" y="6"/>
                      <a:pt x="5" y="9"/>
                      <a:pt x="5" y="7"/>
                    </a:cubicBezTo>
                    <a:cubicBezTo>
                      <a:pt x="6" y="6"/>
                      <a:pt x="1" y="5"/>
                      <a:pt x="2" y="4"/>
                    </a:cubicBezTo>
                    <a:cubicBezTo>
                      <a:pt x="3" y="2"/>
                      <a:pt x="6" y="2"/>
                      <a:pt x="8" y="1"/>
                    </a:cubicBezTo>
                    <a:cubicBezTo>
                      <a:pt x="10" y="1"/>
                      <a:pt x="13" y="0"/>
                      <a:pt x="15" y="0"/>
                    </a:cubicBezTo>
                    <a:cubicBezTo>
                      <a:pt x="18" y="0"/>
                      <a:pt x="21" y="0"/>
                      <a:pt x="24" y="1"/>
                    </a:cubicBezTo>
                    <a:cubicBezTo>
                      <a:pt x="27" y="2"/>
                      <a:pt x="29" y="4"/>
                      <a:pt x="32" y="4"/>
                    </a:cubicBezTo>
                    <a:cubicBezTo>
                      <a:pt x="33" y="4"/>
                      <a:pt x="34" y="3"/>
                      <a:pt x="36" y="3"/>
                    </a:cubicBezTo>
                    <a:cubicBezTo>
                      <a:pt x="37" y="4"/>
                      <a:pt x="39" y="5"/>
                      <a:pt x="40" y="6"/>
                    </a:cubicBezTo>
                    <a:cubicBezTo>
                      <a:pt x="41" y="7"/>
                      <a:pt x="40" y="8"/>
                      <a:pt x="40" y="9"/>
                    </a:cubicBezTo>
                    <a:cubicBezTo>
                      <a:pt x="39" y="11"/>
                      <a:pt x="35" y="14"/>
                      <a:pt x="37" y="15"/>
                    </a:cubicBezTo>
                    <a:cubicBezTo>
                      <a:pt x="40" y="15"/>
                      <a:pt x="41" y="11"/>
                      <a:pt x="43" y="10"/>
                    </a:cubicBezTo>
                    <a:cubicBezTo>
                      <a:pt x="45" y="9"/>
                      <a:pt x="48" y="11"/>
                      <a:pt x="50" y="11"/>
                    </a:cubicBezTo>
                    <a:cubicBezTo>
                      <a:pt x="53" y="11"/>
                      <a:pt x="56" y="8"/>
                      <a:pt x="60" y="8"/>
                    </a:cubicBezTo>
                    <a:cubicBezTo>
                      <a:pt x="63" y="8"/>
                      <a:pt x="66" y="11"/>
                      <a:pt x="68" y="13"/>
                    </a:cubicBezTo>
                    <a:cubicBezTo>
                      <a:pt x="69" y="14"/>
                      <a:pt x="67" y="15"/>
                      <a:pt x="67" y="15"/>
                    </a:cubicBezTo>
                    <a:cubicBezTo>
                      <a:pt x="64" y="15"/>
                      <a:pt x="62" y="13"/>
                      <a:pt x="59" y="13"/>
                    </a:cubicBezTo>
                    <a:cubicBezTo>
                      <a:pt x="59" y="13"/>
                      <a:pt x="59" y="15"/>
                      <a:pt x="59" y="15"/>
                    </a:cubicBezTo>
                    <a:cubicBezTo>
                      <a:pt x="64" y="17"/>
                      <a:pt x="68" y="17"/>
                      <a:pt x="72" y="17"/>
                    </a:cubicBezTo>
                    <a:cubicBezTo>
                      <a:pt x="74" y="17"/>
                      <a:pt x="75" y="17"/>
                      <a:pt x="76" y="17"/>
                    </a:cubicBezTo>
                    <a:cubicBezTo>
                      <a:pt x="77" y="17"/>
                      <a:pt x="79" y="17"/>
                      <a:pt x="79" y="17"/>
                    </a:cubicBezTo>
                    <a:cubicBezTo>
                      <a:pt x="80" y="19"/>
                      <a:pt x="80" y="21"/>
                      <a:pt x="78" y="22"/>
                    </a:cubicBezTo>
                    <a:cubicBezTo>
                      <a:pt x="75" y="23"/>
                      <a:pt x="71" y="22"/>
                      <a:pt x="67" y="21"/>
                    </a:cubicBezTo>
                    <a:cubicBezTo>
                      <a:pt x="63" y="21"/>
                      <a:pt x="59" y="18"/>
                      <a:pt x="55" y="17"/>
                    </a:cubicBezTo>
                    <a:cubicBezTo>
                      <a:pt x="55" y="17"/>
                      <a:pt x="55" y="19"/>
                      <a:pt x="55" y="20"/>
                    </a:cubicBezTo>
                    <a:cubicBezTo>
                      <a:pt x="58" y="22"/>
                      <a:pt x="63" y="21"/>
                      <a:pt x="64" y="24"/>
                    </a:cubicBezTo>
                    <a:cubicBezTo>
                      <a:pt x="65" y="26"/>
                      <a:pt x="59" y="25"/>
                      <a:pt x="57" y="27"/>
                    </a:cubicBezTo>
                    <a:cubicBezTo>
                      <a:pt x="56" y="27"/>
                      <a:pt x="58" y="29"/>
                      <a:pt x="59" y="29"/>
                    </a:cubicBezTo>
                    <a:cubicBezTo>
                      <a:pt x="62" y="29"/>
                      <a:pt x="65" y="26"/>
                      <a:pt x="68" y="26"/>
                    </a:cubicBezTo>
                    <a:cubicBezTo>
                      <a:pt x="70" y="26"/>
                      <a:pt x="70" y="28"/>
                      <a:pt x="71" y="29"/>
                    </a:cubicBezTo>
                    <a:cubicBezTo>
                      <a:pt x="73" y="30"/>
                      <a:pt x="76" y="29"/>
                      <a:pt x="77" y="31"/>
                    </a:cubicBezTo>
                    <a:cubicBezTo>
                      <a:pt x="77" y="32"/>
                      <a:pt x="75" y="34"/>
                      <a:pt x="73" y="34"/>
                    </a:cubicBezTo>
                    <a:cubicBezTo>
                      <a:pt x="72" y="35"/>
                      <a:pt x="71" y="34"/>
                      <a:pt x="70" y="35"/>
                    </a:cubicBezTo>
                    <a:cubicBezTo>
                      <a:pt x="70" y="35"/>
                      <a:pt x="70" y="37"/>
                      <a:pt x="70" y="37"/>
                    </a:cubicBezTo>
                    <a:cubicBezTo>
                      <a:pt x="72" y="37"/>
                      <a:pt x="74" y="35"/>
                      <a:pt x="75" y="36"/>
                    </a:cubicBezTo>
                    <a:cubicBezTo>
                      <a:pt x="77" y="37"/>
                      <a:pt x="75" y="39"/>
                      <a:pt x="76" y="40"/>
                    </a:cubicBezTo>
                    <a:cubicBezTo>
                      <a:pt x="77" y="40"/>
                      <a:pt x="79" y="41"/>
                      <a:pt x="79" y="40"/>
                    </a:cubicBezTo>
                    <a:cubicBezTo>
                      <a:pt x="80" y="39"/>
                      <a:pt x="79" y="37"/>
                      <a:pt x="79" y="36"/>
                    </a:cubicBezTo>
                    <a:cubicBezTo>
                      <a:pt x="80" y="35"/>
                      <a:pt x="81" y="34"/>
                      <a:pt x="82" y="34"/>
                    </a:cubicBezTo>
                    <a:cubicBezTo>
                      <a:pt x="84" y="35"/>
                      <a:pt x="85" y="38"/>
                      <a:pt x="87" y="38"/>
                    </a:cubicBezTo>
                    <a:cubicBezTo>
                      <a:pt x="89" y="39"/>
                      <a:pt x="89" y="36"/>
                      <a:pt x="90" y="36"/>
                    </a:cubicBezTo>
                    <a:cubicBezTo>
                      <a:pt x="91" y="36"/>
                      <a:pt x="92" y="38"/>
                      <a:pt x="93" y="38"/>
                    </a:cubicBezTo>
                    <a:cubicBezTo>
                      <a:pt x="94" y="37"/>
                      <a:pt x="94" y="34"/>
                      <a:pt x="95" y="34"/>
                    </a:cubicBezTo>
                    <a:cubicBezTo>
                      <a:pt x="98" y="35"/>
                      <a:pt x="101" y="37"/>
                      <a:pt x="104" y="39"/>
                    </a:cubicBezTo>
                    <a:cubicBezTo>
                      <a:pt x="104" y="39"/>
                      <a:pt x="103" y="41"/>
                      <a:pt x="104" y="41"/>
                    </a:cubicBezTo>
                    <a:cubicBezTo>
                      <a:pt x="107" y="42"/>
                      <a:pt x="111" y="43"/>
                      <a:pt x="113" y="41"/>
                    </a:cubicBezTo>
                    <a:cubicBezTo>
                      <a:pt x="114" y="40"/>
                      <a:pt x="107" y="38"/>
                      <a:pt x="108" y="37"/>
                    </a:cubicBezTo>
                    <a:cubicBezTo>
                      <a:pt x="111" y="34"/>
                      <a:pt x="116" y="35"/>
                      <a:pt x="120" y="34"/>
                    </a:cubicBezTo>
                    <a:cubicBezTo>
                      <a:pt x="124" y="33"/>
                      <a:pt x="129" y="31"/>
                      <a:pt x="133" y="30"/>
                    </a:cubicBezTo>
                    <a:cubicBezTo>
                      <a:pt x="134" y="29"/>
                      <a:pt x="135" y="29"/>
                      <a:pt x="135" y="29"/>
                    </a:cubicBezTo>
                    <a:cubicBezTo>
                      <a:pt x="137" y="29"/>
                      <a:pt x="139" y="30"/>
                      <a:pt x="141" y="30"/>
                    </a:cubicBezTo>
                    <a:cubicBezTo>
                      <a:pt x="144" y="30"/>
                      <a:pt x="148" y="28"/>
                      <a:pt x="151" y="28"/>
                    </a:cubicBezTo>
                    <a:cubicBezTo>
                      <a:pt x="155" y="28"/>
                      <a:pt x="160" y="28"/>
                      <a:pt x="164" y="29"/>
                    </a:cubicBezTo>
                    <a:cubicBezTo>
                      <a:pt x="165" y="29"/>
                      <a:pt x="164" y="31"/>
                      <a:pt x="164" y="31"/>
                    </a:cubicBezTo>
                    <a:cubicBezTo>
                      <a:pt x="167" y="32"/>
                      <a:pt x="171" y="31"/>
                      <a:pt x="173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4" name="Freeform 3595"/>
              <p:cNvSpPr>
                <a:spLocks noChangeAspect="1"/>
              </p:cNvSpPr>
              <p:nvPr/>
            </p:nvSpPr>
            <p:spPr bwMode="auto">
              <a:xfrm>
                <a:off x="2556250" y="1471312"/>
                <a:ext cx="14721" cy="24362"/>
              </a:xfrm>
              <a:custGeom>
                <a:avLst/>
                <a:gdLst>
                  <a:gd name="T0" fmla="*/ 0 w 7"/>
                  <a:gd name="T1" fmla="*/ 2 h 13"/>
                  <a:gd name="T2" fmla="*/ 8 w 7"/>
                  <a:gd name="T3" fmla="*/ 1 h 13"/>
                  <a:gd name="T4" fmla="*/ 6 w 7"/>
                  <a:gd name="T5" fmla="*/ 14 h 13"/>
                  <a:gd name="T6" fmla="*/ 4 w 7"/>
                  <a:gd name="T7" fmla="*/ 13 h 13"/>
                  <a:gd name="T8" fmla="*/ 0 w 7"/>
                  <a:gd name="T9" fmla="*/ 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3"/>
                  <a:gd name="T17" fmla="*/ 7 w 7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3">
                    <a:moveTo>
                      <a:pt x="0" y="2"/>
                    </a:moveTo>
                    <a:cubicBezTo>
                      <a:pt x="1" y="2"/>
                      <a:pt x="5" y="0"/>
                      <a:pt x="6" y="1"/>
                    </a:cubicBezTo>
                    <a:cubicBezTo>
                      <a:pt x="6" y="4"/>
                      <a:pt x="7" y="8"/>
                      <a:pt x="5" y="12"/>
                    </a:cubicBezTo>
                    <a:cubicBezTo>
                      <a:pt x="5" y="13"/>
                      <a:pt x="3" y="12"/>
                      <a:pt x="3" y="11"/>
                    </a:cubicBezTo>
                    <a:cubicBezTo>
                      <a:pt x="1" y="8"/>
                      <a:pt x="0" y="5"/>
                      <a:pt x="0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5" name="Freeform 3596"/>
              <p:cNvSpPr>
                <a:spLocks noChangeAspect="1"/>
              </p:cNvSpPr>
              <p:nvPr/>
            </p:nvSpPr>
            <p:spPr bwMode="auto">
              <a:xfrm>
                <a:off x="2481013" y="1250430"/>
                <a:ext cx="220805" cy="170534"/>
              </a:xfrm>
              <a:custGeom>
                <a:avLst/>
                <a:gdLst>
                  <a:gd name="T0" fmla="*/ 63 w 113"/>
                  <a:gd name="T1" fmla="*/ 5 h 87"/>
                  <a:gd name="T2" fmla="*/ 81 w 113"/>
                  <a:gd name="T3" fmla="*/ 31 h 87"/>
                  <a:gd name="T4" fmla="*/ 100 w 113"/>
                  <a:gd name="T5" fmla="*/ 43 h 87"/>
                  <a:gd name="T6" fmla="*/ 111 w 113"/>
                  <a:gd name="T7" fmla="*/ 37 h 87"/>
                  <a:gd name="T8" fmla="*/ 111 w 113"/>
                  <a:gd name="T9" fmla="*/ 49 h 87"/>
                  <a:gd name="T10" fmla="*/ 118 w 113"/>
                  <a:gd name="T11" fmla="*/ 54 h 87"/>
                  <a:gd name="T12" fmla="*/ 127 w 113"/>
                  <a:gd name="T13" fmla="*/ 58 h 87"/>
                  <a:gd name="T14" fmla="*/ 112 w 113"/>
                  <a:gd name="T15" fmla="*/ 74 h 87"/>
                  <a:gd name="T16" fmla="*/ 104 w 113"/>
                  <a:gd name="T17" fmla="*/ 76 h 87"/>
                  <a:gd name="T18" fmla="*/ 92 w 113"/>
                  <a:gd name="T19" fmla="*/ 76 h 87"/>
                  <a:gd name="T20" fmla="*/ 90 w 113"/>
                  <a:gd name="T21" fmla="*/ 92 h 87"/>
                  <a:gd name="T22" fmla="*/ 79 w 113"/>
                  <a:gd name="T23" fmla="*/ 99 h 87"/>
                  <a:gd name="T24" fmla="*/ 63 w 113"/>
                  <a:gd name="T25" fmla="*/ 92 h 87"/>
                  <a:gd name="T26" fmla="*/ 59 w 113"/>
                  <a:gd name="T27" fmla="*/ 97 h 87"/>
                  <a:gd name="T28" fmla="*/ 42 w 113"/>
                  <a:gd name="T29" fmla="*/ 101 h 87"/>
                  <a:gd name="T30" fmla="*/ 41 w 113"/>
                  <a:gd name="T31" fmla="*/ 92 h 87"/>
                  <a:gd name="T32" fmla="*/ 29 w 113"/>
                  <a:gd name="T33" fmla="*/ 84 h 87"/>
                  <a:gd name="T34" fmla="*/ 24 w 113"/>
                  <a:gd name="T35" fmla="*/ 78 h 87"/>
                  <a:gd name="T36" fmla="*/ 54 w 113"/>
                  <a:gd name="T37" fmla="*/ 70 h 87"/>
                  <a:gd name="T38" fmla="*/ 47 w 113"/>
                  <a:gd name="T39" fmla="*/ 68 h 87"/>
                  <a:gd name="T40" fmla="*/ 41 w 113"/>
                  <a:gd name="T41" fmla="*/ 62 h 87"/>
                  <a:gd name="T42" fmla="*/ 25 w 113"/>
                  <a:gd name="T43" fmla="*/ 64 h 87"/>
                  <a:gd name="T44" fmla="*/ 8 w 113"/>
                  <a:gd name="T45" fmla="*/ 59 h 87"/>
                  <a:gd name="T46" fmla="*/ 20 w 113"/>
                  <a:gd name="T47" fmla="*/ 54 h 87"/>
                  <a:gd name="T48" fmla="*/ 1 w 113"/>
                  <a:gd name="T49" fmla="*/ 47 h 87"/>
                  <a:gd name="T50" fmla="*/ 24 w 113"/>
                  <a:gd name="T51" fmla="*/ 47 h 87"/>
                  <a:gd name="T52" fmla="*/ 17 w 113"/>
                  <a:gd name="T53" fmla="*/ 42 h 87"/>
                  <a:gd name="T54" fmla="*/ 11 w 113"/>
                  <a:gd name="T55" fmla="*/ 33 h 87"/>
                  <a:gd name="T56" fmla="*/ 35 w 113"/>
                  <a:gd name="T57" fmla="*/ 30 h 87"/>
                  <a:gd name="T58" fmla="*/ 22 w 113"/>
                  <a:gd name="T59" fmla="*/ 22 h 87"/>
                  <a:gd name="T60" fmla="*/ 38 w 113"/>
                  <a:gd name="T61" fmla="*/ 17 h 87"/>
                  <a:gd name="T62" fmla="*/ 49 w 113"/>
                  <a:gd name="T63" fmla="*/ 10 h 87"/>
                  <a:gd name="T64" fmla="*/ 33 w 113"/>
                  <a:gd name="T65" fmla="*/ 5 h 8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3"/>
                  <a:gd name="T100" fmla="*/ 0 h 87"/>
                  <a:gd name="T101" fmla="*/ 113 w 113"/>
                  <a:gd name="T102" fmla="*/ 87 h 8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3" h="87">
                    <a:moveTo>
                      <a:pt x="31" y="2"/>
                    </a:moveTo>
                    <a:cubicBezTo>
                      <a:pt x="39" y="2"/>
                      <a:pt x="47" y="0"/>
                      <a:pt x="53" y="4"/>
                    </a:cubicBezTo>
                    <a:cubicBezTo>
                      <a:pt x="59" y="7"/>
                      <a:pt x="59" y="16"/>
                      <a:pt x="62" y="21"/>
                    </a:cubicBezTo>
                    <a:cubicBezTo>
                      <a:pt x="64" y="23"/>
                      <a:pt x="66" y="25"/>
                      <a:pt x="68" y="26"/>
                    </a:cubicBezTo>
                    <a:cubicBezTo>
                      <a:pt x="71" y="27"/>
                      <a:pt x="74" y="25"/>
                      <a:pt x="76" y="26"/>
                    </a:cubicBezTo>
                    <a:cubicBezTo>
                      <a:pt x="80" y="28"/>
                      <a:pt x="80" y="35"/>
                      <a:pt x="84" y="36"/>
                    </a:cubicBezTo>
                    <a:cubicBezTo>
                      <a:pt x="86" y="37"/>
                      <a:pt x="83" y="30"/>
                      <a:pt x="85" y="29"/>
                    </a:cubicBezTo>
                    <a:cubicBezTo>
                      <a:pt x="88" y="28"/>
                      <a:pt x="92" y="28"/>
                      <a:pt x="93" y="31"/>
                    </a:cubicBezTo>
                    <a:cubicBezTo>
                      <a:pt x="94" y="33"/>
                      <a:pt x="89" y="34"/>
                      <a:pt x="89" y="36"/>
                    </a:cubicBezTo>
                    <a:cubicBezTo>
                      <a:pt x="89" y="38"/>
                      <a:pt x="94" y="39"/>
                      <a:pt x="93" y="41"/>
                    </a:cubicBezTo>
                    <a:cubicBezTo>
                      <a:pt x="93" y="44"/>
                      <a:pt x="84" y="47"/>
                      <a:pt x="87" y="49"/>
                    </a:cubicBezTo>
                    <a:cubicBezTo>
                      <a:pt x="90" y="51"/>
                      <a:pt x="94" y="45"/>
                      <a:pt x="99" y="45"/>
                    </a:cubicBezTo>
                    <a:cubicBezTo>
                      <a:pt x="100" y="45"/>
                      <a:pt x="101" y="48"/>
                      <a:pt x="103" y="48"/>
                    </a:cubicBezTo>
                    <a:cubicBezTo>
                      <a:pt x="104" y="49"/>
                      <a:pt x="105" y="47"/>
                      <a:pt x="106" y="48"/>
                    </a:cubicBezTo>
                    <a:cubicBezTo>
                      <a:pt x="108" y="50"/>
                      <a:pt x="113" y="54"/>
                      <a:pt x="111" y="56"/>
                    </a:cubicBezTo>
                    <a:cubicBezTo>
                      <a:pt x="107" y="60"/>
                      <a:pt x="100" y="59"/>
                      <a:pt x="94" y="61"/>
                    </a:cubicBezTo>
                    <a:cubicBezTo>
                      <a:pt x="92" y="62"/>
                      <a:pt x="91" y="64"/>
                      <a:pt x="90" y="65"/>
                    </a:cubicBezTo>
                    <a:cubicBezTo>
                      <a:pt x="89" y="65"/>
                      <a:pt x="88" y="62"/>
                      <a:pt x="87" y="63"/>
                    </a:cubicBezTo>
                    <a:cubicBezTo>
                      <a:pt x="84" y="66"/>
                      <a:pt x="84" y="73"/>
                      <a:pt x="80" y="73"/>
                    </a:cubicBezTo>
                    <a:cubicBezTo>
                      <a:pt x="76" y="73"/>
                      <a:pt x="79" y="66"/>
                      <a:pt x="77" y="63"/>
                    </a:cubicBezTo>
                    <a:cubicBezTo>
                      <a:pt x="76" y="62"/>
                      <a:pt x="75" y="65"/>
                      <a:pt x="75" y="66"/>
                    </a:cubicBezTo>
                    <a:cubicBezTo>
                      <a:pt x="74" y="70"/>
                      <a:pt x="77" y="74"/>
                      <a:pt x="75" y="76"/>
                    </a:cubicBezTo>
                    <a:cubicBezTo>
                      <a:pt x="74" y="78"/>
                      <a:pt x="71" y="73"/>
                      <a:pt x="69" y="74"/>
                    </a:cubicBezTo>
                    <a:cubicBezTo>
                      <a:pt x="66" y="76"/>
                      <a:pt x="69" y="82"/>
                      <a:pt x="66" y="82"/>
                    </a:cubicBezTo>
                    <a:cubicBezTo>
                      <a:pt x="62" y="83"/>
                      <a:pt x="60" y="78"/>
                      <a:pt x="57" y="76"/>
                    </a:cubicBezTo>
                    <a:cubicBezTo>
                      <a:pt x="55" y="75"/>
                      <a:pt x="52" y="74"/>
                      <a:pt x="53" y="76"/>
                    </a:cubicBezTo>
                    <a:cubicBezTo>
                      <a:pt x="54" y="79"/>
                      <a:pt x="62" y="80"/>
                      <a:pt x="60" y="83"/>
                    </a:cubicBezTo>
                    <a:cubicBezTo>
                      <a:pt x="58" y="86"/>
                      <a:pt x="53" y="79"/>
                      <a:pt x="49" y="80"/>
                    </a:cubicBezTo>
                    <a:cubicBezTo>
                      <a:pt x="47" y="80"/>
                      <a:pt x="51" y="85"/>
                      <a:pt x="49" y="86"/>
                    </a:cubicBezTo>
                    <a:cubicBezTo>
                      <a:pt x="45" y="87"/>
                      <a:pt x="40" y="85"/>
                      <a:pt x="35" y="84"/>
                    </a:cubicBezTo>
                    <a:cubicBezTo>
                      <a:pt x="32" y="83"/>
                      <a:pt x="26" y="83"/>
                      <a:pt x="26" y="79"/>
                    </a:cubicBezTo>
                    <a:cubicBezTo>
                      <a:pt x="25" y="76"/>
                      <a:pt x="35" y="79"/>
                      <a:pt x="34" y="76"/>
                    </a:cubicBezTo>
                    <a:cubicBezTo>
                      <a:pt x="34" y="73"/>
                      <a:pt x="28" y="76"/>
                      <a:pt x="25" y="74"/>
                    </a:cubicBezTo>
                    <a:cubicBezTo>
                      <a:pt x="24" y="73"/>
                      <a:pt x="24" y="72"/>
                      <a:pt x="24" y="70"/>
                    </a:cubicBezTo>
                    <a:cubicBezTo>
                      <a:pt x="24" y="69"/>
                      <a:pt x="27" y="69"/>
                      <a:pt x="26" y="68"/>
                    </a:cubicBezTo>
                    <a:cubicBezTo>
                      <a:pt x="25" y="66"/>
                      <a:pt x="19" y="67"/>
                      <a:pt x="20" y="65"/>
                    </a:cubicBezTo>
                    <a:cubicBezTo>
                      <a:pt x="22" y="61"/>
                      <a:pt x="27" y="59"/>
                      <a:pt x="31" y="58"/>
                    </a:cubicBezTo>
                    <a:cubicBezTo>
                      <a:pt x="35" y="57"/>
                      <a:pt x="40" y="58"/>
                      <a:pt x="45" y="58"/>
                    </a:cubicBezTo>
                    <a:cubicBezTo>
                      <a:pt x="46" y="58"/>
                      <a:pt x="50" y="57"/>
                      <a:pt x="49" y="56"/>
                    </a:cubicBezTo>
                    <a:cubicBezTo>
                      <a:pt x="46" y="55"/>
                      <a:pt x="42" y="57"/>
                      <a:pt x="39" y="56"/>
                    </a:cubicBezTo>
                    <a:cubicBezTo>
                      <a:pt x="38" y="55"/>
                      <a:pt x="42" y="54"/>
                      <a:pt x="41" y="52"/>
                    </a:cubicBezTo>
                    <a:cubicBezTo>
                      <a:pt x="40" y="51"/>
                      <a:pt x="37" y="50"/>
                      <a:pt x="34" y="51"/>
                    </a:cubicBezTo>
                    <a:cubicBezTo>
                      <a:pt x="31" y="51"/>
                      <a:pt x="29" y="54"/>
                      <a:pt x="26" y="55"/>
                    </a:cubicBezTo>
                    <a:cubicBezTo>
                      <a:pt x="24" y="55"/>
                      <a:pt x="23" y="53"/>
                      <a:pt x="21" y="53"/>
                    </a:cubicBezTo>
                    <a:cubicBezTo>
                      <a:pt x="18" y="53"/>
                      <a:pt x="15" y="57"/>
                      <a:pt x="12" y="56"/>
                    </a:cubicBezTo>
                    <a:cubicBezTo>
                      <a:pt x="9" y="55"/>
                      <a:pt x="5" y="51"/>
                      <a:pt x="7" y="49"/>
                    </a:cubicBezTo>
                    <a:cubicBezTo>
                      <a:pt x="10" y="46"/>
                      <a:pt x="16" y="49"/>
                      <a:pt x="20" y="48"/>
                    </a:cubicBezTo>
                    <a:cubicBezTo>
                      <a:pt x="22" y="47"/>
                      <a:pt x="19" y="45"/>
                      <a:pt x="17" y="45"/>
                    </a:cubicBezTo>
                    <a:cubicBezTo>
                      <a:pt x="14" y="45"/>
                      <a:pt x="10" y="48"/>
                      <a:pt x="6" y="47"/>
                    </a:cubicBezTo>
                    <a:cubicBezTo>
                      <a:pt x="3" y="46"/>
                      <a:pt x="2" y="42"/>
                      <a:pt x="1" y="39"/>
                    </a:cubicBezTo>
                    <a:cubicBezTo>
                      <a:pt x="0" y="38"/>
                      <a:pt x="0" y="35"/>
                      <a:pt x="2" y="35"/>
                    </a:cubicBezTo>
                    <a:cubicBezTo>
                      <a:pt x="8" y="35"/>
                      <a:pt x="14" y="40"/>
                      <a:pt x="20" y="39"/>
                    </a:cubicBezTo>
                    <a:cubicBezTo>
                      <a:pt x="22" y="39"/>
                      <a:pt x="25" y="35"/>
                      <a:pt x="23" y="34"/>
                    </a:cubicBezTo>
                    <a:cubicBezTo>
                      <a:pt x="20" y="32"/>
                      <a:pt x="17" y="35"/>
                      <a:pt x="14" y="35"/>
                    </a:cubicBezTo>
                    <a:cubicBezTo>
                      <a:pt x="11" y="34"/>
                      <a:pt x="9" y="33"/>
                      <a:pt x="8" y="31"/>
                    </a:cubicBezTo>
                    <a:cubicBezTo>
                      <a:pt x="7" y="30"/>
                      <a:pt x="8" y="28"/>
                      <a:pt x="9" y="27"/>
                    </a:cubicBezTo>
                    <a:cubicBezTo>
                      <a:pt x="12" y="25"/>
                      <a:pt x="16" y="25"/>
                      <a:pt x="20" y="25"/>
                    </a:cubicBezTo>
                    <a:cubicBezTo>
                      <a:pt x="23" y="25"/>
                      <a:pt x="27" y="27"/>
                      <a:pt x="29" y="25"/>
                    </a:cubicBezTo>
                    <a:cubicBezTo>
                      <a:pt x="30" y="23"/>
                      <a:pt x="26" y="22"/>
                      <a:pt x="24" y="21"/>
                    </a:cubicBezTo>
                    <a:cubicBezTo>
                      <a:pt x="22" y="20"/>
                      <a:pt x="18" y="20"/>
                      <a:pt x="18" y="18"/>
                    </a:cubicBezTo>
                    <a:cubicBezTo>
                      <a:pt x="19" y="15"/>
                      <a:pt x="22" y="13"/>
                      <a:pt x="25" y="13"/>
                    </a:cubicBezTo>
                    <a:cubicBezTo>
                      <a:pt x="28" y="12"/>
                      <a:pt x="30" y="15"/>
                      <a:pt x="32" y="14"/>
                    </a:cubicBezTo>
                    <a:cubicBezTo>
                      <a:pt x="36" y="14"/>
                      <a:pt x="40" y="12"/>
                      <a:pt x="43" y="10"/>
                    </a:cubicBezTo>
                    <a:cubicBezTo>
                      <a:pt x="44" y="9"/>
                      <a:pt x="42" y="8"/>
                      <a:pt x="41" y="8"/>
                    </a:cubicBezTo>
                    <a:cubicBezTo>
                      <a:pt x="37" y="7"/>
                      <a:pt x="33" y="9"/>
                      <a:pt x="29" y="8"/>
                    </a:cubicBezTo>
                    <a:cubicBezTo>
                      <a:pt x="28" y="8"/>
                      <a:pt x="28" y="5"/>
                      <a:pt x="28" y="4"/>
                    </a:cubicBezTo>
                    <a:cubicBezTo>
                      <a:pt x="28" y="3"/>
                      <a:pt x="30" y="2"/>
                      <a:pt x="3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6" name="Freeform 3597"/>
              <p:cNvSpPr>
                <a:spLocks noChangeAspect="1"/>
              </p:cNvSpPr>
              <p:nvPr/>
            </p:nvSpPr>
            <p:spPr bwMode="auto">
              <a:xfrm>
                <a:off x="2572606" y="1164351"/>
                <a:ext cx="644422" cy="347564"/>
              </a:xfrm>
              <a:custGeom>
                <a:avLst/>
                <a:gdLst>
                  <a:gd name="T0" fmla="*/ 68 w 328"/>
                  <a:gd name="T1" fmla="*/ 99 h 178"/>
                  <a:gd name="T2" fmla="*/ 88 w 328"/>
                  <a:gd name="T3" fmla="*/ 120 h 178"/>
                  <a:gd name="T4" fmla="*/ 77 w 328"/>
                  <a:gd name="T5" fmla="*/ 130 h 178"/>
                  <a:gd name="T6" fmla="*/ 100 w 328"/>
                  <a:gd name="T7" fmla="*/ 137 h 178"/>
                  <a:gd name="T8" fmla="*/ 70 w 328"/>
                  <a:gd name="T9" fmla="*/ 133 h 178"/>
                  <a:gd name="T10" fmla="*/ 40 w 328"/>
                  <a:gd name="T11" fmla="*/ 155 h 178"/>
                  <a:gd name="T12" fmla="*/ 71 w 328"/>
                  <a:gd name="T13" fmla="*/ 145 h 178"/>
                  <a:gd name="T14" fmla="*/ 60 w 328"/>
                  <a:gd name="T15" fmla="*/ 164 h 178"/>
                  <a:gd name="T16" fmla="*/ 68 w 328"/>
                  <a:gd name="T17" fmla="*/ 174 h 178"/>
                  <a:gd name="T18" fmla="*/ 96 w 328"/>
                  <a:gd name="T19" fmla="*/ 167 h 178"/>
                  <a:gd name="T20" fmla="*/ 54 w 328"/>
                  <a:gd name="T21" fmla="*/ 177 h 178"/>
                  <a:gd name="T22" fmla="*/ 30 w 328"/>
                  <a:gd name="T23" fmla="*/ 176 h 178"/>
                  <a:gd name="T24" fmla="*/ 22 w 328"/>
                  <a:gd name="T25" fmla="*/ 185 h 178"/>
                  <a:gd name="T26" fmla="*/ 11 w 328"/>
                  <a:gd name="T27" fmla="*/ 201 h 178"/>
                  <a:gd name="T28" fmla="*/ 20 w 328"/>
                  <a:gd name="T29" fmla="*/ 208 h 178"/>
                  <a:gd name="T30" fmla="*/ 48 w 328"/>
                  <a:gd name="T31" fmla="*/ 208 h 178"/>
                  <a:gd name="T32" fmla="*/ 60 w 328"/>
                  <a:gd name="T33" fmla="*/ 206 h 178"/>
                  <a:gd name="T34" fmla="*/ 85 w 328"/>
                  <a:gd name="T35" fmla="*/ 198 h 178"/>
                  <a:gd name="T36" fmla="*/ 94 w 328"/>
                  <a:gd name="T37" fmla="*/ 196 h 178"/>
                  <a:gd name="T38" fmla="*/ 108 w 328"/>
                  <a:gd name="T39" fmla="*/ 213 h 178"/>
                  <a:gd name="T40" fmla="*/ 151 w 328"/>
                  <a:gd name="T41" fmla="*/ 198 h 178"/>
                  <a:gd name="T42" fmla="*/ 131 w 328"/>
                  <a:gd name="T43" fmla="*/ 182 h 178"/>
                  <a:gd name="T44" fmla="*/ 103 w 328"/>
                  <a:gd name="T45" fmla="*/ 180 h 178"/>
                  <a:gd name="T46" fmla="*/ 126 w 328"/>
                  <a:gd name="T47" fmla="*/ 179 h 178"/>
                  <a:gd name="T48" fmla="*/ 172 w 328"/>
                  <a:gd name="T49" fmla="*/ 161 h 178"/>
                  <a:gd name="T50" fmla="*/ 199 w 328"/>
                  <a:gd name="T51" fmla="*/ 142 h 178"/>
                  <a:gd name="T52" fmla="*/ 171 w 328"/>
                  <a:gd name="T53" fmla="*/ 127 h 178"/>
                  <a:gd name="T54" fmla="*/ 209 w 328"/>
                  <a:gd name="T55" fmla="*/ 129 h 178"/>
                  <a:gd name="T56" fmla="*/ 209 w 328"/>
                  <a:gd name="T57" fmla="*/ 115 h 178"/>
                  <a:gd name="T58" fmla="*/ 225 w 328"/>
                  <a:gd name="T59" fmla="*/ 106 h 178"/>
                  <a:gd name="T60" fmla="*/ 245 w 328"/>
                  <a:gd name="T61" fmla="*/ 96 h 178"/>
                  <a:gd name="T62" fmla="*/ 308 w 328"/>
                  <a:gd name="T63" fmla="*/ 72 h 178"/>
                  <a:gd name="T64" fmla="*/ 332 w 328"/>
                  <a:gd name="T65" fmla="*/ 54 h 178"/>
                  <a:gd name="T66" fmla="*/ 342 w 328"/>
                  <a:gd name="T67" fmla="*/ 47 h 178"/>
                  <a:gd name="T68" fmla="*/ 384 w 328"/>
                  <a:gd name="T69" fmla="*/ 22 h 178"/>
                  <a:gd name="T70" fmla="*/ 342 w 328"/>
                  <a:gd name="T71" fmla="*/ 11 h 178"/>
                  <a:gd name="T72" fmla="*/ 324 w 328"/>
                  <a:gd name="T73" fmla="*/ 6 h 178"/>
                  <a:gd name="T74" fmla="*/ 268 w 328"/>
                  <a:gd name="T75" fmla="*/ 7 h 178"/>
                  <a:gd name="T76" fmla="*/ 240 w 328"/>
                  <a:gd name="T77" fmla="*/ 14 h 178"/>
                  <a:gd name="T78" fmla="*/ 192 w 328"/>
                  <a:gd name="T79" fmla="*/ 2 h 178"/>
                  <a:gd name="T80" fmla="*/ 174 w 328"/>
                  <a:gd name="T81" fmla="*/ 12 h 178"/>
                  <a:gd name="T82" fmla="*/ 155 w 328"/>
                  <a:gd name="T83" fmla="*/ 18 h 178"/>
                  <a:gd name="T84" fmla="*/ 133 w 328"/>
                  <a:gd name="T85" fmla="*/ 18 h 178"/>
                  <a:gd name="T86" fmla="*/ 150 w 328"/>
                  <a:gd name="T87" fmla="*/ 35 h 178"/>
                  <a:gd name="T88" fmla="*/ 121 w 328"/>
                  <a:gd name="T89" fmla="*/ 35 h 178"/>
                  <a:gd name="T90" fmla="*/ 78 w 328"/>
                  <a:gd name="T91" fmla="*/ 23 h 178"/>
                  <a:gd name="T92" fmla="*/ 70 w 328"/>
                  <a:gd name="T93" fmla="*/ 38 h 178"/>
                  <a:gd name="T94" fmla="*/ 84 w 328"/>
                  <a:gd name="T95" fmla="*/ 60 h 178"/>
                  <a:gd name="T96" fmla="*/ 42 w 328"/>
                  <a:gd name="T97" fmla="*/ 70 h 178"/>
                  <a:gd name="T98" fmla="*/ 91 w 328"/>
                  <a:gd name="T99" fmla="*/ 66 h 178"/>
                  <a:gd name="T100" fmla="*/ 76 w 328"/>
                  <a:gd name="T101" fmla="*/ 79 h 178"/>
                  <a:gd name="T102" fmla="*/ 108 w 328"/>
                  <a:gd name="T103" fmla="*/ 81 h 178"/>
                  <a:gd name="T104" fmla="*/ 127 w 328"/>
                  <a:gd name="T105" fmla="*/ 85 h 178"/>
                  <a:gd name="T106" fmla="*/ 183 w 328"/>
                  <a:gd name="T107" fmla="*/ 54 h 178"/>
                  <a:gd name="T108" fmla="*/ 197 w 328"/>
                  <a:gd name="T109" fmla="*/ 71 h 178"/>
                  <a:gd name="T110" fmla="*/ 145 w 328"/>
                  <a:gd name="T111" fmla="*/ 82 h 178"/>
                  <a:gd name="T112" fmla="*/ 141 w 328"/>
                  <a:gd name="T113" fmla="*/ 88 h 178"/>
                  <a:gd name="T114" fmla="*/ 123 w 328"/>
                  <a:gd name="T115" fmla="*/ 107 h 178"/>
                  <a:gd name="T116" fmla="*/ 118 w 328"/>
                  <a:gd name="T117" fmla="*/ 111 h 17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28"/>
                  <a:gd name="T178" fmla="*/ 0 h 178"/>
                  <a:gd name="T179" fmla="*/ 328 w 328"/>
                  <a:gd name="T180" fmla="*/ 178 h 17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28" h="178">
                    <a:moveTo>
                      <a:pt x="82" y="78"/>
                    </a:moveTo>
                    <a:cubicBezTo>
                      <a:pt x="78" y="76"/>
                      <a:pt x="75" y="76"/>
                      <a:pt x="71" y="76"/>
                    </a:cubicBezTo>
                    <a:cubicBezTo>
                      <a:pt x="67" y="76"/>
                      <a:pt x="63" y="74"/>
                      <a:pt x="58" y="75"/>
                    </a:cubicBezTo>
                    <a:cubicBezTo>
                      <a:pt x="57" y="75"/>
                      <a:pt x="56" y="77"/>
                      <a:pt x="55" y="78"/>
                    </a:cubicBezTo>
                    <a:cubicBezTo>
                      <a:pt x="55" y="79"/>
                      <a:pt x="57" y="81"/>
                      <a:pt x="57" y="82"/>
                    </a:cubicBezTo>
                    <a:cubicBezTo>
                      <a:pt x="57" y="83"/>
                      <a:pt x="55" y="83"/>
                      <a:pt x="54" y="84"/>
                    </a:cubicBezTo>
                    <a:cubicBezTo>
                      <a:pt x="54" y="85"/>
                      <a:pt x="53" y="87"/>
                      <a:pt x="54" y="88"/>
                    </a:cubicBezTo>
                    <a:cubicBezTo>
                      <a:pt x="57" y="90"/>
                      <a:pt x="60" y="90"/>
                      <a:pt x="63" y="91"/>
                    </a:cubicBezTo>
                    <a:cubicBezTo>
                      <a:pt x="65" y="92"/>
                      <a:pt x="67" y="93"/>
                      <a:pt x="69" y="95"/>
                    </a:cubicBezTo>
                    <a:cubicBezTo>
                      <a:pt x="70" y="96"/>
                      <a:pt x="71" y="98"/>
                      <a:pt x="73" y="100"/>
                    </a:cubicBezTo>
                    <a:cubicBezTo>
                      <a:pt x="74" y="101"/>
                      <a:pt x="76" y="102"/>
                      <a:pt x="78" y="104"/>
                    </a:cubicBezTo>
                    <a:cubicBezTo>
                      <a:pt x="79" y="105"/>
                      <a:pt x="82" y="107"/>
                      <a:pt x="80" y="107"/>
                    </a:cubicBezTo>
                    <a:cubicBezTo>
                      <a:pt x="78" y="108"/>
                      <a:pt x="75" y="106"/>
                      <a:pt x="72" y="105"/>
                    </a:cubicBezTo>
                    <a:cubicBezTo>
                      <a:pt x="70" y="105"/>
                      <a:pt x="67" y="104"/>
                      <a:pt x="65" y="104"/>
                    </a:cubicBezTo>
                    <a:cubicBezTo>
                      <a:pt x="64" y="105"/>
                      <a:pt x="63" y="107"/>
                      <a:pt x="64" y="108"/>
                    </a:cubicBezTo>
                    <a:cubicBezTo>
                      <a:pt x="66" y="110"/>
                      <a:pt x="69" y="111"/>
                      <a:pt x="71" y="111"/>
                    </a:cubicBezTo>
                    <a:cubicBezTo>
                      <a:pt x="76" y="111"/>
                      <a:pt x="81" y="110"/>
                      <a:pt x="86" y="110"/>
                    </a:cubicBezTo>
                    <a:cubicBezTo>
                      <a:pt x="89" y="110"/>
                      <a:pt x="92" y="109"/>
                      <a:pt x="95" y="110"/>
                    </a:cubicBezTo>
                    <a:cubicBezTo>
                      <a:pt x="96" y="110"/>
                      <a:pt x="96" y="113"/>
                      <a:pt x="95" y="113"/>
                    </a:cubicBezTo>
                    <a:cubicBezTo>
                      <a:pt x="91" y="115"/>
                      <a:pt x="87" y="113"/>
                      <a:pt x="83" y="114"/>
                    </a:cubicBezTo>
                    <a:cubicBezTo>
                      <a:pt x="82" y="115"/>
                      <a:pt x="87" y="115"/>
                      <a:pt x="88" y="117"/>
                    </a:cubicBezTo>
                    <a:cubicBezTo>
                      <a:pt x="88" y="117"/>
                      <a:pt x="88" y="119"/>
                      <a:pt x="87" y="119"/>
                    </a:cubicBezTo>
                    <a:cubicBezTo>
                      <a:pt x="84" y="119"/>
                      <a:pt x="81" y="116"/>
                      <a:pt x="77" y="115"/>
                    </a:cubicBezTo>
                    <a:cubicBezTo>
                      <a:pt x="73" y="114"/>
                      <a:pt x="69" y="115"/>
                      <a:pt x="66" y="114"/>
                    </a:cubicBezTo>
                    <a:cubicBezTo>
                      <a:pt x="63" y="113"/>
                      <a:pt x="61" y="111"/>
                      <a:pt x="58" y="111"/>
                    </a:cubicBezTo>
                    <a:cubicBezTo>
                      <a:pt x="57" y="111"/>
                      <a:pt x="55" y="112"/>
                      <a:pt x="53" y="113"/>
                    </a:cubicBezTo>
                    <a:cubicBezTo>
                      <a:pt x="49" y="114"/>
                      <a:pt x="44" y="113"/>
                      <a:pt x="40" y="114"/>
                    </a:cubicBezTo>
                    <a:cubicBezTo>
                      <a:pt x="39" y="115"/>
                      <a:pt x="40" y="118"/>
                      <a:pt x="40" y="119"/>
                    </a:cubicBezTo>
                    <a:cubicBezTo>
                      <a:pt x="38" y="121"/>
                      <a:pt x="35" y="121"/>
                      <a:pt x="33" y="123"/>
                    </a:cubicBezTo>
                    <a:cubicBezTo>
                      <a:pt x="32" y="125"/>
                      <a:pt x="32" y="127"/>
                      <a:pt x="33" y="129"/>
                    </a:cubicBezTo>
                    <a:cubicBezTo>
                      <a:pt x="35" y="130"/>
                      <a:pt x="37" y="130"/>
                      <a:pt x="39" y="130"/>
                    </a:cubicBezTo>
                    <a:cubicBezTo>
                      <a:pt x="41" y="130"/>
                      <a:pt x="42" y="128"/>
                      <a:pt x="44" y="128"/>
                    </a:cubicBezTo>
                    <a:cubicBezTo>
                      <a:pt x="45" y="128"/>
                      <a:pt x="44" y="130"/>
                      <a:pt x="45" y="130"/>
                    </a:cubicBezTo>
                    <a:cubicBezTo>
                      <a:pt x="47" y="130"/>
                      <a:pt x="49" y="129"/>
                      <a:pt x="51" y="128"/>
                    </a:cubicBezTo>
                    <a:cubicBezTo>
                      <a:pt x="54" y="126"/>
                      <a:pt x="56" y="123"/>
                      <a:pt x="59" y="121"/>
                    </a:cubicBezTo>
                    <a:cubicBezTo>
                      <a:pt x="60" y="120"/>
                      <a:pt x="61" y="120"/>
                      <a:pt x="61" y="121"/>
                    </a:cubicBezTo>
                    <a:cubicBezTo>
                      <a:pt x="61" y="123"/>
                      <a:pt x="58" y="125"/>
                      <a:pt x="58" y="126"/>
                    </a:cubicBezTo>
                    <a:cubicBezTo>
                      <a:pt x="59" y="128"/>
                      <a:pt x="65" y="126"/>
                      <a:pt x="64" y="128"/>
                    </a:cubicBezTo>
                    <a:cubicBezTo>
                      <a:pt x="62" y="129"/>
                      <a:pt x="58" y="127"/>
                      <a:pt x="56" y="129"/>
                    </a:cubicBezTo>
                    <a:cubicBezTo>
                      <a:pt x="53" y="130"/>
                      <a:pt x="51" y="133"/>
                      <a:pt x="50" y="136"/>
                    </a:cubicBezTo>
                    <a:cubicBezTo>
                      <a:pt x="50" y="137"/>
                      <a:pt x="53" y="135"/>
                      <a:pt x="53" y="136"/>
                    </a:cubicBezTo>
                    <a:cubicBezTo>
                      <a:pt x="54" y="137"/>
                      <a:pt x="53" y="138"/>
                      <a:pt x="53" y="139"/>
                    </a:cubicBezTo>
                    <a:cubicBezTo>
                      <a:pt x="53" y="140"/>
                      <a:pt x="52" y="141"/>
                      <a:pt x="53" y="142"/>
                    </a:cubicBezTo>
                    <a:cubicBezTo>
                      <a:pt x="53" y="143"/>
                      <a:pt x="55" y="141"/>
                      <a:pt x="55" y="142"/>
                    </a:cubicBezTo>
                    <a:cubicBezTo>
                      <a:pt x="56" y="143"/>
                      <a:pt x="56" y="145"/>
                      <a:pt x="57" y="145"/>
                    </a:cubicBezTo>
                    <a:cubicBezTo>
                      <a:pt x="59" y="146"/>
                      <a:pt x="62" y="146"/>
                      <a:pt x="64" y="146"/>
                    </a:cubicBezTo>
                    <a:cubicBezTo>
                      <a:pt x="68" y="145"/>
                      <a:pt x="71" y="143"/>
                      <a:pt x="74" y="142"/>
                    </a:cubicBezTo>
                    <a:cubicBezTo>
                      <a:pt x="77" y="139"/>
                      <a:pt x="80" y="135"/>
                      <a:pt x="84" y="132"/>
                    </a:cubicBezTo>
                    <a:cubicBezTo>
                      <a:pt x="84" y="132"/>
                      <a:pt x="86" y="131"/>
                      <a:pt x="86" y="132"/>
                    </a:cubicBezTo>
                    <a:cubicBezTo>
                      <a:pt x="85" y="135"/>
                      <a:pt x="82" y="137"/>
                      <a:pt x="80" y="139"/>
                    </a:cubicBezTo>
                    <a:cubicBezTo>
                      <a:pt x="78" y="141"/>
                      <a:pt x="76" y="143"/>
                      <a:pt x="74" y="145"/>
                    </a:cubicBezTo>
                    <a:cubicBezTo>
                      <a:pt x="73" y="146"/>
                      <a:pt x="71" y="147"/>
                      <a:pt x="69" y="148"/>
                    </a:cubicBezTo>
                    <a:cubicBezTo>
                      <a:pt x="66" y="148"/>
                      <a:pt x="62" y="147"/>
                      <a:pt x="59" y="148"/>
                    </a:cubicBezTo>
                    <a:cubicBezTo>
                      <a:pt x="58" y="149"/>
                      <a:pt x="60" y="152"/>
                      <a:pt x="59" y="151"/>
                    </a:cubicBezTo>
                    <a:cubicBezTo>
                      <a:pt x="54" y="151"/>
                      <a:pt x="49" y="150"/>
                      <a:pt x="45" y="147"/>
                    </a:cubicBezTo>
                    <a:cubicBezTo>
                      <a:pt x="42" y="145"/>
                      <a:pt x="42" y="139"/>
                      <a:pt x="39" y="136"/>
                    </a:cubicBezTo>
                    <a:cubicBezTo>
                      <a:pt x="37" y="134"/>
                      <a:pt x="34" y="135"/>
                      <a:pt x="32" y="135"/>
                    </a:cubicBezTo>
                    <a:cubicBezTo>
                      <a:pt x="28" y="136"/>
                      <a:pt x="25" y="136"/>
                      <a:pt x="22" y="138"/>
                    </a:cubicBezTo>
                    <a:cubicBezTo>
                      <a:pt x="20" y="139"/>
                      <a:pt x="21" y="142"/>
                      <a:pt x="22" y="143"/>
                    </a:cubicBezTo>
                    <a:cubicBezTo>
                      <a:pt x="22" y="145"/>
                      <a:pt x="24" y="145"/>
                      <a:pt x="25" y="146"/>
                    </a:cubicBezTo>
                    <a:cubicBezTo>
                      <a:pt x="25" y="147"/>
                      <a:pt x="25" y="149"/>
                      <a:pt x="26" y="149"/>
                    </a:cubicBezTo>
                    <a:cubicBezTo>
                      <a:pt x="28" y="150"/>
                      <a:pt x="30" y="148"/>
                      <a:pt x="31" y="149"/>
                    </a:cubicBezTo>
                    <a:cubicBezTo>
                      <a:pt x="32" y="150"/>
                      <a:pt x="34" y="151"/>
                      <a:pt x="33" y="153"/>
                    </a:cubicBezTo>
                    <a:cubicBezTo>
                      <a:pt x="32" y="154"/>
                      <a:pt x="30" y="153"/>
                      <a:pt x="29" y="153"/>
                    </a:cubicBezTo>
                    <a:cubicBezTo>
                      <a:pt x="25" y="154"/>
                      <a:pt x="21" y="153"/>
                      <a:pt x="18" y="154"/>
                    </a:cubicBezTo>
                    <a:cubicBezTo>
                      <a:pt x="16" y="154"/>
                      <a:pt x="14" y="155"/>
                      <a:pt x="13" y="155"/>
                    </a:cubicBezTo>
                    <a:cubicBezTo>
                      <a:pt x="9" y="157"/>
                      <a:pt x="4" y="158"/>
                      <a:pt x="1" y="161"/>
                    </a:cubicBezTo>
                    <a:cubicBezTo>
                      <a:pt x="0" y="163"/>
                      <a:pt x="0" y="165"/>
                      <a:pt x="1" y="167"/>
                    </a:cubicBezTo>
                    <a:cubicBezTo>
                      <a:pt x="2" y="169"/>
                      <a:pt x="5" y="172"/>
                      <a:pt x="8" y="172"/>
                    </a:cubicBezTo>
                    <a:cubicBezTo>
                      <a:pt x="9" y="172"/>
                      <a:pt x="8" y="167"/>
                      <a:pt x="9" y="167"/>
                    </a:cubicBezTo>
                    <a:cubicBezTo>
                      <a:pt x="11" y="168"/>
                      <a:pt x="9" y="174"/>
                      <a:pt x="10" y="172"/>
                    </a:cubicBezTo>
                    <a:cubicBezTo>
                      <a:pt x="12" y="170"/>
                      <a:pt x="10" y="167"/>
                      <a:pt x="12" y="164"/>
                    </a:cubicBezTo>
                    <a:cubicBezTo>
                      <a:pt x="12" y="164"/>
                      <a:pt x="13" y="165"/>
                      <a:pt x="13" y="166"/>
                    </a:cubicBezTo>
                    <a:cubicBezTo>
                      <a:pt x="14" y="168"/>
                      <a:pt x="12" y="171"/>
                      <a:pt x="13" y="173"/>
                    </a:cubicBezTo>
                    <a:cubicBezTo>
                      <a:pt x="13" y="174"/>
                      <a:pt x="16" y="174"/>
                      <a:pt x="17" y="173"/>
                    </a:cubicBezTo>
                    <a:cubicBezTo>
                      <a:pt x="19" y="172"/>
                      <a:pt x="21" y="169"/>
                      <a:pt x="23" y="169"/>
                    </a:cubicBezTo>
                    <a:cubicBezTo>
                      <a:pt x="25" y="169"/>
                      <a:pt x="26" y="173"/>
                      <a:pt x="27" y="173"/>
                    </a:cubicBezTo>
                    <a:cubicBezTo>
                      <a:pt x="30" y="173"/>
                      <a:pt x="31" y="169"/>
                      <a:pt x="33" y="169"/>
                    </a:cubicBezTo>
                    <a:cubicBezTo>
                      <a:pt x="34" y="169"/>
                      <a:pt x="32" y="172"/>
                      <a:pt x="33" y="173"/>
                    </a:cubicBezTo>
                    <a:cubicBezTo>
                      <a:pt x="35" y="174"/>
                      <a:pt x="38" y="173"/>
                      <a:pt x="40" y="173"/>
                    </a:cubicBezTo>
                    <a:cubicBezTo>
                      <a:pt x="41" y="174"/>
                      <a:pt x="41" y="176"/>
                      <a:pt x="42" y="176"/>
                    </a:cubicBezTo>
                    <a:cubicBezTo>
                      <a:pt x="45" y="176"/>
                      <a:pt x="48" y="176"/>
                      <a:pt x="51" y="175"/>
                    </a:cubicBezTo>
                    <a:cubicBezTo>
                      <a:pt x="52" y="174"/>
                      <a:pt x="48" y="174"/>
                      <a:pt x="48" y="173"/>
                    </a:cubicBezTo>
                    <a:cubicBezTo>
                      <a:pt x="47" y="172"/>
                      <a:pt x="47" y="170"/>
                      <a:pt x="48" y="169"/>
                    </a:cubicBezTo>
                    <a:cubicBezTo>
                      <a:pt x="49" y="169"/>
                      <a:pt x="49" y="171"/>
                      <a:pt x="50" y="171"/>
                    </a:cubicBezTo>
                    <a:cubicBezTo>
                      <a:pt x="53" y="171"/>
                      <a:pt x="55" y="169"/>
                      <a:pt x="58" y="169"/>
                    </a:cubicBezTo>
                    <a:cubicBezTo>
                      <a:pt x="59" y="169"/>
                      <a:pt x="59" y="171"/>
                      <a:pt x="60" y="171"/>
                    </a:cubicBezTo>
                    <a:cubicBezTo>
                      <a:pt x="63" y="172"/>
                      <a:pt x="66" y="173"/>
                      <a:pt x="69" y="171"/>
                    </a:cubicBezTo>
                    <a:cubicBezTo>
                      <a:pt x="70" y="170"/>
                      <a:pt x="68" y="166"/>
                      <a:pt x="69" y="164"/>
                    </a:cubicBezTo>
                    <a:cubicBezTo>
                      <a:pt x="70" y="164"/>
                      <a:pt x="71" y="164"/>
                      <a:pt x="71" y="165"/>
                    </a:cubicBezTo>
                    <a:cubicBezTo>
                      <a:pt x="72" y="167"/>
                      <a:pt x="71" y="171"/>
                      <a:pt x="72" y="173"/>
                    </a:cubicBezTo>
                    <a:cubicBezTo>
                      <a:pt x="73" y="174"/>
                      <a:pt x="76" y="173"/>
                      <a:pt x="77" y="173"/>
                    </a:cubicBezTo>
                    <a:cubicBezTo>
                      <a:pt x="79" y="172"/>
                      <a:pt x="81" y="170"/>
                      <a:pt x="81" y="168"/>
                    </a:cubicBezTo>
                    <a:cubicBezTo>
                      <a:pt x="81" y="167"/>
                      <a:pt x="79" y="167"/>
                      <a:pt x="78" y="166"/>
                    </a:cubicBezTo>
                    <a:cubicBezTo>
                      <a:pt x="78" y="165"/>
                      <a:pt x="77" y="163"/>
                      <a:pt x="78" y="163"/>
                    </a:cubicBezTo>
                    <a:cubicBezTo>
                      <a:pt x="80" y="163"/>
                      <a:pt x="83" y="164"/>
                      <a:pt x="84" y="166"/>
                    </a:cubicBezTo>
                    <a:cubicBezTo>
                      <a:pt x="85" y="167"/>
                      <a:pt x="82" y="170"/>
                      <a:pt x="83" y="171"/>
                    </a:cubicBezTo>
                    <a:cubicBezTo>
                      <a:pt x="85" y="173"/>
                      <a:pt x="88" y="171"/>
                      <a:pt x="90" y="171"/>
                    </a:cubicBezTo>
                    <a:cubicBezTo>
                      <a:pt x="91" y="171"/>
                      <a:pt x="93" y="171"/>
                      <a:pt x="93" y="172"/>
                    </a:cubicBezTo>
                    <a:cubicBezTo>
                      <a:pt x="93" y="173"/>
                      <a:pt x="88" y="176"/>
                      <a:pt x="90" y="177"/>
                    </a:cubicBezTo>
                    <a:cubicBezTo>
                      <a:pt x="93" y="178"/>
                      <a:pt x="95" y="175"/>
                      <a:pt x="98" y="175"/>
                    </a:cubicBezTo>
                    <a:cubicBezTo>
                      <a:pt x="101" y="174"/>
                      <a:pt x="105" y="174"/>
                      <a:pt x="108" y="173"/>
                    </a:cubicBezTo>
                    <a:cubicBezTo>
                      <a:pt x="110" y="173"/>
                      <a:pt x="112" y="169"/>
                      <a:pt x="114" y="169"/>
                    </a:cubicBezTo>
                    <a:cubicBezTo>
                      <a:pt x="116" y="169"/>
                      <a:pt x="116" y="174"/>
                      <a:pt x="117" y="173"/>
                    </a:cubicBezTo>
                    <a:cubicBezTo>
                      <a:pt x="121" y="172"/>
                      <a:pt x="124" y="168"/>
                      <a:pt x="126" y="165"/>
                    </a:cubicBezTo>
                    <a:cubicBezTo>
                      <a:pt x="127" y="162"/>
                      <a:pt x="128" y="157"/>
                      <a:pt x="126" y="157"/>
                    </a:cubicBezTo>
                    <a:cubicBezTo>
                      <a:pt x="122" y="156"/>
                      <a:pt x="120" y="162"/>
                      <a:pt x="116" y="163"/>
                    </a:cubicBezTo>
                    <a:cubicBezTo>
                      <a:pt x="114" y="163"/>
                      <a:pt x="113" y="160"/>
                      <a:pt x="113" y="159"/>
                    </a:cubicBezTo>
                    <a:cubicBezTo>
                      <a:pt x="113" y="157"/>
                      <a:pt x="116" y="155"/>
                      <a:pt x="115" y="154"/>
                    </a:cubicBezTo>
                    <a:cubicBezTo>
                      <a:pt x="114" y="152"/>
                      <a:pt x="111" y="151"/>
                      <a:pt x="109" y="151"/>
                    </a:cubicBezTo>
                    <a:cubicBezTo>
                      <a:pt x="107" y="151"/>
                      <a:pt x="106" y="153"/>
                      <a:pt x="104" y="153"/>
                    </a:cubicBezTo>
                    <a:cubicBezTo>
                      <a:pt x="104" y="153"/>
                      <a:pt x="105" y="151"/>
                      <a:pt x="104" y="151"/>
                    </a:cubicBezTo>
                    <a:cubicBezTo>
                      <a:pt x="101" y="150"/>
                      <a:pt x="98" y="149"/>
                      <a:pt x="95" y="150"/>
                    </a:cubicBezTo>
                    <a:cubicBezTo>
                      <a:pt x="92" y="150"/>
                      <a:pt x="90" y="154"/>
                      <a:pt x="87" y="154"/>
                    </a:cubicBezTo>
                    <a:cubicBezTo>
                      <a:pt x="85" y="154"/>
                      <a:pt x="85" y="151"/>
                      <a:pt x="86" y="150"/>
                    </a:cubicBezTo>
                    <a:cubicBezTo>
                      <a:pt x="87" y="148"/>
                      <a:pt x="90" y="150"/>
                      <a:pt x="92" y="148"/>
                    </a:cubicBezTo>
                    <a:cubicBezTo>
                      <a:pt x="92" y="148"/>
                      <a:pt x="89" y="148"/>
                      <a:pt x="89" y="147"/>
                    </a:cubicBezTo>
                    <a:cubicBezTo>
                      <a:pt x="88" y="146"/>
                      <a:pt x="88" y="142"/>
                      <a:pt x="90" y="142"/>
                    </a:cubicBezTo>
                    <a:cubicBezTo>
                      <a:pt x="92" y="142"/>
                      <a:pt x="93" y="146"/>
                      <a:pt x="95" y="147"/>
                    </a:cubicBezTo>
                    <a:cubicBezTo>
                      <a:pt x="98" y="148"/>
                      <a:pt x="102" y="149"/>
                      <a:pt x="105" y="149"/>
                    </a:cubicBezTo>
                    <a:cubicBezTo>
                      <a:pt x="109" y="150"/>
                      <a:pt x="113" y="150"/>
                      <a:pt x="117" y="150"/>
                    </a:cubicBezTo>
                    <a:cubicBezTo>
                      <a:pt x="121" y="149"/>
                      <a:pt x="126" y="148"/>
                      <a:pt x="129" y="145"/>
                    </a:cubicBezTo>
                    <a:cubicBezTo>
                      <a:pt x="130" y="144"/>
                      <a:pt x="127" y="142"/>
                      <a:pt x="127" y="140"/>
                    </a:cubicBezTo>
                    <a:cubicBezTo>
                      <a:pt x="128" y="138"/>
                      <a:pt x="130" y="134"/>
                      <a:pt x="132" y="133"/>
                    </a:cubicBezTo>
                    <a:cubicBezTo>
                      <a:pt x="136" y="132"/>
                      <a:pt x="140" y="134"/>
                      <a:pt x="143" y="134"/>
                    </a:cubicBezTo>
                    <a:cubicBezTo>
                      <a:pt x="145" y="134"/>
                      <a:pt x="147" y="132"/>
                      <a:pt x="149" y="132"/>
                    </a:cubicBezTo>
                    <a:cubicBezTo>
                      <a:pt x="151" y="132"/>
                      <a:pt x="152" y="134"/>
                      <a:pt x="153" y="134"/>
                    </a:cubicBezTo>
                    <a:cubicBezTo>
                      <a:pt x="157" y="131"/>
                      <a:pt x="163" y="128"/>
                      <a:pt x="163" y="123"/>
                    </a:cubicBezTo>
                    <a:cubicBezTo>
                      <a:pt x="162" y="119"/>
                      <a:pt x="148" y="122"/>
                      <a:pt x="151" y="118"/>
                    </a:cubicBezTo>
                    <a:cubicBezTo>
                      <a:pt x="154" y="114"/>
                      <a:pt x="162" y="121"/>
                      <a:pt x="166" y="118"/>
                    </a:cubicBezTo>
                    <a:cubicBezTo>
                      <a:pt x="169" y="117"/>
                      <a:pt x="171" y="113"/>
                      <a:pt x="169" y="111"/>
                    </a:cubicBezTo>
                    <a:cubicBezTo>
                      <a:pt x="167" y="108"/>
                      <a:pt x="162" y="111"/>
                      <a:pt x="158" y="110"/>
                    </a:cubicBezTo>
                    <a:cubicBezTo>
                      <a:pt x="158" y="109"/>
                      <a:pt x="159" y="107"/>
                      <a:pt x="158" y="107"/>
                    </a:cubicBezTo>
                    <a:cubicBezTo>
                      <a:pt x="154" y="106"/>
                      <a:pt x="149" y="108"/>
                      <a:pt x="145" y="107"/>
                    </a:cubicBezTo>
                    <a:cubicBezTo>
                      <a:pt x="143" y="107"/>
                      <a:pt x="141" y="106"/>
                      <a:pt x="142" y="106"/>
                    </a:cubicBezTo>
                    <a:cubicBezTo>
                      <a:pt x="146" y="105"/>
                      <a:pt x="154" y="108"/>
                      <a:pt x="154" y="104"/>
                    </a:cubicBezTo>
                    <a:cubicBezTo>
                      <a:pt x="155" y="100"/>
                      <a:pt x="146" y="104"/>
                      <a:pt x="142" y="102"/>
                    </a:cubicBezTo>
                    <a:cubicBezTo>
                      <a:pt x="140" y="101"/>
                      <a:pt x="148" y="102"/>
                      <a:pt x="151" y="102"/>
                    </a:cubicBezTo>
                    <a:cubicBezTo>
                      <a:pt x="154" y="102"/>
                      <a:pt x="158" y="103"/>
                      <a:pt x="161" y="104"/>
                    </a:cubicBezTo>
                    <a:cubicBezTo>
                      <a:pt x="166" y="105"/>
                      <a:pt x="170" y="108"/>
                      <a:pt x="174" y="107"/>
                    </a:cubicBezTo>
                    <a:cubicBezTo>
                      <a:pt x="176" y="106"/>
                      <a:pt x="174" y="101"/>
                      <a:pt x="172" y="101"/>
                    </a:cubicBezTo>
                    <a:cubicBezTo>
                      <a:pt x="167" y="99"/>
                      <a:pt x="160" y="102"/>
                      <a:pt x="154" y="100"/>
                    </a:cubicBezTo>
                    <a:cubicBezTo>
                      <a:pt x="152" y="100"/>
                      <a:pt x="153" y="96"/>
                      <a:pt x="154" y="96"/>
                    </a:cubicBezTo>
                    <a:cubicBezTo>
                      <a:pt x="156" y="95"/>
                      <a:pt x="159" y="96"/>
                      <a:pt x="162" y="96"/>
                    </a:cubicBezTo>
                    <a:cubicBezTo>
                      <a:pt x="166" y="96"/>
                      <a:pt x="170" y="96"/>
                      <a:pt x="174" y="96"/>
                    </a:cubicBezTo>
                    <a:cubicBezTo>
                      <a:pt x="177" y="96"/>
                      <a:pt x="181" y="96"/>
                      <a:pt x="184" y="95"/>
                    </a:cubicBezTo>
                    <a:cubicBezTo>
                      <a:pt x="186" y="94"/>
                      <a:pt x="185" y="90"/>
                      <a:pt x="184" y="90"/>
                    </a:cubicBezTo>
                    <a:cubicBezTo>
                      <a:pt x="180" y="88"/>
                      <a:pt x="175" y="91"/>
                      <a:pt x="171" y="89"/>
                    </a:cubicBezTo>
                    <a:cubicBezTo>
                      <a:pt x="169" y="88"/>
                      <a:pt x="173" y="85"/>
                      <a:pt x="175" y="85"/>
                    </a:cubicBezTo>
                    <a:cubicBezTo>
                      <a:pt x="179" y="84"/>
                      <a:pt x="183" y="86"/>
                      <a:pt x="187" y="88"/>
                    </a:cubicBezTo>
                    <a:cubicBezTo>
                      <a:pt x="190" y="89"/>
                      <a:pt x="192" y="93"/>
                      <a:pt x="195" y="93"/>
                    </a:cubicBezTo>
                    <a:cubicBezTo>
                      <a:pt x="201" y="93"/>
                      <a:pt x="206" y="91"/>
                      <a:pt x="210" y="89"/>
                    </a:cubicBezTo>
                    <a:cubicBezTo>
                      <a:pt x="212" y="88"/>
                      <a:pt x="216" y="85"/>
                      <a:pt x="214" y="83"/>
                    </a:cubicBezTo>
                    <a:cubicBezTo>
                      <a:pt x="212" y="81"/>
                      <a:pt x="207" y="83"/>
                      <a:pt x="204" y="82"/>
                    </a:cubicBezTo>
                    <a:cubicBezTo>
                      <a:pt x="204" y="82"/>
                      <a:pt x="204" y="80"/>
                      <a:pt x="204" y="80"/>
                    </a:cubicBezTo>
                    <a:cubicBezTo>
                      <a:pt x="210" y="79"/>
                      <a:pt x="217" y="82"/>
                      <a:pt x="222" y="79"/>
                    </a:cubicBezTo>
                    <a:cubicBezTo>
                      <a:pt x="225" y="77"/>
                      <a:pt x="214" y="75"/>
                      <a:pt x="217" y="73"/>
                    </a:cubicBezTo>
                    <a:cubicBezTo>
                      <a:pt x="220" y="72"/>
                      <a:pt x="223" y="76"/>
                      <a:pt x="227" y="76"/>
                    </a:cubicBezTo>
                    <a:cubicBezTo>
                      <a:pt x="230" y="76"/>
                      <a:pt x="232" y="73"/>
                      <a:pt x="235" y="71"/>
                    </a:cubicBezTo>
                    <a:cubicBezTo>
                      <a:pt x="242" y="68"/>
                      <a:pt x="249" y="64"/>
                      <a:pt x="256" y="60"/>
                    </a:cubicBezTo>
                    <a:cubicBezTo>
                      <a:pt x="261" y="57"/>
                      <a:pt x="266" y="54"/>
                      <a:pt x="271" y="52"/>
                    </a:cubicBezTo>
                    <a:cubicBezTo>
                      <a:pt x="274" y="51"/>
                      <a:pt x="277" y="51"/>
                      <a:pt x="280" y="50"/>
                    </a:cubicBezTo>
                    <a:cubicBezTo>
                      <a:pt x="283" y="49"/>
                      <a:pt x="286" y="47"/>
                      <a:pt x="287" y="45"/>
                    </a:cubicBezTo>
                    <a:cubicBezTo>
                      <a:pt x="288" y="43"/>
                      <a:pt x="284" y="45"/>
                      <a:pt x="283" y="45"/>
                    </a:cubicBezTo>
                    <a:cubicBezTo>
                      <a:pt x="280" y="45"/>
                      <a:pt x="278" y="45"/>
                      <a:pt x="276" y="45"/>
                    </a:cubicBezTo>
                    <a:cubicBezTo>
                      <a:pt x="270" y="46"/>
                      <a:pt x="264" y="48"/>
                      <a:pt x="258" y="49"/>
                    </a:cubicBezTo>
                    <a:cubicBezTo>
                      <a:pt x="250" y="51"/>
                      <a:pt x="242" y="52"/>
                      <a:pt x="233" y="53"/>
                    </a:cubicBezTo>
                    <a:cubicBezTo>
                      <a:pt x="232" y="53"/>
                      <a:pt x="234" y="51"/>
                      <a:pt x="236" y="50"/>
                    </a:cubicBezTo>
                    <a:cubicBezTo>
                      <a:pt x="246" y="47"/>
                      <a:pt x="257" y="45"/>
                      <a:pt x="268" y="43"/>
                    </a:cubicBezTo>
                    <a:cubicBezTo>
                      <a:pt x="274" y="41"/>
                      <a:pt x="280" y="40"/>
                      <a:pt x="285" y="39"/>
                    </a:cubicBezTo>
                    <a:cubicBezTo>
                      <a:pt x="289" y="38"/>
                      <a:pt x="294" y="38"/>
                      <a:pt x="297" y="37"/>
                    </a:cubicBezTo>
                    <a:cubicBezTo>
                      <a:pt x="302" y="35"/>
                      <a:pt x="306" y="33"/>
                      <a:pt x="310" y="31"/>
                    </a:cubicBezTo>
                    <a:cubicBezTo>
                      <a:pt x="314" y="29"/>
                      <a:pt x="319" y="27"/>
                      <a:pt x="322" y="25"/>
                    </a:cubicBezTo>
                    <a:cubicBezTo>
                      <a:pt x="325" y="23"/>
                      <a:pt x="328" y="20"/>
                      <a:pt x="327" y="18"/>
                    </a:cubicBezTo>
                    <a:cubicBezTo>
                      <a:pt x="327" y="16"/>
                      <a:pt x="323" y="18"/>
                      <a:pt x="320" y="18"/>
                    </a:cubicBezTo>
                    <a:cubicBezTo>
                      <a:pt x="317" y="17"/>
                      <a:pt x="313" y="14"/>
                      <a:pt x="310" y="13"/>
                    </a:cubicBezTo>
                    <a:cubicBezTo>
                      <a:pt x="305" y="12"/>
                      <a:pt x="301" y="13"/>
                      <a:pt x="296" y="12"/>
                    </a:cubicBezTo>
                    <a:cubicBezTo>
                      <a:pt x="295" y="12"/>
                      <a:pt x="293" y="10"/>
                      <a:pt x="292" y="9"/>
                    </a:cubicBezTo>
                    <a:cubicBezTo>
                      <a:pt x="291" y="8"/>
                      <a:pt x="292" y="5"/>
                      <a:pt x="291" y="5"/>
                    </a:cubicBezTo>
                    <a:cubicBezTo>
                      <a:pt x="288" y="5"/>
                      <a:pt x="287" y="8"/>
                      <a:pt x="285" y="9"/>
                    </a:cubicBezTo>
                    <a:cubicBezTo>
                      <a:pt x="282" y="10"/>
                      <a:pt x="279" y="10"/>
                      <a:pt x="276" y="11"/>
                    </a:cubicBezTo>
                    <a:cubicBezTo>
                      <a:pt x="267" y="12"/>
                      <a:pt x="257" y="14"/>
                      <a:pt x="248" y="14"/>
                    </a:cubicBezTo>
                    <a:cubicBezTo>
                      <a:pt x="246" y="14"/>
                      <a:pt x="250" y="11"/>
                      <a:pt x="252" y="11"/>
                    </a:cubicBezTo>
                    <a:cubicBezTo>
                      <a:pt x="258" y="9"/>
                      <a:pt x="265" y="9"/>
                      <a:pt x="272" y="7"/>
                    </a:cubicBezTo>
                    <a:cubicBezTo>
                      <a:pt x="273" y="7"/>
                      <a:pt x="271" y="5"/>
                      <a:pt x="270" y="5"/>
                    </a:cubicBezTo>
                    <a:cubicBezTo>
                      <a:pt x="264" y="4"/>
                      <a:pt x="258" y="4"/>
                      <a:pt x="253" y="4"/>
                    </a:cubicBezTo>
                    <a:cubicBezTo>
                      <a:pt x="248" y="4"/>
                      <a:pt x="244" y="3"/>
                      <a:pt x="240" y="3"/>
                    </a:cubicBezTo>
                    <a:cubicBezTo>
                      <a:pt x="238" y="2"/>
                      <a:pt x="236" y="0"/>
                      <a:pt x="234" y="0"/>
                    </a:cubicBezTo>
                    <a:cubicBezTo>
                      <a:pt x="230" y="0"/>
                      <a:pt x="225" y="0"/>
                      <a:pt x="222" y="1"/>
                    </a:cubicBezTo>
                    <a:cubicBezTo>
                      <a:pt x="220" y="2"/>
                      <a:pt x="225" y="5"/>
                      <a:pt x="223" y="6"/>
                    </a:cubicBezTo>
                    <a:cubicBezTo>
                      <a:pt x="221" y="7"/>
                      <a:pt x="218" y="6"/>
                      <a:pt x="216" y="5"/>
                    </a:cubicBezTo>
                    <a:cubicBezTo>
                      <a:pt x="214" y="5"/>
                      <a:pt x="213" y="2"/>
                      <a:pt x="211" y="2"/>
                    </a:cubicBezTo>
                    <a:cubicBezTo>
                      <a:pt x="208" y="1"/>
                      <a:pt x="204" y="3"/>
                      <a:pt x="200" y="4"/>
                    </a:cubicBezTo>
                    <a:cubicBezTo>
                      <a:pt x="199" y="4"/>
                      <a:pt x="197" y="5"/>
                      <a:pt x="197" y="7"/>
                    </a:cubicBezTo>
                    <a:cubicBezTo>
                      <a:pt x="197" y="9"/>
                      <a:pt x="201" y="10"/>
                      <a:pt x="200" y="12"/>
                    </a:cubicBezTo>
                    <a:cubicBezTo>
                      <a:pt x="200" y="14"/>
                      <a:pt x="197" y="14"/>
                      <a:pt x="196" y="13"/>
                    </a:cubicBezTo>
                    <a:cubicBezTo>
                      <a:pt x="193" y="11"/>
                      <a:pt x="191" y="8"/>
                      <a:pt x="188" y="6"/>
                    </a:cubicBezTo>
                    <a:cubicBezTo>
                      <a:pt x="187" y="4"/>
                      <a:pt x="185" y="3"/>
                      <a:pt x="183" y="2"/>
                    </a:cubicBezTo>
                    <a:cubicBezTo>
                      <a:pt x="179" y="1"/>
                      <a:pt x="176" y="2"/>
                      <a:pt x="172" y="2"/>
                    </a:cubicBezTo>
                    <a:cubicBezTo>
                      <a:pt x="168" y="2"/>
                      <a:pt x="164" y="1"/>
                      <a:pt x="160" y="2"/>
                    </a:cubicBezTo>
                    <a:cubicBezTo>
                      <a:pt x="159" y="3"/>
                      <a:pt x="157" y="5"/>
                      <a:pt x="158" y="6"/>
                    </a:cubicBezTo>
                    <a:cubicBezTo>
                      <a:pt x="163" y="10"/>
                      <a:pt x="171" y="11"/>
                      <a:pt x="176" y="16"/>
                    </a:cubicBezTo>
                    <a:cubicBezTo>
                      <a:pt x="178" y="18"/>
                      <a:pt x="172" y="18"/>
                      <a:pt x="170" y="17"/>
                    </a:cubicBezTo>
                    <a:cubicBezTo>
                      <a:pt x="164" y="15"/>
                      <a:pt x="158" y="9"/>
                      <a:pt x="152" y="7"/>
                    </a:cubicBezTo>
                    <a:cubicBezTo>
                      <a:pt x="149" y="6"/>
                      <a:pt x="147" y="10"/>
                      <a:pt x="145" y="10"/>
                    </a:cubicBezTo>
                    <a:cubicBezTo>
                      <a:pt x="142" y="10"/>
                      <a:pt x="140" y="8"/>
                      <a:pt x="137" y="7"/>
                    </a:cubicBezTo>
                    <a:cubicBezTo>
                      <a:pt x="136" y="6"/>
                      <a:pt x="134" y="4"/>
                      <a:pt x="132" y="4"/>
                    </a:cubicBezTo>
                    <a:cubicBezTo>
                      <a:pt x="130" y="5"/>
                      <a:pt x="128" y="7"/>
                      <a:pt x="129" y="8"/>
                    </a:cubicBezTo>
                    <a:cubicBezTo>
                      <a:pt x="129" y="11"/>
                      <a:pt x="134" y="12"/>
                      <a:pt x="134" y="15"/>
                    </a:cubicBezTo>
                    <a:cubicBezTo>
                      <a:pt x="134" y="17"/>
                      <a:pt x="130" y="16"/>
                      <a:pt x="129" y="15"/>
                    </a:cubicBezTo>
                    <a:cubicBezTo>
                      <a:pt x="127" y="14"/>
                      <a:pt x="127" y="10"/>
                      <a:pt x="124" y="9"/>
                    </a:cubicBezTo>
                    <a:cubicBezTo>
                      <a:pt x="122" y="8"/>
                      <a:pt x="116" y="6"/>
                      <a:pt x="115" y="9"/>
                    </a:cubicBezTo>
                    <a:cubicBezTo>
                      <a:pt x="114" y="12"/>
                      <a:pt x="120" y="14"/>
                      <a:pt x="122" y="17"/>
                    </a:cubicBezTo>
                    <a:cubicBezTo>
                      <a:pt x="123" y="17"/>
                      <a:pt x="122" y="19"/>
                      <a:pt x="121" y="19"/>
                    </a:cubicBezTo>
                    <a:cubicBezTo>
                      <a:pt x="117" y="18"/>
                      <a:pt x="114" y="15"/>
                      <a:pt x="111" y="15"/>
                    </a:cubicBezTo>
                    <a:cubicBezTo>
                      <a:pt x="109" y="15"/>
                      <a:pt x="107" y="16"/>
                      <a:pt x="106" y="18"/>
                    </a:cubicBezTo>
                    <a:cubicBezTo>
                      <a:pt x="106" y="18"/>
                      <a:pt x="108" y="19"/>
                      <a:pt x="107" y="20"/>
                    </a:cubicBezTo>
                    <a:cubicBezTo>
                      <a:pt x="106" y="21"/>
                      <a:pt x="104" y="19"/>
                      <a:pt x="103" y="20"/>
                    </a:cubicBezTo>
                    <a:cubicBezTo>
                      <a:pt x="103" y="22"/>
                      <a:pt x="105" y="23"/>
                      <a:pt x="106" y="23"/>
                    </a:cubicBezTo>
                    <a:cubicBezTo>
                      <a:pt x="112" y="26"/>
                      <a:pt x="119" y="27"/>
                      <a:pt x="125" y="29"/>
                    </a:cubicBezTo>
                    <a:cubicBezTo>
                      <a:pt x="126" y="30"/>
                      <a:pt x="126" y="32"/>
                      <a:pt x="125" y="32"/>
                    </a:cubicBezTo>
                    <a:cubicBezTo>
                      <a:pt x="119" y="32"/>
                      <a:pt x="114" y="31"/>
                      <a:pt x="108" y="30"/>
                    </a:cubicBezTo>
                    <a:cubicBezTo>
                      <a:pt x="106" y="29"/>
                      <a:pt x="104" y="26"/>
                      <a:pt x="102" y="25"/>
                    </a:cubicBezTo>
                    <a:cubicBezTo>
                      <a:pt x="101" y="25"/>
                      <a:pt x="99" y="24"/>
                      <a:pt x="99" y="25"/>
                    </a:cubicBezTo>
                    <a:cubicBezTo>
                      <a:pt x="99" y="27"/>
                      <a:pt x="103" y="28"/>
                      <a:pt x="101" y="29"/>
                    </a:cubicBezTo>
                    <a:cubicBezTo>
                      <a:pt x="99" y="31"/>
                      <a:pt x="96" y="31"/>
                      <a:pt x="94" y="29"/>
                    </a:cubicBezTo>
                    <a:cubicBezTo>
                      <a:pt x="92" y="29"/>
                      <a:pt x="94" y="26"/>
                      <a:pt x="94" y="25"/>
                    </a:cubicBezTo>
                    <a:cubicBezTo>
                      <a:pt x="92" y="24"/>
                      <a:pt x="90" y="23"/>
                      <a:pt x="88" y="22"/>
                    </a:cubicBezTo>
                    <a:cubicBezTo>
                      <a:pt x="84" y="21"/>
                      <a:pt x="79" y="20"/>
                      <a:pt x="75" y="19"/>
                    </a:cubicBezTo>
                    <a:cubicBezTo>
                      <a:pt x="71" y="19"/>
                      <a:pt x="68" y="18"/>
                      <a:pt x="65" y="19"/>
                    </a:cubicBezTo>
                    <a:cubicBezTo>
                      <a:pt x="62" y="19"/>
                      <a:pt x="60" y="19"/>
                      <a:pt x="58" y="21"/>
                    </a:cubicBezTo>
                    <a:cubicBezTo>
                      <a:pt x="57" y="22"/>
                      <a:pt x="58" y="25"/>
                      <a:pt x="59" y="26"/>
                    </a:cubicBezTo>
                    <a:cubicBezTo>
                      <a:pt x="61" y="27"/>
                      <a:pt x="65" y="27"/>
                      <a:pt x="67" y="28"/>
                    </a:cubicBezTo>
                    <a:cubicBezTo>
                      <a:pt x="70" y="29"/>
                      <a:pt x="78" y="30"/>
                      <a:pt x="75" y="31"/>
                    </a:cubicBezTo>
                    <a:cubicBezTo>
                      <a:pt x="70" y="33"/>
                      <a:pt x="64" y="32"/>
                      <a:pt x="58" y="32"/>
                    </a:cubicBezTo>
                    <a:cubicBezTo>
                      <a:pt x="54" y="32"/>
                      <a:pt x="51" y="32"/>
                      <a:pt x="48" y="33"/>
                    </a:cubicBezTo>
                    <a:cubicBezTo>
                      <a:pt x="45" y="35"/>
                      <a:pt x="44" y="37"/>
                      <a:pt x="43" y="40"/>
                    </a:cubicBezTo>
                    <a:cubicBezTo>
                      <a:pt x="41" y="42"/>
                      <a:pt x="39" y="46"/>
                      <a:pt x="41" y="48"/>
                    </a:cubicBezTo>
                    <a:cubicBezTo>
                      <a:pt x="44" y="52"/>
                      <a:pt x="50" y="54"/>
                      <a:pt x="56" y="54"/>
                    </a:cubicBezTo>
                    <a:cubicBezTo>
                      <a:pt x="61" y="55"/>
                      <a:pt x="65" y="51"/>
                      <a:pt x="70" y="50"/>
                    </a:cubicBezTo>
                    <a:cubicBezTo>
                      <a:pt x="72" y="50"/>
                      <a:pt x="78" y="49"/>
                      <a:pt x="77" y="50"/>
                    </a:cubicBezTo>
                    <a:cubicBezTo>
                      <a:pt x="73" y="53"/>
                      <a:pt x="68" y="53"/>
                      <a:pt x="64" y="55"/>
                    </a:cubicBezTo>
                    <a:cubicBezTo>
                      <a:pt x="61" y="56"/>
                      <a:pt x="58" y="58"/>
                      <a:pt x="55" y="59"/>
                    </a:cubicBezTo>
                    <a:cubicBezTo>
                      <a:pt x="51" y="59"/>
                      <a:pt x="47" y="58"/>
                      <a:pt x="43" y="58"/>
                    </a:cubicBezTo>
                    <a:cubicBezTo>
                      <a:pt x="40" y="58"/>
                      <a:pt x="37" y="57"/>
                      <a:pt x="35" y="58"/>
                    </a:cubicBezTo>
                    <a:cubicBezTo>
                      <a:pt x="34" y="58"/>
                      <a:pt x="33" y="61"/>
                      <a:pt x="34" y="61"/>
                    </a:cubicBezTo>
                    <a:cubicBezTo>
                      <a:pt x="38" y="64"/>
                      <a:pt x="44" y="66"/>
                      <a:pt x="49" y="68"/>
                    </a:cubicBezTo>
                    <a:cubicBezTo>
                      <a:pt x="51" y="69"/>
                      <a:pt x="53" y="69"/>
                      <a:pt x="55" y="68"/>
                    </a:cubicBezTo>
                    <a:cubicBezTo>
                      <a:pt x="60" y="65"/>
                      <a:pt x="63" y="60"/>
                      <a:pt x="68" y="57"/>
                    </a:cubicBezTo>
                    <a:cubicBezTo>
                      <a:pt x="70" y="55"/>
                      <a:pt x="73" y="55"/>
                      <a:pt x="76" y="55"/>
                    </a:cubicBezTo>
                    <a:cubicBezTo>
                      <a:pt x="82" y="55"/>
                      <a:pt x="88" y="54"/>
                      <a:pt x="94" y="54"/>
                    </a:cubicBezTo>
                    <a:cubicBezTo>
                      <a:pt x="96" y="54"/>
                      <a:pt x="100" y="54"/>
                      <a:pt x="99" y="55"/>
                    </a:cubicBezTo>
                    <a:cubicBezTo>
                      <a:pt x="96" y="57"/>
                      <a:pt x="92" y="56"/>
                      <a:pt x="89" y="56"/>
                    </a:cubicBezTo>
                    <a:cubicBezTo>
                      <a:pt x="84" y="57"/>
                      <a:pt x="79" y="56"/>
                      <a:pt x="75" y="58"/>
                    </a:cubicBezTo>
                    <a:cubicBezTo>
                      <a:pt x="70" y="59"/>
                      <a:pt x="66" y="62"/>
                      <a:pt x="63" y="66"/>
                    </a:cubicBezTo>
                    <a:cubicBezTo>
                      <a:pt x="62" y="67"/>
                      <a:pt x="62" y="70"/>
                      <a:pt x="63" y="70"/>
                    </a:cubicBezTo>
                    <a:cubicBezTo>
                      <a:pt x="66" y="72"/>
                      <a:pt x="70" y="70"/>
                      <a:pt x="74" y="71"/>
                    </a:cubicBezTo>
                    <a:cubicBezTo>
                      <a:pt x="76" y="71"/>
                      <a:pt x="78" y="74"/>
                      <a:pt x="81" y="73"/>
                    </a:cubicBezTo>
                    <a:cubicBezTo>
                      <a:pt x="83" y="71"/>
                      <a:pt x="82" y="67"/>
                      <a:pt x="85" y="65"/>
                    </a:cubicBezTo>
                    <a:cubicBezTo>
                      <a:pt x="86" y="65"/>
                      <a:pt x="88" y="67"/>
                      <a:pt x="90" y="67"/>
                    </a:cubicBezTo>
                    <a:cubicBezTo>
                      <a:pt x="93" y="67"/>
                      <a:pt x="96" y="65"/>
                      <a:pt x="100" y="66"/>
                    </a:cubicBezTo>
                    <a:cubicBezTo>
                      <a:pt x="101" y="66"/>
                      <a:pt x="98" y="68"/>
                      <a:pt x="97" y="68"/>
                    </a:cubicBezTo>
                    <a:cubicBezTo>
                      <a:pt x="95" y="69"/>
                      <a:pt x="91" y="68"/>
                      <a:pt x="89" y="70"/>
                    </a:cubicBezTo>
                    <a:cubicBezTo>
                      <a:pt x="88" y="70"/>
                      <a:pt x="89" y="72"/>
                      <a:pt x="90" y="72"/>
                    </a:cubicBezTo>
                    <a:cubicBezTo>
                      <a:pt x="95" y="72"/>
                      <a:pt x="101" y="72"/>
                      <a:pt x="106" y="71"/>
                    </a:cubicBezTo>
                    <a:cubicBezTo>
                      <a:pt x="113" y="68"/>
                      <a:pt x="121" y="66"/>
                      <a:pt x="127" y="60"/>
                    </a:cubicBezTo>
                    <a:cubicBezTo>
                      <a:pt x="129" y="59"/>
                      <a:pt x="126" y="54"/>
                      <a:pt x="127" y="52"/>
                    </a:cubicBezTo>
                    <a:cubicBezTo>
                      <a:pt x="128" y="50"/>
                      <a:pt x="131" y="52"/>
                      <a:pt x="132" y="52"/>
                    </a:cubicBezTo>
                    <a:cubicBezTo>
                      <a:pt x="137" y="50"/>
                      <a:pt x="141" y="47"/>
                      <a:pt x="146" y="45"/>
                    </a:cubicBezTo>
                    <a:cubicBezTo>
                      <a:pt x="148" y="45"/>
                      <a:pt x="150" y="44"/>
                      <a:pt x="152" y="45"/>
                    </a:cubicBezTo>
                    <a:cubicBezTo>
                      <a:pt x="153" y="47"/>
                      <a:pt x="149" y="46"/>
                      <a:pt x="147" y="47"/>
                    </a:cubicBezTo>
                    <a:cubicBezTo>
                      <a:pt x="143" y="49"/>
                      <a:pt x="139" y="52"/>
                      <a:pt x="136" y="54"/>
                    </a:cubicBezTo>
                    <a:cubicBezTo>
                      <a:pt x="134" y="56"/>
                      <a:pt x="128" y="60"/>
                      <a:pt x="131" y="62"/>
                    </a:cubicBezTo>
                    <a:cubicBezTo>
                      <a:pt x="135" y="64"/>
                      <a:pt x="140" y="60"/>
                      <a:pt x="145" y="60"/>
                    </a:cubicBezTo>
                    <a:cubicBezTo>
                      <a:pt x="151" y="59"/>
                      <a:pt x="158" y="59"/>
                      <a:pt x="164" y="59"/>
                    </a:cubicBezTo>
                    <a:cubicBezTo>
                      <a:pt x="166" y="59"/>
                      <a:pt x="172" y="57"/>
                      <a:pt x="171" y="59"/>
                    </a:cubicBezTo>
                    <a:cubicBezTo>
                      <a:pt x="168" y="62"/>
                      <a:pt x="164" y="62"/>
                      <a:pt x="161" y="63"/>
                    </a:cubicBezTo>
                    <a:cubicBezTo>
                      <a:pt x="156" y="64"/>
                      <a:pt x="150" y="62"/>
                      <a:pt x="145" y="63"/>
                    </a:cubicBezTo>
                    <a:cubicBezTo>
                      <a:pt x="140" y="63"/>
                      <a:pt x="136" y="64"/>
                      <a:pt x="131" y="65"/>
                    </a:cubicBezTo>
                    <a:cubicBezTo>
                      <a:pt x="128" y="66"/>
                      <a:pt x="124" y="66"/>
                      <a:pt x="121" y="68"/>
                    </a:cubicBezTo>
                    <a:cubicBezTo>
                      <a:pt x="120" y="68"/>
                      <a:pt x="122" y="70"/>
                      <a:pt x="123" y="70"/>
                    </a:cubicBezTo>
                    <a:cubicBezTo>
                      <a:pt x="127" y="70"/>
                      <a:pt x="131" y="68"/>
                      <a:pt x="135" y="68"/>
                    </a:cubicBezTo>
                    <a:cubicBezTo>
                      <a:pt x="136" y="68"/>
                      <a:pt x="139" y="69"/>
                      <a:pt x="138" y="70"/>
                    </a:cubicBezTo>
                    <a:cubicBezTo>
                      <a:pt x="135" y="71"/>
                      <a:pt x="131" y="71"/>
                      <a:pt x="128" y="72"/>
                    </a:cubicBezTo>
                    <a:cubicBezTo>
                      <a:pt x="125" y="73"/>
                      <a:pt x="121" y="73"/>
                      <a:pt x="117" y="73"/>
                    </a:cubicBezTo>
                    <a:cubicBezTo>
                      <a:pt x="113" y="74"/>
                      <a:pt x="110" y="74"/>
                      <a:pt x="106" y="75"/>
                    </a:cubicBezTo>
                    <a:cubicBezTo>
                      <a:pt x="101" y="75"/>
                      <a:pt x="95" y="74"/>
                      <a:pt x="90" y="76"/>
                    </a:cubicBezTo>
                    <a:cubicBezTo>
                      <a:pt x="89" y="76"/>
                      <a:pt x="92" y="77"/>
                      <a:pt x="94" y="78"/>
                    </a:cubicBezTo>
                    <a:cubicBezTo>
                      <a:pt x="96" y="80"/>
                      <a:pt x="99" y="82"/>
                      <a:pt x="101" y="84"/>
                    </a:cubicBezTo>
                    <a:cubicBezTo>
                      <a:pt x="102" y="85"/>
                      <a:pt x="101" y="88"/>
                      <a:pt x="102" y="89"/>
                    </a:cubicBezTo>
                    <a:cubicBezTo>
                      <a:pt x="108" y="91"/>
                      <a:pt x="115" y="90"/>
                      <a:pt x="121" y="91"/>
                    </a:cubicBezTo>
                    <a:cubicBezTo>
                      <a:pt x="123" y="91"/>
                      <a:pt x="127" y="91"/>
                      <a:pt x="126" y="92"/>
                    </a:cubicBezTo>
                    <a:cubicBezTo>
                      <a:pt x="121" y="93"/>
                      <a:pt x="117" y="92"/>
                      <a:pt x="112" y="93"/>
                    </a:cubicBezTo>
                    <a:cubicBezTo>
                      <a:pt x="109" y="93"/>
                      <a:pt x="106" y="94"/>
                      <a:pt x="102" y="94"/>
                    </a:cubicBezTo>
                    <a:cubicBezTo>
                      <a:pt x="101" y="94"/>
                      <a:pt x="99" y="93"/>
                      <a:pt x="98" y="92"/>
                    </a:cubicBezTo>
                    <a:cubicBezTo>
                      <a:pt x="95" y="89"/>
                      <a:pt x="93" y="86"/>
                      <a:pt x="90" y="83"/>
                    </a:cubicBezTo>
                    <a:cubicBezTo>
                      <a:pt x="87" y="81"/>
                      <a:pt x="85" y="79"/>
                      <a:pt x="82" y="7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7" name="Freeform 3598"/>
              <p:cNvSpPr>
                <a:spLocks noChangeAspect="1"/>
              </p:cNvSpPr>
              <p:nvPr/>
            </p:nvSpPr>
            <p:spPr bwMode="auto">
              <a:xfrm>
                <a:off x="2767240" y="1503794"/>
                <a:ext cx="21263" cy="24362"/>
              </a:xfrm>
              <a:custGeom>
                <a:avLst/>
                <a:gdLst>
                  <a:gd name="T0" fmla="*/ 11 w 11"/>
                  <a:gd name="T1" fmla="*/ 1 h 12"/>
                  <a:gd name="T2" fmla="*/ 1 w 11"/>
                  <a:gd name="T3" fmla="*/ 11 h 12"/>
                  <a:gd name="T4" fmla="*/ 4 w 11"/>
                  <a:gd name="T5" fmla="*/ 15 h 12"/>
                  <a:gd name="T6" fmla="*/ 7 w 11"/>
                  <a:gd name="T7" fmla="*/ 10 h 12"/>
                  <a:gd name="T8" fmla="*/ 12 w 11"/>
                  <a:gd name="T9" fmla="*/ 13 h 12"/>
                  <a:gd name="T10" fmla="*/ 9 w 11"/>
                  <a:gd name="T11" fmla="*/ 8 h 12"/>
                  <a:gd name="T12" fmla="*/ 13 w 11"/>
                  <a:gd name="T13" fmla="*/ 3 h 12"/>
                  <a:gd name="T14" fmla="*/ 11 w 11"/>
                  <a:gd name="T15" fmla="*/ 1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2"/>
                  <a:gd name="T26" fmla="*/ 11 w 11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2">
                    <a:moveTo>
                      <a:pt x="9" y="1"/>
                    </a:moveTo>
                    <a:cubicBezTo>
                      <a:pt x="6" y="3"/>
                      <a:pt x="3" y="6"/>
                      <a:pt x="1" y="9"/>
                    </a:cubicBezTo>
                    <a:cubicBezTo>
                      <a:pt x="0" y="10"/>
                      <a:pt x="2" y="12"/>
                      <a:pt x="3" y="12"/>
                    </a:cubicBezTo>
                    <a:cubicBezTo>
                      <a:pt x="4" y="11"/>
                      <a:pt x="5" y="9"/>
                      <a:pt x="6" y="8"/>
                    </a:cubicBezTo>
                    <a:cubicBezTo>
                      <a:pt x="7" y="8"/>
                      <a:pt x="9" y="11"/>
                      <a:pt x="10" y="10"/>
                    </a:cubicBezTo>
                    <a:cubicBezTo>
                      <a:pt x="11" y="9"/>
                      <a:pt x="8" y="8"/>
                      <a:pt x="8" y="6"/>
                    </a:cubicBezTo>
                    <a:cubicBezTo>
                      <a:pt x="9" y="5"/>
                      <a:pt x="11" y="4"/>
                      <a:pt x="11" y="2"/>
                    </a:cubicBezTo>
                    <a:cubicBezTo>
                      <a:pt x="11" y="1"/>
                      <a:pt x="10" y="0"/>
                      <a:pt x="9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8" name="Freeform 3599"/>
              <p:cNvSpPr>
                <a:spLocks noChangeAspect="1"/>
              </p:cNvSpPr>
              <p:nvPr/>
            </p:nvSpPr>
            <p:spPr bwMode="auto">
              <a:xfrm>
                <a:off x="2664199" y="1368992"/>
                <a:ext cx="26169" cy="14618"/>
              </a:xfrm>
              <a:custGeom>
                <a:avLst/>
                <a:gdLst>
                  <a:gd name="T0" fmla="*/ 10 w 13"/>
                  <a:gd name="T1" fmla="*/ 0 h 7"/>
                  <a:gd name="T2" fmla="*/ 15 w 13"/>
                  <a:gd name="T3" fmla="*/ 3 h 7"/>
                  <a:gd name="T4" fmla="*/ 5 w 13"/>
                  <a:gd name="T5" fmla="*/ 6 h 7"/>
                  <a:gd name="T6" fmla="*/ 1 w 13"/>
                  <a:gd name="T7" fmla="*/ 8 h 7"/>
                  <a:gd name="T8" fmla="*/ 4 w 13"/>
                  <a:gd name="T9" fmla="*/ 3 h 7"/>
                  <a:gd name="T10" fmla="*/ 10 w 13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7"/>
                  <a:gd name="T20" fmla="*/ 13 w 13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7">
                    <a:moveTo>
                      <a:pt x="8" y="0"/>
                    </a:moveTo>
                    <a:cubicBezTo>
                      <a:pt x="10" y="0"/>
                      <a:pt x="13" y="1"/>
                      <a:pt x="12" y="2"/>
                    </a:cubicBezTo>
                    <a:cubicBezTo>
                      <a:pt x="10" y="4"/>
                      <a:pt x="7" y="4"/>
                      <a:pt x="4" y="5"/>
                    </a:cubicBezTo>
                    <a:cubicBezTo>
                      <a:pt x="3" y="5"/>
                      <a:pt x="1" y="7"/>
                      <a:pt x="1" y="6"/>
                    </a:cubicBezTo>
                    <a:cubicBezTo>
                      <a:pt x="0" y="4"/>
                      <a:pt x="2" y="3"/>
                      <a:pt x="3" y="2"/>
                    </a:cubicBezTo>
                    <a:cubicBezTo>
                      <a:pt x="5" y="1"/>
                      <a:pt x="6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89" name="Freeform 3600"/>
              <p:cNvSpPr>
                <a:spLocks noChangeAspect="1"/>
              </p:cNvSpPr>
              <p:nvPr/>
            </p:nvSpPr>
            <p:spPr bwMode="auto">
              <a:xfrm>
                <a:off x="2494098" y="1291033"/>
                <a:ext cx="26169" cy="6497"/>
              </a:xfrm>
              <a:custGeom>
                <a:avLst/>
                <a:gdLst>
                  <a:gd name="T0" fmla="*/ 12 w 13"/>
                  <a:gd name="T1" fmla="*/ 0 h 3"/>
                  <a:gd name="T2" fmla="*/ 15 w 13"/>
                  <a:gd name="T3" fmla="*/ 3 h 3"/>
                  <a:gd name="T4" fmla="*/ 7 w 13"/>
                  <a:gd name="T5" fmla="*/ 3 h 3"/>
                  <a:gd name="T6" fmla="*/ 1 w 13"/>
                  <a:gd name="T7" fmla="*/ 3 h 3"/>
                  <a:gd name="T8" fmla="*/ 5 w 13"/>
                  <a:gd name="T9" fmla="*/ 0 h 3"/>
                  <a:gd name="T10" fmla="*/ 12 w 13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"/>
                  <a:gd name="T19" fmla="*/ 0 h 3"/>
                  <a:gd name="T20" fmla="*/ 13 w 13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" h="3">
                    <a:moveTo>
                      <a:pt x="10" y="0"/>
                    </a:moveTo>
                    <a:cubicBezTo>
                      <a:pt x="11" y="0"/>
                      <a:pt x="13" y="2"/>
                      <a:pt x="12" y="2"/>
                    </a:cubicBezTo>
                    <a:cubicBezTo>
                      <a:pt x="11" y="3"/>
                      <a:pt x="8" y="2"/>
                      <a:pt x="6" y="2"/>
                    </a:cubicBezTo>
                    <a:cubicBezTo>
                      <a:pt x="5" y="2"/>
                      <a:pt x="2" y="3"/>
                      <a:pt x="1" y="2"/>
                    </a:cubicBezTo>
                    <a:cubicBezTo>
                      <a:pt x="0" y="1"/>
                      <a:pt x="3" y="0"/>
                      <a:pt x="4" y="0"/>
                    </a:cubicBezTo>
                    <a:cubicBezTo>
                      <a:pt x="6" y="0"/>
                      <a:pt x="8" y="0"/>
                      <a:pt x="1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0" name="Freeform 3601"/>
              <p:cNvSpPr>
                <a:spLocks noChangeAspect="1"/>
              </p:cNvSpPr>
              <p:nvPr/>
            </p:nvSpPr>
            <p:spPr bwMode="auto">
              <a:xfrm>
                <a:off x="2942249" y="1143237"/>
                <a:ext cx="1265945" cy="1037820"/>
              </a:xfrm>
              <a:custGeom>
                <a:avLst/>
                <a:gdLst>
                  <a:gd name="T0" fmla="*/ 702 w 645"/>
                  <a:gd name="T1" fmla="*/ 88 h 532"/>
                  <a:gd name="T2" fmla="*/ 726 w 645"/>
                  <a:gd name="T3" fmla="*/ 98 h 532"/>
                  <a:gd name="T4" fmla="*/ 685 w 645"/>
                  <a:gd name="T5" fmla="*/ 112 h 532"/>
                  <a:gd name="T6" fmla="*/ 683 w 645"/>
                  <a:gd name="T7" fmla="*/ 136 h 532"/>
                  <a:gd name="T8" fmla="*/ 661 w 645"/>
                  <a:gd name="T9" fmla="*/ 174 h 532"/>
                  <a:gd name="T10" fmla="*/ 684 w 645"/>
                  <a:gd name="T11" fmla="*/ 193 h 532"/>
                  <a:gd name="T12" fmla="*/ 665 w 645"/>
                  <a:gd name="T13" fmla="*/ 207 h 532"/>
                  <a:gd name="T14" fmla="*/ 671 w 645"/>
                  <a:gd name="T15" fmla="*/ 223 h 532"/>
                  <a:gd name="T16" fmla="*/ 674 w 645"/>
                  <a:gd name="T17" fmla="*/ 251 h 532"/>
                  <a:gd name="T18" fmla="*/ 646 w 645"/>
                  <a:gd name="T19" fmla="*/ 256 h 532"/>
                  <a:gd name="T20" fmla="*/ 678 w 645"/>
                  <a:gd name="T21" fmla="*/ 274 h 532"/>
                  <a:gd name="T22" fmla="*/ 641 w 645"/>
                  <a:gd name="T23" fmla="*/ 291 h 532"/>
                  <a:gd name="T24" fmla="*/ 637 w 645"/>
                  <a:gd name="T25" fmla="*/ 303 h 532"/>
                  <a:gd name="T26" fmla="*/ 598 w 645"/>
                  <a:gd name="T27" fmla="*/ 297 h 532"/>
                  <a:gd name="T28" fmla="*/ 594 w 645"/>
                  <a:gd name="T29" fmla="*/ 310 h 532"/>
                  <a:gd name="T30" fmla="*/ 599 w 645"/>
                  <a:gd name="T31" fmla="*/ 324 h 532"/>
                  <a:gd name="T32" fmla="*/ 629 w 645"/>
                  <a:gd name="T33" fmla="*/ 340 h 532"/>
                  <a:gd name="T34" fmla="*/ 640 w 645"/>
                  <a:gd name="T35" fmla="*/ 362 h 532"/>
                  <a:gd name="T36" fmla="*/ 622 w 645"/>
                  <a:gd name="T37" fmla="*/ 376 h 532"/>
                  <a:gd name="T38" fmla="*/ 554 w 645"/>
                  <a:gd name="T39" fmla="*/ 336 h 532"/>
                  <a:gd name="T40" fmla="*/ 584 w 645"/>
                  <a:gd name="T41" fmla="*/ 359 h 532"/>
                  <a:gd name="T42" fmla="*/ 540 w 645"/>
                  <a:gd name="T43" fmla="*/ 380 h 532"/>
                  <a:gd name="T44" fmla="*/ 580 w 645"/>
                  <a:gd name="T45" fmla="*/ 383 h 532"/>
                  <a:gd name="T46" fmla="*/ 598 w 645"/>
                  <a:gd name="T47" fmla="*/ 405 h 532"/>
                  <a:gd name="T48" fmla="*/ 487 w 645"/>
                  <a:gd name="T49" fmla="*/ 429 h 532"/>
                  <a:gd name="T50" fmla="*/ 434 w 645"/>
                  <a:gd name="T51" fmla="*/ 492 h 532"/>
                  <a:gd name="T52" fmla="*/ 406 w 645"/>
                  <a:gd name="T53" fmla="*/ 500 h 532"/>
                  <a:gd name="T54" fmla="*/ 377 w 645"/>
                  <a:gd name="T55" fmla="*/ 531 h 532"/>
                  <a:gd name="T56" fmla="*/ 344 w 645"/>
                  <a:gd name="T57" fmla="*/ 590 h 532"/>
                  <a:gd name="T58" fmla="*/ 299 w 645"/>
                  <a:gd name="T59" fmla="*/ 614 h 532"/>
                  <a:gd name="T60" fmla="*/ 238 w 645"/>
                  <a:gd name="T61" fmla="*/ 565 h 532"/>
                  <a:gd name="T62" fmla="*/ 210 w 645"/>
                  <a:gd name="T63" fmla="*/ 494 h 532"/>
                  <a:gd name="T64" fmla="*/ 208 w 645"/>
                  <a:gd name="T65" fmla="*/ 437 h 532"/>
                  <a:gd name="T66" fmla="*/ 253 w 645"/>
                  <a:gd name="T67" fmla="*/ 392 h 532"/>
                  <a:gd name="T68" fmla="*/ 222 w 645"/>
                  <a:gd name="T69" fmla="*/ 370 h 532"/>
                  <a:gd name="T70" fmla="*/ 217 w 645"/>
                  <a:gd name="T71" fmla="*/ 352 h 532"/>
                  <a:gd name="T72" fmla="*/ 193 w 645"/>
                  <a:gd name="T73" fmla="*/ 270 h 532"/>
                  <a:gd name="T74" fmla="*/ 85 w 645"/>
                  <a:gd name="T75" fmla="*/ 221 h 532"/>
                  <a:gd name="T76" fmla="*/ 50 w 645"/>
                  <a:gd name="T77" fmla="*/ 211 h 532"/>
                  <a:gd name="T78" fmla="*/ 34 w 645"/>
                  <a:gd name="T79" fmla="*/ 195 h 532"/>
                  <a:gd name="T80" fmla="*/ 65 w 645"/>
                  <a:gd name="T81" fmla="*/ 181 h 532"/>
                  <a:gd name="T82" fmla="*/ 37 w 645"/>
                  <a:gd name="T83" fmla="*/ 148 h 532"/>
                  <a:gd name="T84" fmla="*/ 122 w 645"/>
                  <a:gd name="T85" fmla="*/ 106 h 532"/>
                  <a:gd name="T86" fmla="*/ 132 w 645"/>
                  <a:gd name="T87" fmla="*/ 79 h 532"/>
                  <a:gd name="T88" fmla="*/ 254 w 645"/>
                  <a:gd name="T89" fmla="*/ 43 h 532"/>
                  <a:gd name="T90" fmla="*/ 300 w 645"/>
                  <a:gd name="T91" fmla="*/ 55 h 532"/>
                  <a:gd name="T92" fmla="*/ 362 w 645"/>
                  <a:gd name="T93" fmla="*/ 61 h 532"/>
                  <a:gd name="T94" fmla="*/ 388 w 645"/>
                  <a:gd name="T95" fmla="*/ 32 h 532"/>
                  <a:gd name="T96" fmla="*/ 407 w 645"/>
                  <a:gd name="T97" fmla="*/ 20 h 532"/>
                  <a:gd name="T98" fmla="*/ 458 w 645"/>
                  <a:gd name="T99" fmla="*/ 11 h 532"/>
                  <a:gd name="T100" fmla="*/ 592 w 645"/>
                  <a:gd name="T101" fmla="*/ 7 h 532"/>
                  <a:gd name="T102" fmla="*/ 522 w 645"/>
                  <a:gd name="T103" fmla="*/ 25 h 532"/>
                  <a:gd name="T104" fmla="*/ 655 w 645"/>
                  <a:gd name="T105" fmla="*/ 30 h 532"/>
                  <a:gd name="T106" fmla="*/ 508 w 645"/>
                  <a:gd name="T107" fmla="*/ 55 h 532"/>
                  <a:gd name="T108" fmla="*/ 622 w 645"/>
                  <a:gd name="T109" fmla="*/ 52 h 532"/>
                  <a:gd name="T110" fmla="*/ 634 w 645"/>
                  <a:gd name="T111" fmla="*/ 85 h 532"/>
                  <a:gd name="T112" fmla="*/ 701 w 645"/>
                  <a:gd name="T113" fmla="*/ 66 h 53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645"/>
                  <a:gd name="T172" fmla="*/ 0 h 532"/>
                  <a:gd name="T173" fmla="*/ 645 w 645"/>
                  <a:gd name="T174" fmla="*/ 532 h 53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645" h="532">
                    <a:moveTo>
                      <a:pt x="645" y="54"/>
                    </a:moveTo>
                    <a:cubicBezTo>
                      <a:pt x="638" y="61"/>
                      <a:pt x="627" y="60"/>
                      <a:pt x="618" y="65"/>
                    </a:cubicBezTo>
                    <a:cubicBezTo>
                      <a:pt x="616" y="66"/>
                      <a:pt x="619" y="70"/>
                      <a:pt x="616" y="70"/>
                    </a:cubicBezTo>
                    <a:cubicBezTo>
                      <a:pt x="610" y="72"/>
                      <a:pt x="605" y="74"/>
                      <a:pt x="601" y="75"/>
                    </a:cubicBezTo>
                    <a:cubicBezTo>
                      <a:pt x="596" y="76"/>
                      <a:pt x="590" y="73"/>
                      <a:pt x="585" y="73"/>
                    </a:cubicBezTo>
                    <a:cubicBezTo>
                      <a:pt x="579" y="80"/>
                      <a:pt x="567" y="73"/>
                      <a:pt x="558" y="76"/>
                    </a:cubicBezTo>
                    <a:cubicBezTo>
                      <a:pt x="556" y="76"/>
                      <a:pt x="556" y="80"/>
                      <a:pt x="558" y="80"/>
                    </a:cubicBezTo>
                    <a:cubicBezTo>
                      <a:pt x="563" y="78"/>
                      <a:pt x="569" y="81"/>
                      <a:pt x="574" y="80"/>
                    </a:cubicBezTo>
                    <a:cubicBezTo>
                      <a:pt x="579" y="80"/>
                      <a:pt x="583" y="78"/>
                      <a:pt x="588" y="78"/>
                    </a:cubicBezTo>
                    <a:cubicBezTo>
                      <a:pt x="594" y="78"/>
                      <a:pt x="601" y="79"/>
                      <a:pt x="605" y="82"/>
                    </a:cubicBezTo>
                    <a:cubicBezTo>
                      <a:pt x="601" y="86"/>
                      <a:pt x="594" y="87"/>
                      <a:pt x="589" y="88"/>
                    </a:cubicBezTo>
                    <a:cubicBezTo>
                      <a:pt x="584" y="89"/>
                      <a:pt x="579" y="88"/>
                      <a:pt x="574" y="88"/>
                    </a:cubicBezTo>
                    <a:cubicBezTo>
                      <a:pt x="571" y="88"/>
                      <a:pt x="566" y="86"/>
                      <a:pt x="563" y="88"/>
                    </a:cubicBezTo>
                    <a:cubicBezTo>
                      <a:pt x="560" y="90"/>
                      <a:pt x="555" y="95"/>
                      <a:pt x="558" y="97"/>
                    </a:cubicBezTo>
                    <a:cubicBezTo>
                      <a:pt x="562" y="99"/>
                      <a:pt x="566" y="93"/>
                      <a:pt x="571" y="93"/>
                    </a:cubicBezTo>
                    <a:cubicBezTo>
                      <a:pt x="576" y="92"/>
                      <a:pt x="583" y="89"/>
                      <a:pt x="586" y="92"/>
                    </a:cubicBezTo>
                    <a:cubicBezTo>
                      <a:pt x="589" y="94"/>
                      <a:pt x="583" y="99"/>
                      <a:pt x="580" y="100"/>
                    </a:cubicBezTo>
                    <a:cubicBezTo>
                      <a:pt x="578" y="101"/>
                      <a:pt x="574" y="98"/>
                      <a:pt x="571" y="99"/>
                    </a:cubicBezTo>
                    <a:cubicBezTo>
                      <a:pt x="568" y="101"/>
                      <a:pt x="566" y="105"/>
                      <a:pt x="565" y="109"/>
                    </a:cubicBezTo>
                    <a:cubicBezTo>
                      <a:pt x="565" y="111"/>
                      <a:pt x="570" y="111"/>
                      <a:pt x="569" y="113"/>
                    </a:cubicBezTo>
                    <a:cubicBezTo>
                      <a:pt x="567" y="117"/>
                      <a:pt x="564" y="120"/>
                      <a:pt x="560" y="122"/>
                    </a:cubicBezTo>
                    <a:cubicBezTo>
                      <a:pt x="558" y="123"/>
                      <a:pt x="554" y="119"/>
                      <a:pt x="553" y="121"/>
                    </a:cubicBezTo>
                    <a:cubicBezTo>
                      <a:pt x="550" y="126"/>
                      <a:pt x="549" y="132"/>
                      <a:pt x="547" y="137"/>
                    </a:cubicBezTo>
                    <a:cubicBezTo>
                      <a:pt x="546" y="141"/>
                      <a:pt x="542" y="144"/>
                      <a:pt x="542" y="148"/>
                    </a:cubicBezTo>
                    <a:cubicBezTo>
                      <a:pt x="542" y="151"/>
                      <a:pt x="548" y="145"/>
                      <a:pt x="551" y="145"/>
                    </a:cubicBezTo>
                    <a:cubicBezTo>
                      <a:pt x="557" y="145"/>
                      <a:pt x="562" y="147"/>
                      <a:pt x="568" y="150"/>
                    </a:cubicBezTo>
                    <a:cubicBezTo>
                      <a:pt x="569" y="151"/>
                      <a:pt x="570" y="154"/>
                      <a:pt x="568" y="154"/>
                    </a:cubicBezTo>
                    <a:cubicBezTo>
                      <a:pt x="563" y="154"/>
                      <a:pt x="558" y="149"/>
                      <a:pt x="553" y="150"/>
                    </a:cubicBezTo>
                    <a:cubicBezTo>
                      <a:pt x="551" y="150"/>
                      <a:pt x="552" y="155"/>
                      <a:pt x="554" y="156"/>
                    </a:cubicBezTo>
                    <a:cubicBezTo>
                      <a:pt x="559" y="159"/>
                      <a:pt x="564" y="160"/>
                      <a:pt x="570" y="161"/>
                    </a:cubicBezTo>
                    <a:cubicBezTo>
                      <a:pt x="572" y="162"/>
                      <a:pt x="574" y="158"/>
                      <a:pt x="576" y="160"/>
                    </a:cubicBezTo>
                    <a:cubicBezTo>
                      <a:pt x="578" y="163"/>
                      <a:pt x="580" y="170"/>
                      <a:pt x="577" y="171"/>
                    </a:cubicBezTo>
                    <a:cubicBezTo>
                      <a:pt x="570" y="172"/>
                      <a:pt x="564" y="170"/>
                      <a:pt x="557" y="169"/>
                    </a:cubicBezTo>
                    <a:cubicBezTo>
                      <a:pt x="553" y="169"/>
                      <a:pt x="542" y="167"/>
                      <a:pt x="539" y="168"/>
                    </a:cubicBezTo>
                    <a:cubicBezTo>
                      <a:pt x="537" y="169"/>
                      <a:pt x="551" y="170"/>
                      <a:pt x="554" y="172"/>
                    </a:cubicBezTo>
                    <a:cubicBezTo>
                      <a:pt x="555" y="173"/>
                      <a:pt x="545" y="174"/>
                      <a:pt x="542" y="175"/>
                    </a:cubicBezTo>
                    <a:cubicBezTo>
                      <a:pt x="539" y="175"/>
                      <a:pt x="540" y="172"/>
                      <a:pt x="537" y="172"/>
                    </a:cubicBezTo>
                    <a:cubicBezTo>
                      <a:pt x="534" y="172"/>
                      <a:pt x="530" y="173"/>
                      <a:pt x="531" y="175"/>
                    </a:cubicBezTo>
                    <a:cubicBezTo>
                      <a:pt x="532" y="179"/>
                      <a:pt x="541" y="180"/>
                      <a:pt x="541" y="184"/>
                    </a:cubicBezTo>
                    <a:cubicBezTo>
                      <a:pt x="547" y="186"/>
                      <a:pt x="554" y="184"/>
                      <a:pt x="559" y="186"/>
                    </a:cubicBezTo>
                    <a:cubicBezTo>
                      <a:pt x="561" y="187"/>
                      <a:pt x="559" y="190"/>
                      <a:pt x="557" y="191"/>
                    </a:cubicBezTo>
                    <a:cubicBezTo>
                      <a:pt x="551" y="191"/>
                      <a:pt x="546" y="189"/>
                      <a:pt x="540" y="190"/>
                    </a:cubicBezTo>
                    <a:cubicBezTo>
                      <a:pt x="539" y="191"/>
                      <a:pt x="539" y="193"/>
                      <a:pt x="540" y="194"/>
                    </a:cubicBezTo>
                    <a:cubicBezTo>
                      <a:pt x="546" y="196"/>
                      <a:pt x="556" y="192"/>
                      <a:pt x="561" y="196"/>
                    </a:cubicBezTo>
                    <a:cubicBezTo>
                      <a:pt x="564" y="198"/>
                      <a:pt x="564" y="206"/>
                      <a:pt x="562" y="209"/>
                    </a:cubicBezTo>
                    <a:cubicBezTo>
                      <a:pt x="559" y="212"/>
                      <a:pt x="555" y="207"/>
                      <a:pt x="551" y="205"/>
                    </a:cubicBezTo>
                    <a:cubicBezTo>
                      <a:pt x="546" y="203"/>
                      <a:pt x="542" y="199"/>
                      <a:pt x="536" y="198"/>
                    </a:cubicBezTo>
                    <a:cubicBezTo>
                      <a:pt x="534" y="198"/>
                      <a:pt x="531" y="201"/>
                      <a:pt x="532" y="202"/>
                    </a:cubicBezTo>
                    <a:cubicBezTo>
                      <a:pt x="537" y="206"/>
                      <a:pt x="547" y="204"/>
                      <a:pt x="550" y="210"/>
                    </a:cubicBezTo>
                    <a:cubicBezTo>
                      <a:pt x="552" y="214"/>
                      <a:pt x="539" y="209"/>
                      <a:pt x="538" y="213"/>
                    </a:cubicBezTo>
                    <a:cubicBezTo>
                      <a:pt x="537" y="217"/>
                      <a:pt x="546" y="211"/>
                      <a:pt x="549" y="213"/>
                    </a:cubicBezTo>
                    <a:cubicBezTo>
                      <a:pt x="551" y="214"/>
                      <a:pt x="549" y="217"/>
                      <a:pt x="549" y="219"/>
                    </a:cubicBezTo>
                    <a:cubicBezTo>
                      <a:pt x="548" y="220"/>
                      <a:pt x="545" y="222"/>
                      <a:pt x="546" y="222"/>
                    </a:cubicBezTo>
                    <a:cubicBezTo>
                      <a:pt x="551" y="224"/>
                      <a:pt x="557" y="222"/>
                      <a:pt x="562" y="224"/>
                    </a:cubicBezTo>
                    <a:cubicBezTo>
                      <a:pt x="563" y="224"/>
                      <a:pt x="565" y="227"/>
                      <a:pt x="565" y="228"/>
                    </a:cubicBezTo>
                    <a:cubicBezTo>
                      <a:pt x="564" y="230"/>
                      <a:pt x="561" y="231"/>
                      <a:pt x="559" y="231"/>
                    </a:cubicBezTo>
                    <a:cubicBezTo>
                      <a:pt x="554" y="230"/>
                      <a:pt x="550" y="227"/>
                      <a:pt x="546" y="226"/>
                    </a:cubicBezTo>
                    <a:cubicBezTo>
                      <a:pt x="543" y="225"/>
                      <a:pt x="539" y="226"/>
                      <a:pt x="536" y="225"/>
                    </a:cubicBezTo>
                    <a:cubicBezTo>
                      <a:pt x="534" y="225"/>
                      <a:pt x="533" y="228"/>
                      <a:pt x="533" y="230"/>
                    </a:cubicBezTo>
                    <a:cubicBezTo>
                      <a:pt x="532" y="234"/>
                      <a:pt x="531" y="239"/>
                      <a:pt x="534" y="242"/>
                    </a:cubicBezTo>
                    <a:cubicBezTo>
                      <a:pt x="536" y="244"/>
                      <a:pt x="534" y="235"/>
                      <a:pt x="537" y="235"/>
                    </a:cubicBezTo>
                    <a:cubicBezTo>
                      <a:pt x="542" y="235"/>
                      <a:pt x="544" y="239"/>
                      <a:pt x="551" y="240"/>
                    </a:cubicBezTo>
                    <a:cubicBezTo>
                      <a:pt x="552" y="242"/>
                      <a:pt x="549" y="246"/>
                      <a:pt x="549" y="248"/>
                    </a:cubicBezTo>
                    <a:cubicBezTo>
                      <a:pt x="545" y="250"/>
                      <a:pt x="541" y="248"/>
                      <a:pt x="537" y="249"/>
                    </a:cubicBezTo>
                    <a:cubicBezTo>
                      <a:pt x="535" y="250"/>
                      <a:pt x="533" y="253"/>
                      <a:pt x="531" y="252"/>
                    </a:cubicBezTo>
                    <a:cubicBezTo>
                      <a:pt x="524" y="252"/>
                      <a:pt x="516" y="249"/>
                      <a:pt x="510" y="246"/>
                    </a:cubicBezTo>
                    <a:cubicBezTo>
                      <a:pt x="508" y="245"/>
                      <a:pt x="510" y="241"/>
                      <a:pt x="507" y="241"/>
                    </a:cubicBezTo>
                    <a:cubicBezTo>
                      <a:pt x="505" y="241"/>
                      <a:pt x="505" y="247"/>
                      <a:pt x="503" y="246"/>
                    </a:cubicBezTo>
                    <a:cubicBezTo>
                      <a:pt x="499" y="246"/>
                      <a:pt x="498" y="238"/>
                      <a:pt x="494" y="238"/>
                    </a:cubicBezTo>
                    <a:cubicBezTo>
                      <a:pt x="492" y="241"/>
                      <a:pt x="497" y="244"/>
                      <a:pt x="498" y="247"/>
                    </a:cubicBezTo>
                    <a:cubicBezTo>
                      <a:pt x="498" y="248"/>
                      <a:pt x="493" y="250"/>
                      <a:pt x="490" y="253"/>
                    </a:cubicBezTo>
                    <a:cubicBezTo>
                      <a:pt x="485" y="256"/>
                      <a:pt x="478" y="246"/>
                      <a:pt x="473" y="249"/>
                    </a:cubicBezTo>
                    <a:cubicBezTo>
                      <a:pt x="470" y="251"/>
                      <a:pt x="478" y="252"/>
                      <a:pt x="484" y="254"/>
                    </a:cubicBezTo>
                    <a:cubicBezTo>
                      <a:pt x="480" y="255"/>
                      <a:pt x="474" y="253"/>
                      <a:pt x="472" y="256"/>
                    </a:cubicBezTo>
                    <a:cubicBezTo>
                      <a:pt x="478" y="257"/>
                      <a:pt x="490" y="256"/>
                      <a:pt x="495" y="258"/>
                    </a:cubicBezTo>
                    <a:cubicBezTo>
                      <a:pt x="497" y="258"/>
                      <a:pt x="495" y="260"/>
                      <a:pt x="494" y="261"/>
                    </a:cubicBezTo>
                    <a:cubicBezTo>
                      <a:pt x="488" y="262"/>
                      <a:pt x="478" y="259"/>
                      <a:pt x="472" y="261"/>
                    </a:cubicBezTo>
                    <a:cubicBezTo>
                      <a:pt x="474" y="264"/>
                      <a:pt x="478" y="263"/>
                      <a:pt x="480" y="264"/>
                    </a:cubicBezTo>
                    <a:cubicBezTo>
                      <a:pt x="483" y="264"/>
                      <a:pt x="480" y="268"/>
                      <a:pt x="491" y="264"/>
                    </a:cubicBezTo>
                    <a:cubicBezTo>
                      <a:pt x="495" y="265"/>
                      <a:pt x="501" y="266"/>
                      <a:pt x="499" y="270"/>
                    </a:cubicBezTo>
                    <a:cubicBezTo>
                      <a:pt x="496" y="274"/>
                      <a:pt x="489" y="270"/>
                      <a:pt x="484" y="271"/>
                    </a:cubicBezTo>
                    <a:cubicBezTo>
                      <a:pt x="483" y="274"/>
                      <a:pt x="490" y="272"/>
                      <a:pt x="491" y="274"/>
                    </a:cubicBezTo>
                    <a:cubicBezTo>
                      <a:pt x="492" y="275"/>
                      <a:pt x="488" y="278"/>
                      <a:pt x="490" y="278"/>
                    </a:cubicBezTo>
                    <a:cubicBezTo>
                      <a:pt x="493" y="279"/>
                      <a:pt x="496" y="273"/>
                      <a:pt x="498" y="273"/>
                    </a:cubicBezTo>
                    <a:cubicBezTo>
                      <a:pt x="508" y="275"/>
                      <a:pt x="516" y="278"/>
                      <a:pt x="524" y="283"/>
                    </a:cubicBezTo>
                    <a:cubicBezTo>
                      <a:pt x="526" y="284"/>
                      <a:pt x="519" y="286"/>
                      <a:pt x="518" y="289"/>
                    </a:cubicBezTo>
                    <a:cubicBezTo>
                      <a:pt x="519" y="292"/>
                      <a:pt x="529" y="286"/>
                      <a:pt x="530" y="288"/>
                    </a:cubicBezTo>
                    <a:cubicBezTo>
                      <a:pt x="532" y="291"/>
                      <a:pt x="523" y="296"/>
                      <a:pt x="525" y="299"/>
                    </a:cubicBezTo>
                    <a:cubicBezTo>
                      <a:pt x="527" y="301"/>
                      <a:pt x="530" y="294"/>
                      <a:pt x="533" y="295"/>
                    </a:cubicBezTo>
                    <a:cubicBezTo>
                      <a:pt x="535" y="295"/>
                      <a:pt x="534" y="299"/>
                      <a:pt x="533" y="301"/>
                    </a:cubicBezTo>
                    <a:cubicBezTo>
                      <a:pt x="532" y="302"/>
                      <a:pt x="527" y="299"/>
                      <a:pt x="528" y="301"/>
                    </a:cubicBezTo>
                    <a:cubicBezTo>
                      <a:pt x="528" y="305"/>
                      <a:pt x="535" y="307"/>
                      <a:pt x="534" y="311"/>
                    </a:cubicBezTo>
                    <a:cubicBezTo>
                      <a:pt x="534" y="313"/>
                      <a:pt x="529" y="314"/>
                      <a:pt x="526" y="313"/>
                    </a:cubicBezTo>
                    <a:cubicBezTo>
                      <a:pt x="523" y="312"/>
                      <a:pt x="525" y="305"/>
                      <a:pt x="522" y="305"/>
                    </a:cubicBezTo>
                    <a:cubicBezTo>
                      <a:pt x="519" y="305"/>
                      <a:pt x="521" y="312"/>
                      <a:pt x="518" y="313"/>
                    </a:cubicBezTo>
                    <a:cubicBezTo>
                      <a:pt x="514" y="314"/>
                      <a:pt x="509" y="312"/>
                      <a:pt x="506" y="309"/>
                    </a:cubicBezTo>
                    <a:cubicBezTo>
                      <a:pt x="502" y="305"/>
                      <a:pt x="503" y="298"/>
                      <a:pt x="499" y="294"/>
                    </a:cubicBezTo>
                    <a:cubicBezTo>
                      <a:pt x="497" y="292"/>
                      <a:pt x="494" y="294"/>
                      <a:pt x="491" y="293"/>
                    </a:cubicBezTo>
                    <a:cubicBezTo>
                      <a:pt x="486" y="292"/>
                      <a:pt x="479" y="289"/>
                      <a:pt x="474" y="287"/>
                    </a:cubicBezTo>
                    <a:cubicBezTo>
                      <a:pt x="470" y="285"/>
                      <a:pt x="467" y="280"/>
                      <a:pt x="462" y="280"/>
                    </a:cubicBezTo>
                    <a:cubicBezTo>
                      <a:pt x="460" y="280"/>
                      <a:pt x="466" y="285"/>
                      <a:pt x="465" y="286"/>
                    </a:cubicBezTo>
                    <a:cubicBezTo>
                      <a:pt x="464" y="288"/>
                      <a:pt x="460" y="288"/>
                      <a:pt x="461" y="289"/>
                    </a:cubicBezTo>
                    <a:cubicBezTo>
                      <a:pt x="464" y="291"/>
                      <a:pt x="468" y="292"/>
                      <a:pt x="472" y="293"/>
                    </a:cubicBezTo>
                    <a:cubicBezTo>
                      <a:pt x="477" y="294"/>
                      <a:pt x="481" y="293"/>
                      <a:pt x="485" y="294"/>
                    </a:cubicBezTo>
                    <a:cubicBezTo>
                      <a:pt x="487" y="295"/>
                      <a:pt x="488" y="298"/>
                      <a:pt x="487" y="299"/>
                    </a:cubicBezTo>
                    <a:cubicBezTo>
                      <a:pt x="482" y="301"/>
                      <a:pt x="474" y="303"/>
                      <a:pt x="469" y="303"/>
                    </a:cubicBezTo>
                    <a:cubicBezTo>
                      <a:pt x="467" y="303"/>
                      <a:pt x="468" y="299"/>
                      <a:pt x="466" y="299"/>
                    </a:cubicBezTo>
                    <a:cubicBezTo>
                      <a:pt x="463" y="300"/>
                      <a:pt x="459" y="302"/>
                      <a:pt x="458" y="305"/>
                    </a:cubicBezTo>
                    <a:cubicBezTo>
                      <a:pt x="464" y="306"/>
                      <a:pt x="461" y="309"/>
                      <a:pt x="460" y="311"/>
                    </a:cubicBezTo>
                    <a:cubicBezTo>
                      <a:pt x="458" y="314"/>
                      <a:pt x="447" y="314"/>
                      <a:pt x="450" y="316"/>
                    </a:cubicBezTo>
                    <a:cubicBezTo>
                      <a:pt x="455" y="316"/>
                      <a:pt x="462" y="316"/>
                      <a:pt x="468" y="316"/>
                    </a:cubicBezTo>
                    <a:cubicBezTo>
                      <a:pt x="469" y="316"/>
                      <a:pt x="479" y="316"/>
                      <a:pt x="478" y="317"/>
                    </a:cubicBezTo>
                    <a:cubicBezTo>
                      <a:pt x="474" y="319"/>
                      <a:pt x="458" y="318"/>
                      <a:pt x="456" y="323"/>
                    </a:cubicBezTo>
                    <a:cubicBezTo>
                      <a:pt x="460" y="324"/>
                      <a:pt x="466" y="324"/>
                      <a:pt x="468" y="325"/>
                    </a:cubicBezTo>
                    <a:cubicBezTo>
                      <a:pt x="471" y="321"/>
                      <a:pt x="478" y="320"/>
                      <a:pt x="483" y="319"/>
                    </a:cubicBezTo>
                    <a:cubicBezTo>
                      <a:pt x="488" y="318"/>
                      <a:pt x="493" y="318"/>
                      <a:pt x="497" y="318"/>
                    </a:cubicBezTo>
                    <a:cubicBezTo>
                      <a:pt x="505" y="319"/>
                      <a:pt x="513" y="321"/>
                      <a:pt x="521" y="322"/>
                    </a:cubicBezTo>
                    <a:cubicBezTo>
                      <a:pt x="523" y="323"/>
                      <a:pt x="529" y="320"/>
                      <a:pt x="527" y="323"/>
                    </a:cubicBezTo>
                    <a:cubicBezTo>
                      <a:pt x="521" y="328"/>
                      <a:pt x="515" y="327"/>
                      <a:pt x="508" y="330"/>
                    </a:cubicBezTo>
                    <a:cubicBezTo>
                      <a:pt x="508" y="335"/>
                      <a:pt x="501" y="334"/>
                      <a:pt x="498" y="337"/>
                    </a:cubicBezTo>
                    <a:cubicBezTo>
                      <a:pt x="493" y="342"/>
                      <a:pt x="488" y="348"/>
                      <a:pt x="481" y="351"/>
                    </a:cubicBezTo>
                    <a:cubicBezTo>
                      <a:pt x="472" y="355"/>
                      <a:pt x="461" y="355"/>
                      <a:pt x="451" y="357"/>
                    </a:cubicBezTo>
                    <a:cubicBezTo>
                      <a:pt x="444" y="359"/>
                      <a:pt x="437" y="362"/>
                      <a:pt x="430" y="363"/>
                    </a:cubicBezTo>
                    <a:cubicBezTo>
                      <a:pt x="426" y="364"/>
                      <a:pt x="422" y="364"/>
                      <a:pt x="418" y="363"/>
                    </a:cubicBezTo>
                    <a:cubicBezTo>
                      <a:pt x="414" y="362"/>
                      <a:pt x="410" y="356"/>
                      <a:pt x="406" y="357"/>
                    </a:cubicBezTo>
                    <a:cubicBezTo>
                      <a:pt x="403" y="358"/>
                      <a:pt x="413" y="363"/>
                      <a:pt x="411" y="366"/>
                    </a:cubicBezTo>
                    <a:cubicBezTo>
                      <a:pt x="409" y="370"/>
                      <a:pt x="400" y="369"/>
                      <a:pt x="397" y="373"/>
                    </a:cubicBezTo>
                    <a:cubicBezTo>
                      <a:pt x="391" y="379"/>
                      <a:pt x="391" y="389"/>
                      <a:pt x="386" y="395"/>
                    </a:cubicBezTo>
                    <a:cubicBezTo>
                      <a:pt x="382" y="400"/>
                      <a:pt x="375" y="400"/>
                      <a:pt x="370" y="403"/>
                    </a:cubicBezTo>
                    <a:cubicBezTo>
                      <a:pt x="367" y="405"/>
                      <a:pt x="366" y="411"/>
                      <a:pt x="362" y="410"/>
                    </a:cubicBezTo>
                    <a:cubicBezTo>
                      <a:pt x="358" y="409"/>
                      <a:pt x="348" y="413"/>
                      <a:pt x="344" y="410"/>
                    </a:cubicBezTo>
                    <a:cubicBezTo>
                      <a:pt x="342" y="408"/>
                      <a:pt x="354" y="404"/>
                      <a:pt x="352" y="402"/>
                    </a:cubicBezTo>
                    <a:cubicBezTo>
                      <a:pt x="349" y="399"/>
                      <a:pt x="344" y="400"/>
                      <a:pt x="341" y="402"/>
                    </a:cubicBezTo>
                    <a:cubicBezTo>
                      <a:pt x="338" y="404"/>
                      <a:pt x="339" y="408"/>
                      <a:pt x="338" y="411"/>
                    </a:cubicBezTo>
                    <a:cubicBezTo>
                      <a:pt x="338" y="413"/>
                      <a:pt x="339" y="415"/>
                      <a:pt x="338" y="416"/>
                    </a:cubicBezTo>
                    <a:cubicBezTo>
                      <a:pt x="335" y="417"/>
                      <a:pt x="330" y="415"/>
                      <a:pt x="327" y="416"/>
                    </a:cubicBezTo>
                    <a:cubicBezTo>
                      <a:pt x="323" y="416"/>
                      <a:pt x="318" y="416"/>
                      <a:pt x="316" y="419"/>
                    </a:cubicBezTo>
                    <a:cubicBezTo>
                      <a:pt x="315" y="421"/>
                      <a:pt x="321" y="424"/>
                      <a:pt x="319" y="425"/>
                    </a:cubicBezTo>
                    <a:cubicBezTo>
                      <a:pt x="316" y="428"/>
                      <a:pt x="308" y="423"/>
                      <a:pt x="307" y="427"/>
                    </a:cubicBezTo>
                    <a:cubicBezTo>
                      <a:pt x="305" y="432"/>
                      <a:pt x="316" y="437"/>
                      <a:pt x="314" y="442"/>
                    </a:cubicBezTo>
                    <a:cubicBezTo>
                      <a:pt x="313" y="446"/>
                      <a:pt x="303" y="438"/>
                      <a:pt x="302" y="442"/>
                    </a:cubicBezTo>
                    <a:cubicBezTo>
                      <a:pt x="300" y="447"/>
                      <a:pt x="310" y="450"/>
                      <a:pt x="309" y="456"/>
                    </a:cubicBezTo>
                    <a:cubicBezTo>
                      <a:pt x="309" y="460"/>
                      <a:pt x="302" y="459"/>
                      <a:pt x="299" y="462"/>
                    </a:cubicBezTo>
                    <a:cubicBezTo>
                      <a:pt x="295" y="466"/>
                      <a:pt x="292" y="470"/>
                      <a:pt x="290" y="474"/>
                    </a:cubicBezTo>
                    <a:cubicBezTo>
                      <a:pt x="288" y="480"/>
                      <a:pt x="289" y="486"/>
                      <a:pt x="287" y="491"/>
                    </a:cubicBezTo>
                    <a:cubicBezTo>
                      <a:pt x="285" y="496"/>
                      <a:pt x="280" y="499"/>
                      <a:pt x="278" y="503"/>
                    </a:cubicBezTo>
                    <a:cubicBezTo>
                      <a:pt x="276" y="507"/>
                      <a:pt x="275" y="512"/>
                      <a:pt x="274" y="517"/>
                    </a:cubicBezTo>
                    <a:cubicBezTo>
                      <a:pt x="273" y="521"/>
                      <a:pt x="275" y="527"/>
                      <a:pt x="271" y="530"/>
                    </a:cubicBezTo>
                    <a:cubicBezTo>
                      <a:pt x="266" y="532"/>
                      <a:pt x="259" y="531"/>
                      <a:pt x="254" y="527"/>
                    </a:cubicBezTo>
                    <a:cubicBezTo>
                      <a:pt x="250" y="524"/>
                      <a:pt x="252" y="516"/>
                      <a:pt x="249" y="511"/>
                    </a:cubicBezTo>
                    <a:cubicBezTo>
                      <a:pt x="247" y="509"/>
                      <a:pt x="244" y="511"/>
                      <a:pt x="241" y="511"/>
                    </a:cubicBezTo>
                    <a:cubicBezTo>
                      <a:pt x="235" y="511"/>
                      <a:pt x="227" y="515"/>
                      <a:pt x="221" y="512"/>
                    </a:cubicBezTo>
                    <a:cubicBezTo>
                      <a:pt x="216" y="510"/>
                      <a:pt x="214" y="504"/>
                      <a:pt x="211" y="499"/>
                    </a:cubicBezTo>
                    <a:cubicBezTo>
                      <a:pt x="206" y="493"/>
                      <a:pt x="200" y="488"/>
                      <a:pt x="197" y="481"/>
                    </a:cubicBezTo>
                    <a:cubicBezTo>
                      <a:pt x="195" y="478"/>
                      <a:pt x="199" y="474"/>
                      <a:pt x="198" y="470"/>
                    </a:cubicBezTo>
                    <a:cubicBezTo>
                      <a:pt x="197" y="467"/>
                      <a:pt x="193" y="466"/>
                      <a:pt x="192" y="463"/>
                    </a:cubicBezTo>
                    <a:cubicBezTo>
                      <a:pt x="189" y="460"/>
                      <a:pt x="189" y="456"/>
                      <a:pt x="187" y="452"/>
                    </a:cubicBezTo>
                    <a:cubicBezTo>
                      <a:pt x="185" y="447"/>
                      <a:pt x="182" y="442"/>
                      <a:pt x="181" y="437"/>
                    </a:cubicBezTo>
                    <a:cubicBezTo>
                      <a:pt x="180" y="431"/>
                      <a:pt x="184" y="426"/>
                      <a:pt x="182" y="421"/>
                    </a:cubicBezTo>
                    <a:cubicBezTo>
                      <a:pt x="182" y="417"/>
                      <a:pt x="177" y="415"/>
                      <a:pt x="175" y="411"/>
                    </a:cubicBezTo>
                    <a:cubicBezTo>
                      <a:pt x="173" y="408"/>
                      <a:pt x="171" y="404"/>
                      <a:pt x="172" y="400"/>
                    </a:cubicBezTo>
                    <a:cubicBezTo>
                      <a:pt x="173" y="396"/>
                      <a:pt x="180" y="394"/>
                      <a:pt x="179" y="390"/>
                    </a:cubicBezTo>
                    <a:cubicBezTo>
                      <a:pt x="179" y="386"/>
                      <a:pt x="172" y="388"/>
                      <a:pt x="170" y="385"/>
                    </a:cubicBezTo>
                    <a:cubicBezTo>
                      <a:pt x="169" y="382"/>
                      <a:pt x="170" y="379"/>
                      <a:pt x="170" y="376"/>
                    </a:cubicBezTo>
                    <a:cubicBezTo>
                      <a:pt x="171" y="372"/>
                      <a:pt x="170" y="367"/>
                      <a:pt x="173" y="364"/>
                    </a:cubicBezTo>
                    <a:cubicBezTo>
                      <a:pt x="175" y="362"/>
                      <a:pt x="181" y="365"/>
                      <a:pt x="184" y="363"/>
                    </a:cubicBezTo>
                    <a:cubicBezTo>
                      <a:pt x="186" y="361"/>
                      <a:pt x="184" y="356"/>
                      <a:pt x="187" y="354"/>
                    </a:cubicBezTo>
                    <a:cubicBezTo>
                      <a:pt x="192" y="352"/>
                      <a:pt x="198" y="357"/>
                      <a:pt x="202" y="354"/>
                    </a:cubicBezTo>
                    <a:cubicBezTo>
                      <a:pt x="206" y="351"/>
                      <a:pt x="206" y="344"/>
                      <a:pt x="207" y="339"/>
                    </a:cubicBezTo>
                    <a:cubicBezTo>
                      <a:pt x="209" y="335"/>
                      <a:pt x="212" y="330"/>
                      <a:pt x="211" y="326"/>
                    </a:cubicBezTo>
                    <a:cubicBezTo>
                      <a:pt x="211" y="324"/>
                      <a:pt x="208" y="323"/>
                      <a:pt x="206" y="323"/>
                    </a:cubicBezTo>
                    <a:cubicBezTo>
                      <a:pt x="202" y="322"/>
                      <a:pt x="198" y="323"/>
                      <a:pt x="195" y="322"/>
                    </a:cubicBezTo>
                    <a:cubicBezTo>
                      <a:pt x="188" y="321"/>
                      <a:pt x="182" y="319"/>
                      <a:pt x="176" y="317"/>
                    </a:cubicBezTo>
                    <a:cubicBezTo>
                      <a:pt x="174" y="315"/>
                      <a:pt x="168" y="312"/>
                      <a:pt x="170" y="310"/>
                    </a:cubicBezTo>
                    <a:cubicBezTo>
                      <a:pt x="174" y="306"/>
                      <a:pt x="180" y="308"/>
                      <a:pt x="185" y="308"/>
                    </a:cubicBezTo>
                    <a:cubicBezTo>
                      <a:pt x="195" y="310"/>
                      <a:pt x="204" y="320"/>
                      <a:pt x="213" y="317"/>
                    </a:cubicBezTo>
                    <a:cubicBezTo>
                      <a:pt x="219" y="315"/>
                      <a:pt x="208" y="306"/>
                      <a:pt x="204" y="302"/>
                    </a:cubicBezTo>
                    <a:cubicBezTo>
                      <a:pt x="201" y="298"/>
                      <a:pt x="196" y="296"/>
                      <a:pt x="193" y="293"/>
                    </a:cubicBezTo>
                    <a:cubicBezTo>
                      <a:pt x="190" y="291"/>
                      <a:pt x="190" y="285"/>
                      <a:pt x="186" y="285"/>
                    </a:cubicBezTo>
                    <a:cubicBezTo>
                      <a:pt x="183" y="285"/>
                      <a:pt x="184" y="292"/>
                      <a:pt x="181" y="293"/>
                    </a:cubicBezTo>
                    <a:cubicBezTo>
                      <a:pt x="174" y="293"/>
                      <a:pt x="166" y="292"/>
                      <a:pt x="161" y="287"/>
                    </a:cubicBezTo>
                    <a:cubicBezTo>
                      <a:pt x="158" y="284"/>
                      <a:pt x="162" y="279"/>
                      <a:pt x="164" y="275"/>
                    </a:cubicBezTo>
                    <a:cubicBezTo>
                      <a:pt x="165" y="271"/>
                      <a:pt x="171" y="268"/>
                      <a:pt x="171" y="264"/>
                    </a:cubicBezTo>
                    <a:cubicBezTo>
                      <a:pt x="172" y="258"/>
                      <a:pt x="169" y="253"/>
                      <a:pt x="167" y="247"/>
                    </a:cubicBezTo>
                    <a:cubicBezTo>
                      <a:pt x="165" y="240"/>
                      <a:pt x="164" y="232"/>
                      <a:pt x="161" y="225"/>
                    </a:cubicBezTo>
                    <a:cubicBezTo>
                      <a:pt x="156" y="217"/>
                      <a:pt x="148" y="212"/>
                      <a:pt x="142" y="204"/>
                    </a:cubicBezTo>
                    <a:cubicBezTo>
                      <a:pt x="141" y="202"/>
                      <a:pt x="142" y="198"/>
                      <a:pt x="139" y="197"/>
                    </a:cubicBezTo>
                    <a:cubicBezTo>
                      <a:pt x="133" y="193"/>
                      <a:pt x="125" y="191"/>
                      <a:pt x="118" y="189"/>
                    </a:cubicBezTo>
                    <a:cubicBezTo>
                      <a:pt x="110" y="187"/>
                      <a:pt x="102" y="184"/>
                      <a:pt x="93" y="183"/>
                    </a:cubicBezTo>
                    <a:cubicBezTo>
                      <a:pt x="86" y="182"/>
                      <a:pt x="79" y="183"/>
                      <a:pt x="71" y="184"/>
                    </a:cubicBezTo>
                    <a:cubicBezTo>
                      <a:pt x="67" y="184"/>
                      <a:pt x="61" y="183"/>
                      <a:pt x="57" y="185"/>
                    </a:cubicBezTo>
                    <a:cubicBezTo>
                      <a:pt x="55" y="186"/>
                      <a:pt x="58" y="191"/>
                      <a:pt x="56" y="191"/>
                    </a:cubicBezTo>
                    <a:cubicBezTo>
                      <a:pt x="49" y="193"/>
                      <a:pt x="41" y="192"/>
                      <a:pt x="34" y="189"/>
                    </a:cubicBezTo>
                    <a:cubicBezTo>
                      <a:pt x="31" y="188"/>
                      <a:pt x="28" y="184"/>
                      <a:pt x="29" y="182"/>
                    </a:cubicBezTo>
                    <a:cubicBezTo>
                      <a:pt x="32" y="178"/>
                      <a:pt x="43" y="181"/>
                      <a:pt x="42" y="176"/>
                    </a:cubicBezTo>
                    <a:cubicBezTo>
                      <a:pt x="41" y="171"/>
                      <a:pt x="32" y="175"/>
                      <a:pt x="28" y="173"/>
                    </a:cubicBezTo>
                    <a:cubicBezTo>
                      <a:pt x="26" y="172"/>
                      <a:pt x="27" y="168"/>
                      <a:pt x="25" y="168"/>
                    </a:cubicBezTo>
                    <a:cubicBezTo>
                      <a:pt x="22" y="168"/>
                      <a:pt x="20" y="175"/>
                      <a:pt x="17" y="174"/>
                    </a:cubicBezTo>
                    <a:cubicBezTo>
                      <a:pt x="14" y="173"/>
                      <a:pt x="11" y="168"/>
                      <a:pt x="13" y="166"/>
                    </a:cubicBezTo>
                    <a:cubicBezTo>
                      <a:pt x="17" y="162"/>
                      <a:pt x="23" y="162"/>
                      <a:pt x="28" y="162"/>
                    </a:cubicBezTo>
                    <a:cubicBezTo>
                      <a:pt x="34" y="161"/>
                      <a:pt x="40" y="163"/>
                      <a:pt x="47" y="163"/>
                    </a:cubicBezTo>
                    <a:cubicBezTo>
                      <a:pt x="54" y="164"/>
                      <a:pt x="62" y="167"/>
                      <a:pt x="68" y="163"/>
                    </a:cubicBezTo>
                    <a:cubicBezTo>
                      <a:pt x="71" y="162"/>
                      <a:pt x="63" y="158"/>
                      <a:pt x="64" y="155"/>
                    </a:cubicBezTo>
                    <a:cubicBezTo>
                      <a:pt x="65" y="151"/>
                      <a:pt x="77" y="149"/>
                      <a:pt x="74" y="148"/>
                    </a:cubicBezTo>
                    <a:cubicBezTo>
                      <a:pt x="68" y="145"/>
                      <a:pt x="61" y="150"/>
                      <a:pt x="54" y="151"/>
                    </a:cubicBezTo>
                    <a:cubicBezTo>
                      <a:pt x="49" y="151"/>
                      <a:pt x="43" y="152"/>
                      <a:pt x="37" y="151"/>
                    </a:cubicBezTo>
                    <a:cubicBezTo>
                      <a:pt x="31" y="151"/>
                      <a:pt x="24" y="150"/>
                      <a:pt x="18" y="148"/>
                    </a:cubicBezTo>
                    <a:cubicBezTo>
                      <a:pt x="12" y="147"/>
                      <a:pt x="6" y="145"/>
                      <a:pt x="2" y="140"/>
                    </a:cubicBezTo>
                    <a:cubicBezTo>
                      <a:pt x="0" y="138"/>
                      <a:pt x="0" y="132"/>
                      <a:pt x="3" y="131"/>
                    </a:cubicBezTo>
                    <a:cubicBezTo>
                      <a:pt x="11" y="126"/>
                      <a:pt x="22" y="125"/>
                      <a:pt x="31" y="123"/>
                    </a:cubicBezTo>
                    <a:cubicBezTo>
                      <a:pt x="36" y="121"/>
                      <a:pt x="41" y="119"/>
                      <a:pt x="47" y="118"/>
                    </a:cubicBezTo>
                    <a:cubicBezTo>
                      <a:pt x="56" y="117"/>
                      <a:pt x="66" y="119"/>
                      <a:pt x="75" y="116"/>
                    </a:cubicBezTo>
                    <a:cubicBezTo>
                      <a:pt x="81" y="114"/>
                      <a:pt x="86" y="110"/>
                      <a:pt x="90" y="105"/>
                    </a:cubicBezTo>
                    <a:cubicBezTo>
                      <a:pt x="92" y="103"/>
                      <a:pt x="89" y="100"/>
                      <a:pt x="90" y="98"/>
                    </a:cubicBezTo>
                    <a:cubicBezTo>
                      <a:pt x="93" y="94"/>
                      <a:pt x="104" y="92"/>
                      <a:pt x="102" y="88"/>
                    </a:cubicBezTo>
                    <a:cubicBezTo>
                      <a:pt x="99" y="83"/>
                      <a:pt x="92" y="90"/>
                      <a:pt x="87" y="91"/>
                    </a:cubicBezTo>
                    <a:cubicBezTo>
                      <a:pt x="83" y="91"/>
                      <a:pt x="80" y="91"/>
                      <a:pt x="77" y="91"/>
                    </a:cubicBezTo>
                    <a:cubicBezTo>
                      <a:pt x="74" y="91"/>
                      <a:pt x="66" y="91"/>
                      <a:pt x="68" y="89"/>
                    </a:cubicBezTo>
                    <a:cubicBezTo>
                      <a:pt x="73" y="82"/>
                      <a:pt x="82" y="80"/>
                      <a:pt x="89" y="77"/>
                    </a:cubicBezTo>
                    <a:cubicBezTo>
                      <a:pt x="96" y="73"/>
                      <a:pt x="102" y="68"/>
                      <a:pt x="110" y="66"/>
                    </a:cubicBezTo>
                    <a:cubicBezTo>
                      <a:pt x="115" y="64"/>
                      <a:pt x="122" y="68"/>
                      <a:pt x="127" y="65"/>
                    </a:cubicBezTo>
                    <a:cubicBezTo>
                      <a:pt x="134" y="62"/>
                      <a:pt x="138" y="54"/>
                      <a:pt x="145" y="50"/>
                    </a:cubicBezTo>
                    <a:cubicBezTo>
                      <a:pt x="153" y="46"/>
                      <a:pt x="163" y="44"/>
                      <a:pt x="172" y="41"/>
                    </a:cubicBezTo>
                    <a:cubicBezTo>
                      <a:pt x="181" y="39"/>
                      <a:pt x="189" y="36"/>
                      <a:pt x="198" y="35"/>
                    </a:cubicBezTo>
                    <a:cubicBezTo>
                      <a:pt x="203" y="34"/>
                      <a:pt x="209" y="32"/>
                      <a:pt x="212" y="36"/>
                    </a:cubicBezTo>
                    <a:cubicBezTo>
                      <a:pt x="215" y="40"/>
                      <a:pt x="208" y="48"/>
                      <a:pt x="213" y="51"/>
                    </a:cubicBezTo>
                    <a:cubicBezTo>
                      <a:pt x="216" y="53"/>
                      <a:pt x="217" y="42"/>
                      <a:pt x="221" y="42"/>
                    </a:cubicBezTo>
                    <a:cubicBezTo>
                      <a:pt x="229" y="42"/>
                      <a:pt x="234" y="50"/>
                      <a:pt x="241" y="52"/>
                    </a:cubicBezTo>
                    <a:cubicBezTo>
                      <a:pt x="243" y="52"/>
                      <a:pt x="238" y="47"/>
                      <a:pt x="240" y="46"/>
                    </a:cubicBezTo>
                    <a:cubicBezTo>
                      <a:pt x="243" y="44"/>
                      <a:pt x="250" y="50"/>
                      <a:pt x="250" y="46"/>
                    </a:cubicBezTo>
                    <a:cubicBezTo>
                      <a:pt x="250" y="40"/>
                      <a:pt x="238" y="38"/>
                      <a:pt x="240" y="32"/>
                    </a:cubicBezTo>
                    <a:cubicBezTo>
                      <a:pt x="241" y="27"/>
                      <a:pt x="250" y="32"/>
                      <a:pt x="255" y="33"/>
                    </a:cubicBezTo>
                    <a:cubicBezTo>
                      <a:pt x="264" y="35"/>
                      <a:pt x="274" y="36"/>
                      <a:pt x="282" y="40"/>
                    </a:cubicBezTo>
                    <a:cubicBezTo>
                      <a:pt x="286" y="42"/>
                      <a:pt x="287" y="48"/>
                      <a:pt x="291" y="49"/>
                    </a:cubicBezTo>
                    <a:cubicBezTo>
                      <a:pt x="294" y="51"/>
                      <a:pt x="299" y="53"/>
                      <a:pt x="302" y="51"/>
                    </a:cubicBezTo>
                    <a:cubicBezTo>
                      <a:pt x="304" y="50"/>
                      <a:pt x="300" y="45"/>
                      <a:pt x="300" y="43"/>
                    </a:cubicBezTo>
                    <a:cubicBezTo>
                      <a:pt x="301" y="40"/>
                      <a:pt x="301" y="37"/>
                      <a:pt x="303" y="37"/>
                    </a:cubicBezTo>
                    <a:cubicBezTo>
                      <a:pt x="306" y="35"/>
                      <a:pt x="319" y="40"/>
                      <a:pt x="317" y="37"/>
                    </a:cubicBezTo>
                    <a:cubicBezTo>
                      <a:pt x="312" y="32"/>
                      <a:pt x="292" y="32"/>
                      <a:pt x="296" y="27"/>
                    </a:cubicBezTo>
                    <a:cubicBezTo>
                      <a:pt x="303" y="26"/>
                      <a:pt x="314" y="27"/>
                      <a:pt x="323" y="27"/>
                    </a:cubicBezTo>
                    <a:cubicBezTo>
                      <a:pt x="328" y="26"/>
                      <a:pt x="344" y="26"/>
                      <a:pt x="339" y="25"/>
                    </a:cubicBezTo>
                    <a:cubicBezTo>
                      <a:pt x="330" y="23"/>
                      <a:pt x="320" y="26"/>
                      <a:pt x="312" y="24"/>
                    </a:cubicBezTo>
                    <a:cubicBezTo>
                      <a:pt x="306" y="22"/>
                      <a:pt x="291" y="20"/>
                      <a:pt x="293" y="14"/>
                    </a:cubicBezTo>
                    <a:cubicBezTo>
                      <a:pt x="301" y="12"/>
                      <a:pt x="313" y="17"/>
                      <a:pt x="319" y="11"/>
                    </a:cubicBezTo>
                    <a:cubicBezTo>
                      <a:pt x="327" y="11"/>
                      <a:pt x="331" y="16"/>
                      <a:pt x="339" y="17"/>
                    </a:cubicBezTo>
                    <a:cubicBezTo>
                      <a:pt x="345" y="18"/>
                      <a:pt x="351" y="18"/>
                      <a:pt x="358" y="18"/>
                    </a:cubicBezTo>
                    <a:cubicBezTo>
                      <a:pt x="362" y="17"/>
                      <a:pt x="369" y="18"/>
                      <a:pt x="370" y="14"/>
                    </a:cubicBezTo>
                    <a:cubicBezTo>
                      <a:pt x="372" y="11"/>
                      <a:pt x="359" y="15"/>
                      <a:pt x="361" y="12"/>
                    </a:cubicBezTo>
                    <a:cubicBezTo>
                      <a:pt x="364" y="7"/>
                      <a:pt x="368" y="6"/>
                      <a:pt x="373" y="6"/>
                    </a:cubicBezTo>
                    <a:cubicBezTo>
                      <a:pt x="376" y="5"/>
                      <a:pt x="380" y="9"/>
                      <a:pt x="382" y="9"/>
                    </a:cubicBezTo>
                    <a:cubicBezTo>
                      <a:pt x="385" y="8"/>
                      <a:pt x="378" y="4"/>
                      <a:pt x="381" y="3"/>
                    </a:cubicBezTo>
                    <a:cubicBezTo>
                      <a:pt x="388" y="1"/>
                      <a:pt x="403" y="2"/>
                      <a:pt x="410" y="2"/>
                    </a:cubicBezTo>
                    <a:cubicBezTo>
                      <a:pt x="416" y="2"/>
                      <a:pt x="422" y="2"/>
                      <a:pt x="429" y="2"/>
                    </a:cubicBezTo>
                    <a:cubicBezTo>
                      <a:pt x="440" y="2"/>
                      <a:pt x="451" y="0"/>
                      <a:pt x="463" y="1"/>
                    </a:cubicBezTo>
                    <a:cubicBezTo>
                      <a:pt x="473" y="2"/>
                      <a:pt x="483" y="3"/>
                      <a:pt x="493" y="6"/>
                    </a:cubicBezTo>
                    <a:cubicBezTo>
                      <a:pt x="497" y="7"/>
                      <a:pt x="507" y="11"/>
                      <a:pt x="507" y="15"/>
                    </a:cubicBezTo>
                    <a:cubicBezTo>
                      <a:pt x="503" y="19"/>
                      <a:pt x="496" y="18"/>
                      <a:pt x="492" y="19"/>
                    </a:cubicBezTo>
                    <a:cubicBezTo>
                      <a:pt x="485" y="21"/>
                      <a:pt x="477" y="19"/>
                      <a:pt x="470" y="19"/>
                    </a:cubicBezTo>
                    <a:cubicBezTo>
                      <a:pt x="461" y="19"/>
                      <a:pt x="453" y="19"/>
                      <a:pt x="444" y="19"/>
                    </a:cubicBezTo>
                    <a:cubicBezTo>
                      <a:pt x="441" y="19"/>
                      <a:pt x="432" y="20"/>
                      <a:pt x="435" y="21"/>
                    </a:cubicBezTo>
                    <a:cubicBezTo>
                      <a:pt x="444" y="22"/>
                      <a:pt x="453" y="22"/>
                      <a:pt x="462" y="22"/>
                    </a:cubicBezTo>
                    <a:cubicBezTo>
                      <a:pt x="475" y="23"/>
                      <a:pt x="488" y="24"/>
                      <a:pt x="500" y="24"/>
                    </a:cubicBezTo>
                    <a:cubicBezTo>
                      <a:pt x="506" y="24"/>
                      <a:pt x="511" y="20"/>
                      <a:pt x="517" y="20"/>
                    </a:cubicBezTo>
                    <a:cubicBezTo>
                      <a:pt x="523" y="20"/>
                      <a:pt x="529" y="20"/>
                      <a:pt x="534" y="20"/>
                    </a:cubicBezTo>
                    <a:cubicBezTo>
                      <a:pt x="538" y="21"/>
                      <a:pt x="544" y="21"/>
                      <a:pt x="546" y="25"/>
                    </a:cubicBezTo>
                    <a:cubicBezTo>
                      <a:pt x="545" y="31"/>
                      <a:pt x="537" y="32"/>
                      <a:pt x="531" y="34"/>
                    </a:cubicBezTo>
                    <a:cubicBezTo>
                      <a:pt x="524" y="36"/>
                      <a:pt x="517" y="35"/>
                      <a:pt x="509" y="36"/>
                    </a:cubicBezTo>
                    <a:cubicBezTo>
                      <a:pt x="502" y="37"/>
                      <a:pt x="495" y="39"/>
                      <a:pt x="488" y="40"/>
                    </a:cubicBezTo>
                    <a:cubicBezTo>
                      <a:pt x="475" y="40"/>
                      <a:pt x="463" y="38"/>
                      <a:pt x="450" y="40"/>
                    </a:cubicBezTo>
                    <a:cubicBezTo>
                      <a:pt x="441" y="40"/>
                      <a:pt x="431" y="43"/>
                      <a:pt x="423" y="46"/>
                    </a:cubicBezTo>
                    <a:cubicBezTo>
                      <a:pt x="420" y="46"/>
                      <a:pt x="416" y="50"/>
                      <a:pt x="418" y="51"/>
                    </a:cubicBezTo>
                    <a:cubicBezTo>
                      <a:pt x="431" y="54"/>
                      <a:pt x="444" y="53"/>
                      <a:pt x="457" y="53"/>
                    </a:cubicBezTo>
                    <a:cubicBezTo>
                      <a:pt x="469" y="54"/>
                      <a:pt x="482" y="55"/>
                      <a:pt x="494" y="55"/>
                    </a:cubicBezTo>
                    <a:cubicBezTo>
                      <a:pt x="501" y="54"/>
                      <a:pt x="507" y="53"/>
                      <a:pt x="513" y="50"/>
                    </a:cubicBezTo>
                    <a:cubicBezTo>
                      <a:pt x="516" y="49"/>
                      <a:pt x="516" y="45"/>
                      <a:pt x="518" y="43"/>
                    </a:cubicBezTo>
                    <a:cubicBezTo>
                      <a:pt x="523" y="41"/>
                      <a:pt x="529" y="39"/>
                      <a:pt x="534" y="41"/>
                    </a:cubicBezTo>
                    <a:cubicBezTo>
                      <a:pt x="537" y="43"/>
                      <a:pt x="540" y="48"/>
                      <a:pt x="539" y="52"/>
                    </a:cubicBezTo>
                    <a:cubicBezTo>
                      <a:pt x="537" y="57"/>
                      <a:pt x="530" y="60"/>
                      <a:pt x="525" y="64"/>
                    </a:cubicBezTo>
                    <a:cubicBezTo>
                      <a:pt x="519" y="79"/>
                      <a:pt x="507" y="80"/>
                      <a:pt x="500" y="89"/>
                    </a:cubicBezTo>
                    <a:cubicBezTo>
                      <a:pt x="507" y="90"/>
                      <a:pt x="519" y="77"/>
                      <a:pt x="528" y="71"/>
                    </a:cubicBezTo>
                    <a:cubicBezTo>
                      <a:pt x="537" y="66"/>
                      <a:pt x="544" y="62"/>
                      <a:pt x="552" y="56"/>
                    </a:cubicBezTo>
                    <a:cubicBezTo>
                      <a:pt x="555" y="54"/>
                      <a:pt x="556" y="49"/>
                      <a:pt x="559" y="50"/>
                    </a:cubicBezTo>
                    <a:cubicBezTo>
                      <a:pt x="563" y="50"/>
                      <a:pt x="557" y="57"/>
                      <a:pt x="560" y="58"/>
                    </a:cubicBezTo>
                    <a:cubicBezTo>
                      <a:pt x="564" y="60"/>
                      <a:pt x="567" y="54"/>
                      <a:pt x="571" y="54"/>
                    </a:cubicBezTo>
                    <a:cubicBezTo>
                      <a:pt x="574" y="54"/>
                      <a:pt x="581" y="57"/>
                      <a:pt x="584" y="55"/>
                    </a:cubicBezTo>
                    <a:cubicBezTo>
                      <a:pt x="591" y="54"/>
                      <a:pt x="595" y="47"/>
                      <a:pt x="602" y="46"/>
                    </a:cubicBezTo>
                    <a:cubicBezTo>
                      <a:pt x="609" y="44"/>
                      <a:pt x="617" y="46"/>
                      <a:pt x="624" y="47"/>
                    </a:cubicBezTo>
                    <a:cubicBezTo>
                      <a:pt x="631" y="48"/>
                      <a:pt x="635" y="50"/>
                      <a:pt x="645" y="5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1" name="Freeform 3602"/>
              <p:cNvSpPr>
                <a:spLocks noChangeAspect="1"/>
              </p:cNvSpPr>
              <p:nvPr/>
            </p:nvSpPr>
            <p:spPr bwMode="auto">
              <a:xfrm>
                <a:off x="3259553" y="1762032"/>
                <a:ext cx="68695" cy="48724"/>
              </a:xfrm>
              <a:custGeom>
                <a:avLst/>
                <a:gdLst>
                  <a:gd name="T0" fmla="*/ 7 w 35"/>
                  <a:gd name="T1" fmla="*/ 0 h 25"/>
                  <a:gd name="T2" fmla="*/ 23 w 35"/>
                  <a:gd name="T3" fmla="*/ 4 h 25"/>
                  <a:gd name="T4" fmla="*/ 34 w 35"/>
                  <a:gd name="T5" fmla="*/ 11 h 25"/>
                  <a:gd name="T6" fmla="*/ 41 w 35"/>
                  <a:gd name="T7" fmla="*/ 14 h 25"/>
                  <a:gd name="T8" fmla="*/ 36 w 35"/>
                  <a:gd name="T9" fmla="*/ 25 h 25"/>
                  <a:gd name="T10" fmla="*/ 18 w 35"/>
                  <a:gd name="T11" fmla="*/ 29 h 25"/>
                  <a:gd name="T12" fmla="*/ 10 w 35"/>
                  <a:gd name="T13" fmla="*/ 26 h 25"/>
                  <a:gd name="T14" fmla="*/ 18 w 35"/>
                  <a:gd name="T15" fmla="*/ 22 h 25"/>
                  <a:gd name="T16" fmla="*/ 2 w 35"/>
                  <a:gd name="T17" fmla="*/ 19 h 25"/>
                  <a:gd name="T18" fmla="*/ 4 w 35"/>
                  <a:gd name="T19" fmla="*/ 14 h 25"/>
                  <a:gd name="T20" fmla="*/ 4 w 35"/>
                  <a:gd name="T21" fmla="*/ 10 h 25"/>
                  <a:gd name="T22" fmla="*/ 8 w 35"/>
                  <a:gd name="T23" fmla="*/ 10 h 25"/>
                  <a:gd name="T24" fmla="*/ 4 w 35"/>
                  <a:gd name="T25" fmla="*/ 5 h 25"/>
                  <a:gd name="T26" fmla="*/ 7 w 35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5"/>
                  <a:gd name="T43" fmla="*/ 0 h 25"/>
                  <a:gd name="T44" fmla="*/ 35 w 35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5" h="25">
                    <a:moveTo>
                      <a:pt x="6" y="0"/>
                    </a:moveTo>
                    <a:cubicBezTo>
                      <a:pt x="11" y="0"/>
                      <a:pt x="15" y="1"/>
                      <a:pt x="19" y="3"/>
                    </a:cubicBezTo>
                    <a:cubicBezTo>
                      <a:pt x="22" y="4"/>
                      <a:pt x="24" y="7"/>
                      <a:pt x="28" y="9"/>
                    </a:cubicBezTo>
                    <a:cubicBezTo>
                      <a:pt x="30" y="11"/>
                      <a:pt x="34" y="10"/>
                      <a:pt x="34" y="12"/>
                    </a:cubicBezTo>
                    <a:cubicBezTo>
                      <a:pt x="35" y="15"/>
                      <a:pt x="33" y="19"/>
                      <a:pt x="30" y="21"/>
                    </a:cubicBezTo>
                    <a:cubicBezTo>
                      <a:pt x="26" y="24"/>
                      <a:pt x="20" y="24"/>
                      <a:pt x="15" y="24"/>
                    </a:cubicBezTo>
                    <a:cubicBezTo>
                      <a:pt x="13" y="25"/>
                      <a:pt x="8" y="25"/>
                      <a:pt x="8" y="22"/>
                    </a:cubicBezTo>
                    <a:cubicBezTo>
                      <a:pt x="8" y="20"/>
                      <a:pt x="17" y="20"/>
                      <a:pt x="15" y="18"/>
                    </a:cubicBezTo>
                    <a:cubicBezTo>
                      <a:pt x="12" y="15"/>
                      <a:pt x="6" y="18"/>
                      <a:pt x="2" y="16"/>
                    </a:cubicBezTo>
                    <a:cubicBezTo>
                      <a:pt x="0" y="15"/>
                      <a:pt x="3" y="13"/>
                      <a:pt x="3" y="12"/>
                    </a:cubicBezTo>
                    <a:cubicBezTo>
                      <a:pt x="3" y="10"/>
                      <a:pt x="3" y="9"/>
                      <a:pt x="3" y="8"/>
                    </a:cubicBezTo>
                    <a:cubicBezTo>
                      <a:pt x="4" y="7"/>
                      <a:pt x="7" y="9"/>
                      <a:pt x="7" y="8"/>
                    </a:cubicBezTo>
                    <a:cubicBezTo>
                      <a:pt x="7" y="6"/>
                      <a:pt x="3" y="6"/>
                      <a:pt x="3" y="4"/>
                    </a:cubicBezTo>
                    <a:cubicBezTo>
                      <a:pt x="3" y="2"/>
                      <a:pt x="5" y="0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2" name="Freeform 3603"/>
              <p:cNvSpPr>
                <a:spLocks noChangeAspect="1"/>
              </p:cNvSpPr>
              <p:nvPr/>
            </p:nvSpPr>
            <p:spPr bwMode="auto">
              <a:xfrm>
                <a:off x="3012579" y="1446950"/>
                <a:ext cx="57246" cy="14618"/>
              </a:xfrm>
              <a:custGeom>
                <a:avLst/>
                <a:gdLst>
                  <a:gd name="T0" fmla="*/ 6 w 29"/>
                  <a:gd name="T1" fmla="*/ 1 h 7"/>
                  <a:gd name="T2" fmla="*/ 1 w 29"/>
                  <a:gd name="T3" fmla="*/ 4 h 7"/>
                  <a:gd name="T4" fmla="*/ 12 w 29"/>
                  <a:gd name="T5" fmla="*/ 6 h 7"/>
                  <a:gd name="T6" fmla="*/ 25 w 29"/>
                  <a:gd name="T7" fmla="*/ 8 h 7"/>
                  <a:gd name="T8" fmla="*/ 35 w 29"/>
                  <a:gd name="T9" fmla="*/ 9 h 7"/>
                  <a:gd name="T10" fmla="*/ 35 w 29"/>
                  <a:gd name="T11" fmla="*/ 6 h 7"/>
                  <a:gd name="T12" fmla="*/ 24 w 29"/>
                  <a:gd name="T13" fmla="*/ 1 h 7"/>
                  <a:gd name="T14" fmla="*/ 13 w 29"/>
                  <a:gd name="T15" fmla="*/ 3 h 7"/>
                  <a:gd name="T16" fmla="*/ 6 w 29"/>
                  <a:gd name="T17" fmla="*/ 1 h 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7"/>
                  <a:gd name="T29" fmla="*/ 29 w 29"/>
                  <a:gd name="T30" fmla="*/ 7 h 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7">
                    <a:moveTo>
                      <a:pt x="5" y="1"/>
                    </a:moveTo>
                    <a:cubicBezTo>
                      <a:pt x="4" y="2"/>
                      <a:pt x="0" y="2"/>
                      <a:pt x="1" y="3"/>
                    </a:cubicBezTo>
                    <a:cubicBezTo>
                      <a:pt x="4" y="5"/>
                      <a:pt x="7" y="4"/>
                      <a:pt x="10" y="5"/>
                    </a:cubicBezTo>
                    <a:cubicBezTo>
                      <a:pt x="14" y="5"/>
                      <a:pt x="17" y="6"/>
                      <a:pt x="21" y="6"/>
                    </a:cubicBezTo>
                    <a:cubicBezTo>
                      <a:pt x="24" y="6"/>
                      <a:pt x="26" y="7"/>
                      <a:pt x="29" y="7"/>
                    </a:cubicBezTo>
                    <a:cubicBezTo>
                      <a:pt x="29" y="6"/>
                      <a:pt x="29" y="5"/>
                      <a:pt x="29" y="5"/>
                    </a:cubicBezTo>
                    <a:cubicBezTo>
                      <a:pt x="26" y="3"/>
                      <a:pt x="23" y="1"/>
                      <a:pt x="20" y="1"/>
                    </a:cubicBezTo>
                    <a:cubicBezTo>
                      <a:pt x="17" y="0"/>
                      <a:pt x="14" y="2"/>
                      <a:pt x="11" y="2"/>
                    </a:cubicBezTo>
                    <a:cubicBezTo>
                      <a:pt x="9" y="2"/>
                      <a:pt x="7" y="1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3" name="Freeform 3604"/>
              <p:cNvSpPr>
                <a:spLocks noChangeAspect="1"/>
              </p:cNvSpPr>
              <p:nvPr/>
            </p:nvSpPr>
            <p:spPr bwMode="auto">
              <a:xfrm>
                <a:off x="2963511" y="1445325"/>
                <a:ext cx="27806" cy="8121"/>
              </a:xfrm>
              <a:custGeom>
                <a:avLst/>
                <a:gdLst>
                  <a:gd name="T0" fmla="*/ 9 w 14"/>
                  <a:gd name="T1" fmla="*/ 1 h 4"/>
                  <a:gd name="T2" fmla="*/ 16 w 14"/>
                  <a:gd name="T3" fmla="*/ 3 h 4"/>
                  <a:gd name="T4" fmla="*/ 16 w 14"/>
                  <a:gd name="T5" fmla="*/ 5 h 4"/>
                  <a:gd name="T6" fmla="*/ 5 w 14"/>
                  <a:gd name="T7" fmla="*/ 5 h 4"/>
                  <a:gd name="T8" fmla="*/ 1 w 14"/>
                  <a:gd name="T9" fmla="*/ 3 h 4"/>
                  <a:gd name="T10" fmla="*/ 9 w 14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"/>
                  <a:gd name="T19" fmla="*/ 0 h 4"/>
                  <a:gd name="T20" fmla="*/ 14 w 14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" h="4">
                    <a:moveTo>
                      <a:pt x="7" y="1"/>
                    </a:moveTo>
                    <a:cubicBezTo>
                      <a:pt x="9" y="1"/>
                      <a:pt x="11" y="1"/>
                      <a:pt x="13" y="2"/>
                    </a:cubicBezTo>
                    <a:cubicBezTo>
                      <a:pt x="14" y="2"/>
                      <a:pt x="14" y="4"/>
                      <a:pt x="13" y="4"/>
                    </a:cubicBezTo>
                    <a:cubicBezTo>
                      <a:pt x="10" y="4"/>
                      <a:pt x="7" y="4"/>
                      <a:pt x="4" y="4"/>
                    </a:cubicBezTo>
                    <a:cubicBezTo>
                      <a:pt x="3" y="4"/>
                      <a:pt x="0" y="2"/>
                      <a:pt x="1" y="2"/>
                    </a:cubicBezTo>
                    <a:cubicBezTo>
                      <a:pt x="2" y="0"/>
                      <a:pt x="5" y="1"/>
                      <a:pt x="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4" name="Freeform 3605"/>
              <p:cNvSpPr>
                <a:spLocks noChangeAspect="1"/>
              </p:cNvSpPr>
              <p:nvPr/>
            </p:nvSpPr>
            <p:spPr bwMode="auto">
              <a:xfrm>
                <a:off x="2935706" y="1451822"/>
                <a:ext cx="26169" cy="8121"/>
              </a:xfrm>
              <a:custGeom>
                <a:avLst/>
                <a:gdLst>
                  <a:gd name="T0" fmla="*/ 4 w 13"/>
                  <a:gd name="T1" fmla="*/ 0 h 4"/>
                  <a:gd name="T2" fmla="*/ 12 w 13"/>
                  <a:gd name="T3" fmla="*/ 1 h 4"/>
                  <a:gd name="T4" fmla="*/ 16 w 13"/>
                  <a:gd name="T5" fmla="*/ 3 h 4"/>
                  <a:gd name="T6" fmla="*/ 12 w 13"/>
                  <a:gd name="T7" fmla="*/ 5 h 4"/>
                  <a:gd name="T8" fmla="*/ 5 w 13"/>
                  <a:gd name="T9" fmla="*/ 3 h 4"/>
                  <a:gd name="T10" fmla="*/ 0 w 13"/>
                  <a:gd name="T11" fmla="*/ 1 h 4"/>
                  <a:gd name="T12" fmla="*/ 4 w 13"/>
                  <a:gd name="T13" fmla="*/ 0 h 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4"/>
                  <a:gd name="T23" fmla="*/ 13 w 13"/>
                  <a:gd name="T24" fmla="*/ 4 h 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4">
                    <a:moveTo>
                      <a:pt x="3" y="0"/>
                    </a:moveTo>
                    <a:cubicBezTo>
                      <a:pt x="5" y="0"/>
                      <a:pt x="8" y="0"/>
                      <a:pt x="10" y="1"/>
                    </a:cubicBezTo>
                    <a:cubicBezTo>
                      <a:pt x="11" y="1"/>
                      <a:pt x="13" y="1"/>
                      <a:pt x="13" y="2"/>
                    </a:cubicBezTo>
                    <a:cubicBezTo>
                      <a:pt x="13" y="3"/>
                      <a:pt x="11" y="4"/>
                      <a:pt x="10" y="4"/>
                    </a:cubicBezTo>
                    <a:cubicBezTo>
                      <a:pt x="8" y="4"/>
                      <a:pt x="6" y="3"/>
                      <a:pt x="4" y="2"/>
                    </a:cubicBezTo>
                    <a:cubicBezTo>
                      <a:pt x="3" y="2"/>
                      <a:pt x="1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5" name="Freeform 3606"/>
              <p:cNvSpPr>
                <a:spLocks noChangeAspect="1"/>
              </p:cNvSpPr>
              <p:nvPr/>
            </p:nvSpPr>
            <p:spPr bwMode="auto">
              <a:xfrm>
                <a:off x="3365866" y="1206579"/>
                <a:ext cx="35983" cy="22738"/>
              </a:xfrm>
              <a:custGeom>
                <a:avLst/>
                <a:gdLst>
                  <a:gd name="T0" fmla="*/ 1 w 18"/>
                  <a:gd name="T1" fmla="*/ 0 h 12"/>
                  <a:gd name="T2" fmla="*/ 1 w 18"/>
                  <a:gd name="T3" fmla="*/ 6 h 12"/>
                  <a:gd name="T4" fmla="*/ 16 w 18"/>
                  <a:gd name="T5" fmla="*/ 12 h 12"/>
                  <a:gd name="T6" fmla="*/ 22 w 18"/>
                  <a:gd name="T7" fmla="*/ 12 h 12"/>
                  <a:gd name="T8" fmla="*/ 17 w 18"/>
                  <a:gd name="T9" fmla="*/ 8 h 12"/>
                  <a:gd name="T10" fmla="*/ 9 w 18"/>
                  <a:gd name="T11" fmla="*/ 5 h 12"/>
                  <a:gd name="T12" fmla="*/ 1 w 18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12"/>
                  <a:gd name="T23" fmla="*/ 18 w 18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12">
                    <a:moveTo>
                      <a:pt x="1" y="0"/>
                    </a:moveTo>
                    <a:cubicBezTo>
                      <a:pt x="0" y="1"/>
                      <a:pt x="0" y="4"/>
                      <a:pt x="1" y="5"/>
                    </a:cubicBezTo>
                    <a:cubicBezTo>
                      <a:pt x="5" y="8"/>
                      <a:pt x="9" y="9"/>
                      <a:pt x="13" y="10"/>
                    </a:cubicBezTo>
                    <a:cubicBezTo>
                      <a:pt x="14" y="11"/>
                      <a:pt x="17" y="12"/>
                      <a:pt x="18" y="10"/>
                    </a:cubicBezTo>
                    <a:cubicBezTo>
                      <a:pt x="18" y="9"/>
                      <a:pt x="16" y="8"/>
                      <a:pt x="14" y="7"/>
                    </a:cubicBezTo>
                    <a:cubicBezTo>
                      <a:pt x="12" y="6"/>
                      <a:pt x="10" y="5"/>
                      <a:pt x="7" y="4"/>
                    </a:cubicBezTo>
                    <a:cubicBezTo>
                      <a:pt x="5" y="3"/>
                      <a:pt x="4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6" name="Freeform 3607"/>
              <p:cNvSpPr>
                <a:spLocks noChangeAspect="1"/>
              </p:cNvSpPr>
              <p:nvPr/>
            </p:nvSpPr>
            <p:spPr bwMode="auto">
              <a:xfrm>
                <a:off x="3475451" y="1200082"/>
                <a:ext cx="57246" cy="27611"/>
              </a:xfrm>
              <a:custGeom>
                <a:avLst/>
                <a:gdLst>
                  <a:gd name="T0" fmla="*/ 2 w 29"/>
                  <a:gd name="T1" fmla="*/ 0 h 14"/>
                  <a:gd name="T2" fmla="*/ 10 w 29"/>
                  <a:gd name="T3" fmla="*/ 0 h 14"/>
                  <a:gd name="T4" fmla="*/ 21 w 29"/>
                  <a:gd name="T5" fmla="*/ 1 h 14"/>
                  <a:gd name="T6" fmla="*/ 34 w 29"/>
                  <a:gd name="T7" fmla="*/ 5 h 14"/>
                  <a:gd name="T8" fmla="*/ 35 w 29"/>
                  <a:gd name="T9" fmla="*/ 7 h 14"/>
                  <a:gd name="T10" fmla="*/ 29 w 29"/>
                  <a:gd name="T11" fmla="*/ 10 h 14"/>
                  <a:gd name="T12" fmla="*/ 31 w 29"/>
                  <a:gd name="T13" fmla="*/ 13 h 14"/>
                  <a:gd name="T14" fmla="*/ 28 w 29"/>
                  <a:gd name="T15" fmla="*/ 17 h 14"/>
                  <a:gd name="T16" fmla="*/ 8 w 29"/>
                  <a:gd name="T17" fmla="*/ 6 h 14"/>
                  <a:gd name="T18" fmla="*/ 1 w 29"/>
                  <a:gd name="T19" fmla="*/ 1 h 14"/>
                  <a:gd name="T20" fmla="*/ 2 w 29"/>
                  <a:gd name="T21" fmla="*/ 0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14"/>
                  <a:gd name="T35" fmla="*/ 29 w 29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14">
                    <a:moveTo>
                      <a:pt x="2" y="0"/>
                    </a:moveTo>
                    <a:cubicBezTo>
                      <a:pt x="4" y="0"/>
                      <a:pt x="6" y="0"/>
                      <a:pt x="8" y="0"/>
                    </a:cubicBezTo>
                    <a:cubicBezTo>
                      <a:pt x="11" y="0"/>
                      <a:pt x="14" y="0"/>
                      <a:pt x="17" y="1"/>
                    </a:cubicBezTo>
                    <a:cubicBezTo>
                      <a:pt x="21" y="2"/>
                      <a:pt x="24" y="3"/>
                      <a:pt x="28" y="4"/>
                    </a:cubicBezTo>
                    <a:cubicBezTo>
                      <a:pt x="28" y="4"/>
                      <a:pt x="29" y="5"/>
                      <a:pt x="29" y="6"/>
                    </a:cubicBezTo>
                    <a:cubicBezTo>
                      <a:pt x="28" y="7"/>
                      <a:pt x="25" y="6"/>
                      <a:pt x="24" y="8"/>
                    </a:cubicBezTo>
                    <a:cubicBezTo>
                      <a:pt x="23" y="9"/>
                      <a:pt x="26" y="10"/>
                      <a:pt x="26" y="11"/>
                    </a:cubicBezTo>
                    <a:cubicBezTo>
                      <a:pt x="25" y="12"/>
                      <a:pt x="24" y="14"/>
                      <a:pt x="23" y="14"/>
                    </a:cubicBezTo>
                    <a:cubicBezTo>
                      <a:pt x="17" y="12"/>
                      <a:pt x="12" y="8"/>
                      <a:pt x="7" y="5"/>
                    </a:cubicBezTo>
                    <a:cubicBezTo>
                      <a:pt x="5" y="4"/>
                      <a:pt x="2" y="3"/>
                      <a:pt x="1" y="1"/>
                    </a:cubicBezTo>
                    <a:cubicBezTo>
                      <a:pt x="0" y="1"/>
                      <a:pt x="1" y="1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7" name="Freeform 3608"/>
              <p:cNvSpPr>
                <a:spLocks noChangeAspect="1"/>
              </p:cNvSpPr>
              <p:nvPr/>
            </p:nvSpPr>
            <p:spPr bwMode="auto">
              <a:xfrm>
                <a:off x="3462366" y="1183841"/>
                <a:ext cx="13085" cy="12993"/>
              </a:xfrm>
              <a:custGeom>
                <a:avLst/>
                <a:gdLst>
                  <a:gd name="T0" fmla="*/ 1 w 7"/>
                  <a:gd name="T1" fmla="*/ 0 h 6"/>
                  <a:gd name="T2" fmla="*/ 1 w 7"/>
                  <a:gd name="T3" fmla="*/ 5 h 6"/>
                  <a:gd name="T4" fmla="*/ 8 w 7"/>
                  <a:gd name="T5" fmla="*/ 5 h 6"/>
                  <a:gd name="T6" fmla="*/ 1 w 7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6"/>
                  <a:gd name="T14" fmla="*/ 7 w 7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6">
                    <a:moveTo>
                      <a:pt x="1" y="0"/>
                    </a:moveTo>
                    <a:cubicBezTo>
                      <a:pt x="0" y="1"/>
                      <a:pt x="0" y="3"/>
                      <a:pt x="1" y="4"/>
                    </a:cubicBezTo>
                    <a:cubicBezTo>
                      <a:pt x="3" y="5"/>
                      <a:pt x="7" y="6"/>
                      <a:pt x="7" y="4"/>
                    </a:cubicBezTo>
                    <a:cubicBezTo>
                      <a:pt x="7" y="1"/>
                      <a:pt x="4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8" name="Freeform 3609"/>
              <p:cNvSpPr>
                <a:spLocks noChangeAspect="1"/>
              </p:cNvSpPr>
              <p:nvPr/>
            </p:nvSpPr>
            <p:spPr bwMode="auto">
              <a:xfrm>
                <a:off x="3490170" y="1169223"/>
                <a:ext cx="39254" cy="27611"/>
              </a:xfrm>
              <a:custGeom>
                <a:avLst/>
                <a:gdLst>
                  <a:gd name="T0" fmla="*/ 1 w 20"/>
                  <a:gd name="T1" fmla="*/ 9 h 14"/>
                  <a:gd name="T2" fmla="*/ 11 w 20"/>
                  <a:gd name="T3" fmla="*/ 17 h 14"/>
                  <a:gd name="T4" fmla="*/ 23 w 20"/>
                  <a:gd name="T5" fmla="*/ 13 h 14"/>
                  <a:gd name="T6" fmla="*/ 16 w 20"/>
                  <a:gd name="T7" fmla="*/ 7 h 14"/>
                  <a:gd name="T8" fmla="*/ 11 w 20"/>
                  <a:gd name="T9" fmla="*/ 1 h 14"/>
                  <a:gd name="T10" fmla="*/ 5 w 20"/>
                  <a:gd name="T11" fmla="*/ 5 h 14"/>
                  <a:gd name="T12" fmla="*/ 8 w 20"/>
                  <a:gd name="T13" fmla="*/ 10 h 14"/>
                  <a:gd name="T14" fmla="*/ 1 w 20"/>
                  <a:gd name="T15" fmla="*/ 9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14"/>
                  <a:gd name="T26" fmla="*/ 20 w 20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14">
                    <a:moveTo>
                      <a:pt x="1" y="7"/>
                    </a:moveTo>
                    <a:cubicBezTo>
                      <a:pt x="2" y="10"/>
                      <a:pt x="6" y="13"/>
                      <a:pt x="9" y="14"/>
                    </a:cubicBezTo>
                    <a:cubicBezTo>
                      <a:pt x="12" y="14"/>
                      <a:pt x="17" y="14"/>
                      <a:pt x="19" y="11"/>
                    </a:cubicBezTo>
                    <a:cubicBezTo>
                      <a:pt x="20" y="9"/>
                      <a:pt x="15" y="8"/>
                      <a:pt x="13" y="6"/>
                    </a:cubicBezTo>
                    <a:cubicBezTo>
                      <a:pt x="12" y="4"/>
                      <a:pt x="11" y="1"/>
                      <a:pt x="9" y="1"/>
                    </a:cubicBezTo>
                    <a:cubicBezTo>
                      <a:pt x="7" y="0"/>
                      <a:pt x="5" y="2"/>
                      <a:pt x="4" y="4"/>
                    </a:cubicBezTo>
                    <a:cubicBezTo>
                      <a:pt x="4" y="6"/>
                      <a:pt x="8" y="7"/>
                      <a:pt x="7" y="8"/>
                    </a:cubicBezTo>
                    <a:cubicBezTo>
                      <a:pt x="5" y="9"/>
                      <a:pt x="0" y="5"/>
                      <a:pt x="1" y="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299" name="Freeform 3610"/>
              <p:cNvSpPr>
                <a:spLocks noChangeAspect="1"/>
              </p:cNvSpPr>
              <p:nvPr/>
            </p:nvSpPr>
            <p:spPr bwMode="auto">
              <a:xfrm>
                <a:off x="4054449" y="1479433"/>
                <a:ext cx="9814" cy="40604"/>
              </a:xfrm>
              <a:custGeom>
                <a:avLst/>
                <a:gdLst>
                  <a:gd name="T0" fmla="*/ 2 w 5"/>
                  <a:gd name="T1" fmla="*/ 1 h 21"/>
                  <a:gd name="T2" fmla="*/ 0 w 5"/>
                  <a:gd name="T3" fmla="*/ 7 h 21"/>
                  <a:gd name="T4" fmla="*/ 4 w 5"/>
                  <a:gd name="T5" fmla="*/ 24 h 21"/>
                  <a:gd name="T6" fmla="*/ 6 w 5"/>
                  <a:gd name="T7" fmla="*/ 24 h 21"/>
                  <a:gd name="T8" fmla="*/ 5 w 5"/>
                  <a:gd name="T9" fmla="*/ 5 h 21"/>
                  <a:gd name="T10" fmla="*/ 2 w 5"/>
                  <a:gd name="T11" fmla="*/ 1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21"/>
                  <a:gd name="T20" fmla="*/ 5 w 5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21">
                    <a:moveTo>
                      <a:pt x="2" y="1"/>
                    </a:moveTo>
                    <a:cubicBezTo>
                      <a:pt x="0" y="2"/>
                      <a:pt x="0" y="4"/>
                      <a:pt x="0" y="6"/>
                    </a:cubicBezTo>
                    <a:cubicBezTo>
                      <a:pt x="0" y="11"/>
                      <a:pt x="1" y="16"/>
                      <a:pt x="3" y="20"/>
                    </a:cubicBezTo>
                    <a:cubicBezTo>
                      <a:pt x="3" y="21"/>
                      <a:pt x="5" y="20"/>
                      <a:pt x="5" y="20"/>
                    </a:cubicBezTo>
                    <a:cubicBezTo>
                      <a:pt x="5" y="14"/>
                      <a:pt x="5" y="9"/>
                      <a:pt x="4" y="4"/>
                    </a:cubicBezTo>
                    <a:cubicBezTo>
                      <a:pt x="4" y="3"/>
                      <a:pt x="3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0" name="Freeform 3611"/>
              <p:cNvSpPr>
                <a:spLocks noChangeAspect="1"/>
              </p:cNvSpPr>
              <p:nvPr/>
            </p:nvSpPr>
            <p:spPr bwMode="auto">
              <a:xfrm>
                <a:off x="4056084" y="1541150"/>
                <a:ext cx="37619" cy="22738"/>
              </a:xfrm>
              <a:custGeom>
                <a:avLst/>
                <a:gdLst>
                  <a:gd name="T0" fmla="*/ 1 w 19"/>
                  <a:gd name="T1" fmla="*/ 2 h 12"/>
                  <a:gd name="T2" fmla="*/ 1 w 19"/>
                  <a:gd name="T3" fmla="*/ 12 h 12"/>
                  <a:gd name="T4" fmla="*/ 11 w 19"/>
                  <a:gd name="T5" fmla="*/ 12 h 12"/>
                  <a:gd name="T6" fmla="*/ 19 w 19"/>
                  <a:gd name="T7" fmla="*/ 12 h 12"/>
                  <a:gd name="T8" fmla="*/ 23 w 19"/>
                  <a:gd name="T9" fmla="*/ 8 h 12"/>
                  <a:gd name="T10" fmla="*/ 22 w 19"/>
                  <a:gd name="T11" fmla="*/ 6 h 12"/>
                  <a:gd name="T12" fmla="*/ 17 w 19"/>
                  <a:gd name="T13" fmla="*/ 8 h 12"/>
                  <a:gd name="T14" fmla="*/ 12 w 19"/>
                  <a:gd name="T15" fmla="*/ 5 h 12"/>
                  <a:gd name="T16" fmla="*/ 15 w 19"/>
                  <a:gd name="T17" fmla="*/ 2 h 12"/>
                  <a:gd name="T18" fmla="*/ 13 w 19"/>
                  <a:gd name="T19" fmla="*/ 0 h 12"/>
                  <a:gd name="T20" fmla="*/ 10 w 19"/>
                  <a:gd name="T21" fmla="*/ 5 h 12"/>
                  <a:gd name="T22" fmla="*/ 6 w 19"/>
                  <a:gd name="T23" fmla="*/ 1 h 12"/>
                  <a:gd name="T24" fmla="*/ 1 w 19"/>
                  <a:gd name="T25" fmla="*/ 2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"/>
                  <a:gd name="T40" fmla="*/ 0 h 12"/>
                  <a:gd name="T41" fmla="*/ 19 w 19"/>
                  <a:gd name="T42" fmla="*/ 12 h 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" h="12">
                    <a:moveTo>
                      <a:pt x="1" y="2"/>
                    </a:moveTo>
                    <a:cubicBezTo>
                      <a:pt x="2" y="4"/>
                      <a:pt x="1" y="8"/>
                      <a:pt x="1" y="10"/>
                    </a:cubicBezTo>
                    <a:cubicBezTo>
                      <a:pt x="2" y="12"/>
                      <a:pt x="7" y="10"/>
                      <a:pt x="9" y="10"/>
                    </a:cubicBezTo>
                    <a:cubicBezTo>
                      <a:pt x="11" y="10"/>
                      <a:pt x="14" y="11"/>
                      <a:pt x="16" y="10"/>
                    </a:cubicBezTo>
                    <a:cubicBezTo>
                      <a:pt x="17" y="10"/>
                      <a:pt x="18" y="9"/>
                      <a:pt x="19" y="7"/>
                    </a:cubicBezTo>
                    <a:cubicBezTo>
                      <a:pt x="19" y="7"/>
                      <a:pt x="19" y="5"/>
                      <a:pt x="18" y="5"/>
                    </a:cubicBezTo>
                    <a:cubicBezTo>
                      <a:pt x="17" y="5"/>
                      <a:pt x="16" y="8"/>
                      <a:pt x="14" y="7"/>
                    </a:cubicBezTo>
                    <a:cubicBezTo>
                      <a:pt x="13" y="7"/>
                      <a:pt x="11" y="6"/>
                      <a:pt x="10" y="4"/>
                    </a:cubicBezTo>
                    <a:cubicBezTo>
                      <a:pt x="10" y="3"/>
                      <a:pt x="12" y="3"/>
                      <a:pt x="12" y="2"/>
                    </a:cubicBezTo>
                    <a:cubicBezTo>
                      <a:pt x="12" y="1"/>
                      <a:pt x="12" y="0"/>
                      <a:pt x="11" y="0"/>
                    </a:cubicBezTo>
                    <a:cubicBezTo>
                      <a:pt x="9" y="1"/>
                      <a:pt x="10" y="4"/>
                      <a:pt x="8" y="4"/>
                    </a:cubicBezTo>
                    <a:cubicBezTo>
                      <a:pt x="7" y="4"/>
                      <a:pt x="7" y="1"/>
                      <a:pt x="5" y="1"/>
                    </a:cubicBezTo>
                    <a:cubicBezTo>
                      <a:pt x="4" y="1"/>
                      <a:pt x="0" y="0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1" name="Freeform 3612"/>
              <p:cNvSpPr>
                <a:spLocks noChangeAspect="1"/>
              </p:cNvSpPr>
              <p:nvPr/>
            </p:nvSpPr>
            <p:spPr bwMode="auto">
              <a:xfrm>
                <a:off x="4023372" y="1557391"/>
                <a:ext cx="13085" cy="16241"/>
              </a:xfrm>
              <a:custGeom>
                <a:avLst/>
                <a:gdLst>
                  <a:gd name="T0" fmla="*/ 2 w 7"/>
                  <a:gd name="T1" fmla="*/ 1 h 9"/>
                  <a:gd name="T2" fmla="*/ 1 w 7"/>
                  <a:gd name="T3" fmla="*/ 9 h 9"/>
                  <a:gd name="T4" fmla="*/ 6 w 7"/>
                  <a:gd name="T5" fmla="*/ 9 h 9"/>
                  <a:gd name="T6" fmla="*/ 8 w 7"/>
                  <a:gd name="T7" fmla="*/ 7 h 9"/>
                  <a:gd name="T8" fmla="*/ 6 w 7"/>
                  <a:gd name="T9" fmla="*/ 4 h 9"/>
                  <a:gd name="T10" fmla="*/ 7 w 7"/>
                  <a:gd name="T11" fmla="*/ 2 h 9"/>
                  <a:gd name="T12" fmla="*/ 2 w 7"/>
                  <a:gd name="T13" fmla="*/ 1 h 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9"/>
                  <a:gd name="T23" fmla="*/ 7 w 7"/>
                  <a:gd name="T24" fmla="*/ 9 h 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9">
                    <a:moveTo>
                      <a:pt x="2" y="1"/>
                    </a:moveTo>
                    <a:cubicBezTo>
                      <a:pt x="1" y="3"/>
                      <a:pt x="0" y="6"/>
                      <a:pt x="1" y="8"/>
                    </a:cubicBezTo>
                    <a:cubicBezTo>
                      <a:pt x="2" y="9"/>
                      <a:pt x="4" y="9"/>
                      <a:pt x="5" y="8"/>
                    </a:cubicBezTo>
                    <a:cubicBezTo>
                      <a:pt x="6" y="8"/>
                      <a:pt x="7" y="7"/>
                      <a:pt x="7" y="6"/>
                    </a:cubicBezTo>
                    <a:cubicBezTo>
                      <a:pt x="7" y="5"/>
                      <a:pt x="6" y="5"/>
                      <a:pt x="5" y="4"/>
                    </a:cubicBezTo>
                    <a:cubicBezTo>
                      <a:pt x="5" y="3"/>
                      <a:pt x="6" y="2"/>
                      <a:pt x="6" y="2"/>
                    </a:cubicBezTo>
                    <a:cubicBezTo>
                      <a:pt x="5" y="1"/>
                      <a:pt x="3" y="0"/>
                      <a:pt x="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2" name="Freeform 3613"/>
              <p:cNvSpPr>
                <a:spLocks noChangeAspect="1"/>
              </p:cNvSpPr>
              <p:nvPr/>
            </p:nvSpPr>
            <p:spPr bwMode="auto">
              <a:xfrm>
                <a:off x="3992296" y="1586625"/>
                <a:ext cx="37619" cy="19490"/>
              </a:xfrm>
              <a:custGeom>
                <a:avLst/>
                <a:gdLst>
                  <a:gd name="T0" fmla="*/ 1 w 19"/>
                  <a:gd name="T1" fmla="*/ 1 h 10"/>
                  <a:gd name="T2" fmla="*/ 1 w 19"/>
                  <a:gd name="T3" fmla="*/ 5 h 10"/>
                  <a:gd name="T4" fmla="*/ 8 w 19"/>
                  <a:gd name="T5" fmla="*/ 7 h 10"/>
                  <a:gd name="T6" fmla="*/ 13 w 19"/>
                  <a:gd name="T7" fmla="*/ 10 h 10"/>
                  <a:gd name="T8" fmla="*/ 22 w 19"/>
                  <a:gd name="T9" fmla="*/ 10 h 10"/>
                  <a:gd name="T10" fmla="*/ 19 w 19"/>
                  <a:gd name="T11" fmla="*/ 5 h 10"/>
                  <a:gd name="T12" fmla="*/ 16 w 19"/>
                  <a:gd name="T13" fmla="*/ 2 h 10"/>
                  <a:gd name="T14" fmla="*/ 1 w 19"/>
                  <a:gd name="T15" fmla="*/ 1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"/>
                  <a:gd name="T25" fmla="*/ 0 h 10"/>
                  <a:gd name="T26" fmla="*/ 19 w 19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" h="10">
                    <a:moveTo>
                      <a:pt x="1" y="1"/>
                    </a:moveTo>
                    <a:cubicBezTo>
                      <a:pt x="0" y="1"/>
                      <a:pt x="0" y="3"/>
                      <a:pt x="1" y="4"/>
                    </a:cubicBezTo>
                    <a:cubicBezTo>
                      <a:pt x="2" y="6"/>
                      <a:pt x="5" y="6"/>
                      <a:pt x="7" y="6"/>
                    </a:cubicBezTo>
                    <a:cubicBezTo>
                      <a:pt x="8" y="7"/>
                      <a:pt x="9" y="8"/>
                      <a:pt x="11" y="8"/>
                    </a:cubicBezTo>
                    <a:cubicBezTo>
                      <a:pt x="13" y="9"/>
                      <a:pt x="16" y="10"/>
                      <a:pt x="18" y="8"/>
                    </a:cubicBezTo>
                    <a:cubicBezTo>
                      <a:pt x="19" y="7"/>
                      <a:pt x="17" y="6"/>
                      <a:pt x="16" y="4"/>
                    </a:cubicBezTo>
                    <a:cubicBezTo>
                      <a:pt x="15" y="3"/>
                      <a:pt x="14" y="2"/>
                      <a:pt x="13" y="2"/>
                    </a:cubicBezTo>
                    <a:cubicBezTo>
                      <a:pt x="9" y="1"/>
                      <a:pt x="5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3" name="Freeform 3614"/>
              <p:cNvSpPr>
                <a:spLocks noChangeAspect="1"/>
              </p:cNvSpPr>
              <p:nvPr/>
            </p:nvSpPr>
            <p:spPr bwMode="auto">
              <a:xfrm>
                <a:off x="3925237" y="1654839"/>
                <a:ext cx="65424" cy="30859"/>
              </a:xfrm>
              <a:custGeom>
                <a:avLst/>
                <a:gdLst>
                  <a:gd name="T0" fmla="*/ 1 w 33"/>
                  <a:gd name="T1" fmla="*/ 1 h 16"/>
                  <a:gd name="T2" fmla="*/ 1 w 33"/>
                  <a:gd name="T3" fmla="*/ 5 h 16"/>
                  <a:gd name="T4" fmla="*/ 11 w 33"/>
                  <a:gd name="T5" fmla="*/ 11 h 16"/>
                  <a:gd name="T6" fmla="*/ 19 w 33"/>
                  <a:gd name="T7" fmla="*/ 12 h 16"/>
                  <a:gd name="T8" fmla="*/ 36 w 33"/>
                  <a:gd name="T9" fmla="*/ 19 h 16"/>
                  <a:gd name="T10" fmla="*/ 36 w 33"/>
                  <a:gd name="T11" fmla="*/ 17 h 16"/>
                  <a:gd name="T12" fmla="*/ 25 w 33"/>
                  <a:gd name="T13" fmla="*/ 11 h 16"/>
                  <a:gd name="T14" fmla="*/ 28 w 33"/>
                  <a:gd name="T15" fmla="*/ 10 h 16"/>
                  <a:gd name="T16" fmla="*/ 39 w 33"/>
                  <a:gd name="T17" fmla="*/ 13 h 16"/>
                  <a:gd name="T18" fmla="*/ 38 w 33"/>
                  <a:gd name="T19" fmla="*/ 10 h 16"/>
                  <a:gd name="T20" fmla="*/ 22 w 33"/>
                  <a:gd name="T21" fmla="*/ 4 h 16"/>
                  <a:gd name="T22" fmla="*/ 11 w 33"/>
                  <a:gd name="T23" fmla="*/ 1 h 16"/>
                  <a:gd name="T24" fmla="*/ 1 w 33"/>
                  <a:gd name="T25" fmla="*/ 1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3"/>
                  <a:gd name="T40" fmla="*/ 0 h 16"/>
                  <a:gd name="T41" fmla="*/ 33 w 33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3" h="16">
                    <a:moveTo>
                      <a:pt x="1" y="1"/>
                    </a:moveTo>
                    <a:cubicBezTo>
                      <a:pt x="0" y="1"/>
                      <a:pt x="0" y="3"/>
                      <a:pt x="1" y="4"/>
                    </a:cubicBezTo>
                    <a:cubicBezTo>
                      <a:pt x="3" y="6"/>
                      <a:pt x="6" y="8"/>
                      <a:pt x="9" y="9"/>
                    </a:cubicBezTo>
                    <a:cubicBezTo>
                      <a:pt x="11" y="10"/>
                      <a:pt x="14" y="9"/>
                      <a:pt x="16" y="10"/>
                    </a:cubicBezTo>
                    <a:cubicBezTo>
                      <a:pt x="21" y="12"/>
                      <a:pt x="25" y="15"/>
                      <a:pt x="30" y="16"/>
                    </a:cubicBezTo>
                    <a:cubicBezTo>
                      <a:pt x="30" y="16"/>
                      <a:pt x="30" y="14"/>
                      <a:pt x="30" y="14"/>
                    </a:cubicBezTo>
                    <a:cubicBezTo>
                      <a:pt x="27" y="12"/>
                      <a:pt x="23" y="11"/>
                      <a:pt x="21" y="9"/>
                    </a:cubicBezTo>
                    <a:cubicBezTo>
                      <a:pt x="20" y="8"/>
                      <a:pt x="22" y="8"/>
                      <a:pt x="23" y="8"/>
                    </a:cubicBezTo>
                    <a:cubicBezTo>
                      <a:pt x="26" y="9"/>
                      <a:pt x="29" y="11"/>
                      <a:pt x="32" y="11"/>
                    </a:cubicBezTo>
                    <a:cubicBezTo>
                      <a:pt x="33" y="11"/>
                      <a:pt x="32" y="9"/>
                      <a:pt x="31" y="8"/>
                    </a:cubicBezTo>
                    <a:cubicBezTo>
                      <a:pt x="27" y="6"/>
                      <a:pt x="22" y="4"/>
                      <a:pt x="18" y="3"/>
                    </a:cubicBezTo>
                    <a:cubicBezTo>
                      <a:pt x="15" y="2"/>
                      <a:pt x="12" y="1"/>
                      <a:pt x="9" y="1"/>
                    </a:cubicBezTo>
                    <a:cubicBezTo>
                      <a:pt x="6" y="1"/>
                      <a:pt x="4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4" name="Freeform 3615"/>
              <p:cNvSpPr>
                <a:spLocks noChangeAspect="1"/>
              </p:cNvSpPr>
              <p:nvPr/>
            </p:nvSpPr>
            <p:spPr bwMode="auto">
              <a:xfrm>
                <a:off x="3905610" y="1633725"/>
                <a:ext cx="62152" cy="11369"/>
              </a:xfrm>
              <a:custGeom>
                <a:avLst/>
                <a:gdLst>
                  <a:gd name="T0" fmla="*/ 5 w 32"/>
                  <a:gd name="T1" fmla="*/ 1 h 6"/>
                  <a:gd name="T2" fmla="*/ 1 w 32"/>
                  <a:gd name="T3" fmla="*/ 5 h 6"/>
                  <a:gd name="T4" fmla="*/ 14 w 32"/>
                  <a:gd name="T5" fmla="*/ 7 h 6"/>
                  <a:gd name="T6" fmla="*/ 31 w 32"/>
                  <a:gd name="T7" fmla="*/ 7 h 6"/>
                  <a:gd name="T8" fmla="*/ 37 w 32"/>
                  <a:gd name="T9" fmla="*/ 6 h 6"/>
                  <a:gd name="T10" fmla="*/ 30 w 32"/>
                  <a:gd name="T11" fmla="*/ 5 h 6"/>
                  <a:gd name="T12" fmla="*/ 14 w 32"/>
                  <a:gd name="T13" fmla="*/ 4 h 6"/>
                  <a:gd name="T14" fmla="*/ 13 w 32"/>
                  <a:gd name="T15" fmla="*/ 2 h 6"/>
                  <a:gd name="T16" fmla="*/ 28 w 32"/>
                  <a:gd name="T17" fmla="*/ 4 h 6"/>
                  <a:gd name="T18" fmla="*/ 28 w 32"/>
                  <a:gd name="T19" fmla="*/ 1 h 6"/>
                  <a:gd name="T20" fmla="*/ 14 w 32"/>
                  <a:gd name="T21" fmla="*/ 0 h 6"/>
                  <a:gd name="T22" fmla="*/ 5 w 32"/>
                  <a:gd name="T23" fmla="*/ 1 h 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6"/>
                  <a:gd name="T38" fmla="*/ 32 w 32"/>
                  <a:gd name="T39" fmla="*/ 6 h 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6">
                    <a:moveTo>
                      <a:pt x="4" y="1"/>
                    </a:moveTo>
                    <a:cubicBezTo>
                      <a:pt x="3" y="2"/>
                      <a:pt x="0" y="4"/>
                      <a:pt x="1" y="4"/>
                    </a:cubicBezTo>
                    <a:cubicBezTo>
                      <a:pt x="5" y="6"/>
                      <a:pt x="9" y="6"/>
                      <a:pt x="12" y="6"/>
                    </a:cubicBezTo>
                    <a:cubicBezTo>
                      <a:pt x="17" y="6"/>
                      <a:pt x="21" y="6"/>
                      <a:pt x="26" y="6"/>
                    </a:cubicBezTo>
                    <a:cubicBezTo>
                      <a:pt x="28" y="6"/>
                      <a:pt x="32" y="6"/>
                      <a:pt x="31" y="5"/>
                    </a:cubicBezTo>
                    <a:cubicBezTo>
                      <a:pt x="29" y="4"/>
                      <a:pt x="27" y="4"/>
                      <a:pt x="25" y="4"/>
                    </a:cubicBezTo>
                    <a:cubicBezTo>
                      <a:pt x="21" y="4"/>
                      <a:pt x="16" y="4"/>
                      <a:pt x="12" y="3"/>
                    </a:cubicBezTo>
                    <a:cubicBezTo>
                      <a:pt x="11" y="3"/>
                      <a:pt x="10" y="2"/>
                      <a:pt x="11" y="2"/>
                    </a:cubicBezTo>
                    <a:cubicBezTo>
                      <a:pt x="15" y="1"/>
                      <a:pt x="20" y="3"/>
                      <a:pt x="24" y="3"/>
                    </a:cubicBezTo>
                    <a:cubicBezTo>
                      <a:pt x="25" y="3"/>
                      <a:pt x="25" y="1"/>
                      <a:pt x="24" y="1"/>
                    </a:cubicBezTo>
                    <a:cubicBezTo>
                      <a:pt x="20" y="0"/>
                      <a:pt x="16" y="0"/>
                      <a:pt x="12" y="0"/>
                    </a:cubicBezTo>
                    <a:cubicBezTo>
                      <a:pt x="9" y="0"/>
                      <a:pt x="6" y="0"/>
                      <a:pt x="4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5" name="Freeform 3616"/>
              <p:cNvSpPr>
                <a:spLocks noChangeAspect="1"/>
              </p:cNvSpPr>
              <p:nvPr/>
            </p:nvSpPr>
            <p:spPr bwMode="auto">
              <a:xfrm>
                <a:off x="3926873" y="1646718"/>
                <a:ext cx="60517" cy="16241"/>
              </a:xfrm>
              <a:custGeom>
                <a:avLst/>
                <a:gdLst>
                  <a:gd name="T0" fmla="*/ 1 w 31"/>
                  <a:gd name="T1" fmla="*/ 1 h 8"/>
                  <a:gd name="T2" fmla="*/ 2 w 31"/>
                  <a:gd name="T3" fmla="*/ 4 h 8"/>
                  <a:gd name="T4" fmla="*/ 19 w 31"/>
                  <a:gd name="T5" fmla="*/ 4 h 8"/>
                  <a:gd name="T6" fmla="*/ 27 w 31"/>
                  <a:gd name="T7" fmla="*/ 9 h 8"/>
                  <a:gd name="T8" fmla="*/ 36 w 31"/>
                  <a:gd name="T9" fmla="*/ 9 h 8"/>
                  <a:gd name="T10" fmla="*/ 33 w 31"/>
                  <a:gd name="T11" fmla="*/ 6 h 8"/>
                  <a:gd name="T12" fmla="*/ 35 w 31"/>
                  <a:gd name="T13" fmla="*/ 3 h 8"/>
                  <a:gd name="T14" fmla="*/ 30 w 31"/>
                  <a:gd name="T15" fmla="*/ 0 h 8"/>
                  <a:gd name="T16" fmla="*/ 18 w 31"/>
                  <a:gd name="T17" fmla="*/ 1 h 8"/>
                  <a:gd name="T18" fmla="*/ 1 w 31"/>
                  <a:gd name="T19" fmla="*/ 1 h 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1"/>
                  <a:gd name="T31" fmla="*/ 0 h 8"/>
                  <a:gd name="T32" fmla="*/ 31 w 31"/>
                  <a:gd name="T33" fmla="*/ 8 h 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1" h="8">
                    <a:moveTo>
                      <a:pt x="1" y="1"/>
                    </a:moveTo>
                    <a:cubicBezTo>
                      <a:pt x="0" y="1"/>
                      <a:pt x="2" y="3"/>
                      <a:pt x="2" y="3"/>
                    </a:cubicBezTo>
                    <a:cubicBezTo>
                      <a:pt x="7" y="4"/>
                      <a:pt x="12" y="2"/>
                      <a:pt x="16" y="3"/>
                    </a:cubicBezTo>
                    <a:cubicBezTo>
                      <a:pt x="19" y="4"/>
                      <a:pt x="21" y="6"/>
                      <a:pt x="23" y="7"/>
                    </a:cubicBezTo>
                    <a:cubicBezTo>
                      <a:pt x="25" y="7"/>
                      <a:pt x="28" y="8"/>
                      <a:pt x="30" y="7"/>
                    </a:cubicBezTo>
                    <a:cubicBezTo>
                      <a:pt x="31" y="7"/>
                      <a:pt x="28" y="6"/>
                      <a:pt x="28" y="5"/>
                    </a:cubicBezTo>
                    <a:cubicBezTo>
                      <a:pt x="27" y="4"/>
                      <a:pt x="30" y="3"/>
                      <a:pt x="29" y="2"/>
                    </a:cubicBezTo>
                    <a:cubicBezTo>
                      <a:pt x="28" y="1"/>
                      <a:pt x="27" y="0"/>
                      <a:pt x="25" y="0"/>
                    </a:cubicBezTo>
                    <a:cubicBezTo>
                      <a:pt x="22" y="0"/>
                      <a:pt x="19" y="1"/>
                      <a:pt x="15" y="1"/>
                    </a:cubicBezTo>
                    <a:cubicBezTo>
                      <a:pt x="10" y="1"/>
                      <a:pt x="6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6" name="Freeform 3617"/>
              <p:cNvSpPr>
                <a:spLocks noChangeAspect="1"/>
              </p:cNvSpPr>
              <p:nvPr/>
            </p:nvSpPr>
            <p:spPr bwMode="auto">
              <a:xfrm>
                <a:off x="3846729" y="1732797"/>
                <a:ext cx="65424" cy="24362"/>
              </a:xfrm>
              <a:custGeom>
                <a:avLst/>
                <a:gdLst>
                  <a:gd name="T0" fmla="*/ 6 w 33"/>
                  <a:gd name="T1" fmla="*/ 10 h 13"/>
                  <a:gd name="T2" fmla="*/ 13 w 33"/>
                  <a:gd name="T3" fmla="*/ 5 h 13"/>
                  <a:gd name="T4" fmla="*/ 22 w 33"/>
                  <a:gd name="T5" fmla="*/ 3 h 13"/>
                  <a:gd name="T6" fmla="*/ 29 w 33"/>
                  <a:gd name="T7" fmla="*/ 0 h 13"/>
                  <a:gd name="T8" fmla="*/ 36 w 33"/>
                  <a:gd name="T9" fmla="*/ 2 h 13"/>
                  <a:gd name="T10" fmla="*/ 34 w 33"/>
                  <a:gd name="T11" fmla="*/ 6 h 13"/>
                  <a:gd name="T12" fmla="*/ 39 w 33"/>
                  <a:gd name="T13" fmla="*/ 10 h 13"/>
                  <a:gd name="T14" fmla="*/ 25 w 33"/>
                  <a:gd name="T15" fmla="*/ 13 h 13"/>
                  <a:gd name="T16" fmla="*/ 22 w 33"/>
                  <a:gd name="T17" fmla="*/ 12 h 13"/>
                  <a:gd name="T18" fmla="*/ 15 w 33"/>
                  <a:gd name="T19" fmla="*/ 14 h 13"/>
                  <a:gd name="T20" fmla="*/ 8 w 33"/>
                  <a:gd name="T21" fmla="*/ 15 h 13"/>
                  <a:gd name="T22" fmla="*/ 1 w 33"/>
                  <a:gd name="T23" fmla="*/ 14 h 13"/>
                  <a:gd name="T24" fmla="*/ 2 w 33"/>
                  <a:gd name="T25" fmla="*/ 12 h 13"/>
                  <a:gd name="T26" fmla="*/ 6 w 33"/>
                  <a:gd name="T27" fmla="*/ 10 h 1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3"/>
                  <a:gd name="T43" fmla="*/ 0 h 13"/>
                  <a:gd name="T44" fmla="*/ 33 w 33"/>
                  <a:gd name="T45" fmla="*/ 13 h 1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3" h="13">
                    <a:moveTo>
                      <a:pt x="5" y="9"/>
                    </a:moveTo>
                    <a:cubicBezTo>
                      <a:pt x="7" y="8"/>
                      <a:pt x="8" y="5"/>
                      <a:pt x="11" y="4"/>
                    </a:cubicBezTo>
                    <a:cubicBezTo>
                      <a:pt x="13" y="3"/>
                      <a:pt x="16" y="4"/>
                      <a:pt x="18" y="3"/>
                    </a:cubicBezTo>
                    <a:cubicBezTo>
                      <a:pt x="20" y="3"/>
                      <a:pt x="22" y="0"/>
                      <a:pt x="24" y="0"/>
                    </a:cubicBezTo>
                    <a:cubicBezTo>
                      <a:pt x="26" y="0"/>
                      <a:pt x="29" y="1"/>
                      <a:pt x="30" y="2"/>
                    </a:cubicBezTo>
                    <a:cubicBezTo>
                      <a:pt x="31" y="3"/>
                      <a:pt x="28" y="4"/>
                      <a:pt x="28" y="5"/>
                    </a:cubicBezTo>
                    <a:cubicBezTo>
                      <a:pt x="29" y="7"/>
                      <a:pt x="33" y="8"/>
                      <a:pt x="32" y="9"/>
                    </a:cubicBezTo>
                    <a:cubicBezTo>
                      <a:pt x="29" y="11"/>
                      <a:pt x="25" y="10"/>
                      <a:pt x="21" y="11"/>
                    </a:cubicBezTo>
                    <a:cubicBezTo>
                      <a:pt x="20" y="11"/>
                      <a:pt x="19" y="10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0" y="12"/>
                      <a:pt x="9" y="12"/>
                      <a:pt x="7" y="13"/>
                    </a:cubicBezTo>
                    <a:cubicBezTo>
                      <a:pt x="5" y="13"/>
                      <a:pt x="3" y="13"/>
                      <a:pt x="1" y="12"/>
                    </a:cubicBezTo>
                    <a:cubicBezTo>
                      <a:pt x="0" y="12"/>
                      <a:pt x="1" y="10"/>
                      <a:pt x="2" y="10"/>
                    </a:cubicBezTo>
                    <a:cubicBezTo>
                      <a:pt x="3" y="9"/>
                      <a:pt x="4" y="10"/>
                      <a:pt x="5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7" name="Freeform 3618"/>
              <p:cNvSpPr>
                <a:spLocks noChangeAspect="1"/>
              </p:cNvSpPr>
              <p:nvPr/>
            </p:nvSpPr>
            <p:spPr bwMode="auto">
              <a:xfrm>
                <a:off x="1463677" y="2494514"/>
                <a:ext cx="96500" cy="90951"/>
              </a:xfrm>
              <a:custGeom>
                <a:avLst/>
                <a:gdLst>
                  <a:gd name="T0" fmla="*/ 4 w 49"/>
                  <a:gd name="T1" fmla="*/ 1 h 47"/>
                  <a:gd name="T2" fmla="*/ 30 w 49"/>
                  <a:gd name="T3" fmla="*/ 12 h 47"/>
                  <a:gd name="T4" fmla="*/ 36 w 49"/>
                  <a:gd name="T5" fmla="*/ 13 h 47"/>
                  <a:gd name="T6" fmla="*/ 41 w 49"/>
                  <a:gd name="T7" fmla="*/ 25 h 47"/>
                  <a:gd name="T8" fmla="*/ 41 w 49"/>
                  <a:gd name="T9" fmla="*/ 30 h 47"/>
                  <a:gd name="T10" fmla="*/ 52 w 49"/>
                  <a:gd name="T11" fmla="*/ 33 h 47"/>
                  <a:gd name="T12" fmla="*/ 57 w 49"/>
                  <a:gd name="T13" fmla="*/ 46 h 47"/>
                  <a:gd name="T14" fmla="*/ 57 w 49"/>
                  <a:gd name="T15" fmla="*/ 54 h 47"/>
                  <a:gd name="T16" fmla="*/ 47 w 49"/>
                  <a:gd name="T17" fmla="*/ 55 h 47"/>
                  <a:gd name="T18" fmla="*/ 35 w 49"/>
                  <a:gd name="T19" fmla="*/ 48 h 47"/>
                  <a:gd name="T20" fmla="*/ 39 w 49"/>
                  <a:gd name="T21" fmla="*/ 42 h 47"/>
                  <a:gd name="T22" fmla="*/ 29 w 49"/>
                  <a:gd name="T23" fmla="*/ 42 h 47"/>
                  <a:gd name="T24" fmla="*/ 24 w 49"/>
                  <a:gd name="T25" fmla="*/ 38 h 47"/>
                  <a:gd name="T26" fmla="*/ 23 w 49"/>
                  <a:gd name="T27" fmla="*/ 32 h 47"/>
                  <a:gd name="T28" fmla="*/ 17 w 49"/>
                  <a:gd name="T29" fmla="*/ 27 h 47"/>
                  <a:gd name="T30" fmla="*/ 12 w 49"/>
                  <a:gd name="T31" fmla="*/ 20 h 47"/>
                  <a:gd name="T32" fmla="*/ 12 w 49"/>
                  <a:gd name="T33" fmla="*/ 15 h 47"/>
                  <a:gd name="T34" fmla="*/ 5 w 49"/>
                  <a:gd name="T35" fmla="*/ 15 h 47"/>
                  <a:gd name="T36" fmla="*/ 8 w 49"/>
                  <a:gd name="T37" fmla="*/ 10 h 47"/>
                  <a:gd name="T38" fmla="*/ 2 w 49"/>
                  <a:gd name="T39" fmla="*/ 7 h 47"/>
                  <a:gd name="T40" fmla="*/ 0 w 49"/>
                  <a:gd name="T41" fmla="*/ 2 h 47"/>
                  <a:gd name="T42" fmla="*/ 4 w 49"/>
                  <a:gd name="T43" fmla="*/ 1 h 4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9"/>
                  <a:gd name="T67" fmla="*/ 0 h 47"/>
                  <a:gd name="T68" fmla="*/ 49 w 49"/>
                  <a:gd name="T69" fmla="*/ 47 h 4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9" h="47">
                    <a:moveTo>
                      <a:pt x="3" y="1"/>
                    </a:moveTo>
                    <a:cubicBezTo>
                      <a:pt x="11" y="3"/>
                      <a:pt x="18" y="7"/>
                      <a:pt x="25" y="10"/>
                    </a:cubicBezTo>
                    <a:cubicBezTo>
                      <a:pt x="27" y="11"/>
                      <a:pt x="29" y="10"/>
                      <a:pt x="30" y="11"/>
                    </a:cubicBezTo>
                    <a:cubicBezTo>
                      <a:pt x="33" y="14"/>
                      <a:pt x="33" y="18"/>
                      <a:pt x="34" y="21"/>
                    </a:cubicBezTo>
                    <a:cubicBezTo>
                      <a:pt x="34" y="23"/>
                      <a:pt x="33" y="24"/>
                      <a:pt x="34" y="25"/>
                    </a:cubicBezTo>
                    <a:cubicBezTo>
                      <a:pt x="37" y="27"/>
                      <a:pt x="41" y="26"/>
                      <a:pt x="43" y="28"/>
                    </a:cubicBezTo>
                    <a:cubicBezTo>
                      <a:pt x="46" y="31"/>
                      <a:pt x="47" y="35"/>
                      <a:pt x="47" y="39"/>
                    </a:cubicBezTo>
                    <a:cubicBezTo>
                      <a:pt x="48" y="41"/>
                      <a:pt x="49" y="44"/>
                      <a:pt x="47" y="45"/>
                    </a:cubicBezTo>
                    <a:cubicBezTo>
                      <a:pt x="45" y="47"/>
                      <a:pt x="42" y="47"/>
                      <a:pt x="39" y="46"/>
                    </a:cubicBezTo>
                    <a:cubicBezTo>
                      <a:pt x="35" y="45"/>
                      <a:pt x="31" y="43"/>
                      <a:pt x="29" y="40"/>
                    </a:cubicBezTo>
                    <a:cubicBezTo>
                      <a:pt x="28" y="38"/>
                      <a:pt x="33" y="36"/>
                      <a:pt x="32" y="35"/>
                    </a:cubicBezTo>
                    <a:cubicBezTo>
                      <a:pt x="30" y="33"/>
                      <a:pt x="26" y="35"/>
                      <a:pt x="24" y="35"/>
                    </a:cubicBezTo>
                    <a:cubicBezTo>
                      <a:pt x="22" y="34"/>
                      <a:pt x="20" y="33"/>
                      <a:pt x="20" y="32"/>
                    </a:cubicBezTo>
                    <a:cubicBezTo>
                      <a:pt x="19" y="30"/>
                      <a:pt x="20" y="28"/>
                      <a:pt x="19" y="27"/>
                    </a:cubicBezTo>
                    <a:cubicBezTo>
                      <a:pt x="18" y="25"/>
                      <a:pt x="15" y="24"/>
                      <a:pt x="14" y="23"/>
                    </a:cubicBezTo>
                    <a:cubicBezTo>
                      <a:pt x="12" y="21"/>
                      <a:pt x="11" y="19"/>
                      <a:pt x="10" y="17"/>
                    </a:cubicBezTo>
                    <a:cubicBezTo>
                      <a:pt x="9" y="16"/>
                      <a:pt x="11" y="14"/>
                      <a:pt x="10" y="13"/>
                    </a:cubicBezTo>
                    <a:cubicBezTo>
                      <a:pt x="8" y="12"/>
                      <a:pt x="5" y="15"/>
                      <a:pt x="4" y="13"/>
                    </a:cubicBezTo>
                    <a:cubicBezTo>
                      <a:pt x="3" y="12"/>
                      <a:pt x="7" y="10"/>
                      <a:pt x="7" y="8"/>
                    </a:cubicBezTo>
                    <a:cubicBezTo>
                      <a:pt x="6" y="7"/>
                      <a:pt x="3" y="8"/>
                      <a:pt x="2" y="6"/>
                    </a:cubicBezTo>
                    <a:cubicBezTo>
                      <a:pt x="1" y="5"/>
                      <a:pt x="0" y="4"/>
                      <a:pt x="0" y="2"/>
                    </a:cubicBezTo>
                    <a:cubicBezTo>
                      <a:pt x="0" y="2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8" name="Freeform 3619"/>
              <p:cNvSpPr>
                <a:spLocks noChangeAspect="1"/>
              </p:cNvSpPr>
              <p:nvPr/>
            </p:nvSpPr>
            <p:spPr bwMode="auto">
              <a:xfrm>
                <a:off x="1378627" y="2379201"/>
                <a:ext cx="34348" cy="37356"/>
              </a:xfrm>
              <a:custGeom>
                <a:avLst/>
                <a:gdLst>
                  <a:gd name="T0" fmla="*/ 21 w 17"/>
                  <a:gd name="T1" fmla="*/ 4 h 19"/>
                  <a:gd name="T2" fmla="*/ 16 w 17"/>
                  <a:gd name="T3" fmla="*/ 13 h 19"/>
                  <a:gd name="T4" fmla="*/ 12 w 17"/>
                  <a:gd name="T5" fmla="*/ 22 h 19"/>
                  <a:gd name="T6" fmla="*/ 5 w 17"/>
                  <a:gd name="T7" fmla="*/ 23 h 19"/>
                  <a:gd name="T8" fmla="*/ 1 w 17"/>
                  <a:gd name="T9" fmla="*/ 18 h 19"/>
                  <a:gd name="T10" fmla="*/ 2 w 17"/>
                  <a:gd name="T11" fmla="*/ 7 h 19"/>
                  <a:gd name="T12" fmla="*/ 2 w 17"/>
                  <a:gd name="T13" fmla="*/ 1 h 19"/>
                  <a:gd name="T14" fmla="*/ 15 w 17"/>
                  <a:gd name="T15" fmla="*/ 4 h 19"/>
                  <a:gd name="T16" fmla="*/ 21 w 17"/>
                  <a:gd name="T17" fmla="*/ 4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"/>
                  <a:gd name="T28" fmla="*/ 0 h 19"/>
                  <a:gd name="T29" fmla="*/ 17 w 17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" h="19">
                    <a:moveTo>
                      <a:pt x="17" y="3"/>
                    </a:moveTo>
                    <a:cubicBezTo>
                      <a:pt x="17" y="6"/>
                      <a:pt x="14" y="8"/>
                      <a:pt x="13" y="11"/>
                    </a:cubicBezTo>
                    <a:cubicBezTo>
                      <a:pt x="12" y="13"/>
                      <a:pt x="12" y="16"/>
                      <a:pt x="10" y="18"/>
                    </a:cubicBezTo>
                    <a:cubicBezTo>
                      <a:pt x="9" y="19"/>
                      <a:pt x="6" y="19"/>
                      <a:pt x="4" y="19"/>
                    </a:cubicBezTo>
                    <a:cubicBezTo>
                      <a:pt x="3" y="18"/>
                      <a:pt x="1" y="17"/>
                      <a:pt x="1" y="15"/>
                    </a:cubicBezTo>
                    <a:cubicBezTo>
                      <a:pt x="1" y="12"/>
                      <a:pt x="2" y="9"/>
                      <a:pt x="2" y="6"/>
                    </a:cubicBezTo>
                    <a:cubicBezTo>
                      <a:pt x="2" y="5"/>
                      <a:pt x="0" y="2"/>
                      <a:pt x="2" y="1"/>
                    </a:cubicBezTo>
                    <a:cubicBezTo>
                      <a:pt x="5" y="0"/>
                      <a:pt x="9" y="2"/>
                      <a:pt x="12" y="3"/>
                    </a:cubicBezTo>
                    <a:cubicBezTo>
                      <a:pt x="13" y="3"/>
                      <a:pt x="16" y="2"/>
                      <a:pt x="17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09" name="Freeform 3620"/>
              <p:cNvSpPr>
                <a:spLocks noChangeAspect="1"/>
              </p:cNvSpPr>
              <p:nvPr/>
            </p:nvSpPr>
            <p:spPr bwMode="auto">
              <a:xfrm>
                <a:off x="1385169" y="2414932"/>
                <a:ext cx="29441" cy="43852"/>
              </a:xfrm>
              <a:custGeom>
                <a:avLst/>
                <a:gdLst>
                  <a:gd name="T0" fmla="*/ 12 w 15"/>
                  <a:gd name="T1" fmla="*/ 1 h 23"/>
                  <a:gd name="T2" fmla="*/ 1 w 15"/>
                  <a:gd name="T3" fmla="*/ 4 h 23"/>
                  <a:gd name="T4" fmla="*/ 6 w 15"/>
                  <a:gd name="T5" fmla="*/ 7 h 23"/>
                  <a:gd name="T6" fmla="*/ 7 w 15"/>
                  <a:gd name="T7" fmla="*/ 15 h 23"/>
                  <a:gd name="T8" fmla="*/ 16 w 15"/>
                  <a:gd name="T9" fmla="*/ 26 h 23"/>
                  <a:gd name="T10" fmla="*/ 17 w 15"/>
                  <a:gd name="T11" fmla="*/ 23 h 23"/>
                  <a:gd name="T12" fmla="*/ 12 w 15"/>
                  <a:gd name="T13" fmla="*/ 18 h 23"/>
                  <a:gd name="T14" fmla="*/ 10 w 15"/>
                  <a:gd name="T15" fmla="*/ 7 h 23"/>
                  <a:gd name="T16" fmla="*/ 12 w 15"/>
                  <a:gd name="T17" fmla="*/ 1 h 2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23"/>
                  <a:gd name="T29" fmla="*/ 15 w 15"/>
                  <a:gd name="T30" fmla="*/ 23 h 2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23">
                    <a:moveTo>
                      <a:pt x="10" y="1"/>
                    </a:moveTo>
                    <a:cubicBezTo>
                      <a:pt x="7" y="0"/>
                      <a:pt x="3" y="1"/>
                      <a:pt x="1" y="3"/>
                    </a:cubicBezTo>
                    <a:cubicBezTo>
                      <a:pt x="0" y="4"/>
                      <a:pt x="4" y="4"/>
                      <a:pt x="5" y="6"/>
                    </a:cubicBezTo>
                    <a:cubicBezTo>
                      <a:pt x="6" y="8"/>
                      <a:pt x="5" y="11"/>
                      <a:pt x="6" y="13"/>
                    </a:cubicBezTo>
                    <a:cubicBezTo>
                      <a:pt x="8" y="17"/>
                      <a:pt x="10" y="20"/>
                      <a:pt x="13" y="22"/>
                    </a:cubicBezTo>
                    <a:cubicBezTo>
                      <a:pt x="13" y="23"/>
                      <a:pt x="15" y="21"/>
                      <a:pt x="14" y="20"/>
                    </a:cubicBezTo>
                    <a:cubicBezTo>
                      <a:pt x="13" y="18"/>
                      <a:pt x="11" y="17"/>
                      <a:pt x="10" y="15"/>
                    </a:cubicBezTo>
                    <a:cubicBezTo>
                      <a:pt x="9" y="12"/>
                      <a:pt x="8" y="9"/>
                      <a:pt x="8" y="6"/>
                    </a:cubicBezTo>
                    <a:cubicBezTo>
                      <a:pt x="8" y="4"/>
                      <a:pt x="11" y="2"/>
                      <a:pt x="10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0" name="Freeform 3621"/>
              <p:cNvSpPr>
                <a:spLocks noChangeAspect="1"/>
              </p:cNvSpPr>
              <p:nvPr/>
            </p:nvSpPr>
            <p:spPr bwMode="auto">
              <a:xfrm>
                <a:off x="609900" y="2023516"/>
                <a:ext cx="67060" cy="30859"/>
              </a:xfrm>
              <a:custGeom>
                <a:avLst/>
                <a:gdLst>
                  <a:gd name="T0" fmla="*/ 5 w 34"/>
                  <a:gd name="T1" fmla="*/ 2 h 16"/>
                  <a:gd name="T2" fmla="*/ 1 w 34"/>
                  <a:gd name="T3" fmla="*/ 13 h 16"/>
                  <a:gd name="T4" fmla="*/ 10 w 34"/>
                  <a:gd name="T5" fmla="*/ 13 h 16"/>
                  <a:gd name="T6" fmla="*/ 17 w 34"/>
                  <a:gd name="T7" fmla="*/ 12 h 16"/>
                  <a:gd name="T8" fmla="*/ 24 w 34"/>
                  <a:gd name="T9" fmla="*/ 15 h 16"/>
                  <a:gd name="T10" fmla="*/ 30 w 34"/>
                  <a:gd name="T11" fmla="*/ 19 h 16"/>
                  <a:gd name="T12" fmla="*/ 41 w 34"/>
                  <a:gd name="T13" fmla="*/ 13 h 16"/>
                  <a:gd name="T14" fmla="*/ 30 w 34"/>
                  <a:gd name="T15" fmla="*/ 8 h 16"/>
                  <a:gd name="T16" fmla="*/ 28 w 34"/>
                  <a:gd name="T17" fmla="*/ 5 h 16"/>
                  <a:gd name="T18" fmla="*/ 23 w 34"/>
                  <a:gd name="T19" fmla="*/ 5 h 16"/>
                  <a:gd name="T20" fmla="*/ 16 w 34"/>
                  <a:gd name="T21" fmla="*/ 8 h 16"/>
                  <a:gd name="T22" fmla="*/ 7 w 34"/>
                  <a:gd name="T23" fmla="*/ 8 h 16"/>
                  <a:gd name="T24" fmla="*/ 5 w 34"/>
                  <a:gd name="T25" fmla="*/ 2 h 1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16"/>
                  <a:gd name="T41" fmla="*/ 34 w 34"/>
                  <a:gd name="T42" fmla="*/ 16 h 1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16">
                    <a:moveTo>
                      <a:pt x="4" y="2"/>
                    </a:moveTo>
                    <a:cubicBezTo>
                      <a:pt x="2" y="4"/>
                      <a:pt x="0" y="8"/>
                      <a:pt x="1" y="11"/>
                    </a:cubicBezTo>
                    <a:cubicBezTo>
                      <a:pt x="2" y="13"/>
                      <a:pt x="6" y="11"/>
                      <a:pt x="8" y="11"/>
                    </a:cubicBezTo>
                    <a:cubicBezTo>
                      <a:pt x="10" y="11"/>
                      <a:pt x="12" y="10"/>
                      <a:pt x="14" y="10"/>
                    </a:cubicBezTo>
                    <a:cubicBezTo>
                      <a:pt x="16" y="11"/>
                      <a:pt x="18" y="12"/>
                      <a:pt x="20" y="13"/>
                    </a:cubicBezTo>
                    <a:cubicBezTo>
                      <a:pt x="21" y="14"/>
                      <a:pt x="23" y="16"/>
                      <a:pt x="25" y="16"/>
                    </a:cubicBezTo>
                    <a:cubicBezTo>
                      <a:pt x="29" y="15"/>
                      <a:pt x="34" y="14"/>
                      <a:pt x="34" y="11"/>
                    </a:cubicBezTo>
                    <a:cubicBezTo>
                      <a:pt x="34" y="7"/>
                      <a:pt x="28" y="9"/>
                      <a:pt x="25" y="7"/>
                    </a:cubicBezTo>
                    <a:cubicBezTo>
                      <a:pt x="24" y="7"/>
                      <a:pt x="24" y="5"/>
                      <a:pt x="23" y="4"/>
                    </a:cubicBezTo>
                    <a:cubicBezTo>
                      <a:pt x="22" y="3"/>
                      <a:pt x="20" y="3"/>
                      <a:pt x="19" y="4"/>
                    </a:cubicBezTo>
                    <a:cubicBezTo>
                      <a:pt x="17" y="4"/>
                      <a:pt x="15" y="6"/>
                      <a:pt x="13" y="7"/>
                    </a:cubicBezTo>
                    <a:cubicBezTo>
                      <a:pt x="11" y="7"/>
                      <a:pt x="8" y="8"/>
                      <a:pt x="6" y="7"/>
                    </a:cubicBezTo>
                    <a:cubicBezTo>
                      <a:pt x="5" y="6"/>
                      <a:pt x="6" y="0"/>
                      <a:pt x="4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1" name="Freeform 3622"/>
              <p:cNvSpPr>
                <a:spLocks noChangeAspect="1"/>
              </p:cNvSpPr>
              <p:nvPr/>
            </p:nvSpPr>
            <p:spPr bwMode="auto">
              <a:xfrm>
                <a:off x="1376991" y="2306115"/>
                <a:ext cx="35983" cy="58469"/>
              </a:xfrm>
              <a:custGeom>
                <a:avLst/>
                <a:gdLst>
                  <a:gd name="T0" fmla="*/ 13 w 18"/>
                  <a:gd name="T1" fmla="*/ 4 h 30"/>
                  <a:gd name="T2" fmla="*/ 21 w 18"/>
                  <a:gd name="T3" fmla="*/ 17 h 30"/>
                  <a:gd name="T4" fmla="*/ 22 w 18"/>
                  <a:gd name="T5" fmla="*/ 31 h 30"/>
                  <a:gd name="T6" fmla="*/ 20 w 18"/>
                  <a:gd name="T7" fmla="*/ 35 h 30"/>
                  <a:gd name="T8" fmla="*/ 12 w 18"/>
                  <a:gd name="T9" fmla="*/ 26 h 30"/>
                  <a:gd name="T10" fmla="*/ 7 w 18"/>
                  <a:gd name="T11" fmla="*/ 24 h 30"/>
                  <a:gd name="T12" fmla="*/ 10 w 18"/>
                  <a:gd name="T13" fmla="*/ 17 h 30"/>
                  <a:gd name="T14" fmla="*/ 6 w 18"/>
                  <a:gd name="T15" fmla="*/ 14 h 30"/>
                  <a:gd name="T16" fmla="*/ 11 w 18"/>
                  <a:gd name="T17" fmla="*/ 8 h 30"/>
                  <a:gd name="T18" fmla="*/ 1 w 18"/>
                  <a:gd name="T19" fmla="*/ 10 h 30"/>
                  <a:gd name="T20" fmla="*/ 6 w 18"/>
                  <a:gd name="T21" fmla="*/ 1 h 30"/>
                  <a:gd name="T22" fmla="*/ 13 w 18"/>
                  <a:gd name="T23" fmla="*/ 4 h 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"/>
                  <a:gd name="T37" fmla="*/ 0 h 30"/>
                  <a:gd name="T38" fmla="*/ 18 w 18"/>
                  <a:gd name="T39" fmla="*/ 30 h 3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" h="30">
                    <a:moveTo>
                      <a:pt x="11" y="3"/>
                    </a:moveTo>
                    <a:cubicBezTo>
                      <a:pt x="14" y="6"/>
                      <a:pt x="15" y="10"/>
                      <a:pt x="17" y="14"/>
                    </a:cubicBezTo>
                    <a:cubicBezTo>
                      <a:pt x="18" y="18"/>
                      <a:pt x="18" y="22"/>
                      <a:pt x="18" y="26"/>
                    </a:cubicBezTo>
                    <a:cubicBezTo>
                      <a:pt x="18" y="27"/>
                      <a:pt x="17" y="30"/>
                      <a:pt x="16" y="29"/>
                    </a:cubicBezTo>
                    <a:cubicBezTo>
                      <a:pt x="13" y="28"/>
                      <a:pt x="12" y="24"/>
                      <a:pt x="10" y="22"/>
                    </a:cubicBezTo>
                    <a:cubicBezTo>
                      <a:pt x="8" y="21"/>
                      <a:pt x="6" y="22"/>
                      <a:pt x="6" y="20"/>
                    </a:cubicBezTo>
                    <a:cubicBezTo>
                      <a:pt x="5" y="18"/>
                      <a:pt x="8" y="16"/>
                      <a:pt x="8" y="14"/>
                    </a:cubicBezTo>
                    <a:cubicBezTo>
                      <a:pt x="8" y="12"/>
                      <a:pt x="4" y="13"/>
                      <a:pt x="5" y="12"/>
                    </a:cubicBezTo>
                    <a:cubicBezTo>
                      <a:pt x="5" y="10"/>
                      <a:pt x="10" y="9"/>
                      <a:pt x="9" y="7"/>
                    </a:cubicBezTo>
                    <a:cubicBezTo>
                      <a:pt x="7" y="5"/>
                      <a:pt x="3" y="10"/>
                      <a:pt x="1" y="8"/>
                    </a:cubicBezTo>
                    <a:cubicBezTo>
                      <a:pt x="0" y="6"/>
                      <a:pt x="3" y="2"/>
                      <a:pt x="5" y="1"/>
                    </a:cubicBezTo>
                    <a:cubicBezTo>
                      <a:pt x="7" y="0"/>
                      <a:pt x="10" y="1"/>
                      <a:pt x="1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2" name="Freeform 3623"/>
              <p:cNvSpPr>
                <a:spLocks noChangeAspect="1"/>
              </p:cNvSpPr>
              <p:nvPr/>
            </p:nvSpPr>
            <p:spPr bwMode="auto">
              <a:xfrm>
                <a:off x="1386804" y="2280129"/>
                <a:ext cx="29441" cy="25986"/>
              </a:xfrm>
              <a:custGeom>
                <a:avLst/>
                <a:gdLst>
                  <a:gd name="T0" fmla="*/ 1 w 15"/>
                  <a:gd name="T1" fmla="*/ 2 h 13"/>
                  <a:gd name="T2" fmla="*/ 1 w 15"/>
                  <a:gd name="T3" fmla="*/ 15 h 13"/>
                  <a:gd name="T4" fmla="*/ 10 w 15"/>
                  <a:gd name="T5" fmla="*/ 14 h 13"/>
                  <a:gd name="T6" fmla="*/ 10 w 15"/>
                  <a:gd name="T7" fmla="*/ 10 h 13"/>
                  <a:gd name="T8" fmla="*/ 14 w 15"/>
                  <a:gd name="T9" fmla="*/ 12 h 13"/>
                  <a:gd name="T10" fmla="*/ 17 w 15"/>
                  <a:gd name="T11" fmla="*/ 12 h 13"/>
                  <a:gd name="T12" fmla="*/ 12 w 15"/>
                  <a:gd name="T13" fmla="*/ 5 h 13"/>
                  <a:gd name="T14" fmla="*/ 6 w 15"/>
                  <a:gd name="T15" fmla="*/ 4 h 13"/>
                  <a:gd name="T16" fmla="*/ 1 w 15"/>
                  <a:gd name="T17" fmla="*/ 2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3"/>
                  <a:gd name="T29" fmla="*/ 15 w 15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3">
                    <a:moveTo>
                      <a:pt x="1" y="2"/>
                    </a:moveTo>
                    <a:cubicBezTo>
                      <a:pt x="0" y="5"/>
                      <a:pt x="0" y="9"/>
                      <a:pt x="1" y="12"/>
                    </a:cubicBezTo>
                    <a:cubicBezTo>
                      <a:pt x="2" y="13"/>
                      <a:pt x="6" y="12"/>
                      <a:pt x="8" y="11"/>
                    </a:cubicBezTo>
                    <a:cubicBezTo>
                      <a:pt x="9" y="10"/>
                      <a:pt x="6" y="8"/>
                      <a:pt x="8" y="8"/>
                    </a:cubicBezTo>
                    <a:cubicBezTo>
                      <a:pt x="9" y="7"/>
                      <a:pt x="10" y="10"/>
                      <a:pt x="12" y="10"/>
                    </a:cubicBezTo>
                    <a:cubicBezTo>
                      <a:pt x="12" y="10"/>
                      <a:pt x="15" y="11"/>
                      <a:pt x="14" y="10"/>
                    </a:cubicBezTo>
                    <a:cubicBezTo>
                      <a:pt x="14" y="7"/>
                      <a:pt x="12" y="5"/>
                      <a:pt x="10" y="4"/>
                    </a:cubicBezTo>
                    <a:cubicBezTo>
                      <a:pt x="9" y="3"/>
                      <a:pt x="7" y="3"/>
                      <a:pt x="5" y="3"/>
                    </a:cubicBezTo>
                    <a:cubicBezTo>
                      <a:pt x="4" y="3"/>
                      <a:pt x="2" y="0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3" name="Freeform 3624"/>
              <p:cNvSpPr>
                <a:spLocks noChangeAspect="1"/>
              </p:cNvSpPr>
              <p:nvPr/>
            </p:nvSpPr>
            <p:spPr bwMode="auto">
              <a:xfrm>
                <a:off x="1370448" y="2286625"/>
                <a:ext cx="14721" cy="29234"/>
              </a:xfrm>
              <a:custGeom>
                <a:avLst/>
                <a:gdLst>
                  <a:gd name="T0" fmla="*/ 4 w 7"/>
                  <a:gd name="T1" fmla="*/ 1 h 15"/>
                  <a:gd name="T2" fmla="*/ 3 w 7"/>
                  <a:gd name="T3" fmla="*/ 11 h 15"/>
                  <a:gd name="T4" fmla="*/ 3 w 7"/>
                  <a:gd name="T5" fmla="*/ 18 h 15"/>
                  <a:gd name="T6" fmla="*/ 8 w 7"/>
                  <a:gd name="T7" fmla="*/ 11 h 15"/>
                  <a:gd name="T8" fmla="*/ 8 w 7"/>
                  <a:gd name="T9" fmla="*/ 5 h 15"/>
                  <a:gd name="T10" fmla="*/ 6 w 7"/>
                  <a:gd name="T11" fmla="*/ 1 h 15"/>
                  <a:gd name="T12" fmla="*/ 4 w 7"/>
                  <a:gd name="T13" fmla="*/ 1 h 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15"/>
                  <a:gd name="T23" fmla="*/ 7 w 7"/>
                  <a:gd name="T24" fmla="*/ 15 h 1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15">
                    <a:moveTo>
                      <a:pt x="3" y="1"/>
                    </a:moveTo>
                    <a:cubicBezTo>
                      <a:pt x="2" y="4"/>
                      <a:pt x="2" y="6"/>
                      <a:pt x="2" y="9"/>
                    </a:cubicBezTo>
                    <a:cubicBezTo>
                      <a:pt x="2" y="11"/>
                      <a:pt x="0" y="15"/>
                      <a:pt x="2" y="15"/>
                    </a:cubicBezTo>
                    <a:cubicBezTo>
                      <a:pt x="4" y="14"/>
                      <a:pt x="5" y="11"/>
                      <a:pt x="6" y="9"/>
                    </a:cubicBezTo>
                    <a:cubicBezTo>
                      <a:pt x="7" y="7"/>
                      <a:pt x="6" y="5"/>
                      <a:pt x="6" y="4"/>
                    </a:cubicBezTo>
                    <a:cubicBezTo>
                      <a:pt x="6" y="3"/>
                      <a:pt x="6" y="2"/>
                      <a:pt x="5" y="1"/>
                    </a:cubicBezTo>
                    <a:cubicBezTo>
                      <a:pt x="5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4" name="Freeform 3625"/>
              <p:cNvSpPr>
                <a:spLocks noChangeAspect="1"/>
              </p:cNvSpPr>
              <p:nvPr/>
            </p:nvSpPr>
            <p:spPr bwMode="auto">
              <a:xfrm>
                <a:off x="1354092" y="2270384"/>
                <a:ext cx="16356" cy="38979"/>
              </a:xfrm>
              <a:custGeom>
                <a:avLst/>
                <a:gdLst>
                  <a:gd name="T0" fmla="*/ 1 w 9"/>
                  <a:gd name="T1" fmla="*/ 0 h 20"/>
                  <a:gd name="T2" fmla="*/ 1 w 9"/>
                  <a:gd name="T3" fmla="*/ 4 h 20"/>
                  <a:gd name="T4" fmla="*/ 3 w 9"/>
                  <a:gd name="T5" fmla="*/ 17 h 20"/>
                  <a:gd name="T6" fmla="*/ 6 w 9"/>
                  <a:gd name="T7" fmla="*/ 24 h 20"/>
                  <a:gd name="T8" fmla="*/ 10 w 9"/>
                  <a:gd name="T9" fmla="*/ 16 h 20"/>
                  <a:gd name="T10" fmla="*/ 8 w 9"/>
                  <a:gd name="T11" fmla="*/ 4 h 20"/>
                  <a:gd name="T12" fmla="*/ 4 w 9"/>
                  <a:gd name="T13" fmla="*/ 1 h 20"/>
                  <a:gd name="T14" fmla="*/ 1 w 9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"/>
                  <a:gd name="T25" fmla="*/ 0 h 20"/>
                  <a:gd name="T26" fmla="*/ 9 w 9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" h="20">
                    <a:moveTo>
                      <a:pt x="1" y="0"/>
                    </a:moveTo>
                    <a:cubicBezTo>
                      <a:pt x="0" y="1"/>
                      <a:pt x="1" y="2"/>
                      <a:pt x="1" y="3"/>
                    </a:cubicBezTo>
                    <a:cubicBezTo>
                      <a:pt x="1" y="7"/>
                      <a:pt x="3" y="10"/>
                      <a:pt x="3" y="14"/>
                    </a:cubicBezTo>
                    <a:cubicBezTo>
                      <a:pt x="4" y="16"/>
                      <a:pt x="3" y="20"/>
                      <a:pt x="5" y="20"/>
                    </a:cubicBezTo>
                    <a:cubicBezTo>
                      <a:pt x="7" y="19"/>
                      <a:pt x="8" y="15"/>
                      <a:pt x="9" y="13"/>
                    </a:cubicBezTo>
                    <a:cubicBezTo>
                      <a:pt x="9" y="10"/>
                      <a:pt x="8" y="6"/>
                      <a:pt x="7" y="3"/>
                    </a:cubicBezTo>
                    <a:cubicBezTo>
                      <a:pt x="7" y="2"/>
                      <a:pt x="6" y="2"/>
                      <a:pt x="4" y="1"/>
                    </a:cubicBezTo>
                    <a:cubicBezTo>
                      <a:pt x="3" y="0"/>
                      <a:pt x="2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5" name="Freeform 3626"/>
              <p:cNvSpPr>
                <a:spLocks noChangeAspect="1"/>
              </p:cNvSpPr>
              <p:nvPr/>
            </p:nvSpPr>
            <p:spPr bwMode="auto">
              <a:xfrm>
                <a:off x="1336101" y="2244398"/>
                <a:ext cx="39254" cy="29234"/>
              </a:xfrm>
              <a:custGeom>
                <a:avLst/>
                <a:gdLst>
                  <a:gd name="T0" fmla="*/ 1 w 20"/>
                  <a:gd name="T1" fmla="*/ 2 h 15"/>
                  <a:gd name="T2" fmla="*/ 1 w 20"/>
                  <a:gd name="T3" fmla="*/ 6 h 15"/>
                  <a:gd name="T4" fmla="*/ 10 w 20"/>
                  <a:gd name="T5" fmla="*/ 17 h 15"/>
                  <a:gd name="T6" fmla="*/ 11 w 20"/>
                  <a:gd name="T7" fmla="*/ 13 h 15"/>
                  <a:gd name="T8" fmla="*/ 11 w 20"/>
                  <a:gd name="T9" fmla="*/ 11 h 15"/>
                  <a:gd name="T10" fmla="*/ 22 w 20"/>
                  <a:gd name="T11" fmla="*/ 14 h 15"/>
                  <a:gd name="T12" fmla="*/ 22 w 20"/>
                  <a:gd name="T13" fmla="*/ 10 h 15"/>
                  <a:gd name="T14" fmla="*/ 13 w 20"/>
                  <a:gd name="T15" fmla="*/ 6 h 15"/>
                  <a:gd name="T16" fmla="*/ 17 w 20"/>
                  <a:gd name="T17" fmla="*/ 6 h 15"/>
                  <a:gd name="T18" fmla="*/ 23 w 20"/>
                  <a:gd name="T19" fmla="*/ 7 h 15"/>
                  <a:gd name="T20" fmla="*/ 22 w 20"/>
                  <a:gd name="T21" fmla="*/ 2 h 15"/>
                  <a:gd name="T22" fmla="*/ 13 w 20"/>
                  <a:gd name="T23" fmla="*/ 0 h 15"/>
                  <a:gd name="T24" fmla="*/ 5 w 20"/>
                  <a:gd name="T25" fmla="*/ 2 h 15"/>
                  <a:gd name="T26" fmla="*/ 1 w 20"/>
                  <a:gd name="T27" fmla="*/ 2 h 1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"/>
                  <a:gd name="T43" fmla="*/ 0 h 15"/>
                  <a:gd name="T44" fmla="*/ 20 w 20"/>
                  <a:gd name="T45" fmla="*/ 15 h 1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" h="15">
                    <a:moveTo>
                      <a:pt x="1" y="2"/>
                    </a:moveTo>
                    <a:cubicBezTo>
                      <a:pt x="0" y="3"/>
                      <a:pt x="0" y="4"/>
                      <a:pt x="1" y="5"/>
                    </a:cubicBezTo>
                    <a:cubicBezTo>
                      <a:pt x="3" y="8"/>
                      <a:pt x="5" y="12"/>
                      <a:pt x="8" y="14"/>
                    </a:cubicBezTo>
                    <a:cubicBezTo>
                      <a:pt x="9" y="15"/>
                      <a:pt x="9" y="12"/>
                      <a:pt x="9" y="11"/>
                    </a:cubicBezTo>
                    <a:cubicBezTo>
                      <a:pt x="9" y="11"/>
                      <a:pt x="8" y="9"/>
                      <a:pt x="9" y="9"/>
                    </a:cubicBezTo>
                    <a:cubicBezTo>
                      <a:pt x="12" y="10"/>
                      <a:pt x="15" y="12"/>
                      <a:pt x="18" y="12"/>
                    </a:cubicBezTo>
                    <a:cubicBezTo>
                      <a:pt x="19" y="12"/>
                      <a:pt x="19" y="9"/>
                      <a:pt x="18" y="8"/>
                    </a:cubicBezTo>
                    <a:cubicBezTo>
                      <a:pt x="16" y="6"/>
                      <a:pt x="13" y="6"/>
                      <a:pt x="11" y="5"/>
                    </a:cubicBezTo>
                    <a:cubicBezTo>
                      <a:pt x="10" y="4"/>
                      <a:pt x="13" y="5"/>
                      <a:pt x="14" y="5"/>
                    </a:cubicBezTo>
                    <a:cubicBezTo>
                      <a:pt x="16" y="5"/>
                      <a:pt x="17" y="7"/>
                      <a:pt x="19" y="6"/>
                    </a:cubicBezTo>
                    <a:cubicBezTo>
                      <a:pt x="20" y="6"/>
                      <a:pt x="19" y="3"/>
                      <a:pt x="18" y="2"/>
                    </a:cubicBezTo>
                    <a:cubicBezTo>
                      <a:pt x="17" y="1"/>
                      <a:pt x="14" y="0"/>
                      <a:pt x="11" y="0"/>
                    </a:cubicBezTo>
                    <a:cubicBezTo>
                      <a:pt x="9" y="0"/>
                      <a:pt x="7" y="2"/>
                      <a:pt x="4" y="2"/>
                    </a:cubicBezTo>
                    <a:cubicBezTo>
                      <a:pt x="3" y="3"/>
                      <a:pt x="2" y="2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6" name="Freeform 3627"/>
              <p:cNvSpPr>
                <a:spLocks noChangeAspect="1"/>
              </p:cNvSpPr>
              <p:nvPr/>
            </p:nvSpPr>
            <p:spPr bwMode="auto">
              <a:xfrm>
                <a:off x="1424423" y="2319108"/>
                <a:ext cx="19627" cy="27611"/>
              </a:xfrm>
              <a:custGeom>
                <a:avLst/>
                <a:gdLst>
                  <a:gd name="T0" fmla="*/ 4 w 10"/>
                  <a:gd name="T1" fmla="*/ 4 h 14"/>
                  <a:gd name="T2" fmla="*/ 1 w 10"/>
                  <a:gd name="T3" fmla="*/ 12 h 14"/>
                  <a:gd name="T4" fmla="*/ 8 w 10"/>
                  <a:gd name="T5" fmla="*/ 16 h 14"/>
                  <a:gd name="T6" fmla="*/ 12 w 10"/>
                  <a:gd name="T7" fmla="*/ 6 h 14"/>
                  <a:gd name="T8" fmla="*/ 11 w 10"/>
                  <a:gd name="T9" fmla="*/ 1 h 14"/>
                  <a:gd name="T10" fmla="*/ 4 w 10"/>
                  <a:gd name="T11" fmla="*/ 4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14"/>
                  <a:gd name="T20" fmla="*/ 10 w 10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14">
                    <a:moveTo>
                      <a:pt x="3" y="3"/>
                    </a:moveTo>
                    <a:cubicBezTo>
                      <a:pt x="1" y="5"/>
                      <a:pt x="0" y="8"/>
                      <a:pt x="1" y="10"/>
                    </a:cubicBezTo>
                    <a:cubicBezTo>
                      <a:pt x="2" y="12"/>
                      <a:pt x="5" y="14"/>
                      <a:pt x="7" y="13"/>
                    </a:cubicBezTo>
                    <a:cubicBezTo>
                      <a:pt x="10" y="12"/>
                      <a:pt x="9" y="8"/>
                      <a:pt x="10" y="5"/>
                    </a:cubicBezTo>
                    <a:cubicBezTo>
                      <a:pt x="10" y="4"/>
                      <a:pt x="10" y="1"/>
                      <a:pt x="9" y="1"/>
                    </a:cubicBezTo>
                    <a:cubicBezTo>
                      <a:pt x="7" y="0"/>
                      <a:pt x="4" y="1"/>
                      <a:pt x="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7" name="Freeform 3628"/>
              <p:cNvSpPr>
                <a:spLocks noChangeAspect="1"/>
              </p:cNvSpPr>
              <p:nvPr/>
            </p:nvSpPr>
            <p:spPr bwMode="auto">
              <a:xfrm>
                <a:off x="1404796" y="2307740"/>
                <a:ext cx="11450" cy="12993"/>
              </a:xfrm>
              <a:custGeom>
                <a:avLst/>
                <a:gdLst>
                  <a:gd name="T0" fmla="*/ 4 w 6"/>
                  <a:gd name="T1" fmla="*/ 1 h 7"/>
                  <a:gd name="T2" fmla="*/ 0 w 6"/>
                  <a:gd name="T3" fmla="*/ 3 h 7"/>
                  <a:gd name="T4" fmla="*/ 4 w 6"/>
                  <a:gd name="T5" fmla="*/ 7 h 7"/>
                  <a:gd name="T6" fmla="*/ 7 w 6"/>
                  <a:gd name="T7" fmla="*/ 5 h 7"/>
                  <a:gd name="T8" fmla="*/ 4 w 6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"/>
                  <a:gd name="T17" fmla="*/ 6 w 6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">
                    <a:moveTo>
                      <a:pt x="3" y="1"/>
                    </a:moveTo>
                    <a:cubicBezTo>
                      <a:pt x="2" y="0"/>
                      <a:pt x="0" y="2"/>
                      <a:pt x="0" y="3"/>
                    </a:cubicBezTo>
                    <a:cubicBezTo>
                      <a:pt x="0" y="4"/>
                      <a:pt x="2" y="6"/>
                      <a:pt x="3" y="6"/>
                    </a:cubicBezTo>
                    <a:cubicBezTo>
                      <a:pt x="4" y="7"/>
                      <a:pt x="6" y="5"/>
                      <a:pt x="6" y="4"/>
                    </a:cubicBezTo>
                    <a:cubicBezTo>
                      <a:pt x="6" y="2"/>
                      <a:pt x="5" y="1"/>
                      <a:pt x="3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8" name="Freeform 3629"/>
              <p:cNvSpPr>
                <a:spLocks noChangeAspect="1"/>
              </p:cNvSpPr>
              <p:nvPr/>
            </p:nvSpPr>
            <p:spPr bwMode="auto">
              <a:xfrm>
                <a:off x="1100577" y="2159943"/>
                <a:ext cx="29441" cy="24362"/>
              </a:xfrm>
              <a:custGeom>
                <a:avLst/>
                <a:gdLst>
                  <a:gd name="T0" fmla="*/ 1 w 15"/>
                  <a:gd name="T1" fmla="*/ 12 h 13"/>
                  <a:gd name="T2" fmla="*/ 5 w 15"/>
                  <a:gd name="T3" fmla="*/ 15 h 13"/>
                  <a:gd name="T4" fmla="*/ 18 w 15"/>
                  <a:gd name="T5" fmla="*/ 1 h 13"/>
                  <a:gd name="T6" fmla="*/ 17 w 15"/>
                  <a:gd name="T7" fmla="*/ 0 h 13"/>
                  <a:gd name="T8" fmla="*/ 1 w 15"/>
                  <a:gd name="T9" fmla="*/ 12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3"/>
                  <a:gd name="T17" fmla="*/ 15 w 15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3">
                    <a:moveTo>
                      <a:pt x="1" y="10"/>
                    </a:moveTo>
                    <a:cubicBezTo>
                      <a:pt x="0" y="11"/>
                      <a:pt x="3" y="13"/>
                      <a:pt x="4" y="13"/>
                    </a:cubicBezTo>
                    <a:cubicBezTo>
                      <a:pt x="8" y="10"/>
                      <a:pt x="11" y="5"/>
                      <a:pt x="15" y="1"/>
                    </a:cubicBezTo>
                    <a:cubicBezTo>
                      <a:pt x="15" y="1"/>
                      <a:pt x="15" y="0"/>
                      <a:pt x="14" y="0"/>
                    </a:cubicBezTo>
                    <a:cubicBezTo>
                      <a:pt x="10" y="3"/>
                      <a:pt x="5" y="6"/>
                      <a:pt x="1" y="1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19" name="Freeform 3630"/>
              <p:cNvSpPr>
                <a:spLocks noChangeAspect="1"/>
              </p:cNvSpPr>
              <p:nvPr/>
            </p:nvSpPr>
            <p:spPr bwMode="auto">
              <a:xfrm>
                <a:off x="914120" y="2254143"/>
                <a:ext cx="67060" cy="42227"/>
              </a:xfrm>
              <a:custGeom>
                <a:avLst/>
                <a:gdLst>
                  <a:gd name="T0" fmla="*/ 1 w 34"/>
                  <a:gd name="T1" fmla="*/ 7 h 21"/>
                  <a:gd name="T2" fmla="*/ 0 w 34"/>
                  <a:gd name="T3" fmla="*/ 14 h 21"/>
                  <a:gd name="T4" fmla="*/ 2 w 34"/>
                  <a:gd name="T5" fmla="*/ 20 h 21"/>
                  <a:gd name="T6" fmla="*/ 2 w 34"/>
                  <a:gd name="T7" fmla="*/ 26 h 21"/>
                  <a:gd name="T8" fmla="*/ 8 w 34"/>
                  <a:gd name="T9" fmla="*/ 22 h 21"/>
                  <a:gd name="T10" fmla="*/ 14 w 34"/>
                  <a:gd name="T11" fmla="*/ 25 h 21"/>
                  <a:gd name="T12" fmla="*/ 25 w 34"/>
                  <a:gd name="T13" fmla="*/ 16 h 21"/>
                  <a:gd name="T14" fmla="*/ 39 w 34"/>
                  <a:gd name="T15" fmla="*/ 10 h 21"/>
                  <a:gd name="T16" fmla="*/ 37 w 34"/>
                  <a:gd name="T17" fmla="*/ 1 h 21"/>
                  <a:gd name="T18" fmla="*/ 30 w 34"/>
                  <a:gd name="T19" fmla="*/ 1 h 21"/>
                  <a:gd name="T20" fmla="*/ 23 w 34"/>
                  <a:gd name="T21" fmla="*/ 4 h 21"/>
                  <a:gd name="T22" fmla="*/ 18 w 34"/>
                  <a:gd name="T23" fmla="*/ 1 h 21"/>
                  <a:gd name="T24" fmla="*/ 16 w 34"/>
                  <a:gd name="T25" fmla="*/ 9 h 21"/>
                  <a:gd name="T26" fmla="*/ 13 w 34"/>
                  <a:gd name="T27" fmla="*/ 12 h 21"/>
                  <a:gd name="T28" fmla="*/ 13 w 34"/>
                  <a:gd name="T29" fmla="*/ 6 h 21"/>
                  <a:gd name="T30" fmla="*/ 6 w 34"/>
                  <a:gd name="T31" fmla="*/ 6 h 21"/>
                  <a:gd name="T32" fmla="*/ 1 w 34"/>
                  <a:gd name="T33" fmla="*/ 7 h 2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21"/>
                  <a:gd name="T53" fmla="*/ 34 w 34"/>
                  <a:gd name="T54" fmla="*/ 21 h 2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21">
                    <a:moveTo>
                      <a:pt x="1" y="6"/>
                    </a:moveTo>
                    <a:cubicBezTo>
                      <a:pt x="0" y="8"/>
                      <a:pt x="0" y="9"/>
                      <a:pt x="0" y="11"/>
                    </a:cubicBezTo>
                    <a:cubicBezTo>
                      <a:pt x="0" y="13"/>
                      <a:pt x="1" y="14"/>
                      <a:pt x="2" y="16"/>
                    </a:cubicBezTo>
                    <a:cubicBezTo>
                      <a:pt x="2" y="17"/>
                      <a:pt x="0" y="20"/>
                      <a:pt x="2" y="21"/>
                    </a:cubicBezTo>
                    <a:cubicBezTo>
                      <a:pt x="4" y="21"/>
                      <a:pt x="5" y="18"/>
                      <a:pt x="7" y="18"/>
                    </a:cubicBezTo>
                    <a:cubicBezTo>
                      <a:pt x="9" y="18"/>
                      <a:pt x="10" y="21"/>
                      <a:pt x="12" y="20"/>
                    </a:cubicBezTo>
                    <a:cubicBezTo>
                      <a:pt x="15" y="19"/>
                      <a:pt x="18" y="15"/>
                      <a:pt x="21" y="13"/>
                    </a:cubicBezTo>
                    <a:cubicBezTo>
                      <a:pt x="25" y="11"/>
                      <a:pt x="30" y="11"/>
                      <a:pt x="32" y="8"/>
                    </a:cubicBezTo>
                    <a:cubicBezTo>
                      <a:pt x="34" y="7"/>
                      <a:pt x="33" y="3"/>
                      <a:pt x="31" y="1"/>
                    </a:cubicBezTo>
                    <a:cubicBezTo>
                      <a:pt x="30" y="0"/>
                      <a:pt x="27" y="0"/>
                      <a:pt x="25" y="1"/>
                    </a:cubicBezTo>
                    <a:cubicBezTo>
                      <a:pt x="23" y="1"/>
                      <a:pt x="21" y="3"/>
                      <a:pt x="19" y="3"/>
                    </a:cubicBezTo>
                    <a:cubicBezTo>
                      <a:pt x="18" y="3"/>
                      <a:pt x="16" y="0"/>
                      <a:pt x="15" y="1"/>
                    </a:cubicBezTo>
                    <a:cubicBezTo>
                      <a:pt x="13" y="2"/>
                      <a:pt x="14" y="5"/>
                      <a:pt x="13" y="7"/>
                    </a:cubicBezTo>
                    <a:cubicBezTo>
                      <a:pt x="13" y="8"/>
                      <a:pt x="13" y="11"/>
                      <a:pt x="11" y="10"/>
                    </a:cubicBezTo>
                    <a:cubicBezTo>
                      <a:pt x="10" y="9"/>
                      <a:pt x="12" y="6"/>
                      <a:pt x="11" y="5"/>
                    </a:cubicBezTo>
                    <a:cubicBezTo>
                      <a:pt x="9" y="4"/>
                      <a:pt x="7" y="5"/>
                      <a:pt x="5" y="5"/>
                    </a:cubicBezTo>
                    <a:cubicBezTo>
                      <a:pt x="4" y="6"/>
                      <a:pt x="2" y="5"/>
                      <a:pt x="1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0" name="Freeform 3631"/>
              <p:cNvSpPr>
                <a:spLocks noChangeAspect="1"/>
              </p:cNvSpPr>
              <p:nvPr/>
            </p:nvSpPr>
            <p:spPr bwMode="auto">
              <a:xfrm>
                <a:off x="961551" y="2234653"/>
                <a:ext cx="31077" cy="17866"/>
              </a:xfrm>
              <a:custGeom>
                <a:avLst/>
                <a:gdLst>
                  <a:gd name="T0" fmla="*/ 12 w 16"/>
                  <a:gd name="T1" fmla="*/ 0 h 9"/>
                  <a:gd name="T2" fmla="*/ 1 w 16"/>
                  <a:gd name="T3" fmla="*/ 7 h 9"/>
                  <a:gd name="T4" fmla="*/ 6 w 16"/>
                  <a:gd name="T5" fmla="*/ 11 h 9"/>
                  <a:gd name="T6" fmla="*/ 18 w 16"/>
                  <a:gd name="T7" fmla="*/ 6 h 9"/>
                  <a:gd name="T8" fmla="*/ 13 w 16"/>
                  <a:gd name="T9" fmla="*/ 2 h 9"/>
                  <a:gd name="T10" fmla="*/ 12 w 16"/>
                  <a:gd name="T11" fmla="*/ 0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"/>
                  <a:gd name="T20" fmla="*/ 16 w 16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">
                    <a:moveTo>
                      <a:pt x="10" y="0"/>
                    </a:moveTo>
                    <a:cubicBezTo>
                      <a:pt x="7" y="2"/>
                      <a:pt x="3" y="3"/>
                      <a:pt x="1" y="6"/>
                    </a:cubicBezTo>
                    <a:cubicBezTo>
                      <a:pt x="0" y="7"/>
                      <a:pt x="3" y="9"/>
                      <a:pt x="5" y="9"/>
                    </a:cubicBezTo>
                    <a:cubicBezTo>
                      <a:pt x="8" y="9"/>
                      <a:pt x="13" y="8"/>
                      <a:pt x="15" y="5"/>
                    </a:cubicBezTo>
                    <a:cubicBezTo>
                      <a:pt x="16" y="4"/>
                      <a:pt x="12" y="3"/>
                      <a:pt x="11" y="2"/>
                    </a:cubicBezTo>
                    <a:cubicBezTo>
                      <a:pt x="10" y="2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1" name="Freeform 3632"/>
              <p:cNvSpPr>
                <a:spLocks noChangeAspect="1"/>
              </p:cNvSpPr>
              <p:nvPr/>
            </p:nvSpPr>
            <p:spPr bwMode="auto">
              <a:xfrm>
                <a:off x="652426" y="2351591"/>
                <a:ext cx="37619" cy="24362"/>
              </a:xfrm>
              <a:custGeom>
                <a:avLst/>
                <a:gdLst>
                  <a:gd name="T0" fmla="*/ 23 w 19"/>
                  <a:gd name="T1" fmla="*/ 0 h 12"/>
                  <a:gd name="T2" fmla="*/ 23 w 19"/>
                  <a:gd name="T3" fmla="*/ 8 h 12"/>
                  <a:gd name="T4" fmla="*/ 10 w 19"/>
                  <a:gd name="T5" fmla="*/ 10 h 12"/>
                  <a:gd name="T6" fmla="*/ 2 w 19"/>
                  <a:gd name="T7" fmla="*/ 15 h 12"/>
                  <a:gd name="T8" fmla="*/ 1 w 19"/>
                  <a:gd name="T9" fmla="*/ 11 h 12"/>
                  <a:gd name="T10" fmla="*/ 8 w 19"/>
                  <a:gd name="T11" fmla="*/ 4 h 12"/>
                  <a:gd name="T12" fmla="*/ 16 w 19"/>
                  <a:gd name="T13" fmla="*/ 3 h 12"/>
                  <a:gd name="T14" fmla="*/ 23 w 19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"/>
                  <a:gd name="T25" fmla="*/ 0 h 12"/>
                  <a:gd name="T26" fmla="*/ 19 w 19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" h="12">
                    <a:moveTo>
                      <a:pt x="19" y="0"/>
                    </a:moveTo>
                    <a:cubicBezTo>
                      <a:pt x="19" y="2"/>
                      <a:pt x="19" y="4"/>
                      <a:pt x="19" y="6"/>
                    </a:cubicBezTo>
                    <a:cubicBezTo>
                      <a:pt x="16" y="7"/>
                      <a:pt x="12" y="7"/>
                      <a:pt x="8" y="8"/>
                    </a:cubicBezTo>
                    <a:cubicBezTo>
                      <a:pt x="6" y="9"/>
                      <a:pt x="5" y="12"/>
                      <a:pt x="2" y="12"/>
                    </a:cubicBezTo>
                    <a:cubicBezTo>
                      <a:pt x="1" y="12"/>
                      <a:pt x="0" y="10"/>
                      <a:pt x="1" y="9"/>
                    </a:cubicBezTo>
                    <a:cubicBezTo>
                      <a:pt x="2" y="6"/>
                      <a:pt x="5" y="4"/>
                      <a:pt x="7" y="3"/>
                    </a:cubicBezTo>
                    <a:cubicBezTo>
                      <a:pt x="9" y="2"/>
                      <a:pt x="11" y="2"/>
                      <a:pt x="13" y="2"/>
                    </a:cubicBezTo>
                    <a:cubicBezTo>
                      <a:pt x="15" y="1"/>
                      <a:pt x="17" y="0"/>
                      <a:pt x="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2" name="Freeform 3633"/>
              <p:cNvSpPr>
                <a:spLocks noChangeAspect="1"/>
              </p:cNvSpPr>
              <p:nvPr/>
            </p:nvSpPr>
            <p:spPr bwMode="auto">
              <a:xfrm>
                <a:off x="573917" y="2384073"/>
                <a:ext cx="40890" cy="29234"/>
              </a:xfrm>
              <a:custGeom>
                <a:avLst/>
                <a:gdLst>
                  <a:gd name="T0" fmla="*/ 24 w 21"/>
                  <a:gd name="T1" fmla="*/ 7 h 15"/>
                  <a:gd name="T2" fmla="*/ 1 w 21"/>
                  <a:gd name="T3" fmla="*/ 17 h 15"/>
                  <a:gd name="T4" fmla="*/ 2 w 21"/>
                  <a:gd name="T5" fmla="*/ 13 h 15"/>
                  <a:gd name="T6" fmla="*/ 11 w 21"/>
                  <a:gd name="T7" fmla="*/ 10 h 15"/>
                  <a:gd name="T8" fmla="*/ 17 w 21"/>
                  <a:gd name="T9" fmla="*/ 6 h 15"/>
                  <a:gd name="T10" fmla="*/ 11 w 21"/>
                  <a:gd name="T11" fmla="*/ 2 h 15"/>
                  <a:gd name="T12" fmla="*/ 21 w 21"/>
                  <a:gd name="T13" fmla="*/ 1 h 15"/>
                  <a:gd name="T14" fmla="*/ 20 w 21"/>
                  <a:gd name="T15" fmla="*/ 6 h 15"/>
                  <a:gd name="T16" fmla="*/ 24 w 21"/>
                  <a:gd name="T17" fmla="*/ 7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15"/>
                  <a:gd name="T29" fmla="*/ 21 w 21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15">
                    <a:moveTo>
                      <a:pt x="20" y="6"/>
                    </a:moveTo>
                    <a:cubicBezTo>
                      <a:pt x="14" y="10"/>
                      <a:pt x="7" y="12"/>
                      <a:pt x="1" y="14"/>
                    </a:cubicBezTo>
                    <a:cubicBezTo>
                      <a:pt x="0" y="15"/>
                      <a:pt x="1" y="12"/>
                      <a:pt x="2" y="11"/>
                    </a:cubicBezTo>
                    <a:cubicBezTo>
                      <a:pt x="4" y="10"/>
                      <a:pt x="7" y="9"/>
                      <a:pt x="9" y="8"/>
                    </a:cubicBezTo>
                    <a:cubicBezTo>
                      <a:pt x="11" y="7"/>
                      <a:pt x="14" y="7"/>
                      <a:pt x="14" y="5"/>
                    </a:cubicBezTo>
                    <a:cubicBezTo>
                      <a:pt x="14" y="3"/>
                      <a:pt x="8" y="3"/>
                      <a:pt x="9" y="2"/>
                    </a:cubicBezTo>
                    <a:cubicBezTo>
                      <a:pt x="11" y="0"/>
                      <a:pt x="15" y="0"/>
                      <a:pt x="18" y="1"/>
                    </a:cubicBezTo>
                    <a:cubicBezTo>
                      <a:pt x="19" y="1"/>
                      <a:pt x="16" y="3"/>
                      <a:pt x="17" y="5"/>
                    </a:cubicBezTo>
                    <a:cubicBezTo>
                      <a:pt x="17" y="6"/>
                      <a:pt x="21" y="6"/>
                      <a:pt x="20" y="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3" name="Freeform 3634"/>
              <p:cNvSpPr>
                <a:spLocks noChangeAspect="1"/>
              </p:cNvSpPr>
              <p:nvPr/>
            </p:nvSpPr>
            <p:spPr bwMode="auto">
              <a:xfrm>
                <a:off x="541206" y="2395443"/>
                <a:ext cx="32712" cy="27611"/>
              </a:xfrm>
              <a:custGeom>
                <a:avLst/>
                <a:gdLst>
                  <a:gd name="T0" fmla="*/ 0 w 17"/>
                  <a:gd name="T1" fmla="*/ 17 h 14"/>
                  <a:gd name="T2" fmla="*/ 12 w 17"/>
                  <a:gd name="T3" fmla="*/ 9 h 14"/>
                  <a:gd name="T4" fmla="*/ 20 w 17"/>
                  <a:gd name="T5" fmla="*/ 2 h 14"/>
                  <a:gd name="T6" fmla="*/ 14 w 17"/>
                  <a:gd name="T7" fmla="*/ 1 h 14"/>
                  <a:gd name="T8" fmla="*/ 12 w 17"/>
                  <a:gd name="T9" fmla="*/ 9 h 14"/>
                  <a:gd name="T10" fmla="*/ 6 w 17"/>
                  <a:gd name="T11" fmla="*/ 9 h 14"/>
                  <a:gd name="T12" fmla="*/ 0 w 17"/>
                  <a:gd name="T13" fmla="*/ 17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14"/>
                  <a:gd name="T23" fmla="*/ 17 w 17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14">
                    <a:moveTo>
                      <a:pt x="0" y="14"/>
                    </a:moveTo>
                    <a:cubicBezTo>
                      <a:pt x="4" y="14"/>
                      <a:pt x="7" y="10"/>
                      <a:pt x="10" y="7"/>
                    </a:cubicBezTo>
                    <a:cubicBezTo>
                      <a:pt x="13" y="6"/>
                      <a:pt x="16" y="5"/>
                      <a:pt x="17" y="2"/>
                    </a:cubicBezTo>
                    <a:cubicBezTo>
                      <a:pt x="17" y="0"/>
                      <a:pt x="14" y="0"/>
                      <a:pt x="12" y="1"/>
                    </a:cubicBezTo>
                    <a:cubicBezTo>
                      <a:pt x="11" y="2"/>
                      <a:pt x="12" y="5"/>
                      <a:pt x="10" y="7"/>
                    </a:cubicBezTo>
                    <a:cubicBezTo>
                      <a:pt x="9" y="8"/>
                      <a:pt x="6" y="6"/>
                      <a:pt x="5" y="7"/>
                    </a:cubicBezTo>
                    <a:cubicBezTo>
                      <a:pt x="3" y="9"/>
                      <a:pt x="1" y="11"/>
                      <a:pt x="0" y="1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4" name="Freeform 3635"/>
              <p:cNvSpPr>
                <a:spLocks noChangeAspect="1"/>
              </p:cNvSpPr>
              <p:nvPr/>
            </p:nvSpPr>
            <p:spPr bwMode="auto">
              <a:xfrm>
                <a:off x="379282" y="2439294"/>
                <a:ext cx="37619" cy="19490"/>
              </a:xfrm>
              <a:custGeom>
                <a:avLst/>
                <a:gdLst>
                  <a:gd name="T0" fmla="*/ 21 w 19"/>
                  <a:gd name="T1" fmla="*/ 1 h 10"/>
                  <a:gd name="T2" fmla="*/ 22 w 19"/>
                  <a:gd name="T3" fmla="*/ 6 h 10"/>
                  <a:gd name="T4" fmla="*/ 13 w 19"/>
                  <a:gd name="T5" fmla="*/ 8 h 10"/>
                  <a:gd name="T6" fmla="*/ 2 w 19"/>
                  <a:gd name="T7" fmla="*/ 10 h 10"/>
                  <a:gd name="T8" fmla="*/ 18 w 19"/>
                  <a:gd name="T9" fmla="*/ 4 h 10"/>
                  <a:gd name="T10" fmla="*/ 21 w 19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10"/>
                  <a:gd name="T20" fmla="*/ 19 w 19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10">
                    <a:moveTo>
                      <a:pt x="17" y="1"/>
                    </a:moveTo>
                    <a:cubicBezTo>
                      <a:pt x="18" y="1"/>
                      <a:pt x="19" y="4"/>
                      <a:pt x="18" y="5"/>
                    </a:cubicBezTo>
                    <a:cubicBezTo>
                      <a:pt x="17" y="7"/>
                      <a:pt x="13" y="6"/>
                      <a:pt x="11" y="7"/>
                    </a:cubicBezTo>
                    <a:cubicBezTo>
                      <a:pt x="8" y="8"/>
                      <a:pt x="0" y="10"/>
                      <a:pt x="2" y="8"/>
                    </a:cubicBezTo>
                    <a:cubicBezTo>
                      <a:pt x="6" y="5"/>
                      <a:pt x="11" y="5"/>
                      <a:pt x="15" y="3"/>
                    </a:cubicBezTo>
                    <a:cubicBezTo>
                      <a:pt x="16" y="2"/>
                      <a:pt x="16" y="0"/>
                      <a:pt x="17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5" name="Freeform 3636"/>
              <p:cNvSpPr>
                <a:spLocks noChangeAspect="1"/>
              </p:cNvSpPr>
              <p:nvPr/>
            </p:nvSpPr>
            <p:spPr bwMode="auto">
              <a:xfrm>
                <a:off x="358020" y="2452287"/>
                <a:ext cx="11450" cy="11369"/>
              </a:xfrm>
              <a:custGeom>
                <a:avLst/>
                <a:gdLst>
                  <a:gd name="T0" fmla="*/ 4 w 6"/>
                  <a:gd name="T1" fmla="*/ 0 h 6"/>
                  <a:gd name="T2" fmla="*/ 1 w 6"/>
                  <a:gd name="T3" fmla="*/ 2 h 6"/>
                  <a:gd name="T4" fmla="*/ 4 w 6"/>
                  <a:gd name="T5" fmla="*/ 6 h 6"/>
                  <a:gd name="T6" fmla="*/ 7 w 6"/>
                  <a:gd name="T7" fmla="*/ 2 h 6"/>
                  <a:gd name="T8" fmla="*/ 4 w 6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6"/>
                  <a:gd name="T17" fmla="*/ 6 w 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6">
                    <a:moveTo>
                      <a:pt x="3" y="0"/>
                    </a:moveTo>
                    <a:cubicBezTo>
                      <a:pt x="2" y="0"/>
                      <a:pt x="0" y="1"/>
                      <a:pt x="1" y="2"/>
                    </a:cubicBezTo>
                    <a:cubicBezTo>
                      <a:pt x="1" y="4"/>
                      <a:pt x="2" y="6"/>
                      <a:pt x="3" y="5"/>
                    </a:cubicBezTo>
                    <a:cubicBezTo>
                      <a:pt x="5" y="5"/>
                      <a:pt x="6" y="3"/>
                      <a:pt x="6" y="2"/>
                    </a:cubicBezTo>
                    <a:cubicBezTo>
                      <a:pt x="6" y="0"/>
                      <a:pt x="4" y="0"/>
                      <a:pt x="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6" name="Freeform 3637"/>
              <p:cNvSpPr>
                <a:spLocks noChangeAspect="1"/>
              </p:cNvSpPr>
              <p:nvPr/>
            </p:nvSpPr>
            <p:spPr bwMode="auto">
              <a:xfrm>
                <a:off x="338393" y="2458783"/>
                <a:ext cx="19627" cy="16241"/>
              </a:xfrm>
              <a:custGeom>
                <a:avLst/>
                <a:gdLst>
                  <a:gd name="T0" fmla="*/ 6 w 10"/>
                  <a:gd name="T1" fmla="*/ 1 h 8"/>
                  <a:gd name="T2" fmla="*/ 6 w 10"/>
                  <a:gd name="T3" fmla="*/ 4 h 8"/>
                  <a:gd name="T4" fmla="*/ 1 w 10"/>
                  <a:gd name="T5" fmla="*/ 7 h 8"/>
                  <a:gd name="T6" fmla="*/ 8 w 10"/>
                  <a:gd name="T7" fmla="*/ 6 h 8"/>
                  <a:gd name="T8" fmla="*/ 11 w 10"/>
                  <a:gd name="T9" fmla="*/ 1 h 8"/>
                  <a:gd name="T10" fmla="*/ 6 w 10"/>
                  <a:gd name="T11" fmla="*/ 1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8"/>
                  <a:gd name="T20" fmla="*/ 10 w 10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8">
                    <a:moveTo>
                      <a:pt x="5" y="1"/>
                    </a:moveTo>
                    <a:cubicBezTo>
                      <a:pt x="4" y="1"/>
                      <a:pt x="5" y="2"/>
                      <a:pt x="5" y="3"/>
                    </a:cubicBezTo>
                    <a:cubicBezTo>
                      <a:pt x="4" y="4"/>
                      <a:pt x="0" y="5"/>
                      <a:pt x="1" y="6"/>
                    </a:cubicBezTo>
                    <a:cubicBezTo>
                      <a:pt x="2" y="8"/>
                      <a:pt x="5" y="6"/>
                      <a:pt x="7" y="5"/>
                    </a:cubicBezTo>
                    <a:cubicBezTo>
                      <a:pt x="8" y="5"/>
                      <a:pt x="10" y="3"/>
                      <a:pt x="9" y="1"/>
                    </a:cubicBezTo>
                    <a:cubicBezTo>
                      <a:pt x="8" y="0"/>
                      <a:pt x="6" y="0"/>
                      <a:pt x="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7" name="Freeform 3638"/>
              <p:cNvSpPr>
                <a:spLocks noChangeAspect="1"/>
              </p:cNvSpPr>
              <p:nvPr/>
            </p:nvSpPr>
            <p:spPr bwMode="auto">
              <a:xfrm>
                <a:off x="310587" y="2458783"/>
                <a:ext cx="14721" cy="14618"/>
              </a:xfrm>
              <a:custGeom>
                <a:avLst/>
                <a:gdLst>
                  <a:gd name="T0" fmla="*/ 6 w 7"/>
                  <a:gd name="T1" fmla="*/ 0 h 7"/>
                  <a:gd name="T2" fmla="*/ 8 w 7"/>
                  <a:gd name="T3" fmla="*/ 4 h 7"/>
                  <a:gd name="T4" fmla="*/ 3 w 7"/>
                  <a:gd name="T5" fmla="*/ 8 h 7"/>
                  <a:gd name="T6" fmla="*/ 0 w 7"/>
                  <a:gd name="T7" fmla="*/ 6 h 7"/>
                  <a:gd name="T8" fmla="*/ 3 w 7"/>
                  <a:gd name="T9" fmla="*/ 3 h 7"/>
                  <a:gd name="T10" fmla="*/ 3 w 7"/>
                  <a:gd name="T11" fmla="*/ 1 h 7"/>
                  <a:gd name="T12" fmla="*/ 6 w 7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"/>
                  <a:gd name="T22" fmla="*/ 0 h 7"/>
                  <a:gd name="T23" fmla="*/ 7 w 7"/>
                  <a:gd name="T24" fmla="*/ 7 h 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" h="7">
                    <a:moveTo>
                      <a:pt x="5" y="0"/>
                    </a:moveTo>
                    <a:cubicBezTo>
                      <a:pt x="6" y="1"/>
                      <a:pt x="7" y="2"/>
                      <a:pt x="6" y="3"/>
                    </a:cubicBezTo>
                    <a:cubicBezTo>
                      <a:pt x="6" y="5"/>
                      <a:pt x="4" y="6"/>
                      <a:pt x="2" y="6"/>
                    </a:cubicBezTo>
                    <a:cubicBezTo>
                      <a:pt x="1" y="7"/>
                      <a:pt x="0" y="6"/>
                      <a:pt x="0" y="5"/>
                    </a:cubicBezTo>
                    <a:cubicBezTo>
                      <a:pt x="0" y="4"/>
                      <a:pt x="2" y="3"/>
                      <a:pt x="2" y="2"/>
                    </a:cubicBezTo>
                    <a:cubicBezTo>
                      <a:pt x="2" y="2"/>
                      <a:pt x="2" y="1"/>
                      <a:pt x="2" y="1"/>
                    </a:cubicBezTo>
                    <a:cubicBezTo>
                      <a:pt x="3" y="0"/>
                      <a:pt x="4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8" name="Freeform 3639"/>
              <p:cNvSpPr>
                <a:spLocks noChangeAspect="1"/>
              </p:cNvSpPr>
              <p:nvPr/>
            </p:nvSpPr>
            <p:spPr bwMode="auto">
              <a:xfrm>
                <a:off x="223901" y="2462032"/>
                <a:ext cx="17992" cy="14618"/>
              </a:xfrm>
              <a:custGeom>
                <a:avLst/>
                <a:gdLst>
                  <a:gd name="T0" fmla="*/ 2 w 9"/>
                  <a:gd name="T1" fmla="*/ 0 h 8"/>
                  <a:gd name="T2" fmla="*/ 11 w 9"/>
                  <a:gd name="T3" fmla="*/ 8 h 8"/>
                  <a:gd name="T4" fmla="*/ 9 w 9"/>
                  <a:gd name="T5" fmla="*/ 8 h 8"/>
                  <a:gd name="T6" fmla="*/ 0 w 9"/>
                  <a:gd name="T7" fmla="*/ 1 h 8"/>
                  <a:gd name="T8" fmla="*/ 2 w 9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8"/>
                  <a:gd name="T17" fmla="*/ 9 w 9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8">
                    <a:moveTo>
                      <a:pt x="2" y="0"/>
                    </a:moveTo>
                    <a:cubicBezTo>
                      <a:pt x="5" y="2"/>
                      <a:pt x="7" y="4"/>
                      <a:pt x="9" y="7"/>
                    </a:cubicBezTo>
                    <a:cubicBezTo>
                      <a:pt x="9" y="7"/>
                      <a:pt x="7" y="8"/>
                      <a:pt x="7" y="7"/>
                    </a:cubicBezTo>
                    <a:cubicBezTo>
                      <a:pt x="4" y="6"/>
                      <a:pt x="2" y="4"/>
                      <a:pt x="0" y="1"/>
                    </a:cubicBezTo>
                    <a:cubicBezTo>
                      <a:pt x="0" y="1"/>
                      <a:pt x="1" y="0"/>
                      <a:pt x="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29" name="Freeform 3640"/>
              <p:cNvSpPr>
                <a:spLocks noChangeAspect="1"/>
              </p:cNvSpPr>
              <p:nvPr/>
            </p:nvSpPr>
            <p:spPr bwMode="auto">
              <a:xfrm>
                <a:off x="189554" y="2447415"/>
                <a:ext cx="22898" cy="11369"/>
              </a:xfrm>
              <a:custGeom>
                <a:avLst/>
                <a:gdLst>
                  <a:gd name="T0" fmla="*/ 12 w 12"/>
                  <a:gd name="T1" fmla="*/ 4 h 6"/>
                  <a:gd name="T2" fmla="*/ 13 w 12"/>
                  <a:gd name="T3" fmla="*/ 1 h 6"/>
                  <a:gd name="T4" fmla="*/ 7 w 12"/>
                  <a:gd name="T5" fmla="*/ 2 h 6"/>
                  <a:gd name="T6" fmla="*/ 2 w 12"/>
                  <a:gd name="T7" fmla="*/ 6 h 6"/>
                  <a:gd name="T8" fmla="*/ 12 w 12"/>
                  <a:gd name="T9" fmla="*/ 4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6"/>
                  <a:gd name="T17" fmla="*/ 12 w 1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6">
                    <a:moveTo>
                      <a:pt x="10" y="3"/>
                    </a:moveTo>
                    <a:cubicBezTo>
                      <a:pt x="11" y="3"/>
                      <a:pt x="12" y="1"/>
                      <a:pt x="11" y="1"/>
                    </a:cubicBezTo>
                    <a:cubicBezTo>
                      <a:pt x="9" y="0"/>
                      <a:pt x="8" y="1"/>
                      <a:pt x="6" y="2"/>
                    </a:cubicBezTo>
                    <a:cubicBezTo>
                      <a:pt x="5" y="3"/>
                      <a:pt x="0" y="5"/>
                      <a:pt x="2" y="5"/>
                    </a:cubicBezTo>
                    <a:cubicBezTo>
                      <a:pt x="5" y="6"/>
                      <a:pt x="8" y="4"/>
                      <a:pt x="10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0" name="Freeform 3641"/>
              <p:cNvSpPr>
                <a:spLocks noChangeAspect="1"/>
              </p:cNvSpPr>
              <p:nvPr/>
            </p:nvSpPr>
            <p:spPr bwMode="auto">
              <a:xfrm>
                <a:off x="667145" y="2156695"/>
                <a:ext cx="39254" cy="27611"/>
              </a:xfrm>
              <a:custGeom>
                <a:avLst/>
                <a:gdLst>
                  <a:gd name="T0" fmla="*/ 1 w 20"/>
                  <a:gd name="T1" fmla="*/ 5 h 14"/>
                  <a:gd name="T2" fmla="*/ 1 w 20"/>
                  <a:gd name="T3" fmla="*/ 10 h 14"/>
                  <a:gd name="T4" fmla="*/ 12 w 20"/>
                  <a:gd name="T5" fmla="*/ 17 h 14"/>
                  <a:gd name="T6" fmla="*/ 17 w 20"/>
                  <a:gd name="T7" fmla="*/ 13 h 14"/>
                  <a:gd name="T8" fmla="*/ 20 w 20"/>
                  <a:gd name="T9" fmla="*/ 13 h 14"/>
                  <a:gd name="T10" fmla="*/ 24 w 20"/>
                  <a:gd name="T11" fmla="*/ 2 h 14"/>
                  <a:gd name="T12" fmla="*/ 20 w 20"/>
                  <a:gd name="T13" fmla="*/ 1 h 14"/>
                  <a:gd name="T14" fmla="*/ 11 w 20"/>
                  <a:gd name="T15" fmla="*/ 6 h 14"/>
                  <a:gd name="T16" fmla="*/ 1 w 20"/>
                  <a:gd name="T17" fmla="*/ 5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"/>
                  <a:gd name="T28" fmla="*/ 0 h 14"/>
                  <a:gd name="T29" fmla="*/ 20 w 20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" h="14">
                    <a:moveTo>
                      <a:pt x="1" y="4"/>
                    </a:moveTo>
                    <a:cubicBezTo>
                      <a:pt x="0" y="4"/>
                      <a:pt x="1" y="7"/>
                      <a:pt x="1" y="8"/>
                    </a:cubicBezTo>
                    <a:cubicBezTo>
                      <a:pt x="4" y="10"/>
                      <a:pt x="6" y="13"/>
                      <a:pt x="10" y="14"/>
                    </a:cubicBezTo>
                    <a:cubicBezTo>
                      <a:pt x="11" y="14"/>
                      <a:pt x="13" y="12"/>
                      <a:pt x="14" y="11"/>
                    </a:cubicBezTo>
                    <a:cubicBezTo>
                      <a:pt x="15" y="11"/>
                      <a:pt x="17" y="12"/>
                      <a:pt x="17" y="11"/>
                    </a:cubicBezTo>
                    <a:cubicBezTo>
                      <a:pt x="19" y="8"/>
                      <a:pt x="20" y="5"/>
                      <a:pt x="20" y="2"/>
                    </a:cubicBezTo>
                    <a:cubicBezTo>
                      <a:pt x="20" y="1"/>
                      <a:pt x="18" y="0"/>
                      <a:pt x="17" y="1"/>
                    </a:cubicBezTo>
                    <a:cubicBezTo>
                      <a:pt x="14" y="1"/>
                      <a:pt x="12" y="4"/>
                      <a:pt x="9" y="5"/>
                    </a:cubicBezTo>
                    <a:cubicBezTo>
                      <a:pt x="6" y="5"/>
                      <a:pt x="4" y="3"/>
                      <a:pt x="1" y="4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1" name="Freeform 3642"/>
              <p:cNvSpPr>
                <a:spLocks noChangeAspect="1"/>
              </p:cNvSpPr>
              <p:nvPr/>
            </p:nvSpPr>
            <p:spPr bwMode="auto">
              <a:xfrm>
                <a:off x="524850" y="3399156"/>
                <a:ext cx="17992" cy="16241"/>
              </a:xfrm>
              <a:custGeom>
                <a:avLst/>
                <a:gdLst>
                  <a:gd name="T0" fmla="*/ 1 w 9"/>
                  <a:gd name="T1" fmla="*/ 1 h 8"/>
                  <a:gd name="T2" fmla="*/ 1 w 9"/>
                  <a:gd name="T3" fmla="*/ 7 h 8"/>
                  <a:gd name="T4" fmla="*/ 7 w 9"/>
                  <a:gd name="T5" fmla="*/ 9 h 8"/>
                  <a:gd name="T6" fmla="*/ 9 w 9"/>
                  <a:gd name="T7" fmla="*/ 3 h 8"/>
                  <a:gd name="T8" fmla="*/ 1 w 9"/>
                  <a:gd name="T9" fmla="*/ 1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8"/>
                  <a:gd name="T17" fmla="*/ 9 w 9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8">
                    <a:moveTo>
                      <a:pt x="1" y="1"/>
                    </a:moveTo>
                    <a:cubicBezTo>
                      <a:pt x="0" y="2"/>
                      <a:pt x="0" y="5"/>
                      <a:pt x="1" y="6"/>
                    </a:cubicBezTo>
                    <a:cubicBezTo>
                      <a:pt x="2" y="7"/>
                      <a:pt x="5" y="8"/>
                      <a:pt x="6" y="7"/>
                    </a:cubicBezTo>
                    <a:cubicBezTo>
                      <a:pt x="8" y="6"/>
                      <a:pt x="9" y="3"/>
                      <a:pt x="7" y="2"/>
                    </a:cubicBezTo>
                    <a:cubicBezTo>
                      <a:pt x="6" y="0"/>
                      <a:pt x="3" y="0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2" name="Freeform 3643"/>
              <p:cNvSpPr>
                <a:spLocks noChangeAspect="1"/>
              </p:cNvSpPr>
              <p:nvPr/>
            </p:nvSpPr>
            <p:spPr bwMode="auto">
              <a:xfrm>
                <a:off x="560833" y="3415397"/>
                <a:ext cx="19627" cy="12993"/>
              </a:xfrm>
              <a:custGeom>
                <a:avLst/>
                <a:gdLst>
                  <a:gd name="T0" fmla="*/ 1 w 10"/>
                  <a:gd name="T1" fmla="*/ 2 h 7"/>
                  <a:gd name="T2" fmla="*/ 7 w 10"/>
                  <a:gd name="T3" fmla="*/ 0 h 7"/>
                  <a:gd name="T4" fmla="*/ 12 w 10"/>
                  <a:gd name="T5" fmla="*/ 7 h 7"/>
                  <a:gd name="T6" fmla="*/ 6 w 10"/>
                  <a:gd name="T7" fmla="*/ 7 h 7"/>
                  <a:gd name="T8" fmla="*/ 1 w 10"/>
                  <a:gd name="T9" fmla="*/ 2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7"/>
                  <a:gd name="T17" fmla="*/ 10 w 10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7">
                    <a:moveTo>
                      <a:pt x="1" y="2"/>
                    </a:moveTo>
                    <a:cubicBezTo>
                      <a:pt x="1" y="0"/>
                      <a:pt x="4" y="0"/>
                      <a:pt x="6" y="0"/>
                    </a:cubicBezTo>
                    <a:cubicBezTo>
                      <a:pt x="8" y="1"/>
                      <a:pt x="10" y="4"/>
                      <a:pt x="10" y="6"/>
                    </a:cubicBezTo>
                    <a:cubicBezTo>
                      <a:pt x="10" y="7"/>
                      <a:pt x="7" y="6"/>
                      <a:pt x="5" y="6"/>
                    </a:cubicBezTo>
                    <a:cubicBezTo>
                      <a:pt x="3" y="5"/>
                      <a:pt x="0" y="4"/>
                      <a:pt x="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3" name="Freeform 3644"/>
              <p:cNvSpPr>
                <a:spLocks noChangeAspect="1"/>
              </p:cNvSpPr>
              <p:nvPr/>
            </p:nvSpPr>
            <p:spPr bwMode="auto">
              <a:xfrm>
                <a:off x="596816" y="3436510"/>
                <a:ext cx="17992" cy="12993"/>
              </a:xfrm>
              <a:custGeom>
                <a:avLst/>
                <a:gdLst>
                  <a:gd name="T0" fmla="*/ 1 w 9"/>
                  <a:gd name="T1" fmla="*/ 1 h 7"/>
                  <a:gd name="T2" fmla="*/ 7 w 9"/>
                  <a:gd name="T3" fmla="*/ 2 h 7"/>
                  <a:gd name="T4" fmla="*/ 11 w 9"/>
                  <a:gd name="T5" fmla="*/ 7 h 7"/>
                  <a:gd name="T6" fmla="*/ 4 w 9"/>
                  <a:gd name="T7" fmla="*/ 8 h 7"/>
                  <a:gd name="T8" fmla="*/ 1 w 9"/>
                  <a:gd name="T9" fmla="*/ 5 h 7"/>
                  <a:gd name="T10" fmla="*/ 1 w 9"/>
                  <a:gd name="T11" fmla="*/ 1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7"/>
                  <a:gd name="T20" fmla="*/ 9 w 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7">
                    <a:moveTo>
                      <a:pt x="1" y="1"/>
                    </a:moveTo>
                    <a:cubicBezTo>
                      <a:pt x="3" y="0"/>
                      <a:pt x="4" y="1"/>
                      <a:pt x="6" y="2"/>
                    </a:cubicBezTo>
                    <a:cubicBezTo>
                      <a:pt x="7" y="3"/>
                      <a:pt x="9" y="4"/>
                      <a:pt x="9" y="6"/>
                    </a:cubicBezTo>
                    <a:cubicBezTo>
                      <a:pt x="8" y="7"/>
                      <a:pt x="5" y="7"/>
                      <a:pt x="3" y="7"/>
                    </a:cubicBezTo>
                    <a:cubicBezTo>
                      <a:pt x="2" y="6"/>
                      <a:pt x="2" y="5"/>
                      <a:pt x="1" y="4"/>
                    </a:cubicBezTo>
                    <a:cubicBezTo>
                      <a:pt x="1" y="3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4" name="Freeform 3645"/>
              <p:cNvSpPr>
                <a:spLocks noChangeAspect="1"/>
              </p:cNvSpPr>
              <p:nvPr/>
            </p:nvSpPr>
            <p:spPr bwMode="auto">
              <a:xfrm>
                <a:off x="606629" y="3460873"/>
                <a:ext cx="34348" cy="37356"/>
              </a:xfrm>
              <a:custGeom>
                <a:avLst/>
                <a:gdLst>
                  <a:gd name="T0" fmla="*/ 5 w 17"/>
                  <a:gd name="T1" fmla="*/ 0 h 19"/>
                  <a:gd name="T2" fmla="*/ 6 w 17"/>
                  <a:gd name="T3" fmla="*/ 4 h 19"/>
                  <a:gd name="T4" fmla="*/ 0 w 17"/>
                  <a:gd name="T5" fmla="*/ 10 h 19"/>
                  <a:gd name="T6" fmla="*/ 4 w 17"/>
                  <a:gd name="T7" fmla="*/ 16 h 19"/>
                  <a:gd name="T8" fmla="*/ 4 w 17"/>
                  <a:gd name="T9" fmla="*/ 23 h 19"/>
                  <a:gd name="T10" fmla="*/ 14 w 17"/>
                  <a:gd name="T11" fmla="*/ 17 h 19"/>
                  <a:gd name="T12" fmla="*/ 20 w 17"/>
                  <a:gd name="T13" fmla="*/ 12 h 19"/>
                  <a:gd name="T14" fmla="*/ 17 w 17"/>
                  <a:gd name="T15" fmla="*/ 8 h 19"/>
                  <a:gd name="T16" fmla="*/ 16 w 17"/>
                  <a:gd name="T17" fmla="*/ 5 h 19"/>
                  <a:gd name="T18" fmla="*/ 5 w 17"/>
                  <a:gd name="T19" fmla="*/ 0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7"/>
                  <a:gd name="T31" fmla="*/ 0 h 19"/>
                  <a:gd name="T32" fmla="*/ 17 w 17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7" h="19">
                    <a:moveTo>
                      <a:pt x="4" y="0"/>
                    </a:moveTo>
                    <a:cubicBezTo>
                      <a:pt x="3" y="0"/>
                      <a:pt x="5" y="2"/>
                      <a:pt x="5" y="3"/>
                    </a:cubicBezTo>
                    <a:cubicBezTo>
                      <a:pt x="4" y="5"/>
                      <a:pt x="1" y="6"/>
                      <a:pt x="0" y="8"/>
                    </a:cubicBezTo>
                    <a:cubicBezTo>
                      <a:pt x="0" y="10"/>
                      <a:pt x="2" y="11"/>
                      <a:pt x="3" y="13"/>
                    </a:cubicBezTo>
                    <a:cubicBezTo>
                      <a:pt x="3" y="15"/>
                      <a:pt x="2" y="19"/>
                      <a:pt x="3" y="19"/>
                    </a:cubicBezTo>
                    <a:cubicBezTo>
                      <a:pt x="6" y="19"/>
                      <a:pt x="8" y="16"/>
                      <a:pt x="11" y="14"/>
                    </a:cubicBezTo>
                    <a:cubicBezTo>
                      <a:pt x="13" y="13"/>
                      <a:pt x="15" y="12"/>
                      <a:pt x="16" y="10"/>
                    </a:cubicBezTo>
                    <a:cubicBezTo>
                      <a:pt x="17" y="9"/>
                      <a:pt x="15" y="8"/>
                      <a:pt x="14" y="7"/>
                    </a:cubicBezTo>
                    <a:cubicBezTo>
                      <a:pt x="14" y="6"/>
                      <a:pt x="14" y="4"/>
                      <a:pt x="13" y="4"/>
                    </a:cubicBezTo>
                    <a:cubicBezTo>
                      <a:pt x="10" y="2"/>
                      <a:pt x="8" y="0"/>
                      <a:pt x="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5" name="Freeform 3646"/>
              <p:cNvSpPr>
                <a:spLocks noChangeAspect="1"/>
              </p:cNvSpPr>
              <p:nvPr/>
            </p:nvSpPr>
            <p:spPr bwMode="auto">
              <a:xfrm>
                <a:off x="3045290" y="5580364"/>
                <a:ext cx="39254" cy="30859"/>
              </a:xfrm>
              <a:custGeom>
                <a:avLst/>
                <a:gdLst>
                  <a:gd name="T0" fmla="*/ 7 w 20"/>
                  <a:gd name="T1" fmla="*/ 18 h 16"/>
                  <a:gd name="T2" fmla="*/ 23 w 20"/>
                  <a:gd name="T3" fmla="*/ 2 h 16"/>
                  <a:gd name="T4" fmla="*/ 20 w 20"/>
                  <a:gd name="T5" fmla="*/ 0 h 16"/>
                  <a:gd name="T6" fmla="*/ 13 w 20"/>
                  <a:gd name="T7" fmla="*/ 2 h 16"/>
                  <a:gd name="T8" fmla="*/ 7 w 20"/>
                  <a:gd name="T9" fmla="*/ 1 h 16"/>
                  <a:gd name="T10" fmla="*/ 7 w 20"/>
                  <a:gd name="T11" fmla="*/ 4 h 16"/>
                  <a:gd name="T12" fmla="*/ 5 w 20"/>
                  <a:gd name="T13" fmla="*/ 6 h 16"/>
                  <a:gd name="T14" fmla="*/ 11 w 20"/>
                  <a:gd name="T15" fmla="*/ 7 h 16"/>
                  <a:gd name="T16" fmla="*/ 6 w 20"/>
                  <a:gd name="T17" fmla="*/ 12 h 16"/>
                  <a:gd name="T18" fmla="*/ 0 w 20"/>
                  <a:gd name="T19" fmla="*/ 15 h 16"/>
                  <a:gd name="T20" fmla="*/ 7 w 20"/>
                  <a:gd name="T21" fmla="*/ 18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"/>
                  <a:gd name="T34" fmla="*/ 0 h 16"/>
                  <a:gd name="T35" fmla="*/ 20 w 20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" h="16">
                    <a:moveTo>
                      <a:pt x="6" y="15"/>
                    </a:moveTo>
                    <a:cubicBezTo>
                      <a:pt x="11" y="12"/>
                      <a:pt x="15" y="7"/>
                      <a:pt x="19" y="2"/>
                    </a:cubicBezTo>
                    <a:cubicBezTo>
                      <a:pt x="20" y="1"/>
                      <a:pt x="18" y="0"/>
                      <a:pt x="17" y="0"/>
                    </a:cubicBezTo>
                    <a:cubicBezTo>
                      <a:pt x="15" y="0"/>
                      <a:pt x="13" y="2"/>
                      <a:pt x="11" y="2"/>
                    </a:cubicBezTo>
                    <a:cubicBezTo>
                      <a:pt x="9" y="2"/>
                      <a:pt x="8" y="1"/>
                      <a:pt x="6" y="1"/>
                    </a:cubicBezTo>
                    <a:cubicBezTo>
                      <a:pt x="6" y="1"/>
                      <a:pt x="7" y="3"/>
                      <a:pt x="6" y="3"/>
                    </a:cubicBezTo>
                    <a:cubicBezTo>
                      <a:pt x="6" y="4"/>
                      <a:pt x="4" y="4"/>
                      <a:pt x="4" y="5"/>
                    </a:cubicBezTo>
                    <a:cubicBezTo>
                      <a:pt x="6" y="6"/>
                      <a:pt x="9" y="4"/>
                      <a:pt x="9" y="6"/>
                    </a:cubicBezTo>
                    <a:cubicBezTo>
                      <a:pt x="10" y="8"/>
                      <a:pt x="6" y="9"/>
                      <a:pt x="5" y="10"/>
                    </a:cubicBezTo>
                    <a:cubicBezTo>
                      <a:pt x="3" y="11"/>
                      <a:pt x="0" y="11"/>
                      <a:pt x="0" y="13"/>
                    </a:cubicBezTo>
                    <a:cubicBezTo>
                      <a:pt x="1" y="15"/>
                      <a:pt x="4" y="16"/>
                      <a:pt x="6" y="15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6" name="Freeform 3647"/>
              <p:cNvSpPr>
                <a:spLocks noChangeAspect="1"/>
              </p:cNvSpPr>
              <p:nvPr/>
            </p:nvSpPr>
            <p:spPr bwMode="auto">
              <a:xfrm>
                <a:off x="3076367" y="5580364"/>
                <a:ext cx="45796" cy="34107"/>
              </a:xfrm>
              <a:custGeom>
                <a:avLst/>
                <a:gdLst>
                  <a:gd name="T0" fmla="*/ 1 w 23"/>
                  <a:gd name="T1" fmla="*/ 11 h 17"/>
                  <a:gd name="T2" fmla="*/ 22 w 23"/>
                  <a:gd name="T3" fmla="*/ 1 h 17"/>
                  <a:gd name="T4" fmla="*/ 28 w 23"/>
                  <a:gd name="T5" fmla="*/ 5 h 17"/>
                  <a:gd name="T6" fmla="*/ 23 w 23"/>
                  <a:gd name="T7" fmla="*/ 9 h 17"/>
                  <a:gd name="T8" fmla="*/ 18 w 23"/>
                  <a:gd name="T9" fmla="*/ 10 h 17"/>
                  <a:gd name="T10" fmla="*/ 12 w 23"/>
                  <a:gd name="T11" fmla="*/ 14 h 17"/>
                  <a:gd name="T12" fmla="*/ 7 w 23"/>
                  <a:gd name="T13" fmla="*/ 15 h 17"/>
                  <a:gd name="T14" fmla="*/ 7 w 23"/>
                  <a:gd name="T15" fmla="*/ 19 h 17"/>
                  <a:gd name="T16" fmla="*/ 1 w 23"/>
                  <a:gd name="T17" fmla="*/ 20 h 17"/>
                  <a:gd name="T18" fmla="*/ 1 w 23"/>
                  <a:gd name="T19" fmla="*/ 11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3"/>
                  <a:gd name="T31" fmla="*/ 0 h 17"/>
                  <a:gd name="T32" fmla="*/ 23 w 23"/>
                  <a:gd name="T33" fmla="*/ 17 h 1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3" h="17">
                    <a:moveTo>
                      <a:pt x="1" y="9"/>
                    </a:moveTo>
                    <a:cubicBezTo>
                      <a:pt x="6" y="5"/>
                      <a:pt x="12" y="2"/>
                      <a:pt x="18" y="1"/>
                    </a:cubicBezTo>
                    <a:cubicBezTo>
                      <a:pt x="20" y="0"/>
                      <a:pt x="22" y="2"/>
                      <a:pt x="23" y="4"/>
                    </a:cubicBezTo>
                    <a:cubicBezTo>
                      <a:pt x="23" y="6"/>
                      <a:pt x="21" y="6"/>
                      <a:pt x="19" y="7"/>
                    </a:cubicBezTo>
                    <a:cubicBezTo>
                      <a:pt x="18" y="7"/>
                      <a:pt x="16" y="7"/>
                      <a:pt x="15" y="8"/>
                    </a:cubicBezTo>
                    <a:cubicBezTo>
                      <a:pt x="13" y="9"/>
                      <a:pt x="12" y="10"/>
                      <a:pt x="10" y="11"/>
                    </a:cubicBezTo>
                    <a:cubicBezTo>
                      <a:pt x="9" y="12"/>
                      <a:pt x="7" y="11"/>
                      <a:pt x="6" y="12"/>
                    </a:cubicBezTo>
                    <a:cubicBezTo>
                      <a:pt x="5" y="12"/>
                      <a:pt x="6" y="14"/>
                      <a:pt x="6" y="15"/>
                    </a:cubicBezTo>
                    <a:cubicBezTo>
                      <a:pt x="4" y="15"/>
                      <a:pt x="2" y="17"/>
                      <a:pt x="1" y="16"/>
                    </a:cubicBezTo>
                    <a:cubicBezTo>
                      <a:pt x="0" y="14"/>
                      <a:pt x="0" y="10"/>
                      <a:pt x="1" y="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7" name="Freeform 3648"/>
              <p:cNvSpPr>
                <a:spLocks noChangeAspect="1"/>
              </p:cNvSpPr>
              <p:nvPr/>
            </p:nvSpPr>
            <p:spPr bwMode="auto">
              <a:xfrm>
                <a:off x="3585034" y="5672940"/>
                <a:ext cx="52339" cy="34107"/>
              </a:xfrm>
              <a:custGeom>
                <a:avLst/>
                <a:gdLst>
                  <a:gd name="T0" fmla="*/ 32 w 26"/>
                  <a:gd name="T1" fmla="*/ 19 h 18"/>
                  <a:gd name="T2" fmla="*/ 27 w 26"/>
                  <a:gd name="T3" fmla="*/ 11 h 18"/>
                  <a:gd name="T4" fmla="*/ 18 w 26"/>
                  <a:gd name="T5" fmla="*/ 2 h 18"/>
                  <a:gd name="T6" fmla="*/ 7 w 26"/>
                  <a:gd name="T7" fmla="*/ 0 h 18"/>
                  <a:gd name="T8" fmla="*/ 0 w 26"/>
                  <a:gd name="T9" fmla="*/ 0 h 18"/>
                  <a:gd name="T10" fmla="*/ 10 w 26"/>
                  <a:gd name="T11" fmla="*/ 5 h 18"/>
                  <a:gd name="T12" fmla="*/ 23 w 26"/>
                  <a:gd name="T13" fmla="*/ 15 h 18"/>
                  <a:gd name="T14" fmla="*/ 30 w 26"/>
                  <a:gd name="T15" fmla="*/ 21 h 18"/>
                  <a:gd name="T16" fmla="*/ 32 w 26"/>
                  <a:gd name="T17" fmla="*/ 19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"/>
                  <a:gd name="T28" fmla="*/ 0 h 18"/>
                  <a:gd name="T29" fmla="*/ 26 w 26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" h="18">
                    <a:moveTo>
                      <a:pt x="26" y="16"/>
                    </a:moveTo>
                    <a:cubicBezTo>
                      <a:pt x="25" y="13"/>
                      <a:pt x="24" y="11"/>
                      <a:pt x="22" y="9"/>
                    </a:cubicBezTo>
                    <a:cubicBezTo>
                      <a:pt x="20" y="6"/>
                      <a:pt x="18" y="4"/>
                      <a:pt x="15" y="2"/>
                    </a:cubicBezTo>
                    <a:cubicBezTo>
                      <a:pt x="12" y="1"/>
                      <a:pt x="9" y="1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ubicBezTo>
                      <a:pt x="3" y="2"/>
                      <a:pt x="5" y="2"/>
                      <a:pt x="8" y="4"/>
                    </a:cubicBezTo>
                    <a:cubicBezTo>
                      <a:pt x="12" y="7"/>
                      <a:pt x="16" y="10"/>
                      <a:pt x="19" y="13"/>
                    </a:cubicBezTo>
                    <a:cubicBezTo>
                      <a:pt x="21" y="14"/>
                      <a:pt x="23" y="16"/>
                      <a:pt x="24" y="18"/>
                    </a:cubicBezTo>
                    <a:cubicBezTo>
                      <a:pt x="25" y="17"/>
                      <a:pt x="26" y="17"/>
                      <a:pt x="2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8" name="Freeform 3649"/>
              <p:cNvSpPr>
                <a:spLocks noChangeAspect="1"/>
              </p:cNvSpPr>
              <p:nvPr/>
            </p:nvSpPr>
            <p:spPr bwMode="auto">
              <a:xfrm>
                <a:off x="7139168" y="3917253"/>
                <a:ext cx="19627" cy="17866"/>
              </a:xfrm>
              <a:custGeom>
                <a:avLst/>
                <a:gdLst>
                  <a:gd name="T0" fmla="*/ 1 w 10"/>
                  <a:gd name="T1" fmla="*/ 4 h 9"/>
                  <a:gd name="T2" fmla="*/ 7 w 10"/>
                  <a:gd name="T3" fmla="*/ 1 h 9"/>
                  <a:gd name="T4" fmla="*/ 11 w 10"/>
                  <a:gd name="T5" fmla="*/ 9 h 9"/>
                  <a:gd name="T6" fmla="*/ 5 w 10"/>
                  <a:gd name="T7" fmla="*/ 7 h 9"/>
                  <a:gd name="T8" fmla="*/ 1 w 10"/>
                  <a:gd name="T9" fmla="*/ 4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9"/>
                  <a:gd name="T17" fmla="*/ 10 w 1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9">
                    <a:moveTo>
                      <a:pt x="1" y="3"/>
                    </a:moveTo>
                    <a:cubicBezTo>
                      <a:pt x="2" y="1"/>
                      <a:pt x="5" y="0"/>
                      <a:pt x="6" y="1"/>
                    </a:cubicBezTo>
                    <a:cubicBezTo>
                      <a:pt x="8" y="2"/>
                      <a:pt x="10" y="5"/>
                      <a:pt x="9" y="7"/>
                    </a:cubicBezTo>
                    <a:cubicBezTo>
                      <a:pt x="8" y="9"/>
                      <a:pt x="5" y="7"/>
                      <a:pt x="4" y="6"/>
                    </a:cubicBezTo>
                    <a:cubicBezTo>
                      <a:pt x="2" y="5"/>
                      <a:pt x="0" y="4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39" name="Freeform 3650"/>
              <p:cNvSpPr>
                <a:spLocks noChangeAspect="1"/>
              </p:cNvSpPr>
              <p:nvPr/>
            </p:nvSpPr>
            <p:spPr bwMode="auto">
              <a:xfrm>
                <a:off x="7481005" y="3775954"/>
                <a:ext cx="122670" cy="112066"/>
              </a:xfrm>
              <a:custGeom>
                <a:avLst/>
                <a:gdLst>
                  <a:gd name="T0" fmla="*/ 69 w 63"/>
                  <a:gd name="T1" fmla="*/ 56 h 58"/>
                  <a:gd name="T2" fmla="*/ 69 w 63"/>
                  <a:gd name="T3" fmla="*/ 45 h 58"/>
                  <a:gd name="T4" fmla="*/ 75 w 63"/>
                  <a:gd name="T5" fmla="*/ 38 h 58"/>
                  <a:gd name="T6" fmla="*/ 70 w 63"/>
                  <a:gd name="T7" fmla="*/ 29 h 58"/>
                  <a:gd name="T8" fmla="*/ 69 w 63"/>
                  <a:gd name="T9" fmla="*/ 17 h 58"/>
                  <a:gd name="T10" fmla="*/ 64 w 63"/>
                  <a:gd name="T11" fmla="*/ 17 h 58"/>
                  <a:gd name="T12" fmla="*/ 69 w 63"/>
                  <a:gd name="T13" fmla="*/ 11 h 58"/>
                  <a:gd name="T14" fmla="*/ 64 w 63"/>
                  <a:gd name="T15" fmla="*/ 5 h 58"/>
                  <a:gd name="T16" fmla="*/ 57 w 63"/>
                  <a:gd name="T17" fmla="*/ 1 h 58"/>
                  <a:gd name="T18" fmla="*/ 54 w 63"/>
                  <a:gd name="T19" fmla="*/ 8 h 58"/>
                  <a:gd name="T20" fmla="*/ 49 w 63"/>
                  <a:gd name="T21" fmla="*/ 6 h 58"/>
                  <a:gd name="T22" fmla="*/ 48 w 63"/>
                  <a:gd name="T23" fmla="*/ 10 h 58"/>
                  <a:gd name="T24" fmla="*/ 43 w 63"/>
                  <a:gd name="T25" fmla="*/ 8 h 58"/>
                  <a:gd name="T26" fmla="*/ 40 w 63"/>
                  <a:gd name="T27" fmla="*/ 18 h 58"/>
                  <a:gd name="T28" fmla="*/ 36 w 63"/>
                  <a:gd name="T29" fmla="*/ 17 h 58"/>
                  <a:gd name="T30" fmla="*/ 35 w 63"/>
                  <a:gd name="T31" fmla="*/ 24 h 58"/>
                  <a:gd name="T32" fmla="*/ 27 w 63"/>
                  <a:gd name="T33" fmla="*/ 25 h 58"/>
                  <a:gd name="T34" fmla="*/ 30 w 63"/>
                  <a:gd name="T35" fmla="*/ 18 h 58"/>
                  <a:gd name="T36" fmla="*/ 23 w 63"/>
                  <a:gd name="T37" fmla="*/ 17 h 58"/>
                  <a:gd name="T38" fmla="*/ 17 w 63"/>
                  <a:gd name="T39" fmla="*/ 21 h 58"/>
                  <a:gd name="T40" fmla="*/ 10 w 63"/>
                  <a:gd name="T41" fmla="*/ 25 h 58"/>
                  <a:gd name="T42" fmla="*/ 1 w 63"/>
                  <a:gd name="T43" fmla="*/ 37 h 58"/>
                  <a:gd name="T44" fmla="*/ 2 w 63"/>
                  <a:gd name="T45" fmla="*/ 45 h 58"/>
                  <a:gd name="T46" fmla="*/ 13 w 63"/>
                  <a:gd name="T47" fmla="*/ 31 h 58"/>
                  <a:gd name="T48" fmla="*/ 14 w 63"/>
                  <a:gd name="T49" fmla="*/ 36 h 58"/>
                  <a:gd name="T50" fmla="*/ 19 w 63"/>
                  <a:gd name="T51" fmla="*/ 30 h 58"/>
                  <a:gd name="T52" fmla="*/ 24 w 63"/>
                  <a:gd name="T53" fmla="*/ 36 h 58"/>
                  <a:gd name="T54" fmla="*/ 27 w 63"/>
                  <a:gd name="T55" fmla="*/ 30 h 58"/>
                  <a:gd name="T56" fmla="*/ 38 w 63"/>
                  <a:gd name="T57" fmla="*/ 36 h 58"/>
                  <a:gd name="T58" fmla="*/ 32 w 63"/>
                  <a:gd name="T59" fmla="*/ 43 h 58"/>
                  <a:gd name="T60" fmla="*/ 37 w 63"/>
                  <a:gd name="T61" fmla="*/ 56 h 58"/>
                  <a:gd name="T62" fmla="*/ 49 w 63"/>
                  <a:gd name="T63" fmla="*/ 63 h 58"/>
                  <a:gd name="T64" fmla="*/ 54 w 63"/>
                  <a:gd name="T65" fmla="*/ 58 h 58"/>
                  <a:gd name="T66" fmla="*/ 56 w 63"/>
                  <a:gd name="T67" fmla="*/ 68 h 58"/>
                  <a:gd name="T68" fmla="*/ 61 w 63"/>
                  <a:gd name="T69" fmla="*/ 59 h 58"/>
                  <a:gd name="T70" fmla="*/ 57 w 63"/>
                  <a:gd name="T71" fmla="*/ 51 h 58"/>
                  <a:gd name="T72" fmla="*/ 55 w 63"/>
                  <a:gd name="T73" fmla="*/ 44 h 58"/>
                  <a:gd name="T74" fmla="*/ 62 w 63"/>
                  <a:gd name="T75" fmla="*/ 38 h 58"/>
                  <a:gd name="T76" fmla="*/ 64 w 63"/>
                  <a:gd name="T77" fmla="*/ 51 h 58"/>
                  <a:gd name="T78" fmla="*/ 69 w 63"/>
                  <a:gd name="T79" fmla="*/ 56 h 5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3"/>
                  <a:gd name="T121" fmla="*/ 0 h 58"/>
                  <a:gd name="T122" fmla="*/ 63 w 63"/>
                  <a:gd name="T123" fmla="*/ 58 h 5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3" h="58">
                    <a:moveTo>
                      <a:pt x="58" y="47"/>
                    </a:moveTo>
                    <a:cubicBezTo>
                      <a:pt x="59" y="44"/>
                      <a:pt x="57" y="41"/>
                      <a:pt x="58" y="38"/>
                    </a:cubicBezTo>
                    <a:cubicBezTo>
                      <a:pt x="59" y="35"/>
                      <a:pt x="63" y="35"/>
                      <a:pt x="63" y="32"/>
                    </a:cubicBezTo>
                    <a:cubicBezTo>
                      <a:pt x="63" y="29"/>
                      <a:pt x="60" y="27"/>
                      <a:pt x="59" y="24"/>
                    </a:cubicBezTo>
                    <a:cubicBezTo>
                      <a:pt x="58" y="21"/>
                      <a:pt x="59" y="17"/>
                      <a:pt x="58" y="14"/>
                    </a:cubicBezTo>
                    <a:cubicBezTo>
                      <a:pt x="57" y="13"/>
                      <a:pt x="54" y="16"/>
                      <a:pt x="54" y="14"/>
                    </a:cubicBezTo>
                    <a:cubicBezTo>
                      <a:pt x="54" y="12"/>
                      <a:pt x="58" y="11"/>
                      <a:pt x="58" y="9"/>
                    </a:cubicBezTo>
                    <a:cubicBezTo>
                      <a:pt x="58" y="7"/>
                      <a:pt x="56" y="5"/>
                      <a:pt x="54" y="4"/>
                    </a:cubicBezTo>
                    <a:cubicBezTo>
                      <a:pt x="53" y="2"/>
                      <a:pt x="50" y="0"/>
                      <a:pt x="48" y="1"/>
                    </a:cubicBezTo>
                    <a:cubicBezTo>
                      <a:pt x="46" y="2"/>
                      <a:pt x="47" y="6"/>
                      <a:pt x="45" y="7"/>
                    </a:cubicBezTo>
                    <a:cubicBezTo>
                      <a:pt x="44" y="8"/>
                      <a:pt x="42" y="5"/>
                      <a:pt x="41" y="5"/>
                    </a:cubicBezTo>
                    <a:cubicBezTo>
                      <a:pt x="40" y="6"/>
                      <a:pt x="41" y="8"/>
                      <a:pt x="40" y="8"/>
                    </a:cubicBezTo>
                    <a:cubicBezTo>
                      <a:pt x="39" y="8"/>
                      <a:pt x="37" y="6"/>
                      <a:pt x="36" y="7"/>
                    </a:cubicBezTo>
                    <a:cubicBezTo>
                      <a:pt x="35" y="9"/>
                      <a:pt x="36" y="12"/>
                      <a:pt x="34" y="15"/>
                    </a:cubicBezTo>
                    <a:cubicBezTo>
                      <a:pt x="33" y="16"/>
                      <a:pt x="31" y="13"/>
                      <a:pt x="30" y="14"/>
                    </a:cubicBezTo>
                    <a:cubicBezTo>
                      <a:pt x="29" y="15"/>
                      <a:pt x="30" y="18"/>
                      <a:pt x="29" y="20"/>
                    </a:cubicBezTo>
                    <a:cubicBezTo>
                      <a:pt x="27" y="21"/>
                      <a:pt x="24" y="23"/>
                      <a:pt x="23" y="21"/>
                    </a:cubicBezTo>
                    <a:cubicBezTo>
                      <a:pt x="21" y="19"/>
                      <a:pt x="26" y="17"/>
                      <a:pt x="25" y="15"/>
                    </a:cubicBezTo>
                    <a:cubicBezTo>
                      <a:pt x="24" y="13"/>
                      <a:pt x="21" y="14"/>
                      <a:pt x="19" y="14"/>
                    </a:cubicBezTo>
                    <a:cubicBezTo>
                      <a:pt x="17" y="15"/>
                      <a:pt x="16" y="17"/>
                      <a:pt x="14" y="18"/>
                    </a:cubicBezTo>
                    <a:cubicBezTo>
                      <a:pt x="12" y="20"/>
                      <a:pt x="9" y="20"/>
                      <a:pt x="8" y="21"/>
                    </a:cubicBezTo>
                    <a:cubicBezTo>
                      <a:pt x="5" y="24"/>
                      <a:pt x="3" y="27"/>
                      <a:pt x="1" y="31"/>
                    </a:cubicBezTo>
                    <a:cubicBezTo>
                      <a:pt x="1" y="33"/>
                      <a:pt x="0" y="39"/>
                      <a:pt x="2" y="38"/>
                    </a:cubicBezTo>
                    <a:cubicBezTo>
                      <a:pt x="6" y="35"/>
                      <a:pt x="7" y="29"/>
                      <a:pt x="11" y="26"/>
                    </a:cubicBezTo>
                    <a:cubicBezTo>
                      <a:pt x="12" y="25"/>
                      <a:pt x="10" y="30"/>
                      <a:pt x="12" y="30"/>
                    </a:cubicBezTo>
                    <a:cubicBezTo>
                      <a:pt x="14" y="30"/>
                      <a:pt x="14" y="25"/>
                      <a:pt x="16" y="25"/>
                    </a:cubicBezTo>
                    <a:cubicBezTo>
                      <a:pt x="18" y="25"/>
                      <a:pt x="18" y="30"/>
                      <a:pt x="20" y="30"/>
                    </a:cubicBezTo>
                    <a:cubicBezTo>
                      <a:pt x="22" y="30"/>
                      <a:pt x="21" y="25"/>
                      <a:pt x="23" y="25"/>
                    </a:cubicBezTo>
                    <a:cubicBezTo>
                      <a:pt x="26" y="25"/>
                      <a:pt x="31" y="27"/>
                      <a:pt x="32" y="30"/>
                    </a:cubicBezTo>
                    <a:cubicBezTo>
                      <a:pt x="33" y="32"/>
                      <a:pt x="28" y="34"/>
                      <a:pt x="27" y="36"/>
                    </a:cubicBezTo>
                    <a:cubicBezTo>
                      <a:pt x="27" y="40"/>
                      <a:pt x="28" y="44"/>
                      <a:pt x="31" y="47"/>
                    </a:cubicBezTo>
                    <a:cubicBezTo>
                      <a:pt x="33" y="50"/>
                      <a:pt x="37" y="52"/>
                      <a:pt x="41" y="53"/>
                    </a:cubicBezTo>
                    <a:cubicBezTo>
                      <a:pt x="43" y="53"/>
                      <a:pt x="43" y="48"/>
                      <a:pt x="45" y="49"/>
                    </a:cubicBezTo>
                    <a:cubicBezTo>
                      <a:pt x="47" y="51"/>
                      <a:pt x="44" y="57"/>
                      <a:pt x="47" y="57"/>
                    </a:cubicBezTo>
                    <a:cubicBezTo>
                      <a:pt x="49" y="58"/>
                      <a:pt x="51" y="53"/>
                      <a:pt x="51" y="50"/>
                    </a:cubicBezTo>
                    <a:cubicBezTo>
                      <a:pt x="51" y="48"/>
                      <a:pt x="49" y="45"/>
                      <a:pt x="48" y="43"/>
                    </a:cubicBezTo>
                    <a:cubicBezTo>
                      <a:pt x="48" y="41"/>
                      <a:pt x="45" y="39"/>
                      <a:pt x="46" y="37"/>
                    </a:cubicBezTo>
                    <a:cubicBezTo>
                      <a:pt x="46" y="35"/>
                      <a:pt x="50" y="30"/>
                      <a:pt x="52" y="32"/>
                    </a:cubicBezTo>
                    <a:cubicBezTo>
                      <a:pt x="55" y="34"/>
                      <a:pt x="53" y="39"/>
                      <a:pt x="54" y="43"/>
                    </a:cubicBezTo>
                    <a:cubicBezTo>
                      <a:pt x="55" y="45"/>
                      <a:pt x="57" y="48"/>
                      <a:pt x="58" y="47"/>
                    </a:cubicBezTo>
                    <a:close/>
                  </a:path>
                </a:pathLst>
              </a:custGeom>
              <a:solidFill>
                <a:srgbClr val="21FFFF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9340" name="Freeform 3651"/>
              <p:cNvSpPr>
                <a:spLocks noChangeAspect="1"/>
              </p:cNvSpPr>
              <p:nvPr/>
            </p:nvSpPr>
            <p:spPr bwMode="auto">
              <a:xfrm>
                <a:off x="2335445" y="3707741"/>
                <a:ext cx="4907" cy="4873"/>
              </a:xfrm>
              <a:custGeom>
                <a:avLst/>
                <a:gdLst>
                  <a:gd name="T0" fmla="*/ 2 w 3"/>
                  <a:gd name="T1" fmla="*/ 2 h 3"/>
                  <a:gd name="T2" fmla="*/ 3 w 3"/>
                  <a:gd name="T3" fmla="*/ 3 h 3"/>
                  <a:gd name="T4" fmla="*/ 1 w 3"/>
                  <a:gd name="T5" fmla="*/ 2 h 3"/>
                  <a:gd name="T6" fmla="*/ 1 w 3"/>
                  <a:gd name="T7" fmla="*/ 1 h 3"/>
                  <a:gd name="T8" fmla="*/ 2 w 3"/>
                  <a:gd name="T9" fmla="*/ 2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2" y="2"/>
                    </a:moveTo>
                    <a:cubicBezTo>
                      <a:pt x="3" y="2"/>
                      <a:pt x="3" y="2"/>
                      <a:pt x="3" y="3"/>
                    </a:cubicBezTo>
                    <a:cubicBezTo>
                      <a:pt x="2" y="3"/>
                      <a:pt x="2" y="3"/>
                      <a:pt x="1" y="2"/>
                    </a:cubicBezTo>
                    <a:cubicBezTo>
                      <a:pt x="1" y="2"/>
                      <a:pt x="0" y="1"/>
                      <a:pt x="1" y="1"/>
                    </a:cubicBezTo>
                    <a:cubicBezTo>
                      <a:pt x="1" y="0"/>
                      <a:pt x="2" y="1"/>
                      <a:pt x="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  <p:sp>
            <p:nvSpPr>
              <p:cNvPr id="9341" name="Freeform 3652"/>
              <p:cNvSpPr>
                <a:spLocks noChangeAspect="1"/>
              </p:cNvSpPr>
              <p:nvPr/>
            </p:nvSpPr>
            <p:spPr bwMode="auto">
              <a:xfrm>
                <a:off x="2973325" y="5697301"/>
                <a:ext cx="24534" cy="9745"/>
              </a:xfrm>
              <a:custGeom>
                <a:avLst/>
                <a:gdLst>
                  <a:gd name="T0" fmla="*/ 1 w 13"/>
                  <a:gd name="T1" fmla="*/ 4 h 5"/>
                  <a:gd name="T2" fmla="*/ 5 w 13"/>
                  <a:gd name="T3" fmla="*/ 1 h 5"/>
                  <a:gd name="T4" fmla="*/ 14 w 13"/>
                  <a:gd name="T5" fmla="*/ 1 h 5"/>
                  <a:gd name="T6" fmla="*/ 12 w 13"/>
                  <a:gd name="T7" fmla="*/ 4 h 5"/>
                  <a:gd name="T8" fmla="*/ 6 w 13"/>
                  <a:gd name="T9" fmla="*/ 4 h 5"/>
                  <a:gd name="T10" fmla="*/ 3 w 13"/>
                  <a:gd name="T11" fmla="*/ 6 h 5"/>
                  <a:gd name="T12" fmla="*/ 1 w 13"/>
                  <a:gd name="T13" fmla="*/ 4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5"/>
                  <a:gd name="T23" fmla="*/ 13 w 13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5">
                    <a:moveTo>
                      <a:pt x="1" y="3"/>
                    </a:moveTo>
                    <a:cubicBezTo>
                      <a:pt x="1" y="2"/>
                      <a:pt x="3" y="1"/>
                      <a:pt x="4" y="1"/>
                    </a:cubicBezTo>
                    <a:cubicBezTo>
                      <a:pt x="7" y="1"/>
                      <a:pt x="10" y="0"/>
                      <a:pt x="12" y="1"/>
                    </a:cubicBezTo>
                    <a:cubicBezTo>
                      <a:pt x="13" y="2"/>
                      <a:pt x="11" y="3"/>
                      <a:pt x="10" y="3"/>
                    </a:cubicBezTo>
                    <a:cubicBezTo>
                      <a:pt x="8" y="4"/>
                      <a:pt x="7" y="3"/>
                      <a:pt x="5" y="3"/>
                    </a:cubicBezTo>
                    <a:cubicBezTo>
                      <a:pt x="4" y="3"/>
                      <a:pt x="4" y="5"/>
                      <a:pt x="3" y="5"/>
                    </a:cubicBezTo>
                    <a:cubicBezTo>
                      <a:pt x="2" y="4"/>
                      <a:pt x="0" y="4"/>
                      <a:pt x="1" y="3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 cap="rnd">
                <a:solidFill>
                  <a:srgbClr val="25769B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" name="Freeform 2"/>
            <p:cNvSpPr/>
            <p:nvPr/>
          </p:nvSpPr>
          <p:spPr bwMode="auto">
            <a:xfrm>
              <a:off x="4544012" y="4398563"/>
              <a:ext cx="301823" cy="266770"/>
            </a:xfrm>
            <a:custGeom>
              <a:avLst/>
              <a:gdLst>
                <a:gd name="connsiteX0" fmla="*/ 69056 w 397668"/>
                <a:gd name="connsiteY0" fmla="*/ 26194 h 357187"/>
                <a:gd name="connsiteX1" fmla="*/ 69056 w 397668"/>
                <a:gd name="connsiteY1" fmla="*/ 26194 h 357187"/>
                <a:gd name="connsiteX2" fmla="*/ 69056 w 397668"/>
                <a:gd name="connsiteY2" fmla="*/ 90487 h 357187"/>
                <a:gd name="connsiteX3" fmla="*/ 47625 w 397668"/>
                <a:gd name="connsiteY3" fmla="*/ 88106 h 357187"/>
                <a:gd name="connsiteX4" fmla="*/ 47625 w 397668"/>
                <a:gd name="connsiteY4" fmla="*/ 204787 h 357187"/>
                <a:gd name="connsiteX5" fmla="*/ 21431 w 397668"/>
                <a:gd name="connsiteY5" fmla="*/ 221456 h 357187"/>
                <a:gd name="connsiteX6" fmla="*/ 16668 w 397668"/>
                <a:gd name="connsiteY6" fmla="*/ 252412 h 357187"/>
                <a:gd name="connsiteX7" fmla="*/ 0 w 397668"/>
                <a:gd name="connsiteY7" fmla="*/ 295275 h 357187"/>
                <a:gd name="connsiteX8" fmla="*/ 21431 w 397668"/>
                <a:gd name="connsiteY8" fmla="*/ 333375 h 357187"/>
                <a:gd name="connsiteX9" fmla="*/ 33337 w 397668"/>
                <a:gd name="connsiteY9" fmla="*/ 357187 h 357187"/>
                <a:gd name="connsiteX10" fmla="*/ 71437 w 397668"/>
                <a:gd name="connsiteY10" fmla="*/ 314325 h 357187"/>
                <a:gd name="connsiteX11" fmla="*/ 195262 w 397668"/>
                <a:gd name="connsiteY11" fmla="*/ 328612 h 357187"/>
                <a:gd name="connsiteX12" fmla="*/ 219075 w 397668"/>
                <a:gd name="connsiteY12" fmla="*/ 326231 h 357187"/>
                <a:gd name="connsiteX13" fmla="*/ 235743 w 397668"/>
                <a:gd name="connsiteY13" fmla="*/ 285750 h 357187"/>
                <a:gd name="connsiteX14" fmla="*/ 259556 w 397668"/>
                <a:gd name="connsiteY14" fmla="*/ 314325 h 357187"/>
                <a:gd name="connsiteX15" fmla="*/ 285750 w 397668"/>
                <a:gd name="connsiteY15" fmla="*/ 330994 h 357187"/>
                <a:gd name="connsiteX16" fmla="*/ 300037 w 397668"/>
                <a:gd name="connsiteY16" fmla="*/ 357187 h 357187"/>
                <a:gd name="connsiteX17" fmla="*/ 311943 w 397668"/>
                <a:gd name="connsiteY17" fmla="*/ 345281 h 357187"/>
                <a:gd name="connsiteX18" fmla="*/ 340518 w 397668"/>
                <a:gd name="connsiteY18" fmla="*/ 285750 h 357187"/>
                <a:gd name="connsiteX19" fmla="*/ 352425 w 397668"/>
                <a:gd name="connsiteY19" fmla="*/ 250031 h 357187"/>
                <a:gd name="connsiteX20" fmla="*/ 359568 w 397668"/>
                <a:gd name="connsiteY20" fmla="*/ 240506 h 357187"/>
                <a:gd name="connsiteX21" fmla="*/ 347662 w 397668"/>
                <a:gd name="connsiteY21" fmla="*/ 207169 h 357187"/>
                <a:gd name="connsiteX22" fmla="*/ 361950 w 397668"/>
                <a:gd name="connsiteY22" fmla="*/ 190500 h 357187"/>
                <a:gd name="connsiteX23" fmla="*/ 361950 w 397668"/>
                <a:gd name="connsiteY23" fmla="*/ 166687 h 357187"/>
                <a:gd name="connsiteX24" fmla="*/ 388143 w 397668"/>
                <a:gd name="connsiteY24" fmla="*/ 150019 h 357187"/>
                <a:gd name="connsiteX25" fmla="*/ 397668 w 397668"/>
                <a:gd name="connsiteY25" fmla="*/ 147637 h 357187"/>
                <a:gd name="connsiteX26" fmla="*/ 369093 w 397668"/>
                <a:gd name="connsiteY26" fmla="*/ 114300 h 357187"/>
                <a:gd name="connsiteX27" fmla="*/ 366712 w 397668"/>
                <a:gd name="connsiteY27" fmla="*/ 71437 h 357187"/>
                <a:gd name="connsiteX28" fmla="*/ 359568 w 397668"/>
                <a:gd name="connsiteY28" fmla="*/ 42862 h 357187"/>
                <a:gd name="connsiteX29" fmla="*/ 359568 w 397668"/>
                <a:gd name="connsiteY29" fmla="*/ 28575 h 357187"/>
                <a:gd name="connsiteX30" fmla="*/ 340518 w 397668"/>
                <a:gd name="connsiteY30" fmla="*/ 7144 h 357187"/>
                <a:gd name="connsiteX31" fmla="*/ 323850 w 397668"/>
                <a:gd name="connsiteY31" fmla="*/ 0 h 357187"/>
                <a:gd name="connsiteX32" fmla="*/ 269081 w 397668"/>
                <a:gd name="connsiteY32" fmla="*/ 30956 h 357187"/>
                <a:gd name="connsiteX33" fmla="*/ 166687 w 397668"/>
                <a:gd name="connsiteY33" fmla="*/ 28575 h 357187"/>
                <a:gd name="connsiteX34" fmla="*/ 69056 w 397668"/>
                <a:gd name="connsiteY34" fmla="*/ 26194 h 357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97668" h="357187">
                  <a:moveTo>
                    <a:pt x="69056" y="26194"/>
                  </a:moveTo>
                  <a:lnTo>
                    <a:pt x="69056" y="26194"/>
                  </a:lnTo>
                  <a:lnTo>
                    <a:pt x="69056" y="90487"/>
                  </a:lnTo>
                  <a:lnTo>
                    <a:pt x="47625" y="88106"/>
                  </a:lnTo>
                  <a:lnTo>
                    <a:pt x="47625" y="204787"/>
                  </a:lnTo>
                  <a:lnTo>
                    <a:pt x="21431" y="221456"/>
                  </a:lnTo>
                  <a:lnTo>
                    <a:pt x="16668" y="252412"/>
                  </a:lnTo>
                  <a:lnTo>
                    <a:pt x="0" y="295275"/>
                  </a:lnTo>
                  <a:lnTo>
                    <a:pt x="21431" y="333375"/>
                  </a:lnTo>
                  <a:lnTo>
                    <a:pt x="33337" y="357187"/>
                  </a:lnTo>
                  <a:lnTo>
                    <a:pt x="71437" y="314325"/>
                  </a:lnTo>
                  <a:lnTo>
                    <a:pt x="195262" y="328612"/>
                  </a:lnTo>
                  <a:lnTo>
                    <a:pt x="219075" y="326231"/>
                  </a:lnTo>
                  <a:lnTo>
                    <a:pt x="235743" y="285750"/>
                  </a:lnTo>
                  <a:lnTo>
                    <a:pt x="259556" y="314325"/>
                  </a:lnTo>
                  <a:lnTo>
                    <a:pt x="285750" y="330994"/>
                  </a:lnTo>
                  <a:lnTo>
                    <a:pt x="300037" y="357187"/>
                  </a:lnTo>
                  <a:lnTo>
                    <a:pt x="311943" y="345281"/>
                  </a:lnTo>
                  <a:lnTo>
                    <a:pt x="340518" y="285750"/>
                  </a:lnTo>
                  <a:lnTo>
                    <a:pt x="352425" y="250031"/>
                  </a:lnTo>
                  <a:lnTo>
                    <a:pt x="359568" y="240506"/>
                  </a:lnTo>
                  <a:lnTo>
                    <a:pt x="347662" y="207169"/>
                  </a:lnTo>
                  <a:lnTo>
                    <a:pt x="361950" y="190500"/>
                  </a:lnTo>
                  <a:lnTo>
                    <a:pt x="361950" y="166687"/>
                  </a:lnTo>
                  <a:lnTo>
                    <a:pt x="388143" y="150019"/>
                  </a:lnTo>
                  <a:lnTo>
                    <a:pt x="397668" y="147637"/>
                  </a:lnTo>
                  <a:lnTo>
                    <a:pt x="369093" y="114300"/>
                  </a:lnTo>
                  <a:lnTo>
                    <a:pt x="366712" y="71437"/>
                  </a:lnTo>
                  <a:lnTo>
                    <a:pt x="359568" y="42862"/>
                  </a:lnTo>
                  <a:lnTo>
                    <a:pt x="359568" y="28575"/>
                  </a:lnTo>
                  <a:lnTo>
                    <a:pt x="340518" y="7144"/>
                  </a:lnTo>
                  <a:lnTo>
                    <a:pt x="323850" y="0"/>
                  </a:lnTo>
                  <a:lnTo>
                    <a:pt x="269081" y="30956"/>
                  </a:lnTo>
                  <a:lnTo>
                    <a:pt x="166687" y="28575"/>
                  </a:lnTo>
                  <a:lnTo>
                    <a:pt x="69056" y="26194"/>
                  </a:lnTo>
                  <a:close/>
                </a:path>
              </a:pathLst>
            </a:custGeom>
            <a:pattFill prst="wdUpDiag">
              <a:fgClr>
                <a:srgbClr val="FFFF66"/>
              </a:fgClr>
              <a:bgClr>
                <a:srgbClr val="6CF834"/>
              </a:bgClr>
            </a:pattFill>
            <a:ln w="3175" cap="rnd">
              <a:solidFill>
                <a:srgbClr val="25769B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47" name="Freeform 1146"/>
            <p:cNvSpPr/>
            <p:nvPr/>
          </p:nvSpPr>
          <p:spPr bwMode="auto">
            <a:xfrm>
              <a:off x="4577361" y="4615462"/>
              <a:ext cx="207169" cy="53579"/>
            </a:xfrm>
            <a:custGeom>
              <a:avLst/>
              <a:gdLst>
                <a:gd name="connsiteX0" fmla="*/ 0 w 266700"/>
                <a:gd name="connsiteY0" fmla="*/ 66675 h 66675"/>
                <a:gd name="connsiteX1" fmla="*/ 14288 w 266700"/>
                <a:gd name="connsiteY1" fmla="*/ 54769 h 66675"/>
                <a:gd name="connsiteX2" fmla="*/ 21432 w 266700"/>
                <a:gd name="connsiteY2" fmla="*/ 50007 h 66675"/>
                <a:gd name="connsiteX3" fmla="*/ 26194 w 266700"/>
                <a:gd name="connsiteY3" fmla="*/ 42863 h 66675"/>
                <a:gd name="connsiteX4" fmla="*/ 50007 w 266700"/>
                <a:gd name="connsiteY4" fmla="*/ 35719 h 66675"/>
                <a:gd name="connsiteX5" fmla="*/ 173832 w 266700"/>
                <a:gd name="connsiteY5" fmla="*/ 38100 h 66675"/>
                <a:gd name="connsiteX6" fmla="*/ 180975 w 266700"/>
                <a:gd name="connsiteY6" fmla="*/ 33338 h 66675"/>
                <a:gd name="connsiteX7" fmla="*/ 183357 w 266700"/>
                <a:gd name="connsiteY7" fmla="*/ 26194 h 66675"/>
                <a:gd name="connsiteX8" fmla="*/ 185738 w 266700"/>
                <a:gd name="connsiteY8" fmla="*/ 2382 h 66675"/>
                <a:gd name="connsiteX9" fmla="*/ 192882 w 266700"/>
                <a:gd name="connsiteY9" fmla="*/ 0 h 66675"/>
                <a:gd name="connsiteX10" fmla="*/ 204788 w 266700"/>
                <a:gd name="connsiteY10" fmla="*/ 2382 h 66675"/>
                <a:gd name="connsiteX11" fmla="*/ 209550 w 266700"/>
                <a:gd name="connsiteY11" fmla="*/ 9525 h 66675"/>
                <a:gd name="connsiteX12" fmla="*/ 214313 w 266700"/>
                <a:gd name="connsiteY12" fmla="*/ 30957 h 66675"/>
                <a:gd name="connsiteX13" fmla="*/ 219075 w 266700"/>
                <a:gd name="connsiteY13" fmla="*/ 38100 h 66675"/>
                <a:gd name="connsiteX14" fmla="*/ 226219 w 266700"/>
                <a:gd name="connsiteY14" fmla="*/ 40482 h 66675"/>
                <a:gd name="connsiteX15" fmla="*/ 242888 w 266700"/>
                <a:gd name="connsiteY15" fmla="*/ 42863 h 66675"/>
                <a:gd name="connsiteX16" fmla="*/ 259557 w 266700"/>
                <a:gd name="connsiteY16" fmla="*/ 59532 h 66675"/>
                <a:gd name="connsiteX17" fmla="*/ 266700 w 266700"/>
                <a:gd name="connsiteY17" fmla="*/ 5953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6700" h="66675">
                  <a:moveTo>
                    <a:pt x="0" y="66675"/>
                  </a:moveTo>
                  <a:cubicBezTo>
                    <a:pt x="4763" y="62706"/>
                    <a:pt x="9394" y="58575"/>
                    <a:pt x="14288" y="54769"/>
                  </a:cubicBezTo>
                  <a:cubicBezTo>
                    <a:pt x="16547" y="53012"/>
                    <a:pt x="19408" y="52031"/>
                    <a:pt x="21432" y="50007"/>
                  </a:cubicBezTo>
                  <a:cubicBezTo>
                    <a:pt x="23456" y="47983"/>
                    <a:pt x="23767" y="44380"/>
                    <a:pt x="26194" y="42863"/>
                  </a:cubicBezTo>
                  <a:cubicBezTo>
                    <a:pt x="30061" y="40446"/>
                    <a:pt x="44429" y="37113"/>
                    <a:pt x="50007" y="35719"/>
                  </a:cubicBezTo>
                  <a:cubicBezTo>
                    <a:pt x="146845" y="41253"/>
                    <a:pt x="105572" y="42117"/>
                    <a:pt x="173832" y="38100"/>
                  </a:cubicBezTo>
                  <a:cubicBezTo>
                    <a:pt x="176213" y="36513"/>
                    <a:pt x="179187" y="35573"/>
                    <a:pt x="180975" y="33338"/>
                  </a:cubicBezTo>
                  <a:cubicBezTo>
                    <a:pt x="182543" y="31378"/>
                    <a:pt x="182975" y="28675"/>
                    <a:pt x="183357" y="26194"/>
                  </a:cubicBezTo>
                  <a:cubicBezTo>
                    <a:pt x="184570" y="18310"/>
                    <a:pt x="183012" y="9879"/>
                    <a:pt x="185738" y="2382"/>
                  </a:cubicBezTo>
                  <a:cubicBezTo>
                    <a:pt x="186596" y="23"/>
                    <a:pt x="190501" y="794"/>
                    <a:pt x="192882" y="0"/>
                  </a:cubicBezTo>
                  <a:cubicBezTo>
                    <a:pt x="196851" y="794"/>
                    <a:pt x="201274" y="374"/>
                    <a:pt x="204788" y="2382"/>
                  </a:cubicBezTo>
                  <a:cubicBezTo>
                    <a:pt x="207273" y="3802"/>
                    <a:pt x="208545" y="6846"/>
                    <a:pt x="209550" y="9525"/>
                  </a:cubicBezTo>
                  <a:cubicBezTo>
                    <a:pt x="212934" y="18548"/>
                    <a:pt x="210659" y="22431"/>
                    <a:pt x="214313" y="30957"/>
                  </a:cubicBezTo>
                  <a:cubicBezTo>
                    <a:pt x="215440" y="33587"/>
                    <a:pt x="216840" y="36312"/>
                    <a:pt x="219075" y="38100"/>
                  </a:cubicBezTo>
                  <a:cubicBezTo>
                    <a:pt x="221035" y="39668"/>
                    <a:pt x="223758" y="39990"/>
                    <a:pt x="226219" y="40482"/>
                  </a:cubicBezTo>
                  <a:cubicBezTo>
                    <a:pt x="231723" y="41583"/>
                    <a:pt x="237332" y="42069"/>
                    <a:pt x="242888" y="42863"/>
                  </a:cubicBezTo>
                  <a:cubicBezTo>
                    <a:pt x="250221" y="53862"/>
                    <a:pt x="248555" y="57698"/>
                    <a:pt x="259557" y="59532"/>
                  </a:cubicBezTo>
                  <a:cubicBezTo>
                    <a:pt x="261906" y="59924"/>
                    <a:pt x="264319" y="59532"/>
                    <a:pt x="266700" y="59532"/>
                  </a:cubicBezTo>
                </a:path>
              </a:pathLst>
            </a:custGeom>
            <a:noFill/>
            <a:ln w="317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2" name="Rectangle 1"/>
            <p:cNvSpPr/>
            <p:nvPr/>
          </p:nvSpPr>
          <p:spPr bwMode="auto">
            <a:xfrm>
              <a:off x="4746998" y="4396912"/>
              <a:ext cx="71492" cy="34289"/>
            </a:xfrm>
            <a:prstGeom prst="rect">
              <a:avLst/>
            </a:prstGeom>
            <a:pattFill prst="wdUpDiag">
              <a:fgClr>
                <a:srgbClr val="FFFF66"/>
              </a:fgClr>
              <a:bgClr>
                <a:srgbClr val="6CF834"/>
              </a:bgClr>
            </a:pattFill>
            <a:ln w="3175" cap="rnd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48" name="Freeform 1147"/>
            <p:cNvSpPr/>
            <p:nvPr/>
          </p:nvSpPr>
          <p:spPr bwMode="auto">
            <a:xfrm>
              <a:off x="4752355" y="4423116"/>
              <a:ext cx="71492" cy="10758"/>
            </a:xfrm>
            <a:custGeom>
              <a:avLst/>
              <a:gdLst>
                <a:gd name="connsiteX0" fmla="*/ 0 w 95323"/>
                <a:gd name="connsiteY0" fmla="*/ 0 h 14344"/>
                <a:gd name="connsiteX1" fmla="*/ 17652 w 95323"/>
                <a:gd name="connsiteY1" fmla="*/ 7061 h 14344"/>
                <a:gd name="connsiteX2" fmla="*/ 45896 w 95323"/>
                <a:gd name="connsiteY2" fmla="*/ 10591 h 14344"/>
                <a:gd name="connsiteX3" fmla="*/ 95323 w 95323"/>
                <a:gd name="connsiteY3" fmla="*/ 14122 h 14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23" h="14344">
                  <a:moveTo>
                    <a:pt x="0" y="0"/>
                  </a:moveTo>
                  <a:cubicBezTo>
                    <a:pt x="5884" y="2354"/>
                    <a:pt x="11477" y="5636"/>
                    <a:pt x="17652" y="7061"/>
                  </a:cubicBezTo>
                  <a:cubicBezTo>
                    <a:pt x="26897" y="9194"/>
                    <a:pt x="36503" y="9249"/>
                    <a:pt x="45896" y="10591"/>
                  </a:cubicBezTo>
                  <a:cubicBezTo>
                    <a:pt x="81449" y="15670"/>
                    <a:pt x="53235" y="14122"/>
                    <a:pt x="95323" y="14122"/>
                  </a:cubicBezTo>
                </a:path>
              </a:pathLst>
            </a:custGeom>
            <a:noFill/>
            <a:ln w="6350" cap="flat" cmpd="sng" algn="ctr">
              <a:solidFill>
                <a:srgbClr val="0070C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5" name="Left Bracket 4"/>
            <p:cNvSpPr/>
            <p:nvPr/>
          </p:nvSpPr>
          <p:spPr>
            <a:xfrm>
              <a:off x="2292824" y="4463124"/>
              <a:ext cx="83607" cy="349459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53" name="Left Bracket 1152"/>
            <p:cNvSpPr/>
            <p:nvPr/>
          </p:nvSpPr>
          <p:spPr>
            <a:xfrm flipH="1">
              <a:off x="2806324" y="4454326"/>
              <a:ext cx="80180" cy="358254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54" name="TextBox 1153"/>
            <p:cNvSpPr txBox="1"/>
            <p:nvPr/>
          </p:nvSpPr>
          <p:spPr>
            <a:xfrm>
              <a:off x="716037" y="4569762"/>
              <a:ext cx="1549874" cy="635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2000" b="1"/>
              </a:lvl1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500" dirty="0">
                  <a:solidFill>
                    <a:srgbClr val="0872A6"/>
                  </a:solidFill>
                </a:rPr>
                <a:t>Central America Clean Energy Corridor</a:t>
              </a:r>
              <a:endParaRPr lang="en-US" sz="1500" dirty="0">
                <a:solidFill>
                  <a:srgbClr val="0872A6"/>
                </a:solidFill>
              </a:endParaRPr>
            </a:p>
          </p:txBody>
        </p:sp>
        <p:sp>
          <p:nvSpPr>
            <p:cNvPr id="1155" name="Left Bracket 1154"/>
            <p:cNvSpPr/>
            <p:nvPr/>
          </p:nvSpPr>
          <p:spPr>
            <a:xfrm>
              <a:off x="4068742" y="4669037"/>
              <a:ext cx="216764" cy="980343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56" name="Left Bracket 1155"/>
            <p:cNvSpPr/>
            <p:nvPr/>
          </p:nvSpPr>
          <p:spPr>
            <a:xfrm flipH="1">
              <a:off x="5104342" y="4655377"/>
              <a:ext cx="274848" cy="997752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57" name="TextBox 1156"/>
            <p:cNvSpPr txBox="1"/>
            <p:nvPr/>
          </p:nvSpPr>
          <p:spPr>
            <a:xfrm>
              <a:off x="4001822" y="5712690"/>
              <a:ext cx="1644332" cy="448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rgbClr val="FFFF00"/>
                  </a:solidFill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500" dirty="0">
                  <a:solidFill>
                    <a:srgbClr val="0872A6"/>
                  </a:solidFill>
                </a:rPr>
                <a:t>Africa Clean Energy Corridor</a:t>
              </a:r>
              <a:endParaRPr lang="en-US" sz="1500" dirty="0">
                <a:solidFill>
                  <a:srgbClr val="0872A6"/>
                </a:solidFill>
              </a:endParaRPr>
            </a:p>
          </p:txBody>
        </p:sp>
        <p:sp>
          <p:nvSpPr>
            <p:cNvPr id="1158" name="Left Bracket 1157"/>
            <p:cNvSpPr/>
            <p:nvPr/>
          </p:nvSpPr>
          <p:spPr>
            <a:xfrm>
              <a:off x="3900759" y="4036597"/>
              <a:ext cx="131861" cy="590402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59" name="Left Bracket 1158"/>
            <p:cNvSpPr/>
            <p:nvPr/>
          </p:nvSpPr>
          <p:spPr>
            <a:xfrm flipH="1">
              <a:off x="5138304" y="4005415"/>
              <a:ext cx="215150" cy="590403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60" name="TextBox 1159"/>
            <p:cNvSpPr txBox="1"/>
            <p:nvPr/>
          </p:nvSpPr>
          <p:spPr>
            <a:xfrm>
              <a:off x="3255590" y="4017521"/>
              <a:ext cx="720215" cy="821935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00" b="1" dirty="0">
                  <a:solidFill>
                    <a:srgbClr val="0872A6"/>
                  </a:solidFill>
                </a:rPr>
                <a:t>Pan Arab Clean Energy</a:t>
              </a:r>
            </a:p>
          </p:txBody>
        </p:sp>
        <p:sp>
          <p:nvSpPr>
            <p:cNvPr id="1161" name="Left Bracket 1160"/>
            <p:cNvSpPr/>
            <p:nvPr/>
          </p:nvSpPr>
          <p:spPr>
            <a:xfrm>
              <a:off x="5699004" y="4184541"/>
              <a:ext cx="174258" cy="951114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62" name="Left Bracket 1161"/>
            <p:cNvSpPr/>
            <p:nvPr/>
          </p:nvSpPr>
          <p:spPr>
            <a:xfrm flipH="1">
              <a:off x="6375617" y="4184545"/>
              <a:ext cx="266506" cy="962027"/>
            </a:xfrm>
            <a:prstGeom prst="leftBracket">
              <a:avLst/>
            </a:prstGeom>
            <a:ln w="57150"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0000"/>
                </a:solidFill>
              </a:endParaRPr>
            </a:p>
          </p:txBody>
        </p:sp>
        <p:sp>
          <p:nvSpPr>
            <p:cNvPr id="1163" name="TextBox 1162"/>
            <p:cNvSpPr txBox="1"/>
            <p:nvPr/>
          </p:nvSpPr>
          <p:spPr>
            <a:xfrm>
              <a:off x="6721168" y="4350001"/>
              <a:ext cx="1202511" cy="448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>
                  <a:solidFill>
                    <a:srgbClr val="FFFF00"/>
                  </a:solidFill>
                </a:defRPr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500" dirty="0">
                  <a:solidFill>
                    <a:srgbClr val="0872A6"/>
                  </a:solidFill>
                </a:rPr>
                <a:t>ASEAN Power Grid</a:t>
              </a:r>
              <a:endParaRPr lang="en-US" sz="1500" dirty="0">
                <a:solidFill>
                  <a:srgbClr val="0872A6"/>
                </a:solidFill>
              </a:endParaRPr>
            </a:p>
          </p:txBody>
        </p:sp>
      </p:grpSp>
      <p:sp>
        <p:nvSpPr>
          <p:cNvPr id="1165" name="Title 1"/>
          <p:cNvSpPr>
            <a:spLocks noGrp="1"/>
          </p:cNvSpPr>
          <p:nvPr>
            <p:ph type="title"/>
          </p:nvPr>
        </p:nvSpPr>
        <p:spPr>
          <a:xfrm>
            <a:off x="393669" y="426767"/>
            <a:ext cx="8349680" cy="484269"/>
          </a:xfrm>
        </p:spPr>
        <p:txBody>
          <a:bodyPr/>
          <a:lstStyle/>
          <a:p>
            <a:r>
              <a:rPr lang="en-GB" sz="3200" dirty="0" smtClean="0">
                <a:latin typeface="Calibri" panose="020F0502020204030204" pitchFamily="34" charset="0"/>
              </a:rPr>
              <a:t>Regional Clean Energy </a:t>
            </a:r>
            <a:br>
              <a:rPr lang="en-GB" sz="3200" dirty="0" smtClean="0">
                <a:latin typeface="Calibri" panose="020F0502020204030204" pitchFamily="34" charset="0"/>
              </a:rPr>
            </a:br>
            <a:r>
              <a:rPr lang="en-GB" sz="3200" dirty="0" smtClean="0">
                <a:latin typeface="Calibri" panose="020F0502020204030204" pitchFamily="34" charset="0"/>
              </a:rPr>
              <a:t>Corridors</a:t>
            </a:r>
            <a:endParaRPr lang="en-GB" sz="3200" dirty="0">
              <a:latin typeface="Calibri" panose="020F0502020204030204" pitchFamily="34" charset="0"/>
            </a:endParaRPr>
          </a:p>
        </p:txBody>
      </p:sp>
      <p:sp>
        <p:nvSpPr>
          <p:cNvPr id="1166" name="Rounded Rectangle 1165"/>
          <p:cNvSpPr/>
          <p:nvPr/>
        </p:nvSpPr>
        <p:spPr>
          <a:xfrm>
            <a:off x="253904" y="5826968"/>
            <a:ext cx="1645920" cy="914400"/>
          </a:xfrm>
          <a:prstGeom prst="roundRect">
            <a:avLst/>
          </a:prstGeom>
          <a:solidFill>
            <a:srgbClr val="0872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Energy Security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1168" name="Rounded Rectangle 1167"/>
          <p:cNvSpPr/>
          <p:nvPr/>
        </p:nvSpPr>
        <p:spPr>
          <a:xfrm>
            <a:off x="3764586" y="5826968"/>
            <a:ext cx="1645920" cy="914400"/>
          </a:xfrm>
          <a:prstGeom prst="roundRect">
            <a:avLst/>
          </a:prstGeom>
          <a:solidFill>
            <a:srgbClr val="0872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Regional market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169" name="Rounded Rectangle 1168"/>
          <p:cNvSpPr/>
          <p:nvPr/>
        </p:nvSpPr>
        <p:spPr>
          <a:xfrm>
            <a:off x="5519927" y="5826968"/>
            <a:ext cx="1645920" cy="914400"/>
          </a:xfrm>
          <a:prstGeom prst="roundRect">
            <a:avLst/>
          </a:prstGeom>
          <a:solidFill>
            <a:srgbClr val="0872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FFFFFF"/>
                </a:solidFill>
              </a:rPr>
              <a:t>Job creation</a:t>
            </a:r>
            <a:endParaRPr lang="en-GB" sz="1400" b="1" dirty="0">
              <a:solidFill>
                <a:srgbClr val="FFFFFF"/>
              </a:solidFill>
            </a:endParaRPr>
          </a:p>
        </p:txBody>
      </p:sp>
      <p:sp>
        <p:nvSpPr>
          <p:cNvPr id="1170" name="Rounded Rectangle 1169"/>
          <p:cNvSpPr/>
          <p:nvPr/>
        </p:nvSpPr>
        <p:spPr>
          <a:xfrm>
            <a:off x="7269483" y="5826968"/>
            <a:ext cx="1645920" cy="914400"/>
          </a:xfrm>
          <a:prstGeom prst="roundRect">
            <a:avLst/>
          </a:prstGeom>
          <a:solidFill>
            <a:srgbClr val="0872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Reduce environmental impacts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1171" name="Rounded Rectangle 1170"/>
          <p:cNvSpPr/>
          <p:nvPr/>
        </p:nvSpPr>
        <p:spPr>
          <a:xfrm>
            <a:off x="2009245" y="5826968"/>
            <a:ext cx="1645920" cy="914400"/>
          </a:xfrm>
          <a:prstGeom prst="roundRect">
            <a:avLst/>
          </a:prstGeom>
          <a:solidFill>
            <a:srgbClr val="0872A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Competitive prices and economies of scale</a:t>
            </a:r>
            <a:endParaRPr lang="es-MX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89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591801"/>
            <a:ext cx="8229600" cy="4176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None/>
            </a:pPr>
            <a:endParaRPr lang="en-US" altLang="en-US"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2229012"/>
            <a:ext cx="6408712" cy="299500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355976" y="6276222"/>
            <a:ext cx="4688904" cy="5905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17748" y="1287410"/>
            <a:ext cx="91074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2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  <a:t>Jan 2014</a:t>
            </a:r>
          </a:p>
          <a:p>
            <a:pPr algn="ctr"/>
            <a:r>
              <a:rPr lang="en-US" sz="2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Ministerial Communique signed to endorse ACEC Action Agenda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5445224"/>
            <a:ext cx="9144000" cy="1107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  <a:t>Today</a:t>
            </a:r>
          </a:p>
          <a:p>
            <a:pPr algn="ctr"/>
            <a:r>
              <a:rPr lang="en-US" sz="2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Supported by more than 30 countries, development partners, regional organizations, IFIs, and private sector</a:t>
            </a:r>
          </a:p>
        </p:txBody>
      </p:sp>
    </p:spTree>
    <p:extLst>
      <p:ext uri="{BB962C8B-B14F-4D97-AF65-F5344CB8AC3E}">
        <p14:creationId xmlns:p14="http://schemas.microsoft.com/office/powerpoint/2010/main" val="4213104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65FDF4-D2FE-483D-8AFC-13EC22B32FDB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1520" y="404664"/>
            <a:ext cx="5040560" cy="484269"/>
          </a:xfrm>
        </p:spPr>
        <p:txBody>
          <a:bodyPr/>
          <a:lstStyle/>
          <a:p>
            <a:r>
              <a:rPr lang="en-US" sz="3600" dirty="0" smtClean="0">
                <a:latin typeface="Calibri" panose="020F0502020204030204" pitchFamily="34" charset="0"/>
              </a:rPr>
              <a:t>Africa Clean Energy Corridor (ACEC)</a:t>
            </a:r>
            <a:endParaRPr lang="en-US" sz="3600" dirty="0"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5799"/>
          <a:stretch/>
        </p:blipFill>
        <p:spPr>
          <a:xfrm>
            <a:off x="5058345" y="1507380"/>
            <a:ext cx="4085655" cy="489595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69808" y="1181638"/>
            <a:ext cx="4613088" cy="5328592"/>
          </a:xfrm>
        </p:spPr>
        <p:txBody>
          <a:bodyPr/>
          <a:lstStyle/>
          <a:p>
            <a:pPr marL="0" lvl="0" indent="0">
              <a:spcAft>
                <a:spcPts val="1200"/>
              </a:spcAft>
              <a:buNone/>
            </a:pPr>
            <a:r>
              <a:rPr lang="en-US" sz="1800" b="1" dirty="0" smtClean="0">
                <a:latin typeface="Calibri" panose="020F0502020204030204" pitchFamily="34" charset="0"/>
              </a:rPr>
              <a:t>ACTION PILLARS:</a:t>
            </a:r>
          </a:p>
          <a:p>
            <a:pPr marL="0" lvl="0" indent="0">
              <a:buNone/>
            </a:pPr>
            <a:r>
              <a:rPr lang="en-US" sz="1800" b="1" u="sng" dirty="0" smtClean="0">
                <a:latin typeface="Calibri" panose="020F0502020204030204" pitchFamily="34" charset="0"/>
              </a:rPr>
              <a:t>Zoning and Resource Assessment</a:t>
            </a:r>
          </a:p>
          <a:p>
            <a:pPr marL="0" lv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Identification of high resource zones for RE development.</a:t>
            </a:r>
          </a:p>
          <a:p>
            <a:pPr marL="0" lvl="0" indent="0">
              <a:buNone/>
            </a:pPr>
            <a:r>
              <a:rPr lang="en-US" sz="1800" b="1" u="sng" dirty="0" smtClean="0">
                <a:latin typeface="Calibri" panose="020F0502020204030204" pitchFamily="34" charset="0"/>
              </a:rPr>
              <a:t>Country and Regional Planning</a:t>
            </a:r>
          </a:p>
          <a:p>
            <a:pPr marL="0" lv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Consideration of cost-effective RE options for power generation in national and regional plans.</a:t>
            </a:r>
          </a:p>
          <a:p>
            <a:pPr marL="0" lvl="0" indent="0">
              <a:buNone/>
            </a:pPr>
            <a:r>
              <a:rPr lang="en-US" sz="1800" b="1" u="sng" dirty="0" smtClean="0">
                <a:latin typeface="Calibri" panose="020F0502020204030204" pitchFamily="34" charset="0"/>
              </a:rPr>
              <a:t>Enabling Frameworks for Investment</a:t>
            </a:r>
          </a:p>
          <a:p>
            <a:pPr marL="0" lv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Opening markets to IPPs, reducing the costs of RE financing and facilitating power trade.</a:t>
            </a:r>
            <a:endParaRPr lang="en-US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800" b="1" u="sng" dirty="0" smtClean="0">
                <a:latin typeface="Calibri" panose="020F0502020204030204" pitchFamily="34" charset="0"/>
              </a:rPr>
              <a:t>Capacity Building</a:t>
            </a:r>
          </a:p>
          <a:p>
            <a:pPr marL="0" lv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800" dirty="0">
                <a:latin typeface="Calibri" panose="020F0502020204030204" pitchFamily="34" charset="0"/>
              </a:rPr>
              <a:t>Development of skills to build, plan, operate, power grids with higher RE shares</a:t>
            </a:r>
            <a:r>
              <a:rPr lang="en-US" sz="1800" dirty="0" smtClean="0">
                <a:latin typeface="Calibri" panose="020F0502020204030204" pitchFamily="34" charset="0"/>
              </a:rPr>
              <a:t>.</a:t>
            </a:r>
            <a:endParaRPr lang="en-US" sz="1800" dirty="0">
              <a:latin typeface="Calibri" panose="020F0502020204030204" pitchFamily="34" charset="0"/>
            </a:endParaRPr>
          </a:p>
          <a:p>
            <a:pPr marL="0" lvl="0" indent="0">
              <a:buNone/>
            </a:pPr>
            <a:r>
              <a:rPr lang="en-US" sz="1800" b="1" u="sng" dirty="0" smtClean="0">
                <a:latin typeface="Calibri" panose="020F0502020204030204" pitchFamily="34" charset="0"/>
              </a:rPr>
              <a:t>Public Information</a:t>
            </a:r>
          </a:p>
          <a:p>
            <a:pPr marL="0" lvl="0" indent="0">
              <a:lnSpc>
                <a:spcPct val="100000"/>
              </a:lnSpc>
              <a:buNone/>
            </a:pPr>
            <a:r>
              <a:rPr lang="en-US" sz="1800" dirty="0" smtClean="0">
                <a:latin typeface="Calibri" panose="020F0502020204030204" pitchFamily="34" charset="0"/>
              </a:rPr>
              <a:t>Awareness raising and promotion of the ACEC and its benefit.</a:t>
            </a:r>
            <a:endParaRPr lang="en-US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389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457200" y="1591801"/>
            <a:ext cx="8229600" cy="4176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None/>
            </a:pPr>
            <a:endParaRPr lang="en-US" altLang="en-US" dirty="0" smtClean="0">
              <a:solidFill>
                <a:srgbClr val="000000">
                  <a:lumMod val="50000"/>
                  <a:lumOff val="50000"/>
                </a:srgbClr>
              </a:solidFill>
              <a:latin typeface="Arial" charset="0"/>
              <a:cs typeface="Arial" charset="0"/>
            </a:endParaRPr>
          </a:p>
          <a:p>
            <a:endParaRPr lang="en-US" alt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17748" y="1287410"/>
            <a:ext cx="91074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u="sng" dirty="0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Sep 2015, Abidjan</a:t>
            </a:r>
            <a:endParaRPr lang="en-US" sz="2400" b="1" u="sng" dirty="0">
              <a:solidFill>
                <a:srgbClr val="000000"/>
              </a:solidFill>
              <a:latin typeface="Calibri Light" panose="020F0302020204030204" pitchFamily="34" charset="0"/>
              <a:cs typeface="Arial" charset="0"/>
            </a:endParaRPr>
          </a:p>
          <a:p>
            <a:pPr algn="ctr"/>
            <a:r>
              <a:rPr lang="en-US" sz="2400" b="1" dirty="0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Kick-off Meeting </a:t>
            </a:r>
            <a:endParaRPr lang="en-US" sz="2400" b="1" dirty="0">
              <a:solidFill>
                <a:srgbClr val="000000"/>
              </a:solidFill>
              <a:latin typeface="Calibri Light" panose="020F0302020204030204" pitchFamily="34" charset="0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5445224"/>
            <a:ext cx="9144000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Strong support expressed </a:t>
            </a:r>
            <a:r>
              <a:rPr lang="en-US" sz="2400" b="1" dirty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by </a:t>
            </a:r>
            <a:r>
              <a:rPr lang="en-US" sz="2400" b="1" dirty="0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all 15 ECOWAS countries, ECOWAS Secretariat, ECREEE, WAPP, ERERA, </a:t>
            </a:r>
            <a:r>
              <a:rPr lang="en-US" sz="2400" b="1" dirty="0" err="1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AfDB</a:t>
            </a:r>
            <a:r>
              <a:rPr lang="en-US" sz="2400" b="1" dirty="0" smtClean="0">
                <a:solidFill>
                  <a:srgbClr val="000000"/>
                </a:solidFill>
                <a:latin typeface="Calibri Light" panose="020F0302020204030204" pitchFamily="34" charset="0"/>
                <a:cs typeface="Arial" charset="0"/>
              </a:rPr>
              <a:t> and other stakeholders</a:t>
            </a:r>
            <a:endParaRPr lang="en-US" sz="2400" b="1" dirty="0">
              <a:solidFill>
                <a:srgbClr val="000000"/>
              </a:solidFill>
              <a:latin typeface="Calibri Light" panose="020F0302020204030204" pitchFamily="34" charset="0"/>
              <a:cs typeface="Arial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75535" y="213643"/>
            <a:ext cx="5060561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kern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C – West Africa</a:t>
            </a:r>
            <a:endParaRPr lang="en-US" sz="3200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2103120"/>
            <a:ext cx="7632848" cy="3342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622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79512" y="3662691"/>
            <a:ext cx="8634743" cy="667859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65FDF4-D2FE-483D-8AFC-13EC22B32FDB}" type="slidenum">
              <a:rPr lang="de-DE" smtClean="0">
                <a:latin typeface="Calibri" panose="020F0502020204030204" pitchFamily="34" charset="0"/>
              </a:rPr>
              <a:pPr>
                <a:defRPr/>
              </a:pPr>
              <a:t>16</a:t>
            </a:fld>
            <a:endParaRPr lang="de-DE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86039" y="360521"/>
            <a:ext cx="8421688" cy="484269"/>
          </a:xfrm>
        </p:spPr>
        <p:txBody>
          <a:bodyPr/>
          <a:lstStyle/>
          <a:p>
            <a:r>
              <a:rPr lang="en-US" sz="2400" kern="1200" dirty="0">
                <a:latin typeface="+mj-lt"/>
              </a:rPr>
              <a:t>ProSPER: Promoting a Sustainable </a:t>
            </a:r>
            <a:br>
              <a:rPr lang="en-US" sz="2400" kern="1200" dirty="0">
                <a:latin typeface="+mj-lt"/>
              </a:rPr>
            </a:br>
            <a:r>
              <a:rPr lang="en-US" sz="2400" kern="1200" dirty="0">
                <a:latin typeface="+mj-lt"/>
              </a:rPr>
              <a:t>PV Market in the ECOWAS Region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19221" y="1272785"/>
            <a:ext cx="3882848" cy="1743002"/>
          </a:xfrm>
        </p:spPr>
        <p:txBody>
          <a:bodyPr/>
          <a:lstStyle/>
          <a:p>
            <a:pPr marL="0" lvl="0" indent="0" algn="ctr">
              <a:lnSpc>
                <a:spcPct val="100000"/>
              </a:lnSpc>
              <a:spcAft>
                <a:spcPts val="0"/>
              </a:spcAft>
              <a:buNone/>
            </a:pPr>
            <a:endParaRPr lang="en-US" sz="800" i="1" dirty="0" smtClean="0">
              <a:latin typeface="Calibri Light" panose="020F0302020204030204" pitchFamily="34" charset="0"/>
            </a:endParaRPr>
          </a:p>
          <a:p>
            <a:pPr marL="0" lv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US" sz="1800" b="1" dirty="0" smtClean="0">
                <a:latin typeface="Calibri Light" panose="020F0302020204030204" pitchFamily="34" charset="0"/>
              </a:rPr>
              <a:t>Objective:</a:t>
            </a:r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GB" sz="1800" dirty="0">
                <a:latin typeface="Calibri Light" panose="020F0302020204030204" pitchFamily="34" charset="0"/>
              </a:rPr>
              <a:t>D</a:t>
            </a:r>
            <a:r>
              <a:rPr lang="en-GB" sz="1800" dirty="0" smtClean="0">
                <a:latin typeface="Calibri Light" panose="020F0302020204030204" pitchFamily="34" charset="0"/>
              </a:rPr>
              <a:t>evelopment </a:t>
            </a:r>
            <a:r>
              <a:rPr lang="en-GB" sz="1800" dirty="0">
                <a:latin typeface="Calibri Light" panose="020F0302020204030204" pitchFamily="34" charset="0"/>
              </a:rPr>
              <a:t>of a sustainable market for on- and </a:t>
            </a:r>
            <a:r>
              <a:rPr lang="en-GB" sz="1800" dirty="0" smtClean="0">
                <a:latin typeface="Calibri Light" panose="020F0302020204030204" pitchFamily="34" charset="0"/>
              </a:rPr>
              <a:t>off-grid </a:t>
            </a:r>
            <a:r>
              <a:rPr lang="en-GB" sz="1800" dirty="0">
                <a:latin typeface="Calibri Light" panose="020F0302020204030204" pitchFamily="34" charset="0"/>
              </a:rPr>
              <a:t>PV </a:t>
            </a:r>
            <a:r>
              <a:rPr lang="en-GB" sz="1800" dirty="0" smtClean="0">
                <a:latin typeface="Calibri Light" panose="020F0302020204030204" pitchFamily="34" charset="0"/>
              </a:rPr>
              <a:t>applications by:</a:t>
            </a:r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en-GB" sz="1800" dirty="0">
                <a:latin typeface="Calibri Light" panose="020F0302020204030204" pitchFamily="34" charset="0"/>
              </a:rPr>
              <a:t>s</a:t>
            </a:r>
            <a:r>
              <a:rPr lang="en-GB" sz="1800" dirty="0" smtClean="0">
                <a:latin typeface="Calibri Light" panose="020F0302020204030204" pitchFamily="34" charset="0"/>
              </a:rPr>
              <a:t>trengthening </a:t>
            </a:r>
            <a:r>
              <a:rPr lang="en-GB" sz="1800" dirty="0">
                <a:latin typeface="Calibri Light" panose="020F0302020204030204" pitchFamily="34" charset="0"/>
              </a:rPr>
              <a:t>and </a:t>
            </a:r>
            <a:r>
              <a:rPr lang="en-GB" sz="1800" dirty="0" smtClean="0">
                <a:latin typeface="Calibri Light" panose="020F0302020204030204" pitchFamily="34" charset="0"/>
              </a:rPr>
              <a:t>developing </a:t>
            </a:r>
            <a:r>
              <a:rPr lang="en-GB" sz="1800" dirty="0">
                <a:latin typeface="Calibri Light" panose="020F0302020204030204" pitchFamily="34" charset="0"/>
              </a:rPr>
              <a:t>local capacities of </a:t>
            </a:r>
            <a:r>
              <a:rPr lang="en-GB" sz="1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policymakers</a:t>
            </a:r>
            <a:r>
              <a:rPr lang="en-GB" sz="1800" dirty="0">
                <a:latin typeface="Calibri Light" panose="020F0302020204030204" pitchFamily="34" charset="0"/>
              </a:rPr>
              <a:t>, </a:t>
            </a:r>
            <a:r>
              <a:rPr lang="en-GB" sz="1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regulators </a:t>
            </a:r>
            <a:r>
              <a:rPr lang="en-GB" sz="1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and utilities, </a:t>
            </a:r>
            <a:r>
              <a:rPr lang="en-GB" sz="1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financial </a:t>
            </a:r>
            <a:r>
              <a:rPr lang="en-GB" sz="1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institutions </a:t>
            </a:r>
            <a:r>
              <a:rPr lang="en-GB" sz="1800" dirty="0">
                <a:latin typeface="Calibri Light" panose="020F0302020204030204" pitchFamily="34" charset="0"/>
              </a:rPr>
              <a:t>and </a:t>
            </a:r>
            <a:r>
              <a:rPr lang="en-GB" sz="1800" dirty="0" smtClean="0">
                <a:latin typeface="Calibri Light" panose="020F0302020204030204" pitchFamily="34" charset="0"/>
              </a:rPr>
              <a:t>renewable energy </a:t>
            </a:r>
            <a:r>
              <a:rPr lang="en-GB" sz="1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entrepreneurs</a:t>
            </a:r>
            <a:r>
              <a:rPr lang="en-GB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.</a:t>
            </a:r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10" name="Picture 2" descr="C:\Users\jbarros\Desktop\ECOWAS MAP.png"/>
          <p:cNvPicPr>
            <a:picLocks noChangeAspect="1" noChangeArrowheads="1"/>
          </p:cNvPicPr>
          <p:nvPr/>
        </p:nvPicPr>
        <p:blipFill>
          <a:blip r:embed="rId3" cstate="print"/>
          <a:srcRect r="4225"/>
          <a:stretch>
            <a:fillRect/>
          </a:stretch>
        </p:blipFill>
        <p:spPr bwMode="auto">
          <a:xfrm>
            <a:off x="5652120" y="1202517"/>
            <a:ext cx="3287886" cy="214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1799184" y="3810744"/>
            <a:ext cx="73448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ECOWAS Renewable Energy Entrepreneurship </a:t>
            </a:r>
            <a:r>
              <a:rPr lang="en-US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Support Facility</a:t>
            </a:r>
            <a:endParaRPr lang="en-US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2" name="Content Placeholder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02069" y="1471501"/>
            <a:ext cx="1522484" cy="80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958"/>
          <a:stretch/>
        </p:blipFill>
        <p:spPr>
          <a:xfrm>
            <a:off x="7139989" y="4490412"/>
            <a:ext cx="1522484" cy="90136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4" t="16988" r="19886" b="28649"/>
          <a:stretch/>
        </p:blipFill>
        <p:spPr>
          <a:xfrm>
            <a:off x="4102069" y="2530481"/>
            <a:ext cx="1522483" cy="78069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34530" y="4307427"/>
            <a:ext cx="7003579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u="sng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Objectives:</a:t>
            </a:r>
            <a:endParaRPr lang="en-US" sz="1600" b="1" u="sng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Assist entrepreneurs in specific requests for improving their business operations.</a:t>
            </a:r>
          </a:p>
          <a:p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Provide mentorship and technical support to existing entrepreneurs.</a:t>
            </a:r>
          </a:p>
          <a:p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Provide advisory services upon request.</a:t>
            </a:r>
          </a:p>
          <a:p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Refine entrepreneurs</a:t>
            </a:r>
            <a:r>
              <a:rPr lang="en-US" sz="1600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’ Project </a:t>
            </a:r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proposals to bankable levels.</a:t>
            </a:r>
          </a:p>
          <a:p>
            <a:pPr>
              <a:spcAft>
                <a:spcPts val="600"/>
              </a:spcAft>
            </a:pPr>
            <a:endParaRPr lang="en-US" sz="1600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r>
              <a:rPr lang="en-US" sz="1600" b="1" u="sng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Subject to External Funding:</a:t>
            </a:r>
            <a:endParaRPr lang="en-US" sz="1600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r>
              <a:rPr lang="en-US" sz="1600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Established fund to </a:t>
            </a:r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support </a:t>
            </a:r>
            <a:r>
              <a:rPr lang="en-US" sz="1600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entrepreneurs in obtaining seed funding and testing </a:t>
            </a:r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the viability of their ideas.</a:t>
            </a:r>
          </a:p>
          <a:p>
            <a:r>
              <a:rPr lang="en-US" sz="1600" dirty="0">
                <a:solidFill>
                  <a:srgbClr val="000000"/>
                </a:solidFill>
                <a:latin typeface="Calibri Light" panose="020F0302020204030204" pitchFamily="34" charset="0"/>
              </a:rPr>
              <a:t>Increased demonstration of pilot </a:t>
            </a:r>
            <a:r>
              <a:rPr lang="en-US" sz="1600" dirty="0" smtClean="0">
                <a:solidFill>
                  <a:srgbClr val="000000"/>
                </a:solidFill>
                <a:latin typeface="Calibri Light" panose="020F0302020204030204" pitchFamily="34" charset="0"/>
              </a:rPr>
              <a:t>projects.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832" y="5471855"/>
            <a:ext cx="1084798" cy="1084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01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931004"/>
            <a:ext cx="2791118" cy="15700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ounded Rectangle 3"/>
          <p:cNvSpPr/>
          <p:nvPr/>
        </p:nvSpPr>
        <p:spPr>
          <a:xfrm>
            <a:off x="5873341" y="1655379"/>
            <a:ext cx="2947132" cy="1713061"/>
          </a:xfrm>
          <a:prstGeom prst="roundRect">
            <a:avLst/>
          </a:prstGeom>
          <a:noFill/>
          <a:ln w="38100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0872A6"/>
                </a:solidFill>
              </a:rPr>
              <a:t>International</a:t>
            </a:r>
            <a:br>
              <a:rPr lang="en-GB" sz="1600" b="1" dirty="0">
                <a:solidFill>
                  <a:srgbClr val="0872A6"/>
                </a:solidFill>
              </a:rPr>
            </a:br>
            <a:r>
              <a:rPr lang="en-GB" sz="1600" b="1" dirty="0">
                <a:solidFill>
                  <a:srgbClr val="0872A6"/>
                </a:solidFill>
              </a:rPr>
              <a:t>Certification Accreditation</a:t>
            </a:r>
          </a:p>
          <a:p>
            <a:pPr algn="ctr"/>
            <a:r>
              <a:rPr lang="en-GB" sz="14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(e.g. </a:t>
            </a:r>
            <a:r>
              <a:rPr lang="en-GB" sz="14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ANSI, ISO/IEC </a:t>
            </a:r>
            <a:r>
              <a:rPr lang="en-GB" sz="14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17024</a:t>
            </a:r>
            <a:r>
              <a:rPr lang="en-GB" sz="14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)</a:t>
            </a:r>
            <a:endParaRPr lang="en-GB" sz="1400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algn="ctr"/>
            <a:r>
              <a:rPr lang="en-GB" sz="14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Verifies that certification providers adhere to international standards </a:t>
            </a:r>
          </a:p>
          <a:p>
            <a:pPr algn="ctr"/>
            <a:endParaRPr lang="en-GB" sz="1400" dirty="0">
              <a:solidFill>
                <a:srgbClr val="0872A6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176704" y="4030128"/>
            <a:ext cx="2441237" cy="2118424"/>
          </a:xfrm>
          <a:prstGeom prst="roundRect">
            <a:avLst/>
          </a:prstGeom>
          <a:noFill/>
          <a:ln w="38100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0872A6"/>
                </a:solidFill>
              </a:rPr>
              <a:t>National  or Regional </a:t>
            </a:r>
            <a:r>
              <a:rPr lang="en-GB" sz="1600" b="1" dirty="0" smtClean="0">
                <a:solidFill>
                  <a:srgbClr val="0872A6"/>
                </a:solidFill>
              </a:rPr>
              <a:t>Education </a:t>
            </a:r>
            <a:r>
              <a:rPr lang="en-GB" sz="1600" b="1" dirty="0">
                <a:solidFill>
                  <a:srgbClr val="0872A6"/>
                </a:solidFill>
              </a:rPr>
              <a:t>Providers</a:t>
            </a:r>
          </a:p>
          <a:p>
            <a:pPr algn="ctr"/>
            <a:r>
              <a:rPr lang="en-GB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(e.g. local universities, technical colleges, </a:t>
            </a:r>
            <a:r>
              <a:rPr lang="en-GB" sz="12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vocational training </a:t>
            </a:r>
            <a:r>
              <a:rPr lang="en-GB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centres</a:t>
            </a:r>
            <a:r>
              <a:rPr lang="en-GB" sz="12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)</a:t>
            </a:r>
            <a:endParaRPr lang="en-GB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algn="ctr"/>
            <a:r>
              <a:rPr lang="en-US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Prepare curricula and training course content based on </a:t>
            </a:r>
            <a:r>
              <a:rPr lang="en-US" sz="12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JTA</a:t>
            </a:r>
            <a:endParaRPr lang="en-US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066871" y="4027134"/>
            <a:ext cx="2816665" cy="2121418"/>
          </a:xfrm>
          <a:prstGeom prst="roundRect">
            <a:avLst/>
          </a:prstGeom>
          <a:noFill/>
          <a:ln w="38100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0872A6"/>
                </a:solidFill>
              </a:rPr>
              <a:t>Regional</a:t>
            </a:r>
            <a:br>
              <a:rPr lang="en-GB" sz="1600" b="1" dirty="0">
                <a:solidFill>
                  <a:srgbClr val="0872A6"/>
                </a:solidFill>
              </a:rPr>
            </a:br>
            <a:r>
              <a:rPr lang="en-GB" sz="1600" b="1" dirty="0">
                <a:solidFill>
                  <a:srgbClr val="0872A6"/>
                </a:solidFill>
              </a:rPr>
              <a:t>Certification Provider</a:t>
            </a:r>
          </a:p>
          <a:p>
            <a:pPr algn="ctr"/>
            <a:r>
              <a:rPr lang="en-GB" sz="14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(e.g. NABCEP</a:t>
            </a:r>
            <a:r>
              <a:rPr lang="en-GB" sz="14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)</a:t>
            </a:r>
            <a:endParaRPr lang="en-GB" sz="1400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algn="ctr"/>
            <a:r>
              <a:rPr lang="en-GB" sz="14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Develops  </a:t>
            </a:r>
            <a:r>
              <a:rPr lang="en-GB" sz="14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technical guidelines (JTA) for renewable energy and designs </a:t>
            </a:r>
            <a:r>
              <a:rPr lang="en-GB" sz="14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exams</a:t>
            </a:r>
            <a:endParaRPr lang="en-GB" sz="14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070982" y="1655379"/>
            <a:ext cx="2256990" cy="1711965"/>
          </a:xfrm>
          <a:prstGeom prst="roundRect">
            <a:avLst/>
          </a:prstGeom>
          <a:noFill/>
          <a:ln w="38100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0872A6"/>
                </a:solidFill>
              </a:rPr>
              <a:t>Trained and Certified </a:t>
            </a:r>
            <a:r>
              <a:rPr lang="en-GB" sz="1600" b="1" dirty="0" smtClean="0">
                <a:solidFill>
                  <a:srgbClr val="0872A6"/>
                </a:solidFill>
              </a:rPr>
              <a:t>Technicians</a:t>
            </a:r>
            <a:endParaRPr lang="en-GB" sz="1600" b="1" dirty="0">
              <a:solidFill>
                <a:srgbClr val="0872A6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88840" y="6327753"/>
            <a:ext cx="5039132" cy="4671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IREC: Inter-State Renewable Energy Council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NABCEP: North American Board of Certified Energy Practitioners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JTA: Job Task Analysis (Technical guidelines, competency standards)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26128" y="4027134"/>
            <a:ext cx="2606496" cy="2121418"/>
          </a:xfrm>
          <a:prstGeom prst="roundRect">
            <a:avLst/>
          </a:prstGeom>
          <a:noFill/>
          <a:ln w="38100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0872A6"/>
                </a:solidFill>
              </a:rPr>
              <a:t>National or Regional</a:t>
            </a:r>
            <a:br>
              <a:rPr lang="en-GB" sz="1600" b="1" dirty="0">
                <a:solidFill>
                  <a:srgbClr val="0872A6"/>
                </a:solidFill>
              </a:rPr>
            </a:br>
            <a:r>
              <a:rPr lang="en-GB" sz="1600" b="1" dirty="0">
                <a:solidFill>
                  <a:srgbClr val="0872A6"/>
                </a:solidFill>
              </a:rPr>
              <a:t>Training Accreditation</a:t>
            </a:r>
          </a:p>
          <a:p>
            <a:pPr algn="ctr"/>
            <a:r>
              <a:rPr lang="en-GB" sz="10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(</a:t>
            </a:r>
            <a:r>
              <a:rPr lang="en-GB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e.g. IREC, with IREC Standard 01023</a:t>
            </a:r>
            <a:r>
              <a:rPr lang="en-GB" sz="1200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)</a:t>
            </a:r>
            <a:endParaRPr lang="en-GB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algn="ctr"/>
            <a:r>
              <a:rPr lang="en-US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Accredits training </a:t>
            </a:r>
            <a:r>
              <a:rPr lang="en-US" sz="1200" dirty="0" err="1">
                <a:solidFill>
                  <a:srgbClr val="000000">
                    <a:lumMod val="50000"/>
                    <a:lumOff val="50000"/>
                  </a:srgbClr>
                </a:solidFill>
              </a:rPr>
              <a:t>programmes</a:t>
            </a:r>
            <a:r>
              <a:rPr lang="en-US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, academic institutions under international standards</a:t>
            </a:r>
            <a:endParaRPr lang="en-GB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1" name="Up Arrow 20"/>
          <p:cNvSpPr/>
          <p:nvPr/>
        </p:nvSpPr>
        <p:spPr>
          <a:xfrm rot="16200000">
            <a:off x="5587988" y="4498050"/>
            <a:ext cx="457200" cy="365760"/>
          </a:xfrm>
          <a:prstGeom prst="upArrow">
            <a:avLst/>
          </a:prstGeom>
          <a:solidFill>
            <a:srgbClr val="0872A6"/>
          </a:solidFill>
          <a:ln w="3175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 bwMode="auto">
          <a:xfrm>
            <a:off x="179512" y="337425"/>
            <a:ext cx="8349680" cy="48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2800" b="1">
                <a:solidFill>
                  <a:srgbClr val="0872A6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700" b="1">
                <a:solidFill>
                  <a:srgbClr val="E10019"/>
                </a:solidFill>
              </a:defRPr>
            </a:lvl2pPr>
            <a:lvl3pPr eaLnBrk="0" hangingPunct="0">
              <a:defRPr sz="2700" b="1">
                <a:solidFill>
                  <a:srgbClr val="E10019"/>
                </a:solidFill>
              </a:defRPr>
            </a:lvl3pPr>
            <a:lvl4pPr eaLnBrk="0" hangingPunct="0">
              <a:defRPr sz="2700" b="1">
                <a:solidFill>
                  <a:srgbClr val="E10019"/>
                </a:solidFill>
              </a:defRPr>
            </a:lvl4pPr>
            <a:lvl5pPr eaLnBrk="0" hangingPunct="0">
              <a:defRPr sz="2700" b="1">
                <a:solidFill>
                  <a:srgbClr val="E10019"/>
                </a:solidFill>
              </a:defRPr>
            </a:lvl5pPr>
            <a:lvl6pPr marL="511761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</a:defRPr>
            </a:lvl6pPr>
            <a:lvl7pPr marL="1023523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</a:defRPr>
            </a:lvl7pPr>
            <a:lvl8pPr marL="1535285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</a:defRPr>
            </a:lvl8pPr>
            <a:lvl9pPr marL="2047046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</a:defRPr>
            </a:lvl9pPr>
          </a:lstStyle>
          <a:p>
            <a:r>
              <a:rPr lang="en-US" sz="3000" dirty="0"/>
              <a:t>Certification </a:t>
            </a:r>
            <a:r>
              <a:rPr lang="en-US" sz="3000" dirty="0" smtClean="0"/>
              <a:t>Program </a:t>
            </a:r>
            <a:r>
              <a:rPr lang="en-US" sz="3000" dirty="0"/>
              <a:t>for solar</a:t>
            </a:r>
            <a:br>
              <a:rPr lang="en-US" sz="3000" dirty="0"/>
            </a:br>
            <a:r>
              <a:rPr lang="en-US" sz="3000" dirty="0" smtClean="0"/>
              <a:t>PV </a:t>
            </a:r>
            <a:r>
              <a:rPr lang="en-US" sz="3000" dirty="0"/>
              <a:t>installers in ECOWAS</a:t>
            </a:r>
            <a:endParaRPr lang="en-GB" sz="3000" dirty="0"/>
          </a:p>
        </p:txBody>
      </p:sp>
      <p:sp>
        <p:nvSpPr>
          <p:cNvPr id="30" name="Up Arrow 29"/>
          <p:cNvSpPr/>
          <p:nvPr/>
        </p:nvSpPr>
        <p:spPr>
          <a:xfrm rot="10800000">
            <a:off x="7183539" y="3511770"/>
            <a:ext cx="457200" cy="365760"/>
          </a:xfrm>
          <a:prstGeom prst="upArrow">
            <a:avLst/>
          </a:prstGeom>
          <a:noFill/>
          <a:ln w="3175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noFill/>
            </a:endParaRPr>
          </a:p>
        </p:txBody>
      </p:sp>
      <p:sp>
        <p:nvSpPr>
          <p:cNvPr id="32" name="Up Arrow 31"/>
          <p:cNvSpPr/>
          <p:nvPr/>
        </p:nvSpPr>
        <p:spPr>
          <a:xfrm>
            <a:off x="3994526" y="3511770"/>
            <a:ext cx="457200" cy="365760"/>
          </a:xfrm>
          <a:prstGeom prst="upArrow">
            <a:avLst/>
          </a:prstGeom>
          <a:solidFill>
            <a:srgbClr val="0872A6"/>
          </a:solidFill>
          <a:ln w="3175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3" name="Up Arrow 32"/>
          <p:cNvSpPr/>
          <p:nvPr/>
        </p:nvSpPr>
        <p:spPr>
          <a:xfrm rot="5400000">
            <a:off x="2702670" y="4498049"/>
            <a:ext cx="457200" cy="365760"/>
          </a:xfrm>
          <a:prstGeom prst="upArrow">
            <a:avLst/>
          </a:prstGeom>
          <a:noFill/>
          <a:ln w="3175"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64226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862" y="2843773"/>
            <a:ext cx="9106138" cy="3739718"/>
          </a:xfrm>
        </p:spPr>
        <p:txBody>
          <a:bodyPr>
            <a:normAutofit/>
          </a:bodyPr>
          <a:lstStyle/>
          <a:p>
            <a:pPr algn="ctr"/>
            <a:r>
              <a:rPr lang="en-US" sz="3300" dirty="0"/>
              <a:t>Thank you.</a:t>
            </a:r>
            <a:r>
              <a:rPr lang="en-US" sz="2700" dirty="0"/>
              <a:t/>
            </a:r>
            <a:br>
              <a:rPr lang="en-US" sz="2700" dirty="0"/>
            </a:br>
            <a:r>
              <a:rPr lang="en-US" sz="2700" dirty="0"/>
              <a:t/>
            </a:r>
            <a:br>
              <a:rPr lang="en-US" sz="2700" dirty="0"/>
            </a:br>
            <a:endParaRPr lang="en-US" sz="2700" dirty="0"/>
          </a:p>
        </p:txBody>
      </p:sp>
      <p:pic>
        <p:nvPicPr>
          <p:cNvPr id="4" name="Picture 4" descr="Renewables Readiness Assessment: Nig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8577" y="1343025"/>
            <a:ext cx="1008900" cy="1433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Renewables Readiness Assessment: The Gambi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1" y="1320280"/>
            <a:ext cx="1027103" cy="138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Mozambique Renewables Readiness Assessment 20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291" y="1326734"/>
            <a:ext cx="1035146" cy="1424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rra.irena.org/UserFiles/Images/RRA_Zam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8932" y="1357313"/>
            <a:ext cx="1027518" cy="143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enegal Renewables Readiness Assessment 20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842" y="1353904"/>
            <a:ext cx="1066909" cy="141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819" y="5218129"/>
            <a:ext cx="2810223" cy="8647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29588" y="1287993"/>
            <a:ext cx="1014412" cy="1512357"/>
          </a:xfrm>
          <a:prstGeom prst="rect">
            <a:avLst/>
          </a:prstGeom>
        </p:spPr>
      </p:pic>
      <p:pic>
        <p:nvPicPr>
          <p:cNvPr id="14" name="Picture 13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904" y="1471613"/>
            <a:ext cx="960120" cy="1343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438" y="1400175"/>
            <a:ext cx="1028699" cy="130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148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6858001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altLang="en-US" sz="3600" b="1" dirty="0" smtClean="0">
                <a:latin typeface="Arial" charset="0"/>
                <a:cs typeface="Arial" charset="0"/>
              </a:rPr>
              <a:t>About IRENA</a:t>
            </a:r>
            <a:endParaRPr lang="en-ZA" sz="3600" b="1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68255" y="1263728"/>
            <a:ext cx="8724225" cy="7913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Headquarters in Abu Dhabi and 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Innovation &amp; </a:t>
            </a: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Technology Centre 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in Bonn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alt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Established: April 2011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331" y="3904510"/>
            <a:ext cx="2742141" cy="460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/>
          <p:nvPr/>
        </p:nvSpPr>
        <p:spPr>
          <a:xfrm>
            <a:off x="354359" y="4725144"/>
            <a:ext cx="8435281" cy="529968"/>
          </a:xfrm>
          <a:prstGeom prst="roundRect">
            <a:avLst/>
          </a:prstGeom>
          <a:solidFill>
            <a:srgbClr val="2C6C93">
              <a:alpha val="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rgbClr val="2C6C93"/>
                </a:solidFill>
              </a:rPr>
              <a:t>Mission</a:t>
            </a:r>
            <a:r>
              <a:rPr lang="en-US" sz="2000" b="1" dirty="0">
                <a:solidFill>
                  <a:srgbClr val="2C6C93"/>
                </a:solidFill>
              </a:rPr>
              <a:t>: </a:t>
            </a:r>
            <a:r>
              <a:rPr lang="en-US" sz="2000" b="1" dirty="0" smtClean="0">
                <a:solidFill>
                  <a:srgbClr val="2C6C93"/>
                </a:solidFill>
              </a:rPr>
              <a:t>Accelerating </a:t>
            </a:r>
            <a:r>
              <a:rPr lang="en-US" sz="2000" b="1" dirty="0">
                <a:solidFill>
                  <a:srgbClr val="2C6C93"/>
                </a:solidFill>
              </a:rPr>
              <a:t>deployment of </a:t>
            </a:r>
            <a:r>
              <a:rPr lang="en-US" sz="2000" b="1" dirty="0" smtClean="0">
                <a:solidFill>
                  <a:srgbClr val="2C6C93"/>
                </a:solidFill>
              </a:rPr>
              <a:t>all forms of renewable </a:t>
            </a:r>
            <a:r>
              <a:rPr lang="en-US" sz="2000" b="1" dirty="0">
                <a:solidFill>
                  <a:srgbClr val="2C6C93"/>
                </a:solidFill>
              </a:rPr>
              <a:t>energy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868144" y="2662158"/>
            <a:ext cx="3176736" cy="9108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145 Members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  <a:cs typeface="Arial" charset="0"/>
              </a:rPr>
              <a:t>31 Signatories</a:t>
            </a:r>
          </a:p>
        </p:txBody>
      </p:sp>
      <p:sp>
        <p:nvSpPr>
          <p:cNvPr id="3" name="Rectangle 2"/>
          <p:cNvSpPr/>
          <p:nvPr/>
        </p:nvSpPr>
        <p:spPr>
          <a:xfrm>
            <a:off x="4427984" y="6418382"/>
            <a:ext cx="4616896" cy="4483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434284" y="5377510"/>
            <a:ext cx="6810124" cy="1374491"/>
            <a:chOff x="2660333" y="4479751"/>
            <a:chExt cx="6810124" cy="1374491"/>
          </a:xfrm>
        </p:grpSpPr>
        <p:pic>
          <p:nvPicPr>
            <p:cNvPr id="11" name="Picture 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3782" y="4479751"/>
              <a:ext cx="762000" cy="762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2497" y="4531935"/>
              <a:ext cx="715703" cy="7157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8098" y="4499511"/>
              <a:ext cx="722480" cy="722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1898" y="4552029"/>
              <a:ext cx="705771" cy="7057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3698" y="4504177"/>
              <a:ext cx="742682" cy="7258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9324" y="4528906"/>
              <a:ext cx="718732" cy="7187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2660333" y="5331022"/>
              <a:ext cx="681012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>
                  <a:solidFill>
                    <a:srgbClr val="1F497D">
                      <a:lumMod val="75000"/>
                    </a:srgbClr>
                  </a:solidFill>
                </a:rPr>
                <a:t>Bioenergy	 Geothermal    Hydropower      Ocean             Solar               Wind </a:t>
              </a:r>
            </a:p>
            <a:p>
              <a:r>
                <a:rPr lang="en-US" sz="1400" dirty="0">
                  <a:solidFill>
                    <a:srgbClr val="1F497D">
                      <a:lumMod val="75000"/>
                    </a:srgbClr>
                  </a:solidFill>
                </a:rPr>
                <a:t> </a:t>
              </a:r>
              <a:r>
                <a:rPr lang="en-US" sz="1400" dirty="0" smtClean="0">
                  <a:solidFill>
                    <a:srgbClr val="1F497D">
                      <a:lumMod val="75000"/>
                    </a:srgbClr>
                  </a:solidFill>
                </a:rPr>
                <a:t>       	     Energy                                      </a:t>
              </a:r>
              <a:r>
                <a:rPr lang="en-US" sz="1400" dirty="0" err="1" smtClean="0">
                  <a:solidFill>
                    <a:srgbClr val="1F497D">
                      <a:lumMod val="75000"/>
                    </a:srgbClr>
                  </a:solidFill>
                </a:rPr>
                <a:t>Energy</a:t>
              </a:r>
              <a:r>
                <a:rPr lang="en-US" sz="1400" dirty="0" smtClean="0">
                  <a:solidFill>
                    <a:srgbClr val="1F497D">
                      <a:lumMod val="75000"/>
                    </a:srgbClr>
                  </a:solidFill>
                </a:rPr>
                <a:t>           </a:t>
              </a:r>
              <a:r>
                <a:rPr lang="en-US" sz="1400" dirty="0" err="1" smtClean="0">
                  <a:solidFill>
                    <a:srgbClr val="1F497D">
                      <a:lumMod val="75000"/>
                    </a:srgbClr>
                  </a:solidFill>
                </a:rPr>
                <a:t>Energy</a:t>
              </a:r>
              <a:r>
                <a:rPr lang="en-US" sz="1400" dirty="0" smtClean="0">
                  <a:solidFill>
                    <a:srgbClr val="1F497D">
                      <a:lumMod val="75000"/>
                    </a:srgbClr>
                  </a:solidFill>
                </a:rPr>
                <a:t>            </a:t>
              </a:r>
              <a:r>
                <a:rPr lang="en-US" sz="1400" dirty="0" err="1" smtClean="0">
                  <a:solidFill>
                    <a:srgbClr val="1F497D">
                      <a:lumMod val="75000"/>
                    </a:srgbClr>
                  </a:solidFill>
                </a:rPr>
                <a:t>Energy</a:t>
              </a:r>
              <a:endParaRPr lang="en-GB" sz="1400" dirty="0">
                <a:solidFill>
                  <a:srgbClr val="1F497D">
                    <a:lumMod val="75000"/>
                  </a:srgbClr>
                </a:solidFill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1407"/>
            <a:ext cx="5249917" cy="239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87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820" y="658926"/>
            <a:ext cx="8349680" cy="484269"/>
          </a:xfrm>
        </p:spPr>
        <p:txBody>
          <a:bodyPr/>
          <a:lstStyle/>
          <a:p>
            <a:r>
              <a:rPr lang="en-US" sz="2600" dirty="0" smtClean="0">
                <a:latin typeface="+mj-lt"/>
              </a:rPr>
              <a:t>IRENA: Programmatic Structure</a:t>
            </a:r>
            <a:endParaRPr lang="en-US" sz="26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65FDF4-D2FE-483D-8AFC-13EC22B32FDB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34" name="TextBox 33"/>
          <p:cNvSpPr txBox="1"/>
          <p:nvPr/>
        </p:nvSpPr>
        <p:spPr>
          <a:xfrm>
            <a:off x="71258" y="2541102"/>
            <a:ext cx="316230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IRENA’s Central Knowledge </a:t>
            </a:r>
            <a:r>
              <a:rPr lang="en-US" sz="1400" dirty="0">
                <a:solidFill>
                  <a:srgbClr val="000000"/>
                </a:solidFill>
              </a:rPr>
              <a:t>Repository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Renewables </a:t>
            </a:r>
            <a:r>
              <a:rPr lang="en-US" sz="1400" dirty="0">
                <a:solidFill>
                  <a:srgbClr val="000000"/>
                </a:solidFill>
              </a:rPr>
              <a:t>Policy and </a:t>
            </a:r>
            <a:r>
              <a:rPr lang="en-US" sz="1400" dirty="0" smtClean="0">
                <a:solidFill>
                  <a:srgbClr val="000000"/>
                </a:solidFill>
              </a:rPr>
              <a:t>Finance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Data </a:t>
            </a:r>
            <a:r>
              <a:rPr lang="en-US" sz="1400" dirty="0">
                <a:solidFill>
                  <a:srgbClr val="000000"/>
                </a:solidFill>
              </a:rPr>
              <a:t>Collection and </a:t>
            </a:r>
            <a:r>
              <a:rPr lang="en-US" sz="1400" dirty="0" smtClean="0">
                <a:solidFill>
                  <a:srgbClr val="000000"/>
                </a:solidFill>
              </a:rPr>
              <a:t>Analysis </a:t>
            </a:r>
          </a:p>
        </p:txBody>
      </p:sp>
      <p:sp>
        <p:nvSpPr>
          <p:cNvPr id="9" name="Rectangle 8"/>
          <p:cNvSpPr/>
          <p:nvPr/>
        </p:nvSpPr>
        <p:spPr>
          <a:xfrm>
            <a:off x="111448" y="3879100"/>
            <a:ext cx="3081924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Global Atlas and Resource </a:t>
            </a:r>
            <a:r>
              <a:rPr lang="en-US" sz="1400" b="1" dirty="0" smtClean="0">
                <a:solidFill>
                  <a:srgbClr val="000000"/>
                </a:solidFill>
              </a:rPr>
              <a:t>Assessment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International off-grid RE conf.</a:t>
            </a:r>
            <a:endParaRPr lang="en-US" sz="1400" b="1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RE Socio-economic </a:t>
            </a:r>
            <a:r>
              <a:rPr lang="en-US" sz="1400" b="1" dirty="0">
                <a:solidFill>
                  <a:srgbClr val="000000"/>
                </a:solidFill>
              </a:rPr>
              <a:t>I</a:t>
            </a:r>
            <a:r>
              <a:rPr lang="en-US" sz="1400" b="1" dirty="0" smtClean="0">
                <a:solidFill>
                  <a:srgbClr val="000000"/>
                </a:solidFill>
              </a:rPr>
              <a:t>mpacts </a:t>
            </a:r>
            <a:endParaRPr lang="en-US" sz="1400" b="1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Coalition for Action for renewable energy 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Online Learning Portal (IRELP)</a:t>
            </a:r>
          </a:p>
          <a:p>
            <a:pPr fontAlgn="base">
              <a:spcBef>
                <a:spcPct val="0"/>
              </a:spcBef>
              <a:spcAft>
                <a:spcPts val="600"/>
              </a:spcAft>
            </a:pPr>
            <a:endParaRPr lang="en-US" sz="1400" b="1" dirty="0" smtClean="0">
              <a:solidFill>
                <a:srgbClr val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61348" y="1324632"/>
            <a:ext cx="2952328" cy="1070770"/>
          </a:xfrm>
          <a:prstGeom prst="ellipse">
            <a:avLst/>
          </a:prstGeom>
          <a:solidFill>
            <a:srgbClr val="2C6C93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Knowledge, Policy and Finance Centre </a:t>
            </a:r>
            <a:r>
              <a:rPr lang="en-US" sz="1600" b="1" dirty="0" smtClean="0">
                <a:solidFill>
                  <a:srgbClr val="000000"/>
                </a:solidFill>
              </a:rPr>
              <a:t>(KPFC) 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2889565" y="1324632"/>
            <a:ext cx="2952328" cy="1070770"/>
          </a:xfrm>
          <a:prstGeom prst="ellipse">
            <a:avLst/>
          </a:prstGeom>
          <a:solidFill>
            <a:srgbClr val="2C6C93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IRENA Innovation and Technology Centre </a:t>
            </a:r>
            <a:r>
              <a:rPr lang="en-US" sz="1600" b="1" dirty="0" smtClean="0">
                <a:solidFill>
                  <a:srgbClr val="000000"/>
                </a:solidFill>
              </a:rPr>
              <a:t>(IITC)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5627876" y="1324632"/>
            <a:ext cx="2952328" cy="1070770"/>
          </a:xfrm>
          <a:prstGeom prst="ellipse">
            <a:avLst/>
          </a:prstGeom>
          <a:solidFill>
            <a:srgbClr val="2C6C93">
              <a:alpha val="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Country Support and Partnerships </a:t>
            </a:r>
            <a:r>
              <a:rPr lang="en-US" sz="1600" b="1" dirty="0" smtClean="0">
                <a:solidFill>
                  <a:srgbClr val="000000"/>
                </a:solidFill>
              </a:rPr>
              <a:t>(CSP) 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02523" y="2575109"/>
            <a:ext cx="316230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Cost &amp; Performance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Technology Solutions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Technology Roadmap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024453" y="3898549"/>
            <a:ext cx="2809641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RE Costing Analysis 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RE Technology Roadmaps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Project Navigator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Dynamic Modelling &amp; Grid Stability Studies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RE Standardisation 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 smtClean="0">
              <a:solidFill>
                <a:srgbClr val="00000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807959" y="2512792"/>
            <a:ext cx="3570017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National &amp; Regional RE Strategies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Renewables Readiness Assessment (RRA)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srgbClr val="000000"/>
                </a:solidFill>
              </a:rPr>
              <a:t>Capacity Needs Assessment &amp; Capacity Building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834094" y="3877532"/>
            <a:ext cx="313039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rgbClr val="000000"/>
                </a:solidFill>
              </a:rPr>
              <a:t>RRAs in up </a:t>
            </a:r>
            <a:r>
              <a:rPr lang="en-US" sz="1400" b="1" dirty="0" smtClean="0">
                <a:solidFill>
                  <a:srgbClr val="000000"/>
                </a:solidFill>
              </a:rPr>
              <a:t>26 countries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Clean </a:t>
            </a:r>
            <a:r>
              <a:rPr lang="en-US" sz="1400" b="1" dirty="0">
                <a:solidFill>
                  <a:srgbClr val="000000"/>
                </a:solidFill>
              </a:rPr>
              <a:t>Energy </a:t>
            </a:r>
            <a:r>
              <a:rPr lang="en-US" sz="1400" b="1" dirty="0" smtClean="0">
                <a:solidFill>
                  <a:srgbClr val="000000"/>
                </a:solidFill>
              </a:rPr>
              <a:t>Corridors</a:t>
            </a:r>
            <a:endParaRPr lang="en-US" sz="1400" b="1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GREIN</a:t>
            </a:r>
            <a:r>
              <a:rPr lang="en-US" sz="1400" b="1" dirty="0">
                <a:solidFill>
                  <a:srgbClr val="000000"/>
                </a:solidFill>
              </a:rPr>
              <a:t>: Global Islands Network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Global Geothermal Alliance </a:t>
            </a: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b="1" dirty="0" smtClean="0">
                <a:solidFill>
                  <a:srgbClr val="000000"/>
                </a:solidFill>
              </a:rPr>
              <a:t>Technical Advisory and Capacity </a:t>
            </a:r>
            <a:r>
              <a:rPr lang="en-US" sz="1400" b="1" dirty="0">
                <a:solidFill>
                  <a:srgbClr val="000000"/>
                </a:solidFill>
              </a:rPr>
              <a:t>Building </a:t>
            </a:r>
            <a:r>
              <a:rPr lang="en-US" sz="1400" b="1" dirty="0" err="1">
                <a:solidFill>
                  <a:srgbClr val="000000"/>
                </a:solidFill>
              </a:rPr>
              <a:t>Programmes</a:t>
            </a:r>
            <a:endParaRPr lang="en-US" sz="1400" b="1" dirty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 smtClean="0">
              <a:solidFill>
                <a:srgbClr val="000000"/>
              </a:solidFill>
            </a:endParaRPr>
          </a:p>
          <a:p>
            <a:pPr marL="285750" indent="-28575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779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7414" y="336748"/>
            <a:ext cx="6316266" cy="363202"/>
          </a:xfrm>
        </p:spPr>
        <p:txBody>
          <a:bodyPr/>
          <a:lstStyle/>
          <a:p>
            <a:r>
              <a:rPr lang="en-US" sz="4000" dirty="0">
                <a:solidFill>
                  <a:srgbClr val="0070C0"/>
                </a:solidFill>
                <a:latin typeface="Calibri" panose="020F0502020204030204" pitchFamily="34" charset="0"/>
              </a:rPr>
              <a:t>What is RR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374" y="1511674"/>
            <a:ext cx="8686800" cy="3888432"/>
          </a:xfrm>
        </p:spPr>
        <p:txBody>
          <a:bodyPr/>
          <a:lstStyle/>
          <a:p>
            <a:pPr marL="541205" lvl="1" indent="-342900">
              <a:lnSpc>
                <a:spcPct val="150000"/>
              </a:lnSpc>
              <a:spcAft>
                <a:spcPts val="9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latin typeface="Calibri" panose="020F0502020204030204" pitchFamily="34" charset="0"/>
              </a:rPr>
              <a:t>Comprehensive assessment of the situation on the ground for RE deployment; identification of obstacles hindering accelerated deployment; recommending short / medium-term actions to overcome them</a:t>
            </a:r>
          </a:p>
          <a:p>
            <a:pPr marL="541205" lvl="1" indent="-342900">
              <a:lnSpc>
                <a:spcPct val="150000"/>
              </a:lnSpc>
              <a:spcAft>
                <a:spcPts val="9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Country-initiated, country-led process</a:t>
            </a:r>
          </a:p>
          <a:p>
            <a:pPr marL="541205" lvl="1" indent="-342900">
              <a:lnSpc>
                <a:spcPct val="150000"/>
              </a:lnSpc>
              <a:spcAft>
                <a:spcPts val="9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Inclusive and multi-stakeholder process promoting consensus</a:t>
            </a:r>
          </a:p>
          <a:p>
            <a:pPr marL="541205" lvl="1" indent="-342900">
              <a:lnSpc>
                <a:spcPct val="150000"/>
              </a:lnSpc>
              <a:spcAft>
                <a:spcPts val="9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Process establishing a basis for future collaboration</a:t>
            </a:r>
          </a:p>
          <a:p>
            <a:pPr marL="541205" lvl="1" indent="-342900">
              <a:lnSpc>
                <a:spcPct val="150000"/>
              </a:lnSpc>
              <a:spcAft>
                <a:spcPts val="9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IRENA as facilitator</a:t>
            </a:r>
          </a:p>
        </p:txBody>
      </p:sp>
    </p:spTree>
    <p:extLst>
      <p:ext uri="{BB962C8B-B14F-4D97-AF65-F5344CB8AC3E}">
        <p14:creationId xmlns:p14="http://schemas.microsoft.com/office/powerpoint/2010/main" val="253700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7894" y="158160"/>
            <a:ext cx="5131755" cy="891199"/>
          </a:xfrm>
        </p:spPr>
        <p:txBody>
          <a:bodyPr/>
          <a:lstStyle/>
          <a:p>
            <a:r>
              <a:rPr lang="en-US" sz="3200" dirty="0" smtClean="0">
                <a:solidFill>
                  <a:srgbClr val="0070C0"/>
                </a:solidFill>
                <a:latin typeface="Calibri" panose="020F0502020204030204" pitchFamily="34" charset="0"/>
              </a:rPr>
              <a:t/>
            </a:r>
            <a:br>
              <a:rPr lang="en-US" sz="3200" dirty="0" smtClean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en-US" sz="32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RRA countries (26)</a:t>
            </a:r>
            <a:endParaRPr lang="en-US" sz="2400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19807" y="1789557"/>
            <a:ext cx="7630509" cy="4280166"/>
            <a:chOff x="-8296" y="1734776"/>
            <a:chExt cx="9044791" cy="4790567"/>
          </a:xfrm>
        </p:grpSpPr>
        <p:sp>
          <p:nvSpPr>
            <p:cNvPr id="7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212224" y="6453949"/>
              <a:ext cx="40198" cy="64255"/>
            </a:xfrm>
            <a:custGeom>
              <a:avLst/>
              <a:gdLst>
                <a:gd name="T0" fmla="*/ 0 w 73"/>
                <a:gd name="T1" fmla="*/ 0 h 20"/>
                <a:gd name="T2" fmla="*/ 208699 w 73"/>
                <a:gd name="T3" fmla="*/ 40827960 h 20"/>
                <a:gd name="T4" fmla="*/ 834338 w 73"/>
                <a:gd name="T5" fmla="*/ 81653063 h 20"/>
                <a:gd name="T6" fmla="*/ 1668220 w 73"/>
                <a:gd name="T7" fmla="*/ 114314288 h 20"/>
                <a:gd name="T8" fmla="*/ 2711257 w 73"/>
                <a:gd name="T9" fmla="*/ 163306125 h 20"/>
                <a:gd name="T10" fmla="*/ 3336897 w 73"/>
                <a:gd name="T11" fmla="*/ 138811635 h 20"/>
                <a:gd name="T12" fmla="*/ 3962536 w 73"/>
                <a:gd name="T13" fmla="*/ 106150410 h 20"/>
                <a:gd name="T14" fmla="*/ 4796418 w 73"/>
                <a:gd name="T15" fmla="*/ 89819798 h 20"/>
                <a:gd name="T16" fmla="*/ 5630756 w 73"/>
                <a:gd name="T17" fmla="*/ 81653063 h 20"/>
                <a:gd name="T18" fmla="*/ 7507675 w 73"/>
                <a:gd name="T19" fmla="*/ 65322450 h 20"/>
                <a:gd name="T20" fmla="*/ 9593293 w 73"/>
                <a:gd name="T21" fmla="*/ 57158573 h 20"/>
                <a:gd name="T22" fmla="*/ 11261513 w 73"/>
                <a:gd name="T23" fmla="*/ 57158573 h 20"/>
                <a:gd name="T24" fmla="*/ 13138431 w 73"/>
                <a:gd name="T25" fmla="*/ 48991838 h 20"/>
                <a:gd name="T26" fmla="*/ 13764071 w 73"/>
                <a:gd name="T27" fmla="*/ 40827960 h 20"/>
                <a:gd name="T28" fmla="*/ 14389711 w 73"/>
                <a:gd name="T29" fmla="*/ 32661225 h 20"/>
                <a:gd name="T30" fmla="*/ 14807108 w 73"/>
                <a:gd name="T31" fmla="*/ 16330613 h 20"/>
                <a:gd name="T32" fmla="*/ 15224049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-8296" y="2070330"/>
              <a:ext cx="945635" cy="501547"/>
            </a:xfrm>
            <a:custGeom>
              <a:avLst/>
              <a:gdLst>
                <a:gd name="T0" fmla="*/ 262457292 w 1808"/>
                <a:gd name="T1" fmla="*/ 222267807 h 850"/>
                <a:gd name="T2" fmla="*/ 262269043 w 1808"/>
                <a:gd name="T3" fmla="*/ 207394708 h 850"/>
                <a:gd name="T4" fmla="*/ 258318423 w 1808"/>
                <a:gd name="T5" fmla="*/ 178475086 h 850"/>
                <a:gd name="T6" fmla="*/ 248911193 w 1808"/>
                <a:gd name="T7" fmla="*/ 176547461 h 850"/>
                <a:gd name="T8" fmla="*/ 237810592 w 1808"/>
                <a:gd name="T9" fmla="*/ 175996411 h 850"/>
                <a:gd name="T10" fmla="*/ 213352575 w 1808"/>
                <a:gd name="T11" fmla="*/ 160297262 h 850"/>
                <a:gd name="T12" fmla="*/ 183061451 w 1808"/>
                <a:gd name="T13" fmla="*/ 147903363 h 850"/>
                <a:gd name="T14" fmla="*/ 177417460 w 1808"/>
                <a:gd name="T15" fmla="*/ 138814189 h 850"/>
                <a:gd name="T16" fmla="*/ 169515352 w 1808"/>
                <a:gd name="T17" fmla="*/ 142119438 h 850"/>
                <a:gd name="T18" fmla="*/ 159732058 w 1808"/>
                <a:gd name="T19" fmla="*/ 156992012 h 850"/>
                <a:gd name="T20" fmla="*/ 126995436 w 1808"/>
                <a:gd name="T21" fmla="*/ 170488011 h 850"/>
                <a:gd name="T22" fmla="*/ 127559748 w 1808"/>
                <a:gd name="T23" fmla="*/ 159195687 h 850"/>
                <a:gd name="T24" fmla="*/ 135650105 w 1808"/>
                <a:gd name="T25" fmla="*/ 150933088 h 850"/>
                <a:gd name="T26" fmla="*/ 147879330 w 1808"/>
                <a:gd name="T27" fmla="*/ 150106513 h 850"/>
                <a:gd name="T28" fmla="*/ 136214417 w 1808"/>
                <a:gd name="T29" fmla="*/ 145424163 h 850"/>
                <a:gd name="T30" fmla="*/ 108745722 w 1808"/>
                <a:gd name="T31" fmla="*/ 162225412 h 850"/>
                <a:gd name="T32" fmla="*/ 102913482 w 1808"/>
                <a:gd name="T33" fmla="*/ 172140636 h 850"/>
                <a:gd name="T34" fmla="*/ 98962428 w 1808"/>
                <a:gd name="T35" fmla="*/ 179026135 h 850"/>
                <a:gd name="T36" fmla="*/ 85039832 w 1808"/>
                <a:gd name="T37" fmla="*/ 180127710 h 850"/>
                <a:gd name="T38" fmla="*/ 72058046 w 1808"/>
                <a:gd name="T39" fmla="*/ 193348184 h 850"/>
                <a:gd name="T40" fmla="*/ 47411780 w 1808"/>
                <a:gd name="T41" fmla="*/ 206568658 h 850"/>
                <a:gd name="T42" fmla="*/ 19754836 w 1808"/>
                <a:gd name="T43" fmla="*/ 222267807 h 850"/>
                <a:gd name="T44" fmla="*/ 752561 w 1808"/>
                <a:gd name="T45" fmla="*/ 223920432 h 850"/>
                <a:gd name="T46" fmla="*/ 2634181 w 1808"/>
                <a:gd name="T47" fmla="*/ 217310457 h 850"/>
                <a:gd name="T48" fmla="*/ 23894139 w 1808"/>
                <a:gd name="T49" fmla="*/ 209598383 h 850"/>
                <a:gd name="T50" fmla="*/ 49857278 w 1808"/>
                <a:gd name="T51" fmla="*/ 191695559 h 850"/>
                <a:gd name="T52" fmla="*/ 56442512 w 1808"/>
                <a:gd name="T53" fmla="*/ 172416161 h 850"/>
                <a:gd name="T54" fmla="*/ 47599595 w 1808"/>
                <a:gd name="T55" fmla="*/ 180954285 h 850"/>
                <a:gd name="T56" fmla="*/ 28221256 w 1808"/>
                <a:gd name="T57" fmla="*/ 177097986 h 850"/>
                <a:gd name="T58" fmla="*/ 32360125 w 1808"/>
                <a:gd name="T59" fmla="*/ 168009336 h 850"/>
                <a:gd name="T60" fmla="*/ 45154097 w 1808"/>
                <a:gd name="T61" fmla="*/ 150657563 h 850"/>
                <a:gd name="T62" fmla="*/ 28597320 w 1808"/>
                <a:gd name="T63" fmla="*/ 158369112 h 850"/>
                <a:gd name="T64" fmla="*/ 26904383 w 1808"/>
                <a:gd name="T65" fmla="*/ 147627838 h 850"/>
                <a:gd name="T66" fmla="*/ 65096748 w 1808"/>
                <a:gd name="T67" fmla="*/ 104661691 h 850"/>
                <a:gd name="T68" fmla="*/ 83534710 w 1808"/>
                <a:gd name="T69" fmla="*/ 105212216 h 850"/>
                <a:gd name="T70" fmla="*/ 107052351 w 1808"/>
                <a:gd name="T71" fmla="*/ 96123042 h 850"/>
                <a:gd name="T72" fmla="*/ 111379903 w 1808"/>
                <a:gd name="T73" fmla="*/ 84280193 h 850"/>
                <a:gd name="T74" fmla="*/ 95199623 w 1808"/>
                <a:gd name="T75" fmla="*/ 91165693 h 850"/>
                <a:gd name="T76" fmla="*/ 82406085 w 1808"/>
                <a:gd name="T77" fmla="*/ 87584918 h 850"/>
                <a:gd name="T78" fmla="*/ 88802637 w 1808"/>
                <a:gd name="T79" fmla="*/ 79046794 h 850"/>
                <a:gd name="T80" fmla="*/ 133768485 w 1808"/>
                <a:gd name="T81" fmla="*/ 65551320 h 850"/>
                <a:gd name="T82" fmla="*/ 140918032 w 1808"/>
                <a:gd name="T83" fmla="*/ 57839245 h 850"/>
                <a:gd name="T84" fmla="*/ 128688807 w 1808"/>
                <a:gd name="T85" fmla="*/ 48474546 h 850"/>
                <a:gd name="T86" fmla="*/ 139036413 w 1808"/>
                <a:gd name="T87" fmla="*/ 30021198 h 850"/>
                <a:gd name="T88" fmla="*/ 185883880 w 1808"/>
                <a:gd name="T89" fmla="*/ 7436549 h 850"/>
                <a:gd name="T90" fmla="*/ 217679693 w 1808"/>
                <a:gd name="T91" fmla="*/ 2478675 h 850"/>
                <a:gd name="T92" fmla="*/ 240256524 w 1808"/>
                <a:gd name="T93" fmla="*/ 551050 h 850"/>
                <a:gd name="T94" fmla="*/ 254743433 w 1808"/>
                <a:gd name="T95" fmla="*/ 2754200 h 850"/>
                <a:gd name="T96" fmla="*/ 285222372 w 1808"/>
                <a:gd name="T97" fmla="*/ 9364699 h 850"/>
                <a:gd name="T98" fmla="*/ 331317279 w 1808"/>
                <a:gd name="T99" fmla="*/ 11292324 h 850"/>
                <a:gd name="T100" fmla="*/ 242138144 w 1808"/>
                <a:gd name="T101" fmla="*/ 148729413 h 850"/>
                <a:gd name="T102" fmla="*/ 248534696 w 1808"/>
                <a:gd name="T103" fmla="*/ 157267537 h 850"/>
                <a:gd name="T104" fmla="*/ 249663754 w 1808"/>
                <a:gd name="T105" fmla="*/ 165530137 h 850"/>
                <a:gd name="T106" fmla="*/ 260011360 w 1808"/>
                <a:gd name="T107" fmla="*/ 164979611 h 850"/>
                <a:gd name="T108" fmla="*/ 268854278 w 1808"/>
                <a:gd name="T109" fmla="*/ 158920162 h 850"/>
                <a:gd name="T110" fmla="*/ 277508513 w 1808"/>
                <a:gd name="T111" fmla="*/ 183708485 h 850"/>
                <a:gd name="T112" fmla="*/ 275063015 w 1808"/>
                <a:gd name="T113" fmla="*/ 194449759 h 850"/>
                <a:gd name="T114" fmla="*/ 272617083 w 1808"/>
                <a:gd name="T115" fmla="*/ 204365508 h 850"/>
                <a:gd name="T116" fmla="*/ 277885010 w 1808"/>
                <a:gd name="T117" fmla="*/ 215657832 h 850"/>
                <a:gd name="T118" fmla="*/ 277885010 w 1808"/>
                <a:gd name="T119" fmla="*/ 223369382 h 850"/>
                <a:gd name="T120" fmla="*/ 268289532 w 1808"/>
                <a:gd name="T121" fmla="*/ 233560131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46834" y="2762856"/>
              <a:ext cx="1665390" cy="865658"/>
            </a:xfrm>
            <a:custGeom>
              <a:avLst/>
              <a:gdLst>
                <a:gd name="T0" fmla="*/ 554050800 w 3175"/>
                <a:gd name="T1" fmla="*/ 96576483 h 1472"/>
                <a:gd name="T2" fmla="*/ 547995600 w 3175"/>
                <a:gd name="T3" fmla="*/ 120378656 h 1472"/>
                <a:gd name="T4" fmla="*/ 537966675 w 3175"/>
                <a:gd name="T5" fmla="*/ 126397458 h 1472"/>
                <a:gd name="T6" fmla="*/ 504663075 w 3175"/>
                <a:gd name="T7" fmla="*/ 154850642 h 1472"/>
                <a:gd name="T8" fmla="*/ 491038875 w 3175"/>
                <a:gd name="T9" fmla="*/ 160048770 h 1472"/>
                <a:gd name="T10" fmla="*/ 486308250 w 3175"/>
                <a:gd name="T11" fmla="*/ 185218733 h 1472"/>
                <a:gd name="T12" fmla="*/ 475711650 w 3175"/>
                <a:gd name="T13" fmla="*/ 169897908 h 1472"/>
                <a:gd name="T14" fmla="*/ 472873275 w 3175"/>
                <a:gd name="T15" fmla="*/ 188774989 h 1472"/>
                <a:gd name="T16" fmla="*/ 466439625 w 3175"/>
                <a:gd name="T17" fmla="*/ 203548697 h 1472"/>
                <a:gd name="T18" fmla="*/ 467574975 w 3175"/>
                <a:gd name="T19" fmla="*/ 225162405 h 1472"/>
                <a:gd name="T20" fmla="*/ 441272700 w 3175"/>
                <a:gd name="T21" fmla="*/ 253889148 h 1472"/>
                <a:gd name="T22" fmla="*/ 409672125 w 3175"/>
                <a:gd name="T23" fmla="*/ 285898588 h 1472"/>
                <a:gd name="T24" fmla="*/ 399643200 w 3175"/>
                <a:gd name="T25" fmla="*/ 326937015 h 1472"/>
                <a:gd name="T26" fmla="*/ 397940175 w 3175"/>
                <a:gd name="T27" fmla="*/ 398616569 h 1472"/>
                <a:gd name="T28" fmla="*/ 383369850 w 3175"/>
                <a:gd name="T29" fmla="*/ 386852524 h 1472"/>
                <a:gd name="T30" fmla="*/ 377125425 w 3175"/>
                <a:gd name="T31" fmla="*/ 362776792 h 1472"/>
                <a:gd name="T32" fmla="*/ 370691775 w 3175"/>
                <a:gd name="T33" fmla="*/ 323927353 h 1472"/>
                <a:gd name="T34" fmla="*/ 346660200 w 3175"/>
                <a:gd name="T35" fmla="*/ 319549900 h 1472"/>
                <a:gd name="T36" fmla="*/ 312788925 w 3175"/>
                <a:gd name="T37" fmla="*/ 312710423 h 1472"/>
                <a:gd name="T38" fmla="*/ 305787600 w 3175"/>
                <a:gd name="T39" fmla="*/ 324474469 h 1472"/>
                <a:gd name="T40" fmla="*/ 292920300 w 3175"/>
                <a:gd name="T41" fmla="*/ 338701061 h 1472"/>
                <a:gd name="T42" fmla="*/ 271727100 w 3175"/>
                <a:gd name="T43" fmla="*/ 326115818 h 1472"/>
                <a:gd name="T44" fmla="*/ 232935975 w 3175"/>
                <a:gd name="T45" fmla="*/ 348003084 h 1472"/>
                <a:gd name="T46" fmla="*/ 219501000 w 3175"/>
                <a:gd name="T47" fmla="*/ 380833722 h 1472"/>
                <a:gd name="T48" fmla="*/ 204363000 w 3175"/>
                <a:gd name="T49" fmla="*/ 378097617 h 1472"/>
                <a:gd name="T50" fmla="*/ 196226325 w 3175"/>
                <a:gd name="T51" fmla="*/ 335691399 h 1472"/>
                <a:gd name="T52" fmla="*/ 177871500 w 3175"/>
                <a:gd name="T53" fmla="*/ 325568702 h 1472"/>
                <a:gd name="T54" fmla="*/ 164058075 w 3175"/>
                <a:gd name="T55" fmla="*/ 333502934 h 1472"/>
                <a:gd name="T56" fmla="*/ 147973950 w 3175"/>
                <a:gd name="T57" fmla="*/ 297389599 h 1472"/>
                <a:gd name="T58" fmla="*/ 126780750 w 3175"/>
                <a:gd name="T59" fmla="*/ 291370274 h 1472"/>
                <a:gd name="T60" fmla="*/ 87421950 w 3175"/>
                <a:gd name="T61" fmla="*/ 291370274 h 1472"/>
                <a:gd name="T62" fmla="*/ 41629500 w 3175"/>
                <a:gd name="T63" fmla="*/ 277964879 h 1472"/>
                <a:gd name="T64" fmla="*/ 16651800 w 3175"/>
                <a:gd name="T65" fmla="*/ 251700160 h 1472"/>
                <a:gd name="T66" fmla="*/ 7379775 w 3175"/>
                <a:gd name="T67" fmla="*/ 232001882 h 1472"/>
                <a:gd name="T68" fmla="*/ 5487525 w 3175"/>
                <a:gd name="T69" fmla="*/ 181114838 h 1472"/>
                <a:gd name="T70" fmla="*/ 0 w 3175"/>
                <a:gd name="T71" fmla="*/ 165246897 h 1472"/>
                <a:gd name="T72" fmla="*/ 26680725 w 3175"/>
                <a:gd name="T73" fmla="*/ 91925471 h 1472"/>
                <a:gd name="T74" fmla="*/ 46738575 w 3175"/>
                <a:gd name="T75" fmla="*/ 48151462 h 1472"/>
                <a:gd name="T76" fmla="*/ 67174875 w 3175"/>
                <a:gd name="T77" fmla="*/ 27906068 h 1472"/>
                <a:gd name="T78" fmla="*/ 71148600 w 3175"/>
                <a:gd name="T79" fmla="*/ 32830638 h 1472"/>
                <a:gd name="T80" fmla="*/ 345714075 w 3175"/>
                <a:gd name="T81" fmla="*/ 0 h 1472"/>
                <a:gd name="T82" fmla="*/ 364447350 w 3175"/>
                <a:gd name="T83" fmla="*/ 15047267 h 1472"/>
                <a:gd name="T84" fmla="*/ 381288375 w 3175"/>
                <a:gd name="T85" fmla="*/ 18877604 h 1472"/>
                <a:gd name="T86" fmla="*/ 365015025 w 3175"/>
                <a:gd name="T87" fmla="*/ 35019103 h 1472"/>
                <a:gd name="T88" fmla="*/ 374097825 w 3175"/>
                <a:gd name="T89" fmla="*/ 45415358 h 1472"/>
                <a:gd name="T90" fmla="*/ 396237150 w 3175"/>
                <a:gd name="T91" fmla="*/ 42406218 h 1472"/>
                <a:gd name="T92" fmla="*/ 432189900 w 3175"/>
                <a:gd name="T93" fmla="*/ 52802474 h 1472"/>
                <a:gd name="T94" fmla="*/ 419511825 w 3175"/>
                <a:gd name="T95" fmla="*/ 55811613 h 1472"/>
                <a:gd name="T96" fmla="*/ 394912575 w 3175"/>
                <a:gd name="T97" fmla="*/ 72227193 h 1472"/>
                <a:gd name="T98" fmla="*/ 382423725 w 3175"/>
                <a:gd name="T99" fmla="*/ 97123599 h 1472"/>
                <a:gd name="T100" fmla="*/ 380720700 w 3175"/>
                <a:gd name="T101" fmla="*/ 123387795 h 1472"/>
                <a:gd name="T102" fmla="*/ 392831100 w 3175"/>
                <a:gd name="T103" fmla="*/ 114085772 h 1472"/>
                <a:gd name="T104" fmla="*/ 417241125 w 3175"/>
                <a:gd name="T105" fmla="*/ 68943973 h 1472"/>
                <a:gd name="T106" fmla="*/ 428973075 w 3175"/>
                <a:gd name="T107" fmla="*/ 82897007 h 1472"/>
                <a:gd name="T108" fmla="*/ 435028275 w 3175"/>
                <a:gd name="T109" fmla="*/ 107793412 h 1472"/>
                <a:gd name="T110" fmla="*/ 417430350 w 3175"/>
                <a:gd name="T111" fmla="*/ 124208469 h 1472"/>
                <a:gd name="T112" fmla="*/ 438434325 w 3175"/>
                <a:gd name="T113" fmla="*/ 125029144 h 1472"/>
                <a:gd name="T114" fmla="*/ 486308250 w 3175"/>
                <a:gd name="T115" fmla="*/ 102048168 h 1472"/>
                <a:gd name="T116" fmla="*/ 516584250 w 3175"/>
                <a:gd name="T117" fmla="*/ 68943973 h 1472"/>
                <a:gd name="T118" fmla="*/ 570702600 w 3175"/>
                <a:gd name="T119" fmla="*/ 55538055 h 1472"/>
                <a:gd name="T120" fmla="*/ 593409600 w 3175"/>
                <a:gd name="T121" fmla="*/ 32283521 h 1472"/>
                <a:gd name="T122" fmla="*/ 595869525 w 3175"/>
                <a:gd name="T123" fmla="*/ 5033992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551810" y="4506666"/>
              <a:ext cx="409648" cy="663968"/>
            </a:xfrm>
            <a:custGeom>
              <a:avLst/>
              <a:gdLst>
                <a:gd name="T0" fmla="*/ 109469015 w 784"/>
                <a:gd name="T1" fmla="*/ 75923370 h 1128"/>
                <a:gd name="T2" fmla="*/ 103084871 w 784"/>
                <a:gd name="T3" fmla="*/ 80856661 h 1128"/>
                <a:gd name="T4" fmla="*/ 90879904 w 784"/>
                <a:gd name="T5" fmla="*/ 106073355 h 1128"/>
                <a:gd name="T6" fmla="*/ 87312358 w 784"/>
                <a:gd name="T7" fmla="*/ 125259948 h 1128"/>
                <a:gd name="T8" fmla="*/ 90316585 w 784"/>
                <a:gd name="T9" fmla="*/ 143075397 h 1128"/>
                <a:gd name="T10" fmla="*/ 99517326 w 784"/>
                <a:gd name="T11" fmla="*/ 161988179 h 1128"/>
                <a:gd name="T12" fmla="*/ 108718067 w 784"/>
                <a:gd name="T13" fmla="*/ 168840234 h 1128"/>
                <a:gd name="T14" fmla="*/ 117355488 w 784"/>
                <a:gd name="T15" fmla="*/ 164454563 h 1128"/>
                <a:gd name="T16" fmla="*/ 122800621 w 784"/>
                <a:gd name="T17" fmla="*/ 178981674 h 1128"/>
                <a:gd name="T18" fmla="*/ 126180538 w 784"/>
                <a:gd name="T19" fmla="*/ 187204350 h 1128"/>
                <a:gd name="T20" fmla="*/ 134066578 w 784"/>
                <a:gd name="T21" fmla="*/ 188300637 h 1128"/>
                <a:gd name="T22" fmla="*/ 140638784 w 784"/>
                <a:gd name="T23" fmla="*/ 195153216 h 1128"/>
                <a:gd name="T24" fmla="*/ 144581587 w 784"/>
                <a:gd name="T25" fmla="*/ 207212896 h 1128"/>
                <a:gd name="T26" fmla="*/ 142892062 w 784"/>
                <a:gd name="T27" fmla="*/ 216531859 h 1128"/>
                <a:gd name="T28" fmla="*/ 142704000 w 784"/>
                <a:gd name="T29" fmla="*/ 226125155 h 1128"/>
                <a:gd name="T30" fmla="*/ 144957278 w 784"/>
                <a:gd name="T31" fmla="*/ 241748553 h 1128"/>
                <a:gd name="T32" fmla="*/ 142328742 w 784"/>
                <a:gd name="T33" fmla="*/ 255453187 h 1128"/>
                <a:gd name="T34" fmla="*/ 144581587 w 784"/>
                <a:gd name="T35" fmla="*/ 272446682 h 1128"/>
                <a:gd name="T36" fmla="*/ 143267319 w 784"/>
                <a:gd name="T37" fmla="*/ 288892034 h 1128"/>
                <a:gd name="T38" fmla="*/ 129748084 w 784"/>
                <a:gd name="T39" fmla="*/ 307530483 h 1128"/>
                <a:gd name="T40" fmla="*/ 121673982 w 784"/>
                <a:gd name="T41" fmla="*/ 302322858 h 1128"/>
                <a:gd name="T42" fmla="*/ 113036561 w 784"/>
                <a:gd name="T43" fmla="*/ 289440178 h 1128"/>
                <a:gd name="T44" fmla="*/ 86936667 w 784"/>
                <a:gd name="T45" fmla="*/ 273542969 h 1128"/>
                <a:gd name="T46" fmla="*/ 79801576 w 784"/>
                <a:gd name="T47" fmla="*/ 265046484 h 1128"/>
                <a:gd name="T48" fmla="*/ 62151475 w 784"/>
                <a:gd name="T49" fmla="*/ 245037414 h 1128"/>
                <a:gd name="T50" fmla="*/ 59710569 w 784"/>
                <a:gd name="T51" fmla="*/ 237637215 h 1128"/>
                <a:gd name="T52" fmla="*/ 61588156 w 784"/>
                <a:gd name="T53" fmla="*/ 223384438 h 1128"/>
                <a:gd name="T54" fmla="*/ 54453064 w 784"/>
                <a:gd name="T55" fmla="*/ 213242998 h 1128"/>
                <a:gd name="T56" fmla="*/ 48632240 w 784"/>
                <a:gd name="T57" fmla="*/ 204197845 h 1128"/>
                <a:gd name="T58" fmla="*/ 45627581 w 784"/>
                <a:gd name="T59" fmla="*/ 188848780 h 1128"/>
                <a:gd name="T60" fmla="*/ 28728429 w 784"/>
                <a:gd name="T61" fmla="*/ 145268494 h 1128"/>
                <a:gd name="T62" fmla="*/ 22532347 w 784"/>
                <a:gd name="T63" fmla="*/ 133482624 h 1128"/>
                <a:gd name="T64" fmla="*/ 16899152 w 784"/>
                <a:gd name="T65" fmla="*/ 118407369 h 1128"/>
                <a:gd name="T66" fmla="*/ 4130865 w 784"/>
                <a:gd name="T67" fmla="*/ 108814073 h 1128"/>
                <a:gd name="T68" fmla="*/ 0 w 784"/>
                <a:gd name="T69" fmla="*/ 99495110 h 1128"/>
                <a:gd name="T70" fmla="*/ 2440907 w 784"/>
                <a:gd name="T71" fmla="*/ 75649036 h 1128"/>
                <a:gd name="T72" fmla="*/ 5257504 w 784"/>
                <a:gd name="T73" fmla="*/ 67426360 h 1128"/>
                <a:gd name="T74" fmla="*/ 13519235 w 784"/>
                <a:gd name="T75" fmla="*/ 60848115 h 1128"/>
                <a:gd name="T76" fmla="*/ 17838162 w 784"/>
                <a:gd name="T77" fmla="*/ 74552749 h 1128"/>
                <a:gd name="T78" fmla="*/ 29667439 w 784"/>
                <a:gd name="T79" fmla="*/ 84146045 h 1128"/>
                <a:gd name="T80" fmla="*/ 34549253 w 784"/>
                <a:gd name="T81" fmla="*/ 74278939 h 1128"/>
                <a:gd name="T82" fmla="*/ 37741541 w 784"/>
                <a:gd name="T83" fmla="*/ 61670592 h 1128"/>
                <a:gd name="T84" fmla="*/ 50697456 w 784"/>
                <a:gd name="T85" fmla="*/ 46595337 h 1128"/>
                <a:gd name="T86" fmla="*/ 64592382 w 784"/>
                <a:gd name="T87" fmla="*/ 32890703 h 1128"/>
                <a:gd name="T88" fmla="*/ 67033289 w 784"/>
                <a:gd name="T89" fmla="*/ 19186593 h 1128"/>
                <a:gd name="T90" fmla="*/ 65155702 w 784"/>
                <a:gd name="T91" fmla="*/ 1370620 h 1128"/>
                <a:gd name="T92" fmla="*/ 79238256 w 784"/>
                <a:gd name="T93" fmla="*/ 14526588 h 1128"/>
                <a:gd name="T94" fmla="*/ 87688049 w 784"/>
                <a:gd name="T95" fmla="*/ 29327509 h 1128"/>
                <a:gd name="T96" fmla="*/ 95010769 w 784"/>
                <a:gd name="T97" fmla="*/ 42210189 h 1128"/>
                <a:gd name="T98" fmla="*/ 105338149 w 784"/>
                <a:gd name="T99" fmla="*/ 43032143 h 1128"/>
                <a:gd name="T100" fmla="*/ 115853158 w 784"/>
                <a:gd name="T101" fmla="*/ 40839569 h 1128"/>
                <a:gd name="T102" fmla="*/ 120172086 w 784"/>
                <a:gd name="T103" fmla="*/ 42758333 h 1128"/>
                <a:gd name="T104" fmla="*/ 122800621 w 784"/>
                <a:gd name="T105" fmla="*/ 52899773 h 1128"/>
                <a:gd name="T106" fmla="*/ 117730745 w 784"/>
                <a:gd name="T107" fmla="*/ 57559254 h 1128"/>
                <a:gd name="T108" fmla="*/ 117730745 w 784"/>
                <a:gd name="T109" fmla="*/ 65781930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913603" y="5140291"/>
              <a:ext cx="315849" cy="1270821"/>
            </a:xfrm>
            <a:custGeom>
              <a:avLst/>
              <a:gdLst>
                <a:gd name="T0" fmla="*/ 80198714 w 598"/>
                <a:gd name="T1" fmla="*/ 554435196 h 2158"/>
                <a:gd name="T2" fmla="*/ 65616971 w 598"/>
                <a:gd name="T3" fmla="*/ 536328921 h 2158"/>
                <a:gd name="T4" fmla="*/ 65041410 w 598"/>
                <a:gd name="T5" fmla="*/ 519319949 h 2158"/>
                <a:gd name="T6" fmla="*/ 66192969 w 598"/>
                <a:gd name="T7" fmla="*/ 505603408 h 2158"/>
                <a:gd name="T8" fmla="*/ 69454479 w 598"/>
                <a:gd name="T9" fmla="*/ 491337953 h 2158"/>
                <a:gd name="T10" fmla="*/ 67919651 w 598"/>
                <a:gd name="T11" fmla="*/ 477346431 h 2158"/>
                <a:gd name="T12" fmla="*/ 63698435 w 598"/>
                <a:gd name="T13" fmla="*/ 461709218 h 2158"/>
                <a:gd name="T14" fmla="*/ 58134683 w 598"/>
                <a:gd name="T15" fmla="*/ 433727222 h 2158"/>
                <a:gd name="T16" fmla="*/ 43361086 w 598"/>
                <a:gd name="T17" fmla="*/ 400532123 h 2158"/>
                <a:gd name="T18" fmla="*/ 39523578 w 598"/>
                <a:gd name="T19" fmla="*/ 378859485 h 2158"/>
                <a:gd name="T20" fmla="*/ 41634404 w 598"/>
                <a:gd name="T21" fmla="*/ 356364001 h 2158"/>
                <a:gd name="T22" fmla="*/ 39907723 w 598"/>
                <a:gd name="T23" fmla="*/ 338806116 h 2158"/>
                <a:gd name="T24" fmla="*/ 35494654 w 598"/>
                <a:gd name="T25" fmla="*/ 319602539 h 2158"/>
                <a:gd name="T26" fmla="*/ 40483283 w 598"/>
                <a:gd name="T27" fmla="*/ 308080602 h 2158"/>
                <a:gd name="T28" fmla="*/ 37413189 w 598"/>
                <a:gd name="T29" fmla="*/ 296832598 h 2158"/>
                <a:gd name="T30" fmla="*/ 40483283 w 598"/>
                <a:gd name="T31" fmla="*/ 281195385 h 2158"/>
                <a:gd name="T32" fmla="*/ 40291430 w 598"/>
                <a:gd name="T33" fmla="*/ 272416966 h 2158"/>
                <a:gd name="T34" fmla="*/ 35878361 w 598"/>
                <a:gd name="T35" fmla="*/ 254310691 h 2158"/>
                <a:gd name="T36" fmla="*/ 26093393 w 598"/>
                <a:gd name="T37" fmla="*/ 233735355 h 2158"/>
                <a:gd name="T38" fmla="*/ 25709686 w 598"/>
                <a:gd name="T39" fmla="*/ 188195474 h 2158"/>
                <a:gd name="T40" fmla="*/ 35110947 w 598"/>
                <a:gd name="T41" fmla="*/ 160212954 h 2158"/>
                <a:gd name="T42" fmla="*/ 36262068 w 598"/>
                <a:gd name="T43" fmla="*/ 143203982 h 2158"/>
                <a:gd name="T44" fmla="*/ 30697878 w 598"/>
                <a:gd name="T45" fmla="*/ 125920553 h 2158"/>
                <a:gd name="T46" fmla="*/ 34919093 w 598"/>
                <a:gd name="T47" fmla="*/ 111380642 h 2158"/>
                <a:gd name="T48" fmla="*/ 43936647 w 598"/>
                <a:gd name="T49" fmla="*/ 94920583 h 2158"/>
                <a:gd name="T50" fmla="*/ 38372456 w 598"/>
                <a:gd name="T51" fmla="*/ 84495948 h 2158"/>
                <a:gd name="T52" fmla="*/ 28395635 w 598"/>
                <a:gd name="T53" fmla="*/ 60902638 h 2158"/>
                <a:gd name="T54" fmla="*/ 24750418 w 598"/>
                <a:gd name="T55" fmla="*/ 34292401 h 2158"/>
                <a:gd name="T56" fmla="*/ 17459547 w 598"/>
                <a:gd name="T57" fmla="*/ 10150702 h 2158"/>
                <a:gd name="T58" fmla="*/ 0 w 598"/>
                <a:gd name="T59" fmla="*/ 12070850 h 2158"/>
                <a:gd name="T60" fmla="*/ 5947897 w 598"/>
                <a:gd name="T61" fmla="*/ 54867213 h 2158"/>
                <a:gd name="T62" fmla="*/ 8058286 w 598"/>
                <a:gd name="T63" fmla="*/ 83398646 h 2158"/>
                <a:gd name="T64" fmla="*/ 5180483 w 598"/>
                <a:gd name="T65" fmla="*/ 102602223 h 2158"/>
                <a:gd name="T66" fmla="*/ 9976821 w 598"/>
                <a:gd name="T67" fmla="*/ 143752895 h 2158"/>
                <a:gd name="T68" fmla="*/ 8825700 w 598"/>
                <a:gd name="T69" fmla="*/ 178044772 h 2158"/>
                <a:gd name="T70" fmla="*/ 6907165 w 598"/>
                <a:gd name="T71" fmla="*/ 196973893 h 2158"/>
                <a:gd name="T72" fmla="*/ 9976821 w 598"/>
                <a:gd name="T73" fmla="*/ 210416501 h 2158"/>
                <a:gd name="T74" fmla="*/ 12279063 w 598"/>
                <a:gd name="T75" fmla="*/ 238947410 h 2158"/>
                <a:gd name="T76" fmla="*/ 15541011 w 598"/>
                <a:gd name="T77" fmla="*/ 250469871 h 2158"/>
                <a:gd name="T78" fmla="*/ 14006183 w 598"/>
                <a:gd name="T79" fmla="*/ 286682420 h 2158"/>
                <a:gd name="T80" fmla="*/ 12087210 w 598"/>
                <a:gd name="T81" fmla="*/ 316036175 h 2158"/>
                <a:gd name="T82" fmla="*/ 7674579 w 598"/>
                <a:gd name="T83" fmla="*/ 325912420 h 2158"/>
                <a:gd name="T84" fmla="*/ 11511649 w 598"/>
                <a:gd name="T85" fmla="*/ 345115997 h 2158"/>
                <a:gd name="T86" fmla="*/ 20337349 w 598"/>
                <a:gd name="T87" fmla="*/ 368434851 h 2158"/>
                <a:gd name="T88" fmla="*/ 17843254 w 598"/>
                <a:gd name="T89" fmla="*/ 382974762 h 2158"/>
                <a:gd name="T90" fmla="*/ 20337349 w 598"/>
                <a:gd name="T91" fmla="*/ 397514673 h 2158"/>
                <a:gd name="T92" fmla="*/ 31465730 w 598"/>
                <a:gd name="T93" fmla="*/ 402452795 h 2158"/>
                <a:gd name="T94" fmla="*/ 40099576 w 598"/>
                <a:gd name="T95" fmla="*/ 444700246 h 2158"/>
                <a:gd name="T96" fmla="*/ 43552940 w 598"/>
                <a:gd name="T97" fmla="*/ 468841945 h 2158"/>
                <a:gd name="T98" fmla="*/ 28971196 w 598"/>
                <a:gd name="T99" fmla="*/ 479815493 h 2158"/>
                <a:gd name="T100" fmla="*/ 39715869 w 598"/>
                <a:gd name="T101" fmla="*/ 487222676 h 2158"/>
                <a:gd name="T102" fmla="*/ 47965571 w 598"/>
                <a:gd name="T103" fmla="*/ 499293526 h 2158"/>
                <a:gd name="T104" fmla="*/ 52762347 w 598"/>
                <a:gd name="T105" fmla="*/ 513284524 h 2158"/>
                <a:gd name="T106" fmla="*/ 59093951 w 598"/>
                <a:gd name="T107" fmla="*/ 537975137 h 2158"/>
                <a:gd name="T108" fmla="*/ 68878918 w 598"/>
                <a:gd name="T109" fmla="*/ 552240591 h 2158"/>
                <a:gd name="T110" fmla="*/ 75402376 w 598"/>
                <a:gd name="T111" fmla="*/ 561842380 h 2158"/>
                <a:gd name="T112" fmla="*/ 81349835 w 598"/>
                <a:gd name="T113" fmla="*/ 568975107 h 2158"/>
                <a:gd name="T114" fmla="*/ 89216268 w 598"/>
                <a:gd name="T115" fmla="*/ 578851352 h 2158"/>
                <a:gd name="T116" fmla="*/ 99576796 w 598"/>
                <a:gd name="T117" fmla="*/ 587081382 h 2158"/>
                <a:gd name="T118" fmla="*/ 103222451 w 598"/>
                <a:gd name="T119" fmla="*/ 590099356 h 2158"/>
                <a:gd name="T120" fmla="*/ 112431858 w 598"/>
                <a:gd name="T121" fmla="*/ 575559445 h 2158"/>
                <a:gd name="T122" fmla="*/ 113391126 w 598"/>
                <a:gd name="T123" fmla="*/ 568152261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98748" y="4333534"/>
              <a:ext cx="1165773" cy="1352925"/>
            </a:xfrm>
            <a:custGeom>
              <a:avLst/>
              <a:gdLst>
                <a:gd name="T0" fmla="*/ 82997318 w 2226"/>
                <a:gd name="T1" fmla="*/ 246970381 h 2292"/>
                <a:gd name="T2" fmla="*/ 95258053 w 2226"/>
                <a:gd name="T3" fmla="*/ 271502041 h 2292"/>
                <a:gd name="T4" fmla="*/ 107896643 w 2226"/>
                <a:gd name="T5" fmla="*/ 290520561 h 2292"/>
                <a:gd name="T6" fmla="*/ 135059188 w 2226"/>
                <a:gd name="T7" fmla="*/ 302648838 h 2292"/>
                <a:gd name="T8" fmla="*/ 150526912 w 2226"/>
                <a:gd name="T9" fmla="*/ 331866220 h 2292"/>
                <a:gd name="T10" fmla="*/ 159581094 w 2226"/>
                <a:gd name="T11" fmla="*/ 356122249 h 2292"/>
                <a:gd name="T12" fmla="*/ 177123978 w 2226"/>
                <a:gd name="T13" fmla="*/ 373487509 h 2292"/>
                <a:gd name="T14" fmla="*/ 180519025 w 2226"/>
                <a:gd name="T15" fmla="*/ 404083045 h 2292"/>
                <a:gd name="T16" fmla="*/ 184102999 w 2226"/>
                <a:gd name="T17" fmla="*/ 424755875 h 2292"/>
                <a:gd name="T18" fmla="*/ 187121059 w 2226"/>
                <a:gd name="T19" fmla="*/ 449838796 h 2292"/>
                <a:gd name="T20" fmla="*/ 213340705 w 2226"/>
                <a:gd name="T21" fmla="*/ 468030949 h 2292"/>
                <a:gd name="T22" fmla="*/ 225035961 w 2226"/>
                <a:gd name="T23" fmla="*/ 497523961 h 2292"/>
                <a:gd name="T24" fmla="*/ 234467563 w 2226"/>
                <a:gd name="T25" fmla="*/ 513786174 h 2292"/>
                <a:gd name="T26" fmla="*/ 223149728 w 2226"/>
                <a:gd name="T27" fmla="*/ 552099895 h 2292"/>
                <a:gd name="T28" fmla="*/ 204475016 w 2226"/>
                <a:gd name="T29" fmla="*/ 586554261 h 2292"/>
                <a:gd name="T30" fmla="*/ 222583814 w 2226"/>
                <a:gd name="T31" fmla="*/ 595650600 h 2292"/>
                <a:gd name="T32" fmla="*/ 244464645 w 2226"/>
                <a:gd name="T33" fmla="*/ 615771643 h 2292"/>
                <a:gd name="T34" fmla="*/ 267666230 w 2226"/>
                <a:gd name="T35" fmla="*/ 605848937 h 2292"/>
                <a:gd name="T36" fmla="*/ 286340507 w 2226"/>
                <a:gd name="T37" fmla="*/ 561195709 h 2292"/>
                <a:gd name="T38" fmla="*/ 285209114 w 2226"/>
                <a:gd name="T39" fmla="*/ 528670759 h 2292"/>
                <a:gd name="T40" fmla="*/ 294451789 w 2226"/>
                <a:gd name="T41" fmla="*/ 494216393 h 2292"/>
                <a:gd name="T42" fmla="*/ 321803262 w 2226"/>
                <a:gd name="T43" fmla="*/ 476024240 h 2292"/>
                <a:gd name="T44" fmla="*/ 339157218 w 2226"/>
                <a:gd name="T45" fmla="*/ 463344701 h 2292"/>
                <a:gd name="T46" fmla="*/ 357831495 w 2226"/>
                <a:gd name="T47" fmla="*/ 452319472 h 2292"/>
                <a:gd name="T48" fmla="*/ 373865132 w 2226"/>
                <a:gd name="T49" fmla="*/ 385890892 h 2292"/>
                <a:gd name="T50" fmla="*/ 379901254 w 2226"/>
                <a:gd name="T51" fmla="*/ 355019726 h 2292"/>
                <a:gd name="T52" fmla="*/ 377637600 w 2226"/>
                <a:gd name="T53" fmla="*/ 300443792 h 2292"/>
                <a:gd name="T54" fmla="*/ 391030596 w 2226"/>
                <a:gd name="T55" fmla="*/ 278117178 h 2292"/>
                <a:gd name="T56" fmla="*/ 413100354 w 2226"/>
                <a:gd name="T57" fmla="*/ 241733397 h 2292"/>
                <a:gd name="T58" fmla="*/ 419136475 w 2226"/>
                <a:gd name="T59" fmla="*/ 201765892 h 2292"/>
                <a:gd name="T60" fmla="*/ 406875306 w 2226"/>
                <a:gd name="T61" fmla="*/ 165106480 h 2292"/>
                <a:gd name="T62" fmla="*/ 388389522 w 2226"/>
                <a:gd name="T63" fmla="*/ 155183249 h 2292"/>
                <a:gd name="T64" fmla="*/ 362358804 w 2226"/>
                <a:gd name="T65" fmla="*/ 127344021 h 2292"/>
                <a:gd name="T66" fmla="*/ 328593789 w 2226"/>
                <a:gd name="T67" fmla="*/ 124036452 h 2292"/>
                <a:gd name="T68" fmla="*/ 315012299 w 2226"/>
                <a:gd name="T69" fmla="*/ 123209560 h 2292"/>
                <a:gd name="T70" fmla="*/ 308599192 w 2226"/>
                <a:gd name="T71" fmla="*/ 108600606 h 2292"/>
                <a:gd name="T72" fmla="*/ 285209114 w 2226"/>
                <a:gd name="T73" fmla="*/ 95921593 h 2292"/>
                <a:gd name="T74" fmla="*/ 266157417 w 2226"/>
                <a:gd name="T75" fmla="*/ 112735067 h 2292"/>
                <a:gd name="T76" fmla="*/ 252387434 w 2226"/>
                <a:gd name="T77" fmla="*/ 111632544 h 2292"/>
                <a:gd name="T78" fmla="*/ 235221970 w 2226"/>
                <a:gd name="T79" fmla="*/ 105844299 h 2292"/>
                <a:gd name="T80" fmla="*/ 248426039 w 2226"/>
                <a:gd name="T81" fmla="*/ 73870610 h 2292"/>
                <a:gd name="T82" fmla="*/ 252387434 w 2226"/>
                <a:gd name="T83" fmla="*/ 50717104 h 2292"/>
                <a:gd name="T84" fmla="*/ 243521745 w 2226"/>
                <a:gd name="T85" fmla="*/ 18743414 h 2292"/>
                <a:gd name="T86" fmla="*/ 212020385 w 2226"/>
                <a:gd name="T87" fmla="*/ 37210673 h 2292"/>
                <a:gd name="T88" fmla="*/ 189196220 w 2226"/>
                <a:gd name="T89" fmla="*/ 46858274 h 2292"/>
                <a:gd name="T90" fmla="*/ 181084938 w 2226"/>
                <a:gd name="T91" fmla="*/ 51543996 h 2292"/>
                <a:gd name="T92" fmla="*/ 153167552 w 2226"/>
                <a:gd name="T93" fmla="*/ 48512058 h 2292"/>
                <a:gd name="T94" fmla="*/ 152979059 w 2226"/>
                <a:gd name="T95" fmla="*/ 18467784 h 2292"/>
                <a:gd name="T96" fmla="*/ 140529396 w 2226"/>
                <a:gd name="T97" fmla="*/ 0 h 2292"/>
                <a:gd name="T98" fmla="*/ 132041128 w 2226"/>
                <a:gd name="T99" fmla="*/ 8544553 h 2292"/>
                <a:gd name="T100" fmla="*/ 111103197 w 2226"/>
                <a:gd name="T101" fmla="*/ 19294676 h 2292"/>
                <a:gd name="T102" fmla="*/ 105632989 w 2226"/>
                <a:gd name="T103" fmla="*/ 54575934 h 2292"/>
                <a:gd name="T104" fmla="*/ 85449465 w 2226"/>
                <a:gd name="T105" fmla="*/ 71114302 h 2292"/>
                <a:gd name="T106" fmla="*/ 53948104 w 2226"/>
                <a:gd name="T107" fmla="*/ 54300303 h 2292"/>
                <a:gd name="T108" fmla="*/ 47723490 w 2226"/>
                <a:gd name="T109" fmla="*/ 66152949 h 2292"/>
                <a:gd name="T110" fmla="*/ 37348988 w 2226"/>
                <a:gd name="T111" fmla="*/ 85722731 h 2292"/>
                <a:gd name="T112" fmla="*/ 46403170 w 2226"/>
                <a:gd name="T113" fmla="*/ 106946822 h 2292"/>
                <a:gd name="T114" fmla="*/ 36594147 w 2226"/>
                <a:gd name="T115" fmla="*/ 154356357 h 2292"/>
                <a:gd name="T116" fmla="*/ 18863204 w 2226"/>
                <a:gd name="T117" fmla="*/ 156285772 h 2292"/>
                <a:gd name="T118" fmla="*/ 3018061 w 2226"/>
                <a:gd name="T119" fmla="*/ 189361984 h 2292"/>
                <a:gd name="T120" fmla="*/ 4149888 w 2226"/>
                <a:gd name="T121" fmla="*/ 227124444 h 2292"/>
                <a:gd name="T122" fmla="*/ 22635672 w 2226"/>
                <a:gd name="T123" fmla="*/ 249451058 h 2292"/>
                <a:gd name="T124" fmla="*/ 36028234 w 2226"/>
                <a:gd name="T125" fmla="*/ 261578810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346603" y="3148386"/>
              <a:ext cx="84227" cy="55331"/>
            </a:xfrm>
            <a:custGeom>
              <a:avLst/>
              <a:gdLst>
                <a:gd name="T0" fmla="*/ 17693309 w 161"/>
                <a:gd name="T1" fmla="*/ 0 h 93"/>
                <a:gd name="T2" fmla="*/ 20140228 w 161"/>
                <a:gd name="T3" fmla="*/ 5040364 h 93"/>
                <a:gd name="T4" fmla="*/ 21081251 w 161"/>
                <a:gd name="T5" fmla="*/ 3360242 h 93"/>
                <a:gd name="T6" fmla="*/ 22022707 w 161"/>
                <a:gd name="T7" fmla="*/ 2239985 h 93"/>
                <a:gd name="T8" fmla="*/ 22963730 w 161"/>
                <a:gd name="T9" fmla="*/ 1400189 h 93"/>
                <a:gd name="T10" fmla="*/ 23904752 w 161"/>
                <a:gd name="T11" fmla="*/ 840325 h 93"/>
                <a:gd name="T12" fmla="*/ 25787232 w 161"/>
                <a:gd name="T13" fmla="*/ 279932 h 93"/>
                <a:gd name="T14" fmla="*/ 27857568 w 161"/>
                <a:gd name="T15" fmla="*/ 0 h 93"/>
                <a:gd name="T16" fmla="*/ 28422008 w 161"/>
                <a:gd name="T17" fmla="*/ 0 h 93"/>
                <a:gd name="T18" fmla="*/ 30304488 w 161"/>
                <a:gd name="T19" fmla="*/ 0 h 93"/>
                <a:gd name="T20" fmla="*/ 30304488 w 161"/>
                <a:gd name="T21" fmla="*/ 25762212 h 93"/>
                <a:gd name="T22" fmla="*/ 29175174 w 161"/>
                <a:gd name="T23" fmla="*/ 26042144 h 93"/>
                <a:gd name="T24" fmla="*/ 28234151 w 161"/>
                <a:gd name="T25" fmla="*/ 26042144 h 93"/>
                <a:gd name="T26" fmla="*/ 27292694 w 161"/>
                <a:gd name="T27" fmla="*/ 25762212 h 93"/>
                <a:gd name="T28" fmla="*/ 26351672 w 161"/>
                <a:gd name="T29" fmla="*/ 25482280 h 93"/>
                <a:gd name="T30" fmla="*/ 24281335 w 161"/>
                <a:gd name="T31" fmla="*/ 24641955 h 93"/>
                <a:gd name="T32" fmla="*/ 22587147 w 161"/>
                <a:gd name="T33" fmla="*/ 22961833 h 93"/>
                <a:gd name="T34" fmla="*/ 20892959 w 161"/>
                <a:gd name="T35" fmla="*/ 21001780 h 93"/>
                <a:gd name="T36" fmla="*/ 19575354 w 161"/>
                <a:gd name="T37" fmla="*/ 18761795 h 93"/>
                <a:gd name="T38" fmla="*/ 18258183 w 161"/>
                <a:gd name="T39" fmla="*/ 16521280 h 93"/>
                <a:gd name="T40" fmla="*/ 17693309 w 161"/>
                <a:gd name="T41" fmla="*/ 13720902 h 93"/>
                <a:gd name="T42" fmla="*/ 17316726 w 161"/>
                <a:gd name="T43" fmla="*/ 14001363 h 93"/>
                <a:gd name="T44" fmla="*/ 16752286 w 161"/>
                <a:gd name="T45" fmla="*/ 14281295 h 93"/>
                <a:gd name="T46" fmla="*/ 16187412 w 161"/>
                <a:gd name="T47" fmla="*/ 14281295 h 93"/>
                <a:gd name="T48" fmla="*/ 15810830 w 161"/>
                <a:gd name="T49" fmla="*/ 14281295 h 93"/>
                <a:gd name="T50" fmla="*/ 14681516 w 161"/>
                <a:gd name="T51" fmla="*/ 14001363 h 93"/>
                <a:gd name="T52" fmla="*/ 13928784 w 161"/>
                <a:gd name="T53" fmla="*/ 13720902 h 93"/>
                <a:gd name="T54" fmla="*/ 12234596 w 161"/>
                <a:gd name="T55" fmla="*/ 13440970 h 93"/>
                <a:gd name="T56" fmla="*/ 10352551 w 161"/>
                <a:gd name="T57" fmla="*/ 12601174 h 93"/>
                <a:gd name="T58" fmla="*/ 8281780 w 161"/>
                <a:gd name="T59" fmla="*/ 11200985 h 93"/>
                <a:gd name="T60" fmla="*/ 6023152 w 161"/>
                <a:gd name="T61" fmla="*/ 9520863 h 93"/>
                <a:gd name="T62" fmla="*/ 3952816 w 161"/>
                <a:gd name="T63" fmla="*/ 7280349 h 93"/>
                <a:gd name="T64" fmla="*/ 2258628 w 161"/>
                <a:gd name="T65" fmla="*/ 5040364 h 93"/>
                <a:gd name="T66" fmla="*/ 1505897 w 161"/>
                <a:gd name="T67" fmla="*/ 3920106 h 93"/>
                <a:gd name="T68" fmla="*/ 941023 w 161"/>
                <a:gd name="T69" fmla="*/ 2520446 h 93"/>
                <a:gd name="T70" fmla="*/ 564874 w 161"/>
                <a:gd name="T71" fmla="*/ 1400189 h 93"/>
                <a:gd name="T72" fmla="*/ 0 w 161"/>
                <a:gd name="T73" fmla="*/ 0 h 93"/>
                <a:gd name="T74" fmla="*/ 17693309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41703" y="3007382"/>
              <a:ext cx="99541" cy="180270"/>
            </a:xfrm>
            <a:custGeom>
              <a:avLst/>
              <a:gdLst>
                <a:gd name="T0" fmla="*/ 7024489 w 192"/>
                <a:gd name="T1" fmla="*/ 818398 h 307"/>
                <a:gd name="T2" fmla="*/ 6839611 w 192"/>
                <a:gd name="T3" fmla="*/ 0 h 307"/>
                <a:gd name="T4" fmla="*/ 10536734 w 192"/>
                <a:gd name="T5" fmla="*/ 818398 h 307"/>
                <a:gd name="T6" fmla="*/ 20333957 w 192"/>
                <a:gd name="T7" fmla="*/ 3818841 h 307"/>
                <a:gd name="T8" fmla="*/ 28652589 w 192"/>
                <a:gd name="T9" fmla="*/ 6819284 h 307"/>
                <a:gd name="T10" fmla="*/ 33458977 w 192"/>
                <a:gd name="T11" fmla="*/ 7637682 h 307"/>
                <a:gd name="T12" fmla="*/ 35492201 w 192"/>
                <a:gd name="T13" fmla="*/ 9546580 h 307"/>
                <a:gd name="T14" fmla="*/ 34752690 w 192"/>
                <a:gd name="T15" fmla="*/ 12820170 h 307"/>
                <a:gd name="T16" fmla="*/ 32349711 w 192"/>
                <a:gd name="T17" fmla="*/ 22366750 h 307"/>
                <a:gd name="T18" fmla="*/ 29207222 w 192"/>
                <a:gd name="T19" fmla="*/ 34641148 h 307"/>
                <a:gd name="T20" fmla="*/ 27173568 w 192"/>
                <a:gd name="T21" fmla="*/ 45006648 h 307"/>
                <a:gd name="T22" fmla="*/ 26988691 w 192"/>
                <a:gd name="T23" fmla="*/ 56462648 h 307"/>
                <a:gd name="T24" fmla="*/ 26619365 w 192"/>
                <a:gd name="T25" fmla="*/ 67918649 h 307"/>
                <a:gd name="T26" fmla="*/ 24770589 w 192"/>
                <a:gd name="T27" fmla="*/ 75556330 h 307"/>
                <a:gd name="T28" fmla="*/ 19594446 w 192"/>
                <a:gd name="T29" fmla="*/ 80738819 h 307"/>
                <a:gd name="T30" fmla="*/ 15343121 w 192"/>
                <a:gd name="T31" fmla="*/ 82648240 h 307"/>
                <a:gd name="T32" fmla="*/ 13309468 w 192"/>
                <a:gd name="T33" fmla="*/ 83739262 h 307"/>
                <a:gd name="T34" fmla="*/ 9612346 w 192"/>
                <a:gd name="T35" fmla="*/ 83193490 h 307"/>
                <a:gd name="T36" fmla="*/ 5915223 w 192"/>
                <a:gd name="T37" fmla="*/ 79375171 h 307"/>
                <a:gd name="T38" fmla="*/ 5545468 w 192"/>
                <a:gd name="T39" fmla="*/ 75556330 h 307"/>
                <a:gd name="T40" fmla="*/ 4066877 w 192"/>
                <a:gd name="T41" fmla="*/ 70100694 h 307"/>
                <a:gd name="T42" fmla="*/ 1848346 w 192"/>
                <a:gd name="T43" fmla="*/ 63008785 h 307"/>
                <a:gd name="T44" fmla="*/ 369755 w 192"/>
                <a:gd name="T45" fmla="*/ 57553671 h 307"/>
                <a:gd name="T46" fmla="*/ 0 w 192"/>
                <a:gd name="T47" fmla="*/ 53734830 h 307"/>
                <a:gd name="T48" fmla="*/ 0 w 192"/>
                <a:gd name="T49" fmla="*/ 49098114 h 307"/>
                <a:gd name="T50" fmla="*/ 369755 w 192"/>
                <a:gd name="T51" fmla="*/ 45006648 h 307"/>
                <a:gd name="T52" fmla="*/ 2033224 w 192"/>
                <a:gd name="T53" fmla="*/ 39551012 h 307"/>
                <a:gd name="T54" fmla="*/ 6100101 w 192"/>
                <a:gd name="T55" fmla="*/ 29731285 h 307"/>
                <a:gd name="T56" fmla="*/ 8873265 w 192"/>
                <a:gd name="T57" fmla="*/ 22094125 h 307"/>
                <a:gd name="T58" fmla="*/ 9612346 w 192"/>
                <a:gd name="T59" fmla="*/ 16911636 h 307"/>
                <a:gd name="T60" fmla="*/ 9797223 w 192"/>
                <a:gd name="T61" fmla="*/ 11183375 h 307"/>
                <a:gd name="T62" fmla="*/ 10166978 w 192"/>
                <a:gd name="T63" fmla="*/ 8182932 h 307"/>
                <a:gd name="T64" fmla="*/ 10536734 w 192"/>
                <a:gd name="T65" fmla="*/ 7091909 h 307"/>
                <a:gd name="T66" fmla="*/ 11091366 w 192"/>
                <a:gd name="T67" fmla="*/ 6000886 h 307"/>
                <a:gd name="T68" fmla="*/ 8133755 w 192"/>
                <a:gd name="T69" fmla="*/ 1909420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39330" y="2429088"/>
              <a:ext cx="206738" cy="303426"/>
            </a:xfrm>
            <a:custGeom>
              <a:avLst/>
              <a:gdLst>
                <a:gd name="T0" fmla="*/ 4824724 w 398"/>
                <a:gd name="T1" fmla="*/ 542876 h 518"/>
                <a:gd name="T2" fmla="*/ 17629195 w 398"/>
                <a:gd name="T3" fmla="*/ 3528694 h 518"/>
                <a:gd name="T4" fmla="*/ 21526021 w 398"/>
                <a:gd name="T5" fmla="*/ 6243074 h 518"/>
                <a:gd name="T6" fmla="*/ 14845502 w 398"/>
                <a:gd name="T7" fmla="*/ 12757585 h 518"/>
                <a:gd name="T8" fmla="*/ 11876574 w 398"/>
                <a:gd name="T9" fmla="*/ 16829155 h 518"/>
                <a:gd name="T10" fmla="*/ 14288936 w 398"/>
                <a:gd name="T11" fmla="*/ 18729221 h 518"/>
                <a:gd name="T12" fmla="*/ 30990234 w 398"/>
                <a:gd name="T13" fmla="*/ 21443601 h 518"/>
                <a:gd name="T14" fmla="*/ 38969982 w 398"/>
                <a:gd name="T15" fmla="*/ 29586219 h 518"/>
                <a:gd name="T16" fmla="*/ 28577872 w 398"/>
                <a:gd name="T17" fmla="*/ 34472103 h 518"/>
                <a:gd name="T18" fmla="*/ 27278643 w 398"/>
                <a:gd name="T19" fmla="*/ 37457921 h 518"/>
                <a:gd name="T20" fmla="*/ 35444057 w 398"/>
                <a:gd name="T21" fmla="*/ 38815111 h 518"/>
                <a:gd name="T22" fmla="*/ 39155217 w 398"/>
                <a:gd name="T23" fmla="*/ 42343804 h 518"/>
                <a:gd name="T24" fmla="*/ 45093504 w 398"/>
                <a:gd name="T25" fmla="*/ 51844134 h 518"/>
                <a:gd name="T26" fmla="*/ 47877197 w 398"/>
                <a:gd name="T27" fmla="*/ 57544331 h 518"/>
                <a:gd name="T28" fmla="*/ 48248529 w 398"/>
                <a:gd name="T29" fmla="*/ 64330281 h 518"/>
                <a:gd name="T30" fmla="*/ 50475225 w 398"/>
                <a:gd name="T31" fmla="*/ 68944727 h 518"/>
                <a:gd name="T32" fmla="*/ 53073252 w 398"/>
                <a:gd name="T33" fmla="*/ 75730155 h 518"/>
                <a:gd name="T34" fmla="*/ 56784412 w 398"/>
                <a:gd name="T35" fmla="*/ 80616039 h 518"/>
                <a:gd name="T36" fmla="*/ 60681669 w 398"/>
                <a:gd name="T37" fmla="*/ 86859112 h 518"/>
                <a:gd name="T38" fmla="*/ 64207163 w 398"/>
                <a:gd name="T39" fmla="*/ 91473558 h 518"/>
                <a:gd name="T40" fmla="*/ 68660986 w 398"/>
                <a:gd name="T41" fmla="*/ 92559310 h 518"/>
                <a:gd name="T42" fmla="*/ 73485710 w 398"/>
                <a:gd name="T43" fmla="*/ 99073822 h 518"/>
                <a:gd name="T44" fmla="*/ 73300475 w 398"/>
                <a:gd name="T45" fmla="*/ 107216961 h 518"/>
                <a:gd name="T46" fmla="*/ 70888113 w 398"/>
                <a:gd name="T47" fmla="*/ 109659903 h 518"/>
                <a:gd name="T48" fmla="*/ 68104420 w 398"/>
                <a:gd name="T49" fmla="*/ 112645721 h 518"/>
                <a:gd name="T50" fmla="*/ 68290086 w 398"/>
                <a:gd name="T51" fmla="*/ 115631539 h 518"/>
                <a:gd name="T52" fmla="*/ 69774550 w 398"/>
                <a:gd name="T53" fmla="*/ 120245463 h 518"/>
                <a:gd name="T54" fmla="*/ 66619956 w 398"/>
                <a:gd name="T55" fmla="*/ 125674223 h 518"/>
                <a:gd name="T56" fmla="*/ 27093408 w 398"/>
                <a:gd name="T57" fmla="*/ 135717428 h 518"/>
                <a:gd name="T58" fmla="*/ 12618806 w 398"/>
                <a:gd name="T59" fmla="*/ 137888932 h 518"/>
                <a:gd name="T60" fmla="*/ 9835113 w 398"/>
                <a:gd name="T61" fmla="*/ 140603312 h 518"/>
                <a:gd name="T62" fmla="*/ 10763011 w 398"/>
                <a:gd name="T63" fmla="*/ 133817362 h 518"/>
                <a:gd name="T64" fmla="*/ 13175372 w 398"/>
                <a:gd name="T65" fmla="*/ 129202917 h 518"/>
                <a:gd name="T66" fmla="*/ 21155121 w 398"/>
                <a:gd name="T67" fmla="*/ 124317033 h 518"/>
                <a:gd name="T68" fmla="*/ 31918131 w 398"/>
                <a:gd name="T69" fmla="*/ 119159711 h 518"/>
                <a:gd name="T70" fmla="*/ 33216930 w 398"/>
                <a:gd name="T71" fmla="*/ 115631539 h 518"/>
                <a:gd name="T72" fmla="*/ 31732466 w 398"/>
                <a:gd name="T73" fmla="*/ 117802521 h 518"/>
                <a:gd name="T74" fmla="*/ 20598124 w 398"/>
                <a:gd name="T75" fmla="*/ 117259646 h 518"/>
                <a:gd name="T76" fmla="*/ 14103270 w 398"/>
                <a:gd name="T77" fmla="*/ 114002911 h 518"/>
                <a:gd name="T78" fmla="*/ 14288936 w 398"/>
                <a:gd name="T79" fmla="*/ 109117027 h 518"/>
                <a:gd name="T80" fmla="*/ 17629195 w 398"/>
                <a:gd name="T81" fmla="*/ 106131209 h 518"/>
                <a:gd name="T82" fmla="*/ 16144731 w 398"/>
                <a:gd name="T83" fmla="*/ 95545128 h 518"/>
                <a:gd name="T84" fmla="*/ 19484991 w 398"/>
                <a:gd name="T85" fmla="*/ 89302054 h 518"/>
                <a:gd name="T86" fmla="*/ 28577872 w 398"/>
                <a:gd name="T87" fmla="*/ 83873295 h 518"/>
                <a:gd name="T88" fmla="*/ 31918131 w 398"/>
                <a:gd name="T89" fmla="*/ 78987411 h 518"/>
                <a:gd name="T90" fmla="*/ 27464308 w 398"/>
                <a:gd name="T91" fmla="*/ 73558651 h 518"/>
                <a:gd name="T92" fmla="*/ 25794179 w 398"/>
                <a:gd name="T93" fmla="*/ 67044661 h 518"/>
                <a:gd name="T94" fmla="*/ 17443530 w 398"/>
                <a:gd name="T95" fmla="*/ 64873157 h 518"/>
                <a:gd name="T96" fmla="*/ 14845502 w 398"/>
                <a:gd name="T97" fmla="*/ 58630083 h 518"/>
                <a:gd name="T98" fmla="*/ 16701298 w 398"/>
                <a:gd name="T99" fmla="*/ 52115572 h 518"/>
                <a:gd name="T100" fmla="*/ 18557093 w 398"/>
                <a:gd name="T101" fmla="*/ 45601060 h 518"/>
                <a:gd name="T102" fmla="*/ 13546704 w 398"/>
                <a:gd name="T103" fmla="*/ 50486944 h 518"/>
                <a:gd name="T104" fmla="*/ 4082492 w 398"/>
                <a:gd name="T105" fmla="*/ 43972432 h 518"/>
                <a:gd name="T106" fmla="*/ 3711591 w 398"/>
                <a:gd name="T107" fmla="*/ 38543673 h 518"/>
                <a:gd name="T108" fmla="*/ 2598028 w 398"/>
                <a:gd name="T109" fmla="*/ 35557855 h 518"/>
                <a:gd name="T110" fmla="*/ 3711591 w 398"/>
                <a:gd name="T111" fmla="*/ 17100593 h 518"/>
                <a:gd name="T112" fmla="*/ 3525925 w 398"/>
                <a:gd name="T113" fmla="*/ 13300461 h 518"/>
                <a:gd name="T114" fmla="*/ 742232 w 398"/>
                <a:gd name="T115" fmla="*/ 10857519 h 518"/>
                <a:gd name="T116" fmla="*/ 3711591 w 398"/>
                <a:gd name="T117" fmla="*/ 5157322 h 518"/>
                <a:gd name="T118" fmla="*/ 556566 w 398"/>
                <a:gd name="T119" fmla="*/ 2442942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71948" y="2769995"/>
              <a:ext cx="204823" cy="85673"/>
            </a:xfrm>
            <a:custGeom>
              <a:avLst/>
              <a:gdLst>
                <a:gd name="T0" fmla="*/ 37567961 w 382"/>
                <a:gd name="T1" fmla="*/ 5566719 h 148"/>
                <a:gd name="T2" fmla="*/ 34997797 w 382"/>
                <a:gd name="T3" fmla="*/ 8217758 h 148"/>
                <a:gd name="T4" fmla="*/ 34404614 w 382"/>
                <a:gd name="T5" fmla="*/ 11928904 h 148"/>
                <a:gd name="T6" fmla="*/ 33218248 w 382"/>
                <a:gd name="T7" fmla="*/ 14049632 h 148"/>
                <a:gd name="T8" fmla="*/ 32822497 w 382"/>
                <a:gd name="T9" fmla="*/ 16170361 h 148"/>
                <a:gd name="T10" fmla="*/ 34997797 w 382"/>
                <a:gd name="T11" fmla="*/ 19616351 h 148"/>
                <a:gd name="T12" fmla="*/ 30647640 w 382"/>
                <a:gd name="T13" fmla="*/ 22797186 h 148"/>
                <a:gd name="T14" fmla="*/ 21354588 w 382"/>
                <a:gd name="T15" fmla="*/ 25448226 h 148"/>
                <a:gd name="T16" fmla="*/ 15224882 w 382"/>
                <a:gd name="T17" fmla="*/ 25713381 h 148"/>
                <a:gd name="T18" fmla="*/ 10281987 w 382"/>
                <a:gd name="T19" fmla="*/ 25183070 h 148"/>
                <a:gd name="T20" fmla="*/ 791059 w 382"/>
                <a:gd name="T21" fmla="*/ 29424527 h 148"/>
                <a:gd name="T22" fmla="*/ 0 w 382"/>
                <a:gd name="T23" fmla="*/ 34196295 h 148"/>
                <a:gd name="T24" fmla="*/ 791059 w 382"/>
                <a:gd name="T25" fmla="*/ 34726091 h 148"/>
                <a:gd name="T26" fmla="*/ 2372732 w 382"/>
                <a:gd name="T27" fmla="*/ 34726091 h 148"/>
                <a:gd name="T28" fmla="*/ 10084111 w 382"/>
                <a:gd name="T29" fmla="*/ 34196295 h 148"/>
                <a:gd name="T30" fmla="*/ 22540954 w 382"/>
                <a:gd name="T31" fmla="*/ 33665984 h 148"/>
                <a:gd name="T32" fmla="*/ 24320503 w 382"/>
                <a:gd name="T33" fmla="*/ 35521557 h 148"/>
                <a:gd name="T34" fmla="*/ 27088542 w 382"/>
                <a:gd name="T35" fmla="*/ 37377130 h 148"/>
                <a:gd name="T36" fmla="*/ 31438699 w 382"/>
                <a:gd name="T37" fmla="*/ 38967547 h 148"/>
                <a:gd name="T38" fmla="*/ 36579470 w 382"/>
                <a:gd name="T39" fmla="*/ 39232703 h 148"/>
                <a:gd name="T40" fmla="*/ 41522810 w 382"/>
                <a:gd name="T41" fmla="*/ 39232703 h 148"/>
                <a:gd name="T42" fmla="*/ 46070399 w 382"/>
                <a:gd name="T43" fmla="*/ 39232703 h 148"/>
                <a:gd name="T44" fmla="*/ 50420555 w 382"/>
                <a:gd name="T45" fmla="*/ 39232703 h 148"/>
                <a:gd name="T46" fmla="*/ 54374961 w 382"/>
                <a:gd name="T47" fmla="*/ 37907441 h 148"/>
                <a:gd name="T48" fmla="*/ 59515732 w 382"/>
                <a:gd name="T49" fmla="*/ 35521557 h 148"/>
                <a:gd name="T50" fmla="*/ 66040745 w 382"/>
                <a:gd name="T51" fmla="*/ 32075566 h 148"/>
                <a:gd name="T52" fmla="*/ 69797719 w 382"/>
                <a:gd name="T53" fmla="*/ 27303799 h 148"/>
                <a:gd name="T54" fmla="*/ 73554248 w 382"/>
                <a:gd name="T55" fmla="*/ 19086041 h 148"/>
                <a:gd name="T56" fmla="*/ 74345307 w 382"/>
                <a:gd name="T57" fmla="*/ 13784477 h 148"/>
                <a:gd name="T58" fmla="*/ 71774699 w 382"/>
                <a:gd name="T59" fmla="*/ 11663749 h 148"/>
                <a:gd name="T60" fmla="*/ 70588333 w 382"/>
                <a:gd name="T61" fmla="*/ 8482914 h 148"/>
                <a:gd name="T62" fmla="*/ 68611353 w 382"/>
                <a:gd name="T63" fmla="*/ 5831874 h 148"/>
                <a:gd name="T64" fmla="*/ 66040745 w 382"/>
                <a:gd name="T65" fmla="*/ 4506612 h 148"/>
                <a:gd name="T66" fmla="*/ 63074830 w 382"/>
                <a:gd name="T67" fmla="*/ 2120728 h 148"/>
                <a:gd name="T68" fmla="*/ 40138568 w 382"/>
                <a:gd name="T69" fmla="*/ 47717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071335" y="2600434"/>
              <a:ext cx="1544792" cy="1167299"/>
            </a:xfrm>
            <a:custGeom>
              <a:avLst/>
              <a:gdLst>
                <a:gd name="T0" fmla="*/ 71018374 w 2936"/>
                <a:gd name="T1" fmla="*/ 293580501 h 1983"/>
                <a:gd name="T2" fmla="*/ 73303082 w 2936"/>
                <a:gd name="T3" fmla="*/ 324007352 h 1983"/>
                <a:gd name="T4" fmla="*/ 91010004 w 2936"/>
                <a:gd name="T5" fmla="*/ 372252092 h 1983"/>
                <a:gd name="T6" fmla="*/ 146225670 w 2936"/>
                <a:gd name="T7" fmla="*/ 408984210 h 1983"/>
                <a:gd name="T8" fmla="*/ 197252413 w 2936"/>
                <a:gd name="T9" fmla="*/ 425430888 h 1983"/>
                <a:gd name="T10" fmla="*/ 214007229 w 2936"/>
                <a:gd name="T11" fmla="*/ 419126145 h 1983"/>
                <a:gd name="T12" fmla="*/ 266747503 w 2936"/>
                <a:gd name="T13" fmla="*/ 396922894 h 1983"/>
                <a:gd name="T14" fmla="*/ 294545364 w 2936"/>
                <a:gd name="T15" fmla="*/ 422690036 h 1983"/>
                <a:gd name="T16" fmla="*/ 300257571 w 2936"/>
                <a:gd name="T17" fmla="*/ 465178203 h 1983"/>
                <a:gd name="T18" fmla="*/ 305969340 w 2936"/>
                <a:gd name="T19" fmla="*/ 486011290 h 1983"/>
                <a:gd name="T20" fmla="*/ 324818617 w 2936"/>
                <a:gd name="T21" fmla="*/ 524113572 h 1983"/>
                <a:gd name="T22" fmla="*/ 350712701 w 2936"/>
                <a:gd name="T23" fmla="*/ 509585228 h 1983"/>
                <a:gd name="T24" fmla="*/ 394504390 w 2936"/>
                <a:gd name="T25" fmla="*/ 508214541 h 1983"/>
                <a:gd name="T26" fmla="*/ 431251273 w 2936"/>
                <a:gd name="T27" fmla="*/ 543575971 h 1983"/>
                <a:gd name="T28" fmla="*/ 448767948 w 2936"/>
                <a:gd name="T29" fmla="*/ 523565401 h 1983"/>
                <a:gd name="T30" fmla="*/ 467807472 w 2936"/>
                <a:gd name="T31" fmla="*/ 511504086 h 1983"/>
                <a:gd name="T32" fmla="*/ 484752971 w 2936"/>
                <a:gd name="T33" fmla="*/ 500539634 h 1983"/>
                <a:gd name="T34" fmla="*/ 510837301 w 2936"/>
                <a:gd name="T35" fmla="*/ 474772491 h 1983"/>
                <a:gd name="T36" fmla="*/ 517691861 w 2936"/>
                <a:gd name="T37" fmla="*/ 442974429 h 1983"/>
                <a:gd name="T38" fmla="*/ 531971722 w 2936"/>
                <a:gd name="T39" fmla="*/ 389247464 h 1983"/>
                <a:gd name="T40" fmla="*/ 515026223 w 2936"/>
                <a:gd name="T41" fmla="*/ 376912324 h 1983"/>
                <a:gd name="T42" fmla="*/ 502650577 w 2936"/>
                <a:gd name="T43" fmla="*/ 348951977 h 1983"/>
                <a:gd name="T44" fmla="*/ 508172099 w 2936"/>
                <a:gd name="T45" fmla="*/ 336343015 h 1983"/>
                <a:gd name="T46" fmla="*/ 482087333 w 2936"/>
                <a:gd name="T47" fmla="*/ 290839126 h 1983"/>
                <a:gd name="T48" fmla="*/ 491797778 w 2936"/>
                <a:gd name="T49" fmla="*/ 272199244 h 1983"/>
                <a:gd name="T50" fmla="*/ 467046048 w 2936"/>
                <a:gd name="T51" fmla="*/ 263701297 h 1983"/>
                <a:gd name="T52" fmla="*/ 444198096 w 2936"/>
                <a:gd name="T53" fmla="*/ 243142557 h 1983"/>
                <a:gd name="T54" fmla="*/ 450861973 w 2936"/>
                <a:gd name="T55" fmla="*/ 229162383 h 1983"/>
                <a:gd name="T56" fmla="*/ 465141834 w 2936"/>
                <a:gd name="T57" fmla="*/ 207232956 h 1983"/>
                <a:gd name="T58" fmla="*/ 475233209 w 2936"/>
                <a:gd name="T59" fmla="*/ 213812046 h 1983"/>
                <a:gd name="T60" fmla="*/ 482087333 w 2936"/>
                <a:gd name="T61" fmla="*/ 233822616 h 1983"/>
                <a:gd name="T62" fmla="*/ 511980091 w 2936"/>
                <a:gd name="T63" fmla="*/ 209151814 h 1983"/>
                <a:gd name="T64" fmla="*/ 538445352 w 2936"/>
                <a:gd name="T65" fmla="*/ 184481535 h 1983"/>
                <a:gd name="T66" fmla="*/ 549488398 w 2936"/>
                <a:gd name="T67" fmla="*/ 154602331 h 1983"/>
                <a:gd name="T68" fmla="*/ 557484876 w 2936"/>
                <a:gd name="T69" fmla="*/ 135414278 h 1983"/>
                <a:gd name="T70" fmla="*/ 550820999 w 2936"/>
                <a:gd name="T71" fmla="*/ 84154340 h 1983"/>
                <a:gd name="T72" fmla="*/ 518263038 w 2936"/>
                <a:gd name="T73" fmla="*/ 93474282 h 1983"/>
                <a:gd name="T74" fmla="*/ 468569332 w 2936"/>
                <a:gd name="T75" fmla="*/ 56193994 h 1983"/>
                <a:gd name="T76" fmla="*/ 437915149 w 2936"/>
                <a:gd name="T77" fmla="*/ 24396455 h 1983"/>
                <a:gd name="T78" fmla="*/ 376987714 w 2936"/>
                <a:gd name="T79" fmla="*/ 14528344 h 1983"/>
                <a:gd name="T80" fmla="*/ 382128743 w 2936"/>
                <a:gd name="T81" fmla="*/ 42488167 h 1983"/>
                <a:gd name="T82" fmla="*/ 371656438 w 2936"/>
                <a:gd name="T83" fmla="*/ 62224913 h 1983"/>
                <a:gd name="T84" fmla="*/ 385555805 w 2936"/>
                <a:gd name="T85" fmla="*/ 95941309 h 1983"/>
                <a:gd name="T86" fmla="*/ 408594004 w 2936"/>
                <a:gd name="T87" fmla="*/ 101423535 h 1983"/>
                <a:gd name="T88" fmla="*/ 388601937 w 2936"/>
                <a:gd name="T89" fmla="*/ 124723650 h 1983"/>
                <a:gd name="T90" fmla="*/ 360042215 w 2936"/>
                <a:gd name="T91" fmla="*/ 156247365 h 1983"/>
                <a:gd name="T92" fmla="*/ 310348509 w 2936"/>
                <a:gd name="T93" fmla="*/ 195445987 h 1983"/>
                <a:gd name="T94" fmla="*/ 233808612 w 2936"/>
                <a:gd name="T95" fmla="*/ 180643820 h 1983"/>
                <a:gd name="T96" fmla="*/ 197252413 w 2936"/>
                <a:gd name="T97" fmla="*/ 153505990 h 1983"/>
                <a:gd name="T98" fmla="*/ 143179102 w 2936"/>
                <a:gd name="T99" fmla="*/ 135688625 h 1983"/>
                <a:gd name="T100" fmla="*/ 130612772 w 2936"/>
                <a:gd name="T101" fmla="*/ 103890563 h 1983"/>
                <a:gd name="T102" fmla="*/ 97483634 w 2936"/>
                <a:gd name="T103" fmla="*/ 81961136 h 1983"/>
                <a:gd name="T104" fmla="*/ 81871173 w 2936"/>
                <a:gd name="T105" fmla="*/ 85250681 h 1983"/>
                <a:gd name="T106" fmla="*/ 80538136 w 2936"/>
                <a:gd name="T107" fmla="*/ 106357591 h 1983"/>
                <a:gd name="T108" fmla="*/ 58071550 w 2936"/>
                <a:gd name="T109" fmla="*/ 104713080 h 1983"/>
                <a:gd name="T110" fmla="*/ 43220513 w 2936"/>
                <a:gd name="T111" fmla="*/ 138977647 h 1983"/>
                <a:gd name="T112" fmla="*/ 49503459 w 2936"/>
                <a:gd name="T113" fmla="*/ 163100278 h 1983"/>
                <a:gd name="T114" fmla="*/ 47980175 w 2936"/>
                <a:gd name="T115" fmla="*/ 196268504 h 1983"/>
                <a:gd name="T116" fmla="*/ 22467022 w 2936"/>
                <a:gd name="T117" fmla="*/ 214086393 h 1983"/>
                <a:gd name="T118" fmla="*/ 7615984 w 2936"/>
                <a:gd name="T119" fmla="*/ 245061414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94000" y="2084609"/>
              <a:ext cx="266079" cy="306996"/>
            </a:xfrm>
            <a:custGeom>
              <a:avLst/>
              <a:gdLst>
                <a:gd name="T0" fmla="*/ 66132051 w 504"/>
                <a:gd name="T1" fmla="*/ 133865368 h 524"/>
                <a:gd name="T2" fmla="*/ 49071901 w 504"/>
                <a:gd name="T3" fmla="*/ 137123730 h 524"/>
                <a:gd name="T4" fmla="*/ 45046571 w 504"/>
                <a:gd name="T5" fmla="*/ 140382092 h 524"/>
                <a:gd name="T6" fmla="*/ 40254616 w 504"/>
                <a:gd name="T7" fmla="*/ 141740047 h 524"/>
                <a:gd name="T8" fmla="*/ 29711438 w 504"/>
                <a:gd name="T9" fmla="*/ 142283020 h 524"/>
                <a:gd name="T10" fmla="*/ 20318855 w 504"/>
                <a:gd name="T11" fmla="*/ 141740047 h 524"/>
                <a:gd name="T12" fmla="*/ 18018541 w 504"/>
                <a:gd name="T13" fmla="*/ 140110605 h 524"/>
                <a:gd name="T14" fmla="*/ 13609679 w 504"/>
                <a:gd name="T15" fmla="*/ 138210198 h 524"/>
                <a:gd name="T16" fmla="*/ 6900941 w 504"/>
                <a:gd name="T17" fmla="*/ 134680349 h 524"/>
                <a:gd name="T18" fmla="*/ 4217096 w 504"/>
                <a:gd name="T19" fmla="*/ 131964961 h 524"/>
                <a:gd name="T20" fmla="*/ 3833564 w 504"/>
                <a:gd name="T21" fmla="*/ 129521059 h 524"/>
                <a:gd name="T22" fmla="*/ 5175487 w 504"/>
                <a:gd name="T23" fmla="*/ 125719724 h 524"/>
                <a:gd name="T24" fmla="*/ 6133878 w 504"/>
                <a:gd name="T25" fmla="*/ 120831920 h 524"/>
                <a:gd name="T26" fmla="*/ 5367253 w 504"/>
                <a:gd name="T27" fmla="*/ 117302072 h 524"/>
                <a:gd name="T28" fmla="*/ 1916782 w 504"/>
                <a:gd name="T29" fmla="*/ 113229249 h 524"/>
                <a:gd name="T30" fmla="*/ 191766 w 504"/>
                <a:gd name="T31" fmla="*/ 110513861 h 524"/>
                <a:gd name="T32" fmla="*/ 191766 w 504"/>
                <a:gd name="T33" fmla="*/ 106169031 h 524"/>
                <a:gd name="T34" fmla="*/ 3258705 w 504"/>
                <a:gd name="T35" fmla="*/ 97751900 h 524"/>
                <a:gd name="T36" fmla="*/ 9200817 w 504"/>
                <a:gd name="T37" fmla="*/ 89062761 h 524"/>
                <a:gd name="T38" fmla="*/ 16485290 w 504"/>
                <a:gd name="T39" fmla="*/ 81188083 h 524"/>
                <a:gd name="T40" fmla="*/ 23769325 w 504"/>
                <a:gd name="T41" fmla="*/ 75757306 h 524"/>
                <a:gd name="T42" fmla="*/ 30669829 w 504"/>
                <a:gd name="T43" fmla="*/ 73856898 h 524"/>
                <a:gd name="T44" fmla="*/ 29711438 w 504"/>
                <a:gd name="T45" fmla="*/ 71684483 h 524"/>
                <a:gd name="T46" fmla="*/ 27219796 w 504"/>
                <a:gd name="T47" fmla="*/ 70327050 h 524"/>
                <a:gd name="T48" fmla="*/ 25494342 w 504"/>
                <a:gd name="T49" fmla="*/ 68154635 h 524"/>
                <a:gd name="T50" fmla="*/ 24344185 w 504"/>
                <a:gd name="T51" fmla="*/ 62180884 h 524"/>
                <a:gd name="T52" fmla="*/ 23769325 w 504"/>
                <a:gd name="T53" fmla="*/ 52948772 h 524"/>
                <a:gd name="T54" fmla="*/ 22043871 w 504"/>
                <a:gd name="T55" fmla="*/ 43716660 h 524"/>
                <a:gd name="T56" fmla="*/ 19168698 w 504"/>
                <a:gd name="T57" fmla="*/ 36385476 h 524"/>
                <a:gd name="T58" fmla="*/ 13034820 w 504"/>
                <a:gd name="T59" fmla="*/ 24437975 h 524"/>
                <a:gd name="T60" fmla="*/ 16485290 w 504"/>
                <a:gd name="T61" fmla="*/ 16291810 h 524"/>
                <a:gd name="T62" fmla="*/ 20318855 w 504"/>
                <a:gd name="T63" fmla="*/ 15205863 h 524"/>
                <a:gd name="T64" fmla="*/ 24919482 w 504"/>
                <a:gd name="T65" fmla="*/ 15748836 h 524"/>
                <a:gd name="T66" fmla="*/ 26644499 w 504"/>
                <a:gd name="T67" fmla="*/ 16563296 h 524"/>
                <a:gd name="T68" fmla="*/ 30669829 w 504"/>
                <a:gd name="T69" fmla="*/ 15205863 h 524"/>
                <a:gd name="T70" fmla="*/ 31436892 w 504"/>
                <a:gd name="T71" fmla="*/ 8960626 h 524"/>
                <a:gd name="T72" fmla="*/ 32778377 w 504"/>
                <a:gd name="T73" fmla="*/ 3529849 h 524"/>
                <a:gd name="T74" fmla="*/ 35845754 w 504"/>
                <a:gd name="T75" fmla="*/ 0 h 524"/>
                <a:gd name="T76" fmla="*/ 43129789 w 504"/>
                <a:gd name="T77" fmla="*/ 0 h 524"/>
                <a:gd name="T78" fmla="*/ 48688808 w 504"/>
                <a:gd name="T79" fmla="*/ 2172415 h 524"/>
                <a:gd name="T80" fmla="*/ 53672529 w 504"/>
                <a:gd name="T81" fmla="*/ 5702264 h 524"/>
                <a:gd name="T82" fmla="*/ 53480763 w 504"/>
                <a:gd name="T83" fmla="*/ 16834783 h 524"/>
                <a:gd name="T84" fmla="*/ 55972843 w 504"/>
                <a:gd name="T85" fmla="*/ 20908126 h 524"/>
                <a:gd name="T86" fmla="*/ 61148330 w 504"/>
                <a:gd name="T87" fmla="*/ 25523922 h 524"/>
                <a:gd name="T88" fmla="*/ 68240599 w 504"/>
                <a:gd name="T89" fmla="*/ 32312133 h 524"/>
                <a:gd name="T90" fmla="*/ 66323817 w 504"/>
                <a:gd name="T91" fmla="*/ 36656963 h 524"/>
                <a:gd name="T92" fmla="*/ 65173660 w 504"/>
                <a:gd name="T93" fmla="*/ 41544245 h 524"/>
                <a:gd name="T94" fmla="*/ 65940723 w 504"/>
                <a:gd name="T95" fmla="*/ 47789482 h 524"/>
                <a:gd name="T96" fmla="*/ 69582522 w 504"/>
                <a:gd name="T97" fmla="*/ 54306727 h 524"/>
                <a:gd name="T98" fmla="*/ 72458133 w 504"/>
                <a:gd name="T99" fmla="*/ 57021594 h 524"/>
                <a:gd name="T100" fmla="*/ 73991384 w 504"/>
                <a:gd name="T101" fmla="*/ 69512069 h 524"/>
                <a:gd name="T102" fmla="*/ 77441854 w 504"/>
                <a:gd name="T103" fmla="*/ 78472694 h 524"/>
                <a:gd name="T104" fmla="*/ 82809107 w 504"/>
                <a:gd name="T105" fmla="*/ 85532913 h 524"/>
                <a:gd name="T106" fmla="*/ 88751220 w 504"/>
                <a:gd name="T107" fmla="*/ 90963168 h 524"/>
                <a:gd name="T108" fmla="*/ 89326517 w 504"/>
                <a:gd name="T109" fmla="*/ 105897544 h 524"/>
                <a:gd name="T110" fmla="*/ 76099932 w 504"/>
                <a:gd name="T111" fmla="*/ 124090282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76236" y="2554028"/>
              <a:ext cx="220137" cy="267729"/>
            </a:xfrm>
            <a:custGeom>
              <a:avLst/>
              <a:gdLst>
                <a:gd name="T0" fmla="*/ 74008467 w 438"/>
                <a:gd name="T1" fmla="*/ 52967765 h 451"/>
                <a:gd name="T2" fmla="*/ 70881572 w 438"/>
                <a:gd name="T3" fmla="*/ 35683374 h 451"/>
                <a:gd name="T4" fmla="*/ 67233250 w 438"/>
                <a:gd name="T5" fmla="*/ 23695813 h 451"/>
                <a:gd name="T6" fmla="*/ 63758736 w 438"/>
                <a:gd name="T7" fmla="*/ 17284390 h 451"/>
                <a:gd name="T8" fmla="*/ 61847671 w 438"/>
                <a:gd name="T9" fmla="*/ 16169268 h 451"/>
                <a:gd name="T10" fmla="*/ 58199348 w 438"/>
                <a:gd name="T11" fmla="*/ 12545122 h 451"/>
                <a:gd name="T12" fmla="*/ 54551026 w 438"/>
                <a:gd name="T13" fmla="*/ 10593659 h 451"/>
                <a:gd name="T14" fmla="*/ 50902704 w 438"/>
                <a:gd name="T15" fmla="*/ 10593659 h 451"/>
                <a:gd name="T16" fmla="*/ 47949201 w 438"/>
                <a:gd name="T17" fmla="*/ 11708780 h 451"/>
                <a:gd name="T18" fmla="*/ 43606059 w 438"/>
                <a:gd name="T19" fmla="*/ 16169268 h 451"/>
                <a:gd name="T20" fmla="*/ 40826365 w 438"/>
                <a:gd name="T21" fmla="*/ 18678293 h 451"/>
                <a:gd name="T22" fmla="*/ 37699053 w 438"/>
                <a:gd name="T23" fmla="*/ 18399512 h 451"/>
                <a:gd name="T24" fmla="*/ 30229016 w 438"/>
                <a:gd name="T25" fmla="*/ 10314878 h 451"/>
                <a:gd name="T26" fmla="*/ 19631250 w 438"/>
                <a:gd name="T27" fmla="*/ 0 h 451"/>
                <a:gd name="T28" fmla="*/ 16504355 w 438"/>
                <a:gd name="T29" fmla="*/ 6411951 h 451"/>
                <a:gd name="T30" fmla="*/ 16156737 w 438"/>
                <a:gd name="T31" fmla="*/ 11987561 h 451"/>
                <a:gd name="T32" fmla="*/ 17025365 w 438"/>
                <a:gd name="T33" fmla="*/ 14496585 h 451"/>
                <a:gd name="T34" fmla="*/ 20673688 w 438"/>
                <a:gd name="T35" fmla="*/ 19235854 h 451"/>
                <a:gd name="T36" fmla="*/ 17199174 w 438"/>
                <a:gd name="T37" fmla="*/ 20350976 h 451"/>
                <a:gd name="T38" fmla="*/ 11465977 w 438"/>
                <a:gd name="T39" fmla="*/ 25926057 h 451"/>
                <a:gd name="T40" fmla="*/ 10076339 w 438"/>
                <a:gd name="T41" fmla="*/ 33174350 h 451"/>
                <a:gd name="T42" fmla="*/ 7817655 w 438"/>
                <a:gd name="T43" fmla="*/ 38471179 h 451"/>
                <a:gd name="T44" fmla="*/ 6080398 w 438"/>
                <a:gd name="T45" fmla="*/ 43489228 h 451"/>
                <a:gd name="T46" fmla="*/ 5733197 w 438"/>
                <a:gd name="T47" fmla="*/ 49901179 h 451"/>
                <a:gd name="T48" fmla="*/ 1216246 w 438"/>
                <a:gd name="T49" fmla="*/ 66348700 h 451"/>
                <a:gd name="T50" fmla="*/ 2605885 w 438"/>
                <a:gd name="T51" fmla="*/ 68578944 h 451"/>
                <a:gd name="T52" fmla="*/ 4516951 w 438"/>
                <a:gd name="T53" fmla="*/ 68857725 h 451"/>
                <a:gd name="T54" fmla="*/ 5733197 w 438"/>
                <a:gd name="T55" fmla="*/ 96456993 h 451"/>
                <a:gd name="T56" fmla="*/ 16156737 w 438"/>
                <a:gd name="T57" fmla="*/ 98408456 h 451"/>
                <a:gd name="T58" fmla="*/ 18067803 w 438"/>
                <a:gd name="T59" fmla="*/ 104819879 h 451"/>
                <a:gd name="T60" fmla="*/ 15461918 w 438"/>
                <a:gd name="T61" fmla="*/ 118480123 h 451"/>
                <a:gd name="T62" fmla="*/ 18936431 w 438"/>
                <a:gd name="T63" fmla="*/ 124613294 h 451"/>
                <a:gd name="T64" fmla="*/ 26406885 w 438"/>
                <a:gd name="T65" fmla="*/ 124613294 h 451"/>
                <a:gd name="T66" fmla="*/ 35614595 w 438"/>
                <a:gd name="T67" fmla="*/ 123776953 h 451"/>
                <a:gd name="T68" fmla="*/ 47949201 w 438"/>
                <a:gd name="T69" fmla="*/ 124334514 h 451"/>
                <a:gd name="T70" fmla="*/ 59588987 w 438"/>
                <a:gd name="T71" fmla="*/ 123219392 h 451"/>
                <a:gd name="T72" fmla="*/ 64627365 w 438"/>
                <a:gd name="T73" fmla="*/ 120431587 h 451"/>
                <a:gd name="T74" fmla="*/ 62368681 w 438"/>
                <a:gd name="T75" fmla="*/ 115134757 h 451"/>
                <a:gd name="T76" fmla="*/ 64105938 w 438"/>
                <a:gd name="T77" fmla="*/ 112346953 h 451"/>
                <a:gd name="T78" fmla="*/ 64627365 w 438"/>
                <a:gd name="T79" fmla="*/ 106492562 h 451"/>
                <a:gd name="T80" fmla="*/ 66017003 w 438"/>
                <a:gd name="T81" fmla="*/ 102311383 h 451"/>
                <a:gd name="T82" fmla="*/ 59588987 w 438"/>
                <a:gd name="T83" fmla="*/ 95899432 h 451"/>
                <a:gd name="T84" fmla="*/ 56462092 w 438"/>
                <a:gd name="T85" fmla="*/ 90045042 h 451"/>
                <a:gd name="T86" fmla="*/ 54029599 w 438"/>
                <a:gd name="T87" fmla="*/ 81960407 h 451"/>
                <a:gd name="T88" fmla="*/ 51076513 w 438"/>
                <a:gd name="T89" fmla="*/ 77221139 h 451"/>
                <a:gd name="T90" fmla="*/ 54551026 w 438"/>
                <a:gd name="T91" fmla="*/ 76663578 h 451"/>
                <a:gd name="T92" fmla="*/ 60110414 w 438"/>
                <a:gd name="T93" fmla="*/ 75548456 h 451"/>
                <a:gd name="T94" fmla="*/ 64105938 w 438"/>
                <a:gd name="T95" fmla="*/ 72481871 h 451"/>
                <a:gd name="T96" fmla="*/ 70707763 w 438"/>
                <a:gd name="T97" fmla="*/ 66906261 h 451"/>
                <a:gd name="T98" fmla="*/ 76093342 w 438"/>
                <a:gd name="T99" fmla="*/ 65512359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206864" y="2843175"/>
              <a:ext cx="302450" cy="308780"/>
            </a:xfrm>
            <a:custGeom>
              <a:avLst/>
              <a:gdLst>
                <a:gd name="T0" fmla="*/ 61579273 w 578"/>
                <a:gd name="T1" fmla="*/ 24173297 h 524"/>
                <a:gd name="T2" fmla="*/ 58754237 w 578"/>
                <a:gd name="T3" fmla="*/ 23349386 h 524"/>
                <a:gd name="T4" fmla="*/ 56682978 w 578"/>
                <a:gd name="T5" fmla="*/ 21701040 h 524"/>
                <a:gd name="T6" fmla="*/ 51786683 w 578"/>
                <a:gd name="T7" fmla="*/ 18130235 h 524"/>
                <a:gd name="T8" fmla="*/ 47267060 w 578"/>
                <a:gd name="T9" fmla="*/ 21426403 h 524"/>
                <a:gd name="T10" fmla="*/ 46325815 w 578"/>
                <a:gd name="T11" fmla="*/ 28843174 h 524"/>
                <a:gd name="T12" fmla="*/ 47643731 w 578"/>
                <a:gd name="T13" fmla="*/ 42028895 h 524"/>
                <a:gd name="T14" fmla="*/ 50845005 w 578"/>
                <a:gd name="T15" fmla="*/ 47248046 h 524"/>
                <a:gd name="T16" fmla="*/ 54046712 w 578"/>
                <a:gd name="T17" fmla="*/ 48896392 h 524"/>
                <a:gd name="T18" fmla="*/ 56117971 w 578"/>
                <a:gd name="T19" fmla="*/ 52467198 h 524"/>
                <a:gd name="T20" fmla="*/ 66098897 w 578"/>
                <a:gd name="T21" fmla="*/ 61806952 h 524"/>
                <a:gd name="T22" fmla="*/ 84553628 w 578"/>
                <a:gd name="T23" fmla="*/ 84881701 h 524"/>
                <a:gd name="T24" fmla="*/ 89826595 w 578"/>
                <a:gd name="T25" fmla="*/ 88452506 h 524"/>
                <a:gd name="T26" fmla="*/ 94910791 w 578"/>
                <a:gd name="T27" fmla="*/ 90100852 h 524"/>
                <a:gd name="T28" fmla="*/ 100937101 w 578"/>
                <a:gd name="T29" fmla="*/ 97792261 h 524"/>
                <a:gd name="T30" fmla="*/ 108846333 w 578"/>
                <a:gd name="T31" fmla="*/ 103286573 h 524"/>
                <a:gd name="T32" fmla="*/ 106398403 w 578"/>
                <a:gd name="T33" fmla="*/ 111801892 h 524"/>
                <a:gd name="T34" fmla="*/ 99053743 w 578"/>
                <a:gd name="T35" fmla="*/ 105209556 h 524"/>
                <a:gd name="T36" fmla="*/ 95664134 w 578"/>
                <a:gd name="T37" fmla="*/ 103286573 h 524"/>
                <a:gd name="T38" fmla="*/ 93781211 w 578"/>
                <a:gd name="T39" fmla="*/ 109054998 h 524"/>
                <a:gd name="T40" fmla="*/ 95287463 w 578"/>
                <a:gd name="T41" fmla="*/ 117021568 h 524"/>
                <a:gd name="T42" fmla="*/ 96794149 w 578"/>
                <a:gd name="T43" fmla="*/ 121416284 h 524"/>
                <a:gd name="T44" fmla="*/ 94157882 w 578"/>
                <a:gd name="T45" fmla="*/ 128558418 h 524"/>
                <a:gd name="T46" fmla="*/ 90956175 w 578"/>
                <a:gd name="T47" fmla="*/ 138722608 h 524"/>
                <a:gd name="T48" fmla="*/ 87566566 w 578"/>
                <a:gd name="T49" fmla="*/ 143392485 h 524"/>
                <a:gd name="T50" fmla="*/ 82105698 w 578"/>
                <a:gd name="T51" fmla="*/ 138722608 h 524"/>
                <a:gd name="T52" fmla="*/ 85871978 w 578"/>
                <a:gd name="T53" fmla="*/ 132953659 h 524"/>
                <a:gd name="T54" fmla="*/ 87566566 w 578"/>
                <a:gd name="T55" fmla="*/ 128283781 h 524"/>
                <a:gd name="T56" fmla="*/ 86813223 w 578"/>
                <a:gd name="T57" fmla="*/ 121141647 h 524"/>
                <a:gd name="T58" fmla="*/ 80410676 w 578"/>
                <a:gd name="T59" fmla="*/ 108505724 h 524"/>
                <a:gd name="T60" fmla="*/ 72501444 w 578"/>
                <a:gd name="T61" fmla="*/ 101363590 h 524"/>
                <a:gd name="T62" fmla="*/ 66851806 w 578"/>
                <a:gd name="T63" fmla="*/ 97792261 h 524"/>
                <a:gd name="T64" fmla="*/ 59884252 w 578"/>
                <a:gd name="T65" fmla="*/ 90650126 h 524"/>
                <a:gd name="T66" fmla="*/ 50468333 w 578"/>
                <a:gd name="T67" fmla="*/ 86530047 h 524"/>
                <a:gd name="T68" fmla="*/ 41052849 w 578"/>
                <a:gd name="T69" fmla="*/ 78288841 h 524"/>
                <a:gd name="T70" fmla="*/ 30506916 w 578"/>
                <a:gd name="T71" fmla="*/ 62906024 h 524"/>
                <a:gd name="T72" fmla="*/ 23727698 w 578"/>
                <a:gd name="T73" fmla="*/ 46149498 h 524"/>
                <a:gd name="T74" fmla="*/ 14500115 w 578"/>
                <a:gd name="T75" fmla="*/ 42303532 h 524"/>
                <a:gd name="T76" fmla="*/ 9604254 w 578"/>
                <a:gd name="T77" fmla="*/ 43127443 h 524"/>
                <a:gd name="T78" fmla="*/ 2824602 w 578"/>
                <a:gd name="T79" fmla="*/ 45325063 h 524"/>
                <a:gd name="T80" fmla="*/ 565007 w 578"/>
                <a:gd name="T81" fmla="*/ 36534583 h 524"/>
                <a:gd name="T82" fmla="*/ 188336 w 578"/>
                <a:gd name="T83" fmla="*/ 25547006 h 524"/>
                <a:gd name="T84" fmla="*/ 1130014 w 578"/>
                <a:gd name="T85" fmla="*/ 13460358 h 524"/>
                <a:gd name="T86" fmla="*/ 8474240 w 578"/>
                <a:gd name="T87" fmla="*/ 11262738 h 524"/>
                <a:gd name="T88" fmla="*/ 12805528 w 578"/>
                <a:gd name="T89" fmla="*/ 9065117 h 524"/>
                <a:gd name="T90" fmla="*/ 15630129 w 578"/>
                <a:gd name="T91" fmla="*/ 13185721 h 524"/>
                <a:gd name="T92" fmla="*/ 19584746 w 578"/>
                <a:gd name="T93" fmla="*/ 12086649 h 524"/>
                <a:gd name="T94" fmla="*/ 28058986 w 578"/>
                <a:gd name="T95" fmla="*/ 4395240 h 524"/>
                <a:gd name="T96" fmla="*/ 45007465 w 578"/>
                <a:gd name="T97" fmla="*/ 0 h 524"/>
                <a:gd name="T98" fmla="*/ 48397074 w 578"/>
                <a:gd name="T99" fmla="*/ 3571329 h 524"/>
                <a:gd name="T100" fmla="*/ 62520518 w 578"/>
                <a:gd name="T101" fmla="*/ 5219151 h 524"/>
                <a:gd name="T102" fmla="*/ 60637595 w 578"/>
                <a:gd name="T103" fmla="*/ 17855598 h 524"/>
                <a:gd name="T104" fmla="*/ 61202602 w 578"/>
                <a:gd name="T105" fmla="*/ 24722571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227920" y="3032371"/>
              <a:ext cx="40200" cy="92813"/>
            </a:xfrm>
            <a:custGeom>
              <a:avLst/>
              <a:gdLst>
                <a:gd name="T0" fmla="*/ 0 w 79"/>
                <a:gd name="T1" fmla="*/ 9849247 h 160"/>
                <a:gd name="T2" fmla="*/ 1068504 w 79"/>
                <a:gd name="T3" fmla="*/ 9849247 h 160"/>
                <a:gd name="T4" fmla="*/ 1958924 w 79"/>
                <a:gd name="T5" fmla="*/ 9583023 h 160"/>
                <a:gd name="T6" fmla="*/ 2849344 w 79"/>
                <a:gd name="T7" fmla="*/ 9316799 h 160"/>
                <a:gd name="T8" fmla="*/ 3383596 w 79"/>
                <a:gd name="T9" fmla="*/ 8784352 h 160"/>
                <a:gd name="T10" fmla="*/ 4630184 w 79"/>
                <a:gd name="T11" fmla="*/ 7453233 h 160"/>
                <a:gd name="T12" fmla="*/ 5520604 w 79"/>
                <a:gd name="T13" fmla="*/ 5856407 h 160"/>
                <a:gd name="T14" fmla="*/ 6589108 w 79"/>
                <a:gd name="T15" fmla="*/ 4259064 h 160"/>
                <a:gd name="T16" fmla="*/ 7301444 w 79"/>
                <a:gd name="T17" fmla="*/ 2661722 h 160"/>
                <a:gd name="T18" fmla="*/ 8191864 w 79"/>
                <a:gd name="T19" fmla="*/ 1331119 h 160"/>
                <a:gd name="T20" fmla="*/ 9438452 w 79"/>
                <a:gd name="T21" fmla="*/ 0 h 160"/>
                <a:gd name="T22" fmla="*/ 10150788 w 79"/>
                <a:gd name="T23" fmla="*/ 798671 h 160"/>
                <a:gd name="T24" fmla="*/ 11041208 w 79"/>
                <a:gd name="T25" fmla="*/ 1863566 h 160"/>
                <a:gd name="T26" fmla="*/ 11397376 w 79"/>
                <a:gd name="T27" fmla="*/ 2661722 h 160"/>
                <a:gd name="T28" fmla="*/ 11753544 w 79"/>
                <a:gd name="T29" fmla="*/ 3726617 h 160"/>
                <a:gd name="T30" fmla="*/ 12287796 w 79"/>
                <a:gd name="T31" fmla="*/ 5856407 h 160"/>
                <a:gd name="T32" fmla="*/ 12822048 w 79"/>
                <a:gd name="T33" fmla="*/ 8518128 h 160"/>
                <a:gd name="T34" fmla="*/ 13000132 w 79"/>
                <a:gd name="T35" fmla="*/ 10647918 h 160"/>
                <a:gd name="T36" fmla="*/ 13178216 w 79"/>
                <a:gd name="T37" fmla="*/ 13043416 h 160"/>
                <a:gd name="T38" fmla="*/ 13534384 w 79"/>
                <a:gd name="T39" fmla="*/ 15438914 h 160"/>
                <a:gd name="T40" fmla="*/ 14068636 w 79"/>
                <a:gd name="T41" fmla="*/ 17834928 h 160"/>
                <a:gd name="T42" fmla="*/ 14068636 w 79"/>
                <a:gd name="T43" fmla="*/ 26086832 h 160"/>
                <a:gd name="T44" fmla="*/ 12109712 w 79"/>
                <a:gd name="T45" fmla="*/ 30612120 h 160"/>
                <a:gd name="T46" fmla="*/ 10506956 w 79"/>
                <a:gd name="T47" fmla="*/ 34338736 h 160"/>
                <a:gd name="T48" fmla="*/ 9438452 w 79"/>
                <a:gd name="T49" fmla="*/ 36202303 h 160"/>
                <a:gd name="T50" fmla="*/ 8904200 w 79"/>
                <a:gd name="T51" fmla="*/ 38331577 h 160"/>
                <a:gd name="T52" fmla="*/ 8548032 w 79"/>
                <a:gd name="T53" fmla="*/ 40195143 h 160"/>
                <a:gd name="T54" fmla="*/ 8191864 w 79"/>
                <a:gd name="T55" fmla="*/ 42590641 h 160"/>
                <a:gd name="T56" fmla="*/ 7123360 w 79"/>
                <a:gd name="T57" fmla="*/ 41259522 h 160"/>
                <a:gd name="T58" fmla="*/ 5876772 w 79"/>
                <a:gd name="T59" fmla="*/ 39928919 h 160"/>
                <a:gd name="T60" fmla="*/ 4986352 w 79"/>
                <a:gd name="T61" fmla="*/ 38331577 h 160"/>
                <a:gd name="T62" fmla="*/ 3917848 w 79"/>
                <a:gd name="T63" fmla="*/ 36468010 h 160"/>
                <a:gd name="T64" fmla="*/ 3205512 w 79"/>
                <a:gd name="T65" fmla="*/ 34604960 h 160"/>
                <a:gd name="T66" fmla="*/ 2671260 w 79"/>
                <a:gd name="T67" fmla="*/ 32741394 h 160"/>
                <a:gd name="T68" fmla="*/ 1958924 w 79"/>
                <a:gd name="T69" fmla="*/ 30612120 h 160"/>
                <a:gd name="T70" fmla="*/ 1424672 w 79"/>
                <a:gd name="T71" fmla="*/ 28748553 h 160"/>
                <a:gd name="T72" fmla="*/ 712336 w 79"/>
                <a:gd name="T73" fmla="*/ 24223266 h 160"/>
                <a:gd name="T74" fmla="*/ 178084 w 79"/>
                <a:gd name="T75" fmla="*/ 19431754 h 160"/>
                <a:gd name="T76" fmla="*/ 0 w 79"/>
                <a:gd name="T77" fmla="*/ 14640758 h 160"/>
                <a:gd name="T78" fmla="*/ 0 w 79"/>
                <a:gd name="T79" fmla="*/ 98492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2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024628" y="4224658"/>
              <a:ext cx="570444" cy="239171"/>
              <a:chOff x="4488" y="2394"/>
              <a:chExt cx="358" cy="124"/>
            </a:xfrm>
          </p:grpSpPr>
          <p:sp>
            <p:nvSpPr>
              <p:cNvPr id="557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7 w 512"/>
                  <a:gd name="T1" fmla="*/ 18 h 408"/>
                  <a:gd name="T2" fmla="*/ 43 w 512"/>
                  <a:gd name="T3" fmla="*/ 18 h 408"/>
                  <a:gd name="T4" fmla="*/ 41 w 512"/>
                  <a:gd name="T5" fmla="*/ 19 h 408"/>
                  <a:gd name="T6" fmla="*/ 39 w 512"/>
                  <a:gd name="T7" fmla="*/ 20 h 408"/>
                  <a:gd name="T8" fmla="*/ 39 w 512"/>
                  <a:gd name="T9" fmla="*/ 23 h 408"/>
                  <a:gd name="T10" fmla="*/ 36 w 512"/>
                  <a:gd name="T11" fmla="*/ 28 h 408"/>
                  <a:gd name="T12" fmla="*/ 34 w 512"/>
                  <a:gd name="T13" fmla="*/ 31 h 408"/>
                  <a:gd name="T14" fmla="*/ 32 w 512"/>
                  <a:gd name="T15" fmla="*/ 32 h 408"/>
                  <a:gd name="T16" fmla="*/ 30 w 512"/>
                  <a:gd name="T17" fmla="*/ 33 h 408"/>
                  <a:gd name="T18" fmla="*/ 29 w 512"/>
                  <a:gd name="T19" fmla="*/ 34 h 408"/>
                  <a:gd name="T20" fmla="*/ 28 w 512"/>
                  <a:gd name="T21" fmla="*/ 35 h 408"/>
                  <a:gd name="T22" fmla="*/ 24 w 512"/>
                  <a:gd name="T23" fmla="*/ 34 h 408"/>
                  <a:gd name="T24" fmla="*/ 20 w 512"/>
                  <a:gd name="T25" fmla="*/ 34 h 408"/>
                  <a:gd name="T26" fmla="*/ 17 w 512"/>
                  <a:gd name="T27" fmla="*/ 34 h 408"/>
                  <a:gd name="T28" fmla="*/ 15 w 512"/>
                  <a:gd name="T29" fmla="*/ 36 h 408"/>
                  <a:gd name="T30" fmla="*/ 11 w 512"/>
                  <a:gd name="T31" fmla="*/ 37 h 408"/>
                  <a:gd name="T32" fmla="*/ 7 w 512"/>
                  <a:gd name="T33" fmla="*/ 38 h 408"/>
                  <a:gd name="T34" fmla="*/ 5 w 512"/>
                  <a:gd name="T35" fmla="*/ 37 h 408"/>
                  <a:gd name="T36" fmla="*/ 2 w 512"/>
                  <a:gd name="T37" fmla="*/ 34 h 408"/>
                  <a:gd name="T38" fmla="*/ 0 w 512"/>
                  <a:gd name="T39" fmla="*/ 32 h 408"/>
                  <a:gd name="T40" fmla="*/ 1 w 512"/>
                  <a:gd name="T41" fmla="*/ 31 h 408"/>
                  <a:gd name="T42" fmla="*/ 4 w 512"/>
                  <a:gd name="T43" fmla="*/ 32 h 408"/>
                  <a:gd name="T44" fmla="*/ 6 w 512"/>
                  <a:gd name="T45" fmla="*/ 31 h 408"/>
                  <a:gd name="T46" fmla="*/ 6 w 512"/>
                  <a:gd name="T47" fmla="*/ 29 h 408"/>
                  <a:gd name="T48" fmla="*/ 8 w 512"/>
                  <a:gd name="T49" fmla="*/ 28 h 408"/>
                  <a:gd name="T50" fmla="*/ 9 w 512"/>
                  <a:gd name="T51" fmla="*/ 26 h 408"/>
                  <a:gd name="T52" fmla="*/ 10 w 512"/>
                  <a:gd name="T53" fmla="*/ 25 h 408"/>
                  <a:gd name="T54" fmla="*/ 11 w 512"/>
                  <a:gd name="T55" fmla="*/ 24 h 408"/>
                  <a:gd name="T56" fmla="*/ 15 w 512"/>
                  <a:gd name="T57" fmla="*/ 23 h 408"/>
                  <a:gd name="T58" fmla="*/ 19 w 512"/>
                  <a:gd name="T59" fmla="*/ 22 h 408"/>
                  <a:gd name="T60" fmla="*/ 22 w 512"/>
                  <a:gd name="T61" fmla="*/ 20 h 408"/>
                  <a:gd name="T62" fmla="*/ 24 w 512"/>
                  <a:gd name="T63" fmla="*/ 19 h 408"/>
                  <a:gd name="T64" fmla="*/ 24 w 512"/>
                  <a:gd name="T65" fmla="*/ 18 h 408"/>
                  <a:gd name="T66" fmla="*/ 25 w 512"/>
                  <a:gd name="T67" fmla="*/ 15 h 408"/>
                  <a:gd name="T68" fmla="*/ 25 w 512"/>
                  <a:gd name="T69" fmla="*/ 14 h 408"/>
                  <a:gd name="T70" fmla="*/ 26 w 512"/>
                  <a:gd name="T71" fmla="*/ 14 h 408"/>
                  <a:gd name="T72" fmla="*/ 27 w 512"/>
                  <a:gd name="T73" fmla="*/ 13 h 408"/>
                  <a:gd name="T74" fmla="*/ 26 w 512"/>
                  <a:gd name="T75" fmla="*/ 14 h 408"/>
                  <a:gd name="T76" fmla="*/ 27 w 512"/>
                  <a:gd name="T77" fmla="*/ 16 h 408"/>
                  <a:gd name="T78" fmla="*/ 28 w 512"/>
                  <a:gd name="T79" fmla="*/ 18 h 408"/>
                  <a:gd name="T80" fmla="*/ 30 w 512"/>
                  <a:gd name="T81" fmla="*/ 19 h 408"/>
                  <a:gd name="T82" fmla="*/ 34 w 512"/>
                  <a:gd name="T83" fmla="*/ 19 h 408"/>
                  <a:gd name="T84" fmla="*/ 36 w 512"/>
                  <a:gd name="T85" fmla="*/ 19 h 408"/>
                  <a:gd name="T86" fmla="*/ 36 w 512"/>
                  <a:gd name="T87" fmla="*/ 18 h 408"/>
                  <a:gd name="T88" fmla="*/ 36 w 512"/>
                  <a:gd name="T89" fmla="*/ 16 h 408"/>
                  <a:gd name="T90" fmla="*/ 33 w 512"/>
                  <a:gd name="T91" fmla="*/ 12 h 408"/>
                  <a:gd name="T92" fmla="*/ 36 w 512"/>
                  <a:gd name="T93" fmla="*/ 10 h 408"/>
                  <a:gd name="T94" fmla="*/ 38 w 512"/>
                  <a:gd name="T95" fmla="*/ 6 h 408"/>
                  <a:gd name="T96" fmla="*/ 42 w 512"/>
                  <a:gd name="T97" fmla="*/ 2 h 408"/>
                  <a:gd name="T98" fmla="*/ 44 w 512"/>
                  <a:gd name="T99" fmla="*/ 0 h 408"/>
                  <a:gd name="T100" fmla="*/ 45 w 512"/>
                  <a:gd name="T101" fmla="*/ 2 h 408"/>
                  <a:gd name="T102" fmla="*/ 46 w 512"/>
                  <a:gd name="T103" fmla="*/ 5 h 408"/>
                  <a:gd name="T104" fmla="*/ 49 w 512"/>
                  <a:gd name="T105" fmla="*/ 7 h 408"/>
                  <a:gd name="T106" fmla="*/ 54 w 512"/>
                  <a:gd name="T107" fmla="*/ 10 h 408"/>
                  <a:gd name="T108" fmla="*/ 57 w 512"/>
                  <a:gd name="T109" fmla="*/ 12 h 408"/>
                  <a:gd name="T110" fmla="*/ 56 w 512"/>
                  <a:gd name="T111" fmla="*/ 14 h 408"/>
                  <a:gd name="T112" fmla="*/ 53 w 512"/>
                  <a:gd name="T113" fmla="*/ 14 h 408"/>
                  <a:gd name="T114" fmla="*/ 51 w 512"/>
                  <a:gd name="T115" fmla="*/ 17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8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7 w 232"/>
                  <a:gd name="T1" fmla="*/ 2 h 289"/>
                  <a:gd name="T2" fmla="*/ 18 w 232"/>
                  <a:gd name="T3" fmla="*/ 5 h 289"/>
                  <a:gd name="T4" fmla="*/ 19 w 232"/>
                  <a:gd name="T5" fmla="*/ 5 h 289"/>
                  <a:gd name="T6" fmla="*/ 20 w 232"/>
                  <a:gd name="T7" fmla="*/ 6 h 289"/>
                  <a:gd name="T8" fmla="*/ 21 w 232"/>
                  <a:gd name="T9" fmla="*/ 16 h 289"/>
                  <a:gd name="T10" fmla="*/ 21 w 232"/>
                  <a:gd name="T11" fmla="*/ 18 h 289"/>
                  <a:gd name="T12" fmla="*/ 21 w 232"/>
                  <a:gd name="T13" fmla="*/ 20 h 289"/>
                  <a:gd name="T14" fmla="*/ 22 w 232"/>
                  <a:gd name="T15" fmla="*/ 21 h 289"/>
                  <a:gd name="T16" fmla="*/ 26 w 232"/>
                  <a:gd name="T17" fmla="*/ 23 h 289"/>
                  <a:gd name="T18" fmla="*/ 24 w 232"/>
                  <a:gd name="T19" fmla="*/ 27 h 289"/>
                  <a:gd name="T20" fmla="*/ 21 w 232"/>
                  <a:gd name="T21" fmla="*/ 27 h 289"/>
                  <a:gd name="T22" fmla="*/ 17 w 232"/>
                  <a:gd name="T23" fmla="*/ 25 h 289"/>
                  <a:gd name="T24" fmla="*/ 13 w 232"/>
                  <a:gd name="T25" fmla="*/ 22 h 289"/>
                  <a:gd name="T26" fmla="*/ 9 w 232"/>
                  <a:gd name="T27" fmla="*/ 20 h 289"/>
                  <a:gd name="T28" fmla="*/ 6 w 232"/>
                  <a:gd name="T29" fmla="*/ 17 h 289"/>
                  <a:gd name="T30" fmla="*/ 3 w 232"/>
                  <a:gd name="T31" fmla="*/ 14 h 289"/>
                  <a:gd name="T32" fmla="*/ 1 w 232"/>
                  <a:gd name="T33" fmla="*/ 12 h 289"/>
                  <a:gd name="T34" fmla="*/ 0 w 232"/>
                  <a:gd name="T35" fmla="*/ 11 h 289"/>
                  <a:gd name="T36" fmla="*/ 0 w 232"/>
                  <a:gd name="T37" fmla="*/ 10 h 289"/>
                  <a:gd name="T38" fmla="*/ 0 w 232"/>
                  <a:gd name="T39" fmla="*/ 10 h 289"/>
                  <a:gd name="T40" fmla="*/ 0 w 232"/>
                  <a:gd name="T41" fmla="*/ 9 h 289"/>
                  <a:gd name="T42" fmla="*/ 1 w 232"/>
                  <a:gd name="T43" fmla="*/ 7 h 289"/>
                  <a:gd name="T44" fmla="*/ 1 w 232"/>
                  <a:gd name="T45" fmla="*/ 5 h 289"/>
                  <a:gd name="T46" fmla="*/ 1 w 232"/>
                  <a:gd name="T47" fmla="*/ 2 h 289"/>
                  <a:gd name="T48" fmla="*/ 1 w 232"/>
                  <a:gd name="T49" fmla="*/ 0 h 289"/>
                  <a:gd name="T50" fmla="*/ 3 w 232"/>
                  <a:gd name="T51" fmla="*/ 0 h 289"/>
                  <a:gd name="T52" fmla="*/ 5 w 232"/>
                  <a:gd name="T53" fmla="*/ 1 h 289"/>
                  <a:gd name="T54" fmla="*/ 7 w 232"/>
                  <a:gd name="T55" fmla="*/ 2 h 289"/>
                  <a:gd name="T56" fmla="*/ 8 w 232"/>
                  <a:gd name="T57" fmla="*/ 3 h 289"/>
                  <a:gd name="T58" fmla="*/ 9 w 232"/>
                  <a:gd name="T59" fmla="*/ 3 h 289"/>
                  <a:gd name="T60" fmla="*/ 10 w 232"/>
                  <a:gd name="T61" fmla="*/ 3 h 289"/>
                  <a:gd name="T62" fmla="*/ 12 w 232"/>
                  <a:gd name="T63" fmla="*/ 2 h 289"/>
                  <a:gd name="T64" fmla="*/ 13 w 232"/>
                  <a:gd name="T65" fmla="*/ 2 h 289"/>
                  <a:gd name="T66" fmla="*/ 15 w 232"/>
                  <a:gd name="T67" fmla="*/ 1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3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639483" y="1836514"/>
              <a:ext cx="3696400" cy="1208350"/>
            </a:xfrm>
            <a:custGeom>
              <a:avLst/>
              <a:gdLst>
                <a:gd name="T0" fmla="*/ 137111692 w 7049"/>
                <a:gd name="T1" fmla="*/ 477246726 h 2048"/>
                <a:gd name="T2" fmla="*/ 202358326 w 7049"/>
                <a:gd name="T3" fmla="*/ 533425873 h 2048"/>
                <a:gd name="T4" fmla="*/ 229212974 w 7049"/>
                <a:gd name="T5" fmla="*/ 499553291 h 2048"/>
                <a:gd name="T6" fmla="*/ 316586251 w 7049"/>
                <a:gd name="T7" fmla="*/ 404544546 h 2048"/>
                <a:gd name="T8" fmla="*/ 495115383 w 7049"/>
                <a:gd name="T9" fmla="*/ 362134941 h 2048"/>
                <a:gd name="T10" fmla="*/ 633551282 w 7049"/>
                <a:gd name="T11" fmla="*/ 411429055 h 2048"/>
                <a:gd name="T12" fmla="*/ 695204076 w 7049"/>
                <a:gd name="T13" fmla="*/ 396007524 h 2048"/>
                <a:gd name="T14" fmla="*/ 782199444 w 7049"/>
                <a:gd name="T15" fmla="*/ 410878567 h 2048"/>
                <a:gd name="T16" fmla="*/ 865600972 w 7049"/>
                <a:gd name="T17" fmla="*/ 415560075 h 2048"/>
                <a:gd name="T18" fmla="*/ 900020774 w 7049"/>
                <a:gd name="T19" fmla="*/ 377831979 h 2048"/>
                <a:gd name="T20" fmla="*/ 975101327 w 7049"/>
                <a:gd name="T21" fmla="*/ 406472041 h 2048"/>
                <a:gd name="T22" fmla="*/ 1061718350 w 7049"/>
                <a:gd name="T23" fmla="*/ 440069642 h 2048"/>
                <a:gd name="T24" fmla="*/ 1059827061 w 7049"/>
                <a:gd name="T25" fmla="*/ 507814807 h 2048"/>
                <a:gd name="T26" fmla="*/ 1106917932 w 7049"/>
                <a:gd name="T27" fmla="*/ 443925156 h 2048"/>
                <a:gd name="T28" fmla="*/ 1053396940 w 7049"/>
                <a:gd name="T29" fmla="*/ 345886891 h 2048"/>
                <a:gd name="T30" fmla="*/ 1008197358 w 7049"/>
                <a:gd name="T31" fmla="*/ 315869822 h 2048"/>
                <a:gd name="T32" fmla="*/ 1107674187 w 7049"/>
                <a:gd name="T33" fmla="*/ 270430698 h 2048"/>
                <a:gd name="T34" fmla="*/ 1129801265 w 7049"/>
                <a:gd name="T35" fmla="*/ 226368580 h 2048"/>
                <a:gd name="T36" fmla="*/ 1159682235 w 7049"/>
                <a:gd name="T37" fmla="*/ 209570042 h 2048"/>
                <a:gd name="T38" fmla="*/ 1171596615 w 7049"/>
                <a:gd name="T39" fmla="*/ 268227697 h 2048"/>
                <a:gd name="T40" fmla="*/ 1201288413 w 7049"/>
                <a:gd name="T41" fmla="*/ 344509884 h 2048"/>
                <a:gd name="T42" fmla="*/ 1243462107 w 7049"/>
                <a:gd name="T43" fmla="*/ 388296496 h 2048"/>
                <a:gd name="T44" fmla="*/ 1241759991 w 7049"/>
                <a:gd name="T45" fmla="*/ 334320874 h 2048"/>
                <a:gd name="T46" fmla="*/ 1205260163 w 7049"/>
                <a:gd name="T47" fmla="*/ 285577247 h 2048"/>
                <a:gd name="T48" fmla="*/ 1238167021 w 7049"/>
                <a:gd name="T49" fmla="*/ 243718130 h 2048"/>
                <a:gd name="T50" fmla="*/ 1286203319 w 7049"/>
                <a:gd name="T51" fmla="*/ 215904063 h 2048"/>
                <a:gd name="T52" fmla="*/ 1253485633 w 7049"/>
                <a:gd name="T53" fmla="*/ 170189432 h 2048"/>
                <a:gd name="T54" fmla="*/ 1285824974 w 7049"/>
                <a:gd name="T55" fmla="*/ 175146446 h 2048"/>
                <a:gd name="T56" fmla="*/ 1297550617 w 7049"/>
                <a:gd name="T57" fmla="*/ 149535380 h 2048"/>
                <a:gd name="T58" fmla="*/ 1229278094 w 7049"/>
                <a:gd name="T59" fmla="*/ 127229339 h 2048"/>
                <a:gd name="T60" fmla="*/ 1105026644 w 7049"/>
                <a:gd name="T61" fmla="*/ 112908784 h 2048"/>
                <a:gd name="T62" fmla="*/ 1076658617 w 7049"/>
                <a:gd name="T63" fmla="*/ 114285790 h 2048"/>
                <a:gd name="T64" fmla="*/ 943896585 w 7049"/>
                <a:gd name="T65" fmla="*/ 96661258 h 2048"/>
                <a:gd name="T66" fmla="*/ 894158170 w 7049"/>
                <a:gd name="T67" fmla="*/ 79862195 h 2048"/>
                <a:gd name="T68" fmla="*/ 834396230 w 7049"/>
                <a:gd name="T69" fmla="*/ 79862195 h 2048"/>
                <a:gd name="T70" fmla="*/ 758181077 w 7049"/>
                <a:gd name="T71" fmla="*/ 87573223 h 2048"/>
                <a:gd name="T72" fmla="*/ 675914149 w 7049"/>
                <a:gd name="T73" fmla="*/ 71876186 h 2048"/>
                <a:gd name="T74" fmla="*/ 622203985 w 7049"/>
                <a:gd name="T75" fmla="*/ 67194677 h 2048"/>
                <a:gd name="T76" fmla="*/ 568872165 w 7049"/>
                <a:gd name="T77" fmla="*/ 64716170 h 2048"/>
                <a:gd name="T78" fmla="*/ 515162000 w 7049"/>
                <a:gd name="T79" fmla="*/ 15972544 h 2048"/>
                <a:gd name="T80" fmla="*/ 494926211 w 7049"/>
                <a:gd name="T81" fmla="*/ 38554091 h 2048"/>
                <a:gd name="T82" fmla="*/ 403581619 w 7049"/>
                <a:gd name="T83" fmla="*/ 45989613 h 2048"/>
                <a:gd name="T84" fmla="*/ 408309623 w 7049"/>
                <a:gd name="T85" fmla="*/ 55077647 h 2048"/>
                <a:gd name="T86" fmla="*/ 415685171 w 7049"/>
                <a:gd name="T87" fmla="*/ 94182751 h 2048"/>
                <a:gd name="T88" fmla="*/ 365568411 w 7049"/>
                <a:gd name="T89" fmla="*/ 70499179 h 2048"/>
                <a:gd name="T90" fmla="*/ 337957075 w 7049"/>
                <a:gd name="T91" fmla="*/ 75180687 h 2048"/>
                <a:gd name="T92" fmla="*/ 362542523 w 7049"/>
                <a:gd name="T93" fmla="*/ 122822813 h 2048"/>
                <a:gd name="T94" fmla="*/ 392612666 w 7049"/>
                <a:gd name="T95" fmla="*/ 145679866 h 2048"/>
                <a:gd name="T96" fmla="*/ 356112403 w 7049"/>
                <a:gd name="T97" fmla="*/ 163304923 h 2048"/>
                <a:gd name="T98" fmla="*/ 346467222 w 7049"/>
                <a:gd name="T99" fmla="*/ 127779827 h 2048"/>
                <a:gd name="T100" fmla="*/ 306563160 w 7049"/>
                <a:gd name="T101" fmla="*/ 63614670 h 2048"/>
                <a:gd name="T102" fmla="*/ 306941505 w 7049"/>
                <a:gd name="T103" fmla="*/ 124199819 h 2048"/>
                <a:gd name="T104" fmla="*/ 234130151 w 7049"/>
                <a:gd name="T105" fmla="*/ 109328776 h 2048"/>
                <a:gd name="T106" fmla="*/ 226565431 w 7049"/>
                <a:gd name="T107" fmla="*/ 131359835 h 2048"/>
                <a:gd name="T108" fmla="*/ 171720667 w 7049"/>
                <a:gd name="T109" fmla="*/ 137693856 h 2048"/>
                <a:gd name="T110" fmla="*/ 130870744 w 7049"/>
                <a:gd name="T111" fmla="*/ 133012348 h 2048"/>
                <a:gd name="T112" fmla="*/ 113850015 w 7049"/>
                <a:gd name="T113" fmla="*/ 161101922 h 2048"/>
                <a:gd name="T114" fmla="*/ 76971842 w 7049"/>
                <a:gd name="T115" fmla="*/ 203511527 h 2048"/>
                <a:gd name="T116" fmla="*/ 73756781 w 7049"/>
                <a:gd name="T117" fmla="*/ 168537444 h 2048"/>
                <a:gd name="T118" fmla="*/ 28368026 w 7049"/>
                <a:gd name="T119" fmla="*/ 121170824 h 2048"/>
                <a:gd name="T120" fmla="*/ 13427324 w 7049"/>
                <a:gd name="T121" fmla="*/ 166609424 h 2048"/>
                <a:gd name="T122" fmla="*/ 21181216 w 7049"/>
                <a:gd name="T123" fmla="*/ 263821170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51275" y="2946697"/>
              <a:ext cx="338820" cy="278438"/>
            </a:xfrm>
            <a:custGeom>
              <a:avLst/>
              <a:gdLst>
                <a:gd name="T0" fmla="*/ 76575689 w 647"/>
                <a:gd name="T1" fmla="*/ 7496418 h 470"/>
                <a:gd name="T2" fmla="*/ 80724916 w 647"/>
                <a:gd name="T3" fmla="*/ 12493679 h 470"/>
                <a:gd name="T4" fmla="*/ 86383308 w 647"/>
                <a:gd name="T5" fmla="*/ 16658414 h 470"/>
                <a:gd name="T6" fmla="*/ 96568327 w 647"/>
                <a:gd name="T7" fmla="*/ 21655675 h 470"/>
                <a:gd name="T8" fmla="*/ 101471919 w 647"/>
                <a:gd name="T9" fmla="*/ 22488728 h 470"/>
                <a:gd name="T10" fmla="*/ 105998546 w 647"/>
                <a:gd name="T11" fmla="*/ 27486515 h 470"/>
                <a:gd name="T12" fmla="*/ 106941828 w 647"/>
                <a:gd name="T13" fmla="*/ 26931147 h 470"/>
                <a:gd name="T14" fmla="*/ 108450559 w 647"/>
                <a:gd name="T15" fmla="*/ 23599464 h 470"/>
                <a:gd name="T16" fmla="*/ 109959290 w 647"/>
                <a:gd name="T17" fmla="*/ 21655675 h 470"/>
                <a:gd name="T18" fmla="*/ 113731551 w 647"/>
                <a:gd name="T19" fmla="*/ 22211044 h 470"/>
                <a:gd name="T20" fmla="*/ 117692295 w 647"/>
                <a:gd name="T21" fmla="*/ 21933359 h 470"/>
                <a:gd name="T22" fmla="*/ 120710191 w 647"/>
                <a:gd name="T23" fmla="*/ 23321780 h 470"/>
                <a:gd name="T24" fmla="*/ 121841956 w 647"/>
                <a:gd name="T25" fmla="*/ 28596725 h 470"/>
                <a:gd name="T26" fmla="*/ 121841956 w 647"/>
                <a:gd name="T27" fmla="*/ 34149881 h 470"/>
                <a:gd name="T28" fmla="*/ 116560964 w 647"/>
                <a:gd name="T29" fmla="*/ 36370827 h 470"/>
                <a:gd name="T30" fmla="*/ 110525172 w 647"/>
                <a:gd name="T31" fmla="*/ 40535563 h 470"/>
                <a:gd name="T32" fmla="*/ 105621580 w 647"/>
                <a:gd name="T33" fmla="*/ 45810508 h 470"/>
                <a:gd name="T34" fmla="*/ 95059162 w 647"/>
                <a:gd name="T35" fmla="*/ 59414923 h 470"/>
                <a:gd name="T36" fmla="*/ 92230183 w 647"/>
                <a:gd name="T37" fmla="*/ 63024290 h 470"/>
                <a:gd name="T38" fmla="*/ 89400770 w 647"/>
                <a:gd name="T39" fmla="*/ 70520182 h 470"/>
                <a:gd name="T40" fmla="*/ 89212287 w 647"/>
                <a:gd name="T41" fmla="*/ 78294284 h 470"/>
                <a:gd name="T42" fmla="*/ 89212287 w 647"/>
                <a:gd name="T43" fmla="*/ 86346071 h 470"/>
                <a:gd name="T44" fmla="*/ 87326156 w 647"/>
                <a:gd name="T45" fmla="*/ 94397330 h 470"/>
                <a:gd name="T46" fmla="*/ 84874143 w 647"/>
                <a:gd name="T47" fmla="*/ 98284381 h 470"/>
                <a:gd name="T48" fmla="*/ 77518537 w 647"/>
                <a:gd name="T49" fmla="*/ 106613325 h 470"/>
                <a:gd name="T50" fmla="*/ 72237545 w 647"/>
                <a:gd name="T51" fmla="*/ 114109743 h 470"/>
                <a:gd name="T52" fmla="*/ 70539897 w 647"/>
                <a:gd name="T53" fmla="*/ 117996794 h 470"/>
                <a:gd name="T54" fmla="*/ 69597049 w 647"/>
                <a:gd name="T55" fmla="*/ 119940056 h 470"/>
                <a:gd name="T56" fmla="*/ 58469182 w 647"/>
                <a:gd name="T57" fmla="*/ 119107004 h 470"/>
                <a:gd name="T58" fmla="*/ 48472646 w 647"/>
                <a:gd name="T59" fmla="*/ 120495425 h 470"/>
                <a:gd name="T60" fmla="*/ 42248371 w 647"/>
                <a:gd name="T61" fmla="*/ 123827108 h 470"/>
                <a:gd name="T62" fmla="*/ 36401497 w 647"/>
                <a:gd name="T63" fmla="*/ 129657421 h 470"/>
                <a:gd name="T64" fmla="*/ 33761001 w 647"/>
                <a:gd name="T65" fmla="*/ 130212789 h 470"/>
                <a:gd name="T66" fmla="*/ 31874870 w 647"/>
                <a:gd name="T67" fmla="*/ 127991843 h 470"/>
                <a:gd name="T68" fmla="*/ 28857408 w 647"/>
                <a:gd name="T69" fmla="*/ 119940056 h 470"/>
                <a:gd name="T70" fmla="*/ 26405395 w 647"/>
                <a:gd name="T71" fmla="*/ 114942796 h 470"/>
                <a:gd name="T72" fmla="*/ 23010534 w 647"/>
                <a:gd name="T73" fmla="*/ 111055744 h 470"/>
                <a:gd name="T74" fmla="*/ 21501368 w 647"/>
                <a:gd name="T75" fmla="*/ 105225431 h 470"/>
                <a:gd name="T76" fmla="*/ 23764899 w 647"/>
                <a:gd name="T77" fmla="*/ 93286594 h 470"/>
                <a:gd name="T78" fmla="*/ 23953382 w 647"/>
                <a:gd name="T79" fmla="*/ 74129549 h 470"/>
                <a:gd name="T80" fmla="*/ 27725643 w 647"/>
                <a:gd name="T81" fmla="*/ 57193450 h 470"/>
                <a:gd name="T82" fmla="*/ 31686387 w 647"/>
                <a:gd name="T83" fmla="*/ 41368088 h 470"/>
                <a:gd name="T84" fmla="*/ 32440753 w 647"/>
                <a:gd name="T85" fmla="*/ 36370827 h 470"/>
                <a:gd name="T86" fmla="*/ 21878768 w 647"/>
                <a:gd name="T87" fmla="*/ 34149881 h 470"/>
                <a:gd name="T88" fmla="*/ 11693750 w 647"/>
                <a:gd name="T89" fmla="*/ 30262830 h 470"/>
                <a:gd name="T90" fmla="*/ 3206379 w 647"/>
                <a:gd name="T91" fmla="*/ 25820411 h 470"/>
                <a:gd name="T92" fmla="*/ 0 w 647"/>
                <a:gd name="T93" fmla="*/ 10550417 h 470"/>
                <a:gd name="T94" fmla="*/ 4338144 w 647"/>
                <a:gd name="T95" fmla="*/ 9439680 h 470"/>
                <a:gd name="T96" fmla="*/ 9619136 w 647"/>
                <a:gd name="T97" fmla="*/ 5552629 h 470"/>
                <a:gd name="T98" fmla="*/ 13768363 w 647"/>
                <a:gd name="T99" fmla="*/ 1110737 h 470"/>
                <a:gd name="T100" fmla="*/ 16220376 w 647"/>
                <a:gd name="T101" fmla="*/ 0 h 470"/>
                <a:gd name="T102" fmla="*/ 24896664 w 647"/>
                <a:gd name="T103" fmla="*/ 1943262 h 470"/>
                <a:gd name="T104" fmla="*/ 32252270 w 647"/>
                <a:gd name="T105" fmla="*/ 4720104 h 470"/>
                <a:gd name="T106" fmla="*/ 39419393 w 647"/>
                <a:gd name="T107" fmla="*/ 5552629 h 470"/>
                <a:gd name="T108" fmla="*/ 44323419 w 647"/>
                <a:gd name="T109" fmla="*/ 8051786 h 470"/>
                <a:gd name="T110" fmla="*/ 48661129 w 647"/>
                <a:gd name="T111" fmla="*/ 10272733 h 470"/>
                <a:gd name="T112" fmla="*/ 72614511 w 647"/>
                <a:gd name="T113" fmla="*/ 7218734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925087" y="3776657"/>
              <a:ext cx="250765" cy="512256"/>
            </a:xfrm>
            <a:custGeom>
              <a:avLst/>
              <a:gdLst>
                <a:gd name="T0" fmla="*/ 71439072 w 479"/>
                <a:gd name="T1" fmla="*/ 98360443 h 868"/>
                <a:gd name="T2" fmla="*/ 62768489 w 479"/>
                <a:gd name="T3" fmla="*/ 101942359 h 868"/>
                <a:gd name="T4" fmla="*/ 59187114 w 479"/>
                <a:gd name="T5" fmla="*/ 107452757 h 868"/>
                <a:gd name="T6" fmla="*/ 59563964 w 479"/>
                <a:gd name="T7" fmla="*/ 117922408 h 868"/>
                <a:gd name="T8" fmla="*/ 66349864 w 479"/>
                <a:gd name="T9" fmla="*/ 135555890 h 868"/>
                <a:gd name="T10" fmla="*/ 67669272 w 479"/>
                <a:gd name="T11" fmla="*/ 146025541 h 868"/>
                <a:gd name="T12" fmla="*/ 68988680 w 479"/>
                <a:gd name="T13" fmla="*/ 152913276 h 868"/>
                <a:gd name="T14" fmla="*/ 60883372 w 479"/>
                <a:gd name="T15" fmla="*/ 144923252 h 868"/>
                <a:gd name="T16" fmla="*/ 58244556 w 479"/>
                <a:gd name="T17" fmla="*/ 135555890 h 868"/>
                <a:gd name="T18" fmla="*/ 50704956 w 479"/>
                <a:gd name="T19" fmla="*/ 128667631 h 868"/>
                <a:gd name="T20" fmla="*/ 39583548 w 479"/>
                <a:gd name="T21" fmla="*/ 120953179 h 868"/>
                <a:gd name="T22" fmla="*/ 36379457 w 479"/>
                <a:gd name="T23" fmla="*/ 111860865 h 868"/>
                <a:gd name="T24" fmla="*/ 29405132 w 479"/>
                <a:gd name="T25" fmla="*/ 131422830 h 868"/>
                <a:gd name="T26" fmla="*/ 29405132 w 479"/>
                <a:gd name="T27" fmla="*/ 144372107 h 868"/>
                <a:gd name="T28" fmla="*/ 24881199 w 479"/>
                <a:gd name="T29" fmla="*/ 158423674 h 868"/>
                <a:gd name="T30" fmla="*/ 24127065 w 479"/>
                <a:gd name="T31" fmla="*/ 171097904 h 868"/>
                <a:gd name="T32" fmla="*/ 29027848 w 479"/>
                <a:gd name="T33" fmla="*/ 179087928 h 868"/>
                <a:gd name="T34" fmla="*/ 32986507 w 479"/>
                <a:gd name="T35" fmla="*/ 188730862 h 868"/>
                <a:gd name="T36" fmla="*/ 34871190 w 479"/>
                <a:gd name="T37" fmla="*/ 201129519 h 868"/>
                <a:gd name="T38" fmla="*/ 42599648 w 479"/>
                <a:gd name="T39" fmla="*/ 214905513 h 868"/>
                <a:gd name="T40" fmla="*/ 52966923 w 479"/>
                <a:gd name="T41" fmla="*/ 227303646 h 868"/>
                <a:gd name="T42" fmla="*/ 64087897 w 479"/>
                <a:gd name="T43" fmla="*/ 234191906 h 868"/>
                <a:gd name="T44" fmla="*/ 56171014 w 479"/>
                <a:gd name="T45" fmla="*/ 238875586 h 868"/>
                <a:gd name="T46" fmla="*/ 50704956 w 479"/>
                <a:gd name="T47" fmla="*/ 238048869 h 868"/>
                <a:gd name="T48" fmla="*/ 43164923 w 479"/>
                <a:gd name="T49" fmla="*/ 231712279 h 868"/>
                <a:gd name="T50" fmla="*/ 37698865 w 479"/>
                <a:gd name="T51" fmla="*/ 226753026 h 868"/>
                <a:gd name="T52" fmla="*/ 25823757 w 479"/>
                <a:gd name="T53" fmla="*/ 209119543 h 868"/>
                <a:gd name="T54" fmla="*/ 15644907 w 479"/>
                <a:gd name="T55" fmla="*/ 201129519 h 868"/>
                <a:gd name="T56" fmla="*/ 13948650 w 479"/>
                <a:gd name="T57" fmla="*/ 189557579 h 868"/>
                <a:gd name="T58" fmla="*/ 15079633 w 479"/>
                <a:gd name="T59" fmla="*/ 179914645 h 868"/>
                <a:gd name="T60" fmla="*/ 16587466 w 479"/>
                <a:gd name="T61" fmla="*/ 169995614 h 868"/>
                <a:gd name="T62" fmla="*/ 22619232 w 479"/>
                <a:gd name="T63" fmla="*/ 137208800 h 868"/>
                <a:gd name="T64" fmla="*/ 20357266 w 479"/>
                <a:gd name="T65" fmla="*/ 111310245 h 868"/>
                <a:gd name="T66" fmla="*/ 11686683 w 479"/>
                <a:gd name="T67" fmla="*/ 87890792 h 868"/>
                <a:gd name="T68" fmla="*/ 12063533 w 479"/>
                <a:gd name="T69" fmla="*/ 78522906 h 868"/>
                <a:gd name="T70" fmla="*/ 13948650 w 479"/>
                <a:gd name="T71" fmla="*/ 73012508 h 868"/>
                <a:gd name="T72" fmla="*/ 10555700 w 479"/>
                <a:gd name="T73" fmla="*/ 55655123 h 868"/>
                <a:gd name="T74" fmla="*/ 4335508 w 479"/>
                <a:gd name="T75" fmla="*/ 43532037 h 868"/>
                <a:gd name="T76" fmla="*/ 188425 w 479"/>
                <a:gd name="T77" fmla="*/ 28103134 h 868"/>
                <a:gd name="T78" fmla="*/ 2073542 w 479"/>
                <a:gd name="T79" fmla="*/ 12123085 h 868"/>
                <a:gd name="T80" fmla="*/ 9236291 w 479"/>
                <a:gd name="T81" fmla="*/ 4408108 h 868"/>
                <a:gd name="T82" fmla="*/ 22619232 w 479"/>
                <a:gd name="T83" fmla="*/ 0 h 868"/>
                <a:gd name="T84" fmla="*/ 29405132 w 479"/>
                <a:gd name="T85" fmla="*/ 7714452 h 868"/>
                <a:gd name="T86" fmla="*/ 33740206 w 479"/>
                <a:gd name="T87" fmla="*/ 9918506 h 868"/>
                <a:gd name="T88" fmla="*/ 37133156 w 479"/>
                <a:gd name="T89" fmla="*/ 37470495 h 868"/>
                <a:gd name="T90" fmla="*/ 40149257 w 479"/>
                <a:gd name="T91" fmla="*/ 45736092 h 868"/>
                <a:gd name="T92" fmla="*/ 43542207 w 479"/>
                <a:gd name="T93" fmla="*/ 42705320 h 868"/>
                <a:gd name="T94" fmla="*/ 48631414 w 479"/>
                <a:gd name="T95" fmla="*/ 34715296 h 868"/>
                <a:gd name="T96" fmla="*/ 52966923 w 479"/>
                <a:gd name="T97" fmla="*/ 38848357 h 868"/>
                <a:gd name="T98" fmla="*/ 56171014 w 479"/>
                <a:gd name="T99" fmla="*/ 37470495 h 868"/>
                <a:gd name="T100" fmla="*/ 59563964 w 479"/>
                <a:gd name="T101" fmla="*/ 29756043 h 868"/>
                <a:gd name="T102" fmla="*/ 65218880 w 479"/>
                <a:gd name="T103" fmla="*/ 29756043 h 868"/>
                <a:gd name="T104" fmla="*/ 72946905 w 479"/>
                <a:gd name="T105" fmla="*/ 43256465 h 868"/>
                <a:gd name="T106" fmla="*/ 85576146 w 479"/>
                <a:gd name="T107" fmla="*/ 67777683 h 868"/>
                <a:gd name="T108" fmla="*/ 90100079 w 479"/>
                <a:gd name="T109" fmla="*/ 84584448 h 868"/>
                <a:gd name="T110" fmla="*/ 88214962 w 479"/>
                <a:gd name="T111" fmla="*/ 93125618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233280" y="6461088"/>
              <a:ext cx="28714" cy="64255"/>
            </a:xfrm>
            <a:custGeom>
              <a:avLst/>
              <a:gdLst>
                <a:gd name="T0" fmla="*/ 0 w 53"/>
                <a:gd name="T1" fmla="*/ 72378971 h 19"/>
                <a:gd name="T2" fmla="*/ 1413054 w 53"/>
                <a:gd name="T3" fmla="*/ 117617708 h 19"/>
                <a:gd name="T4" fmla="*/ 2826109 w 53"/>
                <a:gd name="T5" fmla="*/ 153805689 h 19"/>
                <a:gd name="T6" fmla="*/ 4441349 w 53"/>
                <a:gd name="T7" fmla="*/ 171901184 h 19"/>
                <a:gd name="T8" fmla="*/ 5854404 w 53"/>
                <a:gd name="T9" fmla="*/ 171901184 h 19"/>
                <a:gd name="T10" fmla="*/ 7065721 w 53"/>
                <a:gd name="T11" fmla="*/ 162853437 h 19"/>
                <a:gd name="T12" fmla="*/ 8478776 w 53"/>
                <a:gd name="T13" fmla="*/ 135710195 h 19"/>
                <a:gd name="T14" fmla="*/ 9487908 w 53"/>
                <a:gd name="T15" fmla="*/ 108569961 h 19"/>
                <a:gd name="T16" fmla="*/ 10699226 w 53"/>
                <a:gd name="T17" fmla="*/ 72378971 h 19"/>
                <a:gd name="T18" fmla="*/ 9487908 w 53"/>
                <a:gd name="T19" fmla="*/ 45235729 h 19"/>
                <a:gd name="T20" fmla="*/ 8478776 w 53"/>
                <a:gd name="T21" fmla="*/ 18095495 h 19"/>
                <a:gd name="T22" fmla="*/ 7065721 w 53"/>
                <a:gd name="T23" fmla="*/ 9047747 h 19"/>
                <a:gd name="T24" fmla="*/ 5854404 w 53"/>
                <a:gd name="T25" fmla="*/ 0 h 19"/>
                <a:gd name="T26" fmla="*/ 4441349 w 53"/>
                <a:gd name="T27" fmla="*/ 0 h 19"/>
                <a:gd name="T28" fmla="*/ 2826109 w 53"/>
                <a:gd name="T29" fmla="*/ 9047747 h 19"/>
                <a:gd name="T30" fmla="*/ 1413054 w 53"/>
                <a:gd name="T31" fmla="*/ 27143242 h 19"/>
                <a:gd name="T32" fmla="*/ 0 w 53"/>
                <a:gd name="T33" fmla="*/ 72378971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378381" y="3000243"/>
              <a:ext cx="3828" cy="1070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82209" y="2996673"/>
              <a:ext cx="3828" cy="62470"/>
            </a:xfrm>
            <a:custGeom>
              <a:avLst/>
              <a:gdLst>
                <a:gd name="T0" fmla="*/ 0 w 6"/>
                <a:gd name="T1" fmla="*/ 128630660 h 24"/>
                <a:gd name="T2" fmla="*/ 0 w 6"/>
                <a:gd name="T3" fmla="*/ 101833571 h 24"/>
                <a:gd name="T4" fmla="*/ 279929 w 6"/>
                <a:gd name="T5" fmla="*/ 75034166 h 24"/>
                <a:gd name="T6" fmla="*/ 840317 w 6"/>
                <a:gd name="T7" fmla="*/ 42877658 h 24"/>
                <a:gd name="T8" fmla="*/ 1680104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353495" y="3057359"/>
              <a:ext cx="28714" cy="64255"/>
            </a:xfrm>
            <a:custGeom>
              <a:avLst/>
              <a:gdLst>
                <a:gd name="T0" fmla="*/ 0 w 47"/>
                <a:gd name="T1" fmla="*/ 17462310 h 67"/>
                <a:gd name="T2" fmla="*/ 0 w 47"/>
                <a:gd name="T3" fmla="*/ 21827888 h 67"/>
                <a:gd name="T4" fmla="*/ 513246 w 47"/>
                <a:gd name="T5" fmla="*/ 26192613 h 67"/>
                <a:gd name="T6" fmla="*/ 770123 w 47"/>
                <a:gd name="T7" fmla="*/ 30558190 h 67"/>
                <a:gd name="T8" fmla="*/ 1283369 w 47"/>
                <a:gd name="T9" fmla="*/ 34196172 h 67"/>
                <a:gd name="T10" fmla="*/ 2310368 w 47"/>
                <a:gd name="T11" fmla="*/ 42199731 h 67"/>
                <a:gd name="T12" fmla="*/ 3593736 w 47"/>
                <a:gd name="T13" fmla="*/ 48748097 h 67"/>
                <a:gd name="T14" fmla="*/ 12065084 w 47"/>
                <a:gd name="T15" fmla="*/ 48748097 h 67"/>
                <a:gd name="T16" fmla="*/ 12065084 w 47"/>
                <a:gd name="T17" fmla="*/ 0 h 67"/>
                <a:gd name="T18" fmla="*/ 9241471 w 47"/>
                <a:gd name="T19" fmla="*/ 1455193 h 67"/>
                <a:gd name="T20" fmla="*/ 6674227 w 47"/>
                <a:gd name="T21" fmla="*/ 2910385 h 67"/>
                <a:gd name="T22" fmla="*/ 4620735 w 47"/>
                <a:gd name="T23" fmla="*/ 5093174 h 67"/>
                <a:gd name="T24" fmla="*/ 2823614 w 47"/>
                <a:gd name="T25" fmla="*/ 6548366 h 67"/>
                <a:gd name="T26" fmla="*/ 1540245 w 47"/>
                <a:gd name="T27" fmla="*/ 8731155 h 67"/>
                <a:gd name="T28" fmla="*/ 770123 w 47"/>
                <a:gd name="T29" fmla="*/ 11641540 h 67"/>
                <a:gd name="T30" fmla="*/ 0 w 47"/>
                <a:gd name="T31" fmla="*/ 14551925 h 67"/>
                <a:gd name="T32" fmla="*/ 0 w 47"/>
                <a:gd name="T33" fmla="*/ 17462310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951887" y="3052003"/>
              <a:ext cx="59341" cy="64255"/>
            </a:xfrm>
            <a:custGeom>
              <a:avLst/>
              <a:gdLst>
                <a:gd name="T0" fmla="*/ 0 w 112"/>
                <a:gd name="T1" fmla="*/ 90725625 h 36"/>
                <a:gd name="T2" fmla="*/ 11390820 w 112"/>
                <a:gd name="T3" fmla="*/ 90725625 h 36"/>
                <a:gd name="T4" fmla="*/ 12935286 w 112"/>
                <a:gd name="T5" fmla="*/ 75604688 h 36"/>
                <a:gd name="T6" fmla="*/ 14479752 w 112"/>
                <a:gd name="T7" fmla="*/ 65524063 h 36"/>
                <a:gd name="T8" fmla="*/ 16217551 w 112"/>
                <a:gd name="T9" fmla="*/ 57964388 h 36"/>
                <a:gd name="T10" fmla="*/ 17569123 w 112"/>
                <a:gd name="T11" fmla="*/ 50403125 h 36"/>
                <a:gd name="T12" fmla="*/ 18920696 w 112"/>
                <a:gd name="T13" fmla="*/ 42843450 h 36"/>
                <a:gd name="T14" fmla="*/ 20078935 w 112"/>
                <a:gd name="T15" fmla="*/ 32762825 h 36"/>
                <a:gd name="T16" fmla="*/ 20658055 w 112"/>
                <a:gd name="T17" fmla="*/ 27722513 h 36"/>
                <a:gd name="T18" fmla="*/ 21044282 w 112"/>
                <a:gd name="T19" fmla="*/ 20161250 h 36"/>
                <a:gd name="T20" fmla="*/ 21430508 w 112"/>
                <a:gd name="T21" fmla="*/ 10080625 h 36"/>
                <a:gd name="T22" fmla="*/ 21623401 w 112"/>
                <a:gd name="T23" fmla="*/ 0 h 36"/>
                <a:gd name="T24" fmla="*/ 19306483 w 112"/>
                <a:gd name="T25" fmla="*/ 0 h 36"/>
                <a:gd name="T26" fmla="*/ 16410444 w 112"/>
                <a:gd name="T27" fmla="*/ 2520950 h 36"/>
                <a:gd name="T28" fmla="*/ 12935286 w 112"/>
                <a:gd name="T29" fmla="*/ 7561263 h 36"/>
                <a:gd name="T30" fmla="*/ 9267235 w 112"/>
                <a:gd name="T31" fmla="*/ 17641888 h 36"/>
                <a:gd name="T32" fmla="*/ 7722769 w 112"/>
                <a:gd name="T33" fmla="*/ 22682200 h 36"/>
                <a:gd name="T34" fmla="*/ 5984970 w 112"/>
                <a:gd name="T35" fmla="*/ 27722513 h 36"/>
                <a:gd name="T36" fmla="*/ 4440504 w 112"/>
                <a:gd name="T37" fmla="*/ 35282188 h 36"/>
                <a:gd name="T38" fmla="*/ 3282265 w 112"/>
                <a:gd name="T39" fmla="*/ 45362813 h 36"/>
                <a:gd name="T40" fmla="*/ 1930692 w 112"/>
                <a:gd name="T41" fmla="*/ 55443438 h 36"/>
                <a:gd name="T42" fmla="*/ 1158240 w 112"/>
                <a:gd name="T43" fmla="*/ 65524063 h 36"/>
                <a:gd name="T44" fmla="*/ 192893 w 112"/>
                <a:gd name="T45" fmla="*/ 78125638 h 36"/>
                <a:gd name="T46" fmla="*/ 0 w 112"/>
                <a:gd name="T47" fmla="*/ 90725625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253954" y="2554028"/>
              <a:ext cx="1054748" cy="508685"/>
            </a:xfrm>
            <a:custGeom>
              <a:avLst/>
              <a:gdLst>
                <a:gd name="T0" fmla="*/ 82329854 w 2006"/>
                <a:gd name="T1" fmla="*/ 210259479 h 863"/>
                <a:gd name="T2" fmla="*/ 78336959 w 2006"/>
                <a:gd name="T3" fmla="*/ 209984767 h 863"/>
                <a:gd name="T4" fmla="*/ 74153947 w 2006"/>
                <a:gd name="T5" fmla="*/ 218230339 h 863"/>
                <a:gd name="T6" fmla="*/ 71301755 w 2006"/>
                <a:gd name="T7" fmla="*/ 217680390 h 863"/>
                <a:gd name="T8" fmla="*/ 70351169 w 2006"/>
                <a:gd name="T9" fmla="*/ 206411930 h 863"/>
                <a:gd name="T10" fmla="*/ 61604912 w 2006"/>
                <a:gd name="T11" fmla="*/ 198991020 h 863"/>
                <a:gd name="T12" fmla="*/ 59323071 w 2006"/>
                <a:gd name="T13" fmla="*/ 194593521 h 863"/>
                <a:gd name="T14" fmla="*/ 54759825 w 2006"/>
                <a:gd name="T15" fmla="*/ 190195498 h 863"/>
                <a:gd name="T16" fmla="*/ 47724620 w 2006"/>
                <a:gd name="T17" fmla="*/ 176178339 h 863"/>
                <a:gd name="T18" fmla="*/ 44111960 w 2006"/>
                <a:gd name="T19" fmla="*/ 167658053 h 863"/>
                <a:gd name="T20" fmla="*/ 48104855 w 2006"/>
                <a:gd name="T21" fmla="*/ 163260555 h 863"/>
                <a:gd name="T22" fmla="*/ 53048335 w 2006"/>
                <a:gd name="T23" fmla="*/ 157488444 h 863"/>
                <a:gd name="T24" fmla="*/ 64266551 w 2006"/>
                <a:gd name="T25" fmla="*/ 149518108 h 863"/>
                <a:gd name="T26" fmla="*/ 60653890 w 2006"/>
                <a:gd name="T27" fmla="*/ 133851625 h 863"/>
                <a:gd name="T28" fmla="*/ 49055440 w 2006"/>
                <a:gd name="T29" fmla="*/ 130553501 h 863"/>
                <a:gd name="T30" fmla="*/ 39738831 w 2006"/>
                <a:gd name="T31" fmla="*/ 129179414 h 863"/>
                <a:gd name="T32" fmla="*/ 29851870 w 2006"/>
                <a:gd name="T33" fmla="*/ 136050375 h 863"/>
                <a:gd name="T34" fmla="*/ 20154591 w 2006"/>
                <a:gd name="T35" fmla="*/ 138799074 h 863"/>
                <a:gd name="T36" fmla="*/ 5133597 w 2006"/>
                <a:gd name="T37" fmla="*/ 113512931 h 863"/>
                <a:gd name="T38" fmla="*/ 3802778 w 2006"/>
                <a:gd name="T39" fmla="*/ 77782466 h 863"/>
                <a:gd name="T40" fmla="*/ 21485411 w 2006"/>
                <a:gd name="T41" fmla="*/ 71186217 h 863"/>
                <a:gd name="T42" fmla="*/ 55520293 w 2006"/>
                <a:gd name="T43" fmla="*/ 61016608 h 863"/>
                <a:gd name="T44" fmla="*/ 94688772 w 2006"/>
                <a:gd name="T45" fmla="*/ 69536893 h 863"/>
                <a:gd name="T46" fmla="*/ 136329210 w 2006"/>
                <a:gd name="T47" fmla="*/ 69536893 h 863"/>
                <a:gd name="T48" fmla="*/ 125110994 w 2006"/>
                <a:gd name="T49" fmla="*/ 50846999 h 863"/>
                <a:gd name="T50" fmla="*/ 157814621 w 2006"/>
                <a:gd name="T51" fmla="*/ 18689895 h 863"/>
                <a:gd name="T52" fmla="*/ 199645175 w 2006"/>
                <a:gd name="T53" fmla="*/ 3572837 h 863"/>
                <a:gd name="T54" fmla="*/ 223602544 w 2006"/>
                <a:gd name="T55" fmla="*/ 16765858 h 863"/>
                <a:gd name="T56" fmla="*/ 246419210 w 2006"/>
                <a:gd name="T57" fmla="*/ 30508304 h 863"/>
                <a:gd name="T58" fmla="*/ 274179357 w 2006"/>
                <a:gd name="T59" fmla="*/ 27210180 h 863"/>
                <a:gd name="T60" fmla="*/ 313157719 w 2006"/>
                <a:gd name="T61" fmla="*/ 74484342 h 863"/>
                <a:gd name="T62" fmla="*/ 340917866 w 2006"/>
                <a:gd name="T63" fmla="*/ 72835017 h 863"/>
                <a:gd name="T64" fmla="*/ 380276462 w 2006"/>
                <a:gd name="T65" fmla="*/ 93173712 h 863"/>
                <a:gd name="T66" fmla="*/ 380656696 w 2006"/>
                <a:gd name="T67" fmla="*/ 104717409 h 863"/>
                <a:gd name="T68" fmla="*/ 376663802 w 2006"/>
                <a:gd name="T69" fmla="*/ 109664857 h 863"/>
                <a:gd name="T70" fmla="*/ 372670907 w 2006"/>
                <a:gd name="T71" fmla="*/ 111038944 h 863"/>
                <a:gd name="T72" fmla="*/ 373241258 w 2006"/>
                <a:gd name="T73" fmla="*/ 116811055 h 863"/>
                <a:gd name="T74" fmla="*/ 377424270 w 2006"/>
                <a:gd name="T75" fmla="*/ 128079515 h 863"/>
                <a:gd name="T76" fmla="*/ 376283567 w 2006"/>
                <a:gd name="T77" fmla="*/ 131378163 h 863"/>
                <a:gd name="T78" fmla="*/ 368678012 w 2006"/>
                <a:gd name="T79" fmla="*/ 132202301 h 863"/>
                <a:gd name="T80" fmla="*/ 359931754 w 2006"/>
                <a:gd name="T81" fmla="*/ 130278789 h 863"/>
                <a:gd name="T82" fmla="*/ 354417487 w 2006"/>
                <a:gd name="T83" fmla="*/ 130278789 h 863"/>
                <a:gd name="T84" fmla="*/ 357079562 w 2006"/>
                <a:gd name="T85" fmla="*/ 150617483 h 863"/>
                <a:gd name="T86" fmla="*/ 357459796 w 2006"/>
                <a:gd name="T87" fmla="*/ 161061805 h 863"/>
                <a:gd name="T88" fmla="*/ 340157397 w 2006"/>
                <a:gd name="T89" fmla="*/ 161611230 h 863"/>
                <a:gd name="T90" fmla="*/ 336164066 w 2006"/>
                <a:gd name="T91" fmla="*/ 166008729 h 863"/>
                <a:gd name="T92" fmla="*/ 341298100 w 2006"/>
                <a:gd name="T93" fmla="*/ 170131516 h 863"/>
                <a:gd name="T94" fmla="*/ 344910760 w 2006"/>
                <a:gd name="T95" fmla="*/ 178651801 h 863"/>
                <a:gd name="T96" fmla="*/ 348713538 w 2006"/>
                <a:gd name="T97" fmla="*/ 189371360 h 863"/>
                <a:gd name="T98" fmla="*/ 349283889 w 2006"/>
                <a:gd name="T99" fmla="*/ 194043571 h 863"/>
                <a:gd name="T100" fmla="*/ 349283889 w 2006"/>
                <a:gd name="T101" fmla="*/ 207236592 h 863"/>
                <a:gd name="T102" fmla="*/ 331030469 w 2006"/>
                <a:gd name="T103" fmla="*/ 203388518 h 863"/>
                <a:gd name="T104" fmla="*/ 280453656 w 2006"/>
                <a:gd name="T105" fmla="*/ 209984767 h 863"/>
                <a:gd name="T106" fmla="*/ 250221988 w 2006"/>
                <a:gd name="T107" fmla="*/ 218505052 h 863"/>
                <a:gd name="T108" fmla="*/ 217137691 w 2006"/>
                <a:gd name="T109" fmla="*/ 230323461 h 863"/>
                <a:gd name="T110" fmla="*/ 183103245 w 2006"/>
                <a:gd name="T111" fmla="*/ 191570109 h 863"/>
                <a:gd name="T112" fmla="*/ 130054474 w 2006"/>
                <a:gd name="T113" fmla="*/ 161061805 h 863"/>
                <a:gd name="T114" fmla="*/ 111040586 w 2006"/>
                <a:gd name="T115" fmla="*/ 228674661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531519" y="2894936"/>
              <a:ext cx="493874" cy="280224"/>
            </a:xfrm>
            <a:custGeom>
              <a:avLst/>
              <a:gdLst>
                <a:gd name="T0" fmla="*/ 118587914 w 950"/>
                <a:gd name="T1" fmla="*/ 125643645 h 468"/>
                <a:gd name="T2" fmla="*/ 103717755 w 950"/>
                <a:gd name="T3" fmla="*/ 118553144 h 468"/>
                <a:gd name="T4" fmla="*/ 87546872 w 950"/>
                <a:gd name="T5" fmla="*/ 106640845 h 468"/>
                <a:gd name="T6" fmla="*/ 72862961 w 950"/>
                <a:gd name="T7" fmla="*/ 87071402 h 468"/>
                <a:gd name="T8" fmla="*/ 56691647 w 950"/>
                <a:gd name="T9" fmla="*/ 73173721 h 468"/>
                <a:gd name="T10" fmla="*/ 47026108 w 950"/>
                <a:gd name="T11" fmla="*/ 59276572 h 468"/>
                <a:gd name="T12" fmla="*/ 34572441 w 950"/>
                <a:gd name="T13" fmla="*/ 48782480 h 468"/>
                <a:gd name="T14" fmla="*/ 24721516 w 950"/>
                <a:gd name="T15" fmla="*/ 53887599 h 468"/>
                <a:gd name="T16" fmla="*/ 18401558 w 950"/>
                <a:gd name="T17" fmla="*/ 68068602 h 468"/>
                <a:gd name="T18" fmla="*/ 7434864 w 950"/>
                <a:gd name="T19" fmla="*/ 69770663 h 468"/>
                <a:gd name="T20" fmla="*/ 0 w 950"/>
                <a:gd name="T21" fmla="*/ 6806647 h 468"/>
                <a:gd name="T22" fmla="*/ 14683910 w 950"/>
                <a:gd name="T23" fmla="*/ 1701529 h 468"/>
                <a:gd name="T24" fmla="*/ 24721516 w 950"/>
                <a:gd name="T25" fmla="*/ 15599210 h 468"/>
                <a:gd name="T26" fmla="*/ 29182434 w 950"/>
                <a:gd name="T27" fmla="*/ 4254088 h 468"/>
                <a:gd name="T28" fmla="*/ 61710450 w 950"/>
                <a:gd name="T29" fmla="*/ 33183803 h 468"/>
                <a:gd name="T30" fmla="*/ 81413163 w 950"/>
                <a:gd name="T31" fmla="*/ 33183803 h 468"/>
                <a:gd name="T32" fmla="*/ 97584046 w 950"/>
                <a:gd name="T33" fmla="*/ 38288921 h 468"/>
                <a:gd name="T34" fmla="*/ 110967233 w 950"/>
                <a:gd name="T35" fmla="*/ 64665545 h 468"/>
                <a:gd name="T36" fmla="*/ 124721623 w 950"/>
                <a:gd name="T37" fmla="*/ 71472192 h 468"/>
                <a:gd name="T38" fmla="*/ 135688317 w 950"/>
                <a:gd name="T39" fmla="*/ 73173721 h 468"/>
                <a:gd name="T40" fmla="*/ 147026647 w 950"/>
                <a:gd name="T41" fmla="*/ 60978100 h 468"/>
                <a:gd name="T42" fmla="*/ 156692186 w 950"/>
                <a:gd name="T43" fmla="*/ 55589660 h 468"/>
                <a:gd name="T44" fmla="*/ 153160356 w 950"/>
                <a:gd name="T45" fmla="*/ 71472192 h 468"/>
                <a:gd name="T46" fmla="*/ 161710557 w 950"/>
                <a:gd name="T47" fmla="*/ 68068602 h 468"/>
                <a:gd name="T48" fmla="*/ 176580716 w 950"/>
                <a:gd name="T49" fmla="*/ 80264222 h 468"/>
                <a:gd name="T50" fmla="*/ 164127050 w 950"/>
                <a:gd name="T51" fmla="*/ 90758314 h 468"/>
                <a:gd name="T52" fmla="*/ 153160356 w 950"/>
                <a:gd name="T53" fmla="*/ 80264222 h 468"/>
                <a:gd name="T54" fmla="*/ 142008275 w 950"/>
                <a:gd name="T55" fmla="*/ 78562693 h 468"/>
                <a:gd name="T56" fmla="*/ 136989472 w 950"/>
                <a:gd name="T57" fmla="*/ 90758314 h 468"/>
                <a:gd name="T58" fmla="*/ 127138116 w 950"/>
                <a:gd name="T59" fmla="*/ 101252405 h 468"/>
                <a:gd name="T60" fmla="*/ 131970670 w 950"/>
                <a:gd name="T61" fmla="*/ 110044435 h 468"/>
                <a:gd name="T62" fmla="*/ 138104810 w 950"/>
                <a:gd name="T63" fmla="*/ 123942116 h 468"/>
                <a:gd name="T64" fmla="*/ 133271825 w 950"/>
                <a:gd name="T65" fmla="*/ 132734147 h 468"/>
                <a:gd name="T66" fmla="*/ 130669946 w 950"/>
                <a:gd name="T67" fmla="*/ 131883116 h 468"/>
                <a:gd name="T68" fmla="*/ 127138116 w 950"/>
                <a:gd name="T69" fmla="*/ 130748764 h 468"/>
                <a:gd name="T70" fmla="*/ 122305562 w 950"/>
                <a:gd name="T71" fmla="*/ 130748764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93923" y="4022968"/>
              <a:ext cx="357964" cy="324845"/>
            </a:xfrm>
            <a:custGeom>
              <a:avLst/>
              <a:gdLst>
                <a:gd name="T0" fmla="*/ 1174622 w 671"/>
                <a:gd name="T1" fmla="*/ 106077577 h 549"/>
                <a:gd name="T2" fmla="*/ 1565720 w 671"/>
                <a:gd name="T3" fmla="*/ 87521119 h 549"/>
                <a:gd name="T4" fmla="*/ 3327432 w 671"/>
                <a:gd name="T5" fmla="*/ 79489109 h 549"/>
                <a:gd name="T6" fmla="*/ 10178286 w 671"/>
                <a:gd name="T7" fmla="*/ 65917528 h 549"/>
                <a:gd name="T8" fmla="*/ 13897259 w 671"/>
                <a:gd name="T9" fmla="*/ 56777710 h 549"/>
                <a:gd name="T10" fmla="*/ 14288799 w 671"/>
                <a:gd name="T11" fmla="*/ 46253261 h 549"/>
                <a:gd name="T12" fmla="*/ 14288799 w 671"/>
                <a:gd name="T13" fmla="*/ 37944431 h 549"/>
                <a:gd name="T14" fmla="*/ 10569827 w 671"/>
                <a:gd name="T15" fmla="*/ 29912421 h 549"/>
                <a:gd name="T16" fmla="*/ 11939998 w 671"/>
                <a:gd name="T17" fmla="*/ 21880411 h 549"/>
                <a:gd name="T18" fmla="*/ 14875889 w 671"/>
                <a:gd name="T19" fmla="*/ 13848402 h 549"/>
                <a:gd name="T20" fmla="*/ 18790410 w 671"/>
                <a:gd name="T21" fmla="*/ 6924201 h 549"/>
                <a:gd name="T22" fmla="*/ 23488013 w 671"/>
                <a:gd name="T23" fmla="*/ 1938797 h 549"/>
                <a:gd name="T24" fmla="*/ 28577156 w 671"/>
                <a:gd name="T25" fmla="*/ 0 h 549"/>
                <a:gd name="T26" fmla="*/ 33861848 w 671"/>
                <a:gd name="T27" fmla="*/ 1384630 h 549"/>
                <a:gd name="T28" fmla="*/ 40321163 w 671"/>
                <a:gd name="T29" fmla="*/ 7201021 h 549"/>
                <a:gd name="T30" fmla="*/ 46193387 w 671"/>
                <a:gd name="T31" fmla="*/ 12463246 h 549"/>
                <a:gd name="T32" fmla="*/ 50694998 w 671"/>
                <a:gd name="T33" fmla="*/ 13848402 h 549"/>
                <a:gd name="T34" fmla="*/ 53239791 w 671"/>
                <a:gd name="T35" fmla="*/ 12186425 h 549"/>
                <a:gd name="T36" fmla="*/ 55588592 w 671"/>
                <a:gd name="T37" fmla="*/ 9693986 h 549"/>
                <a:gd name="T38" fmla="*/ 58720475 w 671"/>
                <a:gd name="T39" fmla="*/ 8862998 h 549"/>
                <a:gd name="T40" fmla="*/ 62243455 w 671"/>
                <a:gd name="T41" fmla="*/ 10801795 h 549"/>
                <a:gd name="T42" fmla="*/ 65962428 w 671"/>
                <a:gd name="T43" fmla="*/ 18002817 h 549"/>
                <a:gd name="T44" fmla="*/ 69094310 w 671"/>
                <a:gd name="T45" fmla="*/ 21880411 h 549"/>
                <a:gd name="T46" fmla="*/ 72421742 w 671"/>
                <a:gd name="T47" fmla="*/ 22434053 h 549"/>
                <a:gd name="T48" fmla="*/ 74574994 w 671"/>
                <a:gd name="T49" fmla="*/ 20772602 h 549"/>
                <a:gd name="T50" fmla="*/ 77706434 w 671"/>
                <a:gd name="T51" fmla="*/ 15509852 h 549"/>
                <a:gd name="T52" fmla="*/ 82012496 w 671"/>
                <a:gd name="T53" fmla="*/ 10524448 h 549"/>
                <a:gd name="T54" fmla="*/ 89646432 w 671"/>
                <a:gd name="T55" fmla="*/ 6093212 h 549"/>
                <a:gd name="T56" fmla="*/ 95322665 w 671"/>
                <a:gd name="T57" fmla="*/ 6924201 h 549"/>
                <a:gd name="T58" fmla="*/ 100020268 w 671"/>
                <a:gd name="T59" fmla="*/ 9693986 h 549"/>
                <a:gd name="T60" fmla="*/ 105109411 w 671"/>
                <a:gd name="T61" fmla="*/ 11909604 h 549"/>
                <a:gd name="T62" fmla="*/ 111764274 w 671"/>
                <a:gd name="T63" fmla="*/ 10801795 h 549"/>
                <a:gd name="T64" fmla="*/ 126444614 w 671"/>
                <a:gd name="T65" fmla="*/ 18556458 h 549"/>
                <a:gd name="T66" fmla="*/ 130163144 w 671"/>
                <a:gd name="T67" fmla="*/ 29081433 h 549"/>
                <a:gd name="T68" fmla="*/ 121942561 w 671"/>
                <a:gd name="T69" fmla="*/ 50684497 h 549"/>
                <a:gd name="T70" fmla="*/ 116070336 w 671"/>
                <a:gd name="T71" fmla="*/ 64532899 h 549"/>
                <a:gd name="T72" fmla="*/ 111568725 w 671"/>
                <a:gd name="T73" fmla="*/ 80596918 h 549"/>
                <a:gd name="T74" fmla="*/ 107653761 w 671"/>
                <a:gd name="T75" fmla="*/ 94998961 h 549"/>
                <a:gd name="T76" fmla="*/ 102760610 w 671"/>
                <a:gd name="T77" fmla="*/ 112724957 h 549"/>
                <a:gd name="T78" fmla="*/ 100998898 w 671"/>
                <a:gd name="T79" fmla="*/ 116879372 h 549"/>
                <a:gd name="T80" fmla="*/ 97867015 w 671"/>
                <a:gd name="T81" fmla="*/ 121587955 h 549"/>
                <a:gd name="T82" fmla="*/ 94344035 w 671"/>
                <a:gd name="T83" fmla="*/ 122695764 h 549"/>
                <a:gd name="T84" fmla="*/ 89841981 w 671"/>
                <a:gd name="T85" fmla="*/ 119649158 h 549"/>
                <a:gd name="T86" fmla="*/ 86123009 w 671"/>
                <a:gd name="T87" fmla="*/ 116602552 h 549"/>
                <a:gd name="T88" fmla="*/ 79859686 w 671"/>
                <a:gd name="T89" fmla="*/ 117433540 h 549"/>
                <a:gd name="T90" fmla="*/ 74574994 w 671"/>
                <a:gd name="T91" fmla="*/ 122141596 h 549"/>
                <a:gd name="T92" fmla="*/ 71247120 w 671"/>
                <a:gd name="T93" fmla="*/ 129896786 h 549"/>
                <a:gd name="T94" fmla="*/ 66941058 w 671"/>
                <a:gd name="T95" fmla="*/ 144298828 h 549"/>
                <a:gd name="T96" fmla="*/ 63613626 w 671"/>
                <a:gd name="T97" fmla="*/ 152054018 h 549"/>
                <a:gd name="T98" fmla="*/ 44823216 w 671"/>
                <a:gd name="T99" fmla="*/ 151223029 h 549"/>
                <a:gd name="T100" fmla="*/ 42474415 w 671"/>
                <a:gd name="T101" fmla="*/ 151777197 h 549"/>
                <a:gd name="T102" fmla="*/ 35036470 w 671"/>
                <a:gd name="T103" fmla="*/ 150392041 h 549"/>
                <a:gd name="T104" fmla="*/ 31513047 w 671"/>
                <a:gd name="T105" fmla="*/ 149561579 h 549"/>
                <a:gd name="T106" fmla="*/ 28185616 w 671"/>
                <a:gd name="T107" fmla="*/ 147068614 h 549"/>
                <a:gd name="T108" fmla="*/ 25249724 w 671"/>
                <a:gd name="T109" fmla="*/ 142637378 h 549"/>
                <a:gd name="T110" fmla="*/ 23292464 w 671"/>
                <a:gd name="T111" fmla="*/ 137374628 h 549"/>
                <a:gd name="T112" fmla="*/ 22117842 w 671"/>
                <a:gd name="T113" fmla="*/ 130727774 h 549"/>
                <a:gd name="T114" fmla="*/ 19573492 w 671"/>
                <a:gd name="T115" fmla="*/ 127404347 h 549"/>
                <a:gd name="T116" fmla="*/ 16246060 w 671"/>
                <a:gd name="T117" fmla="*/ 123803573 h 549"/>
                <a:gd name="T118" fmla="*/ 12331096 w 671"/>
                <a:gd name="T119" fmla="*/ 119649158 h 549"/>
                <a:gd name="T120" fmla="*/ 7633494 w 671"/>
                <a:gd name="T121" fmla="*/ 118818170 h 549"/>
                <a:gd name="T122" fmla="*/ 0 w 671"/>
                <a:gd name="T123" fmla="*/ 1213106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110386" y="3871255"/>
              <a:ext cx="183767" cy="190980"/>
            </a:xfrm>
            <a:custGeom>
              <a:avLst/>
              <a:gdLst>
                <a:gd name="T0" fmla="*/ 59077562 w 358"/>
                <a:gd name="T1" fmla="*/ 87426465 h 327"/>
                <a:gd name="T2" fmla="*/ 59983448 w 358"/>
                <a:gd name="T3" fmla="*/ 86616634 h 327"/>
                <a:gd name="T4" fmla="*/ 61070682 w 358"/>
                <a:gd name="T5" fmla="*/ 85807322 h 327"/>
                <a:gd name="T6" fmla="*/ 62701958 w 358"/>
                <a:gd name="T7" fmla="*/ 85807322 h 327"/>
                <a:gd name="T8" fmla="*/ 64514155 w 358"/>
                <a:gd name="T9" fmla="*/ 87426465 h 327"/>
                <a:gd name="T10" fmla="*/ 57808981 w 358"/>
                <a:gd name="T11" fmla="*/ 76902813 h 327"/>
                <a:gd name="T12" fmla="*/ 50378842 w 358"/>
                <a:gd name="T13" fmla="*/ 63410991 h 327"/>
                <a:gd name="T14" fmla="*/ 45848561 w 358"/>
                <a:gd name="T15" fmla="*/ 55046197 h 327"/>
                <a:gd name="T16" fmla="*/ 42042818 w 358"/>
                <a:gd name="T17" fmla="*/ 50189286 h 327"/>
                <a:gd name="T18" fmla="*/ 39687003 w 358"/>
                <a:gd name="T19" fmla="*/ 48839740 h 327"/>
                <a:gd name="T20" fmla="*/ 37693458 w 358"/>
                <a:gd name="T21" fmla="*/ 48570143 h 327"/>
                <a:gd name="T22" fmla="*/ 36424877 w 358"/>
                <a:gd name="T23" fmla="*/ 48300545 h 327"/>
                <a:gd name="T24" fmla="*/ 36062608 w 358"/>
                <a:gd name="T25" fmla="*/ 46951000 h 327"/>
                <a:gd name="T26" fmla="*/ 35881260 w 358"/>
                <a:gd name="T27" fmla="*/ 45871571 h 327"/>
                <a:gd name="T28" fmla="*/ 35337644 w 358"/>
                <a:gd name="T29" fmla="*/ 45601973 h 327"/>
                <a:gd name="T30" fmla="*/ 33344098 w 358"/>
                <a:gd name="T31" fmla="*/ 46411285 h 327"/>
                <a:gd name="T32" fmla="*/ 30988284 w 358"/>
                <a:gd name="T33" fmla="*/ 46411285 h 327"/>
                <a:gd name="T34" fmla="*/ 29901050 w 358"/>
                <a:gd name="T35" fmla="*/ 45332376 h 327"/>
                <a:gd name="T36" fmla="*/ 28995164 w 358"/>
                <a:gd name="T37" fmla="*/ 43443116 h 327"/>
                <a:gd name="T38" fmla="*/ 27545236 w 358"/>
                <a:gd name="T39" fmla="*/ 38856322 h 327"/>
                <a:gd name="T40" fmla="*/ 25914385 w 358"/>
                <a:gd name="T41" fmla="*/ 35348438 h 327"/>
                <a:gd name="T42" fmla="*/ 24102188 w 358"/>
                <a:gd name="T43" fmla="*/ 32110151 h 327"/>
                <a:gd name="T44" fmla="*/ 23014954 w 358"/>
                <a:gd name="T45" fmla="*/ 28332670 h 327"/>
                <a:gd name="T46" fmla="*/ 22108642 w 358"/>
                <a:gd name="T47" fmla="*/ 22665928 h 327"/>
                <a:gd name="T48" fmla="*/ 21565026 w 358"/>
                <a:gd name="T49" fmla="*/ 14301134 h 327"/>
                <a:gd name="T50" fmla="*/ 21202756 w 358"/>
                <a:gd name="T51" fmla="*/ 6205937 h 327"/>
                <a:gd name="T52" fmla="*/ 20296445 w 358"/>
                <a:gd name="T53" fmla="*/ 0 h 327"/>
                <a:gd name="T54" fmla="*/ 13229001 w 358"/>
                <a:gd name="T55" fmla="*/ 7015768 h 327"/>
                <a:gd name="T56" fmla="*/ 11054534 w 358"/>
                <a:gd name="T57" fmla="*/ 8904509 h 327"/>
                <a:gd name="T58" fmla="*/ 5980210 w 358"/>
                <a:gd name="T59" fmla="*/ 13491822 h 327"/>
                <a:gd name="T60" fmla="*/ 3805743 w 358"/>
                <a:gd name="T61" fmla="*/ 16459991 h 327"/>
                <a:gd name="T62" fmla="*/ 3080779 w 358"/>
                <a:gd name="T63" fmla="*/ 19428161 h 327"/>
                <a:gd name="T64" fmla="*/ 2899431 w 358"/>
                <a:gd name="T65" fmla="*/ 22396331 h 327"/>
                <a:gd name="T66" fmla="*/ 3624396 w 358"/>
                <a:gd name="T67" fmla="*/ 25094383 h 327"/>
                <a:gd name="T68" fmla="*/ 3986665 w 358"/>
                <a:gd name="T69" fmla="*/ 26983644 h 327"/>
                <a:gd name="T70" fmla="*/ 3624396 w 358"/>
                <a:gd name="T71" fmla="*/ 29681696 h 327"/>
                <a:gd name="T72" fmla="*/ 2718084 w 358"/>
                <a:gd name="T73" fmla="*/ 33189580 h 327"/>
                <a:gd name="T74" fmla="*/ 1268581 w 358"/>
                <a:gd name="T75" fmla="*/ 36697464 h 327"/>
                <a:gd name="T76" fmla="*/ 0 w 358"/>
                <a:gd name="T77" fmla="*/ 41824492 h 327"/>
                <a:gd name="T78" fmla="*/ 0 w 358"/>
                <a:gd name="T79" fmla="*/ 46951000 h 327"/>
                <a:gd name="T80" fmla="*/ 905886 w 358"/>
                <a:gd name="T81" fmla="*/ 49109857 h 327"/>
                <a:gd name="T82" fmla="*/ 1993545 w 358"/>
                <a:gd name="T83" fmla="*/ 50458884 h 327"/>
                <a:gd name="T84" fmla="*/ 3624396 w 358"/>
                <a:gd name="T85" fmla="*/ 50189286 h 327"/>
                <a:gd name="T86" fmla="*/ 7973755 w 358"/>
                <a:gd name="T87" fmla="*/ 45332376 h 327"/>
                <a:gd name="T88" fmla="*/ 10873187 w 358"/>
                <a:gd name="T89" fmla="*/ 43443116 h 327"/>
                <a:gd name="T90" fmla="*/ 13772618 w 358"/>
                <a:gd name="T91" fmla="*/ 40474946 h 327"/>
                <a:gd name="T92" fmla="*/ 16853397 w 358"/>
                <a:gd name="T93" fmla="*/ 42903401 h 327"/>
                <a:gd name="T94" fmla="*/ 19934175 w 358"/>
                <a:gd name="T95" fmla="*/ 44252947 h 327"/>
                <a:gd name="T96" fmla="*/ 25733038 w 358"/>
                <a:gd name="T97" fmla="*/ 48570143 h 327"/>
                <a:gd name="T98" fmla="*/ 29538781 w 358"/>
                <a:gd name="T99" fmla="*/ 51268715 h 327"/>
                <a:gd name="T100" fmla="*/ 35518991 w 358"/>
                <a:gd name="T101" fmla="*/ 56395223 h 327"/>
                <a:gd name="T102" fmla="*/ 39687003 w 358"/>
                <a:gd name="T103" fmla="*/ 60712938 h 327"/>
                <a:gd name="T104" fmla="*/ 44398632 w 358"/>
                <a:gd name="T105" fmla="*/ 65839446 h 327"/>
                <a:gd name="T106" fmla="*/ 46392178 w 358"/>
                <a:gd name="T107" fmla="*/ 68538018 h 327"/>
                <a:gd name="T108" fmla="*/ 48385297 w 358"/>
                <a:gd name="T109" fmla="*/ 72855214 h 327"/>
                <a:gd name="T110" fmla="*/ 48747992 w 358"/>
                <a:gd name="T111" fmla="*/ 75283670 h 327"/>
                <a:gd name="T112" fmla="*/ 48747992 w 358"/>
                <a:gd name="T113" fmla="*/ 77172410 h 327"/>
                <a:gd name="T114" fmla="*/ 48929340 w 358"/>
                <a:gd name="T115" fmla="*/ 78251839 h 327"/>
                <a:gd name="T116" fmla="*/ 50016573 w 358"/>
                <a:gd name="T117" fmla="*/ 78791554 h 327"/>
                <a:gd name="T118" fmla="*/ 52916004 w 358"/>
                <a:gd name="T119" fmla="*/ 81490126 h 327"/>
                <a:gd name="T120" fmla="*/ 57627634 w 358"/>
                <a:gd name="T121" fmla="*/ 86616634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461458" y="2752147"/>
              <a:ext cx="151226" cy="64255"/>
            </a:xfrm>
            <a:custGeom>
              <a:avLst/>
              <a:gdLst>
                <a:gd name="T0" fmla="*/ 23243066 w 292"/>
                <a:gd name="T1" fmla="*/ 0 h 99"/>
                <a:gd name="T2" fmla="*/ 28223508 w 292"/>
                <a:gd name="T3" fmla="*/ 0 h 99"/>
                <a:gd name="T4" fmla="*/ 36524389 w 292"/>
                <a:gd name="T5" fmla="*/ 333086 h 99"/>
                <a:gd name="T6" fmla="*/ 46116765 w 292"/>
                <a:gd name="T7" fmla="*/ 1999673 h 99"/>
                <a:gd name="T8" fmla="*/ 53864454 w 292"/>
                <a:gd name="T9" fmla="*/ 2332759 h 99"/>
                <a:gd name="T10" fmla="*/ 53495516 w 292"/>
                <a:gd name="T11" fmla="*/ 6664614 h 99"/>
                <a:gd name="T12" fmla="*/ 52573387 w 292"/>
                <a:gd name="T13" fmla="*/ 10997045 h 99"/>
                <a:gd name="T14" fmla="*/ 51466575 w 292"/>
                <a:gd name="T15" fmla="*/ 18328409 h 99"/>
                <a:gd name="T16" fmla="*/ 24903070 w 292"/>
                <a:gd name="T17" fmla="*/ 23327014 h 99"/>
                <a:gd name="T18" fmla="*/ 18262194 w 292"/>
                <a:gd name="T19" fmla="*/ 29658541 h 99"/>
                <a:gd name="T20" fmla="*/ 14572819 w 292"/>
                <a:gd name="T21" fmla="*/ 31991300 h 99"/>
                <a:gd name="T22" fmla="*/ 12174939 w 292"/>
                <a:gd name="T23" fmla="*/ 32658050 h 99"/>
                <a:gd name="T24" fmla="*/ 10145568 w 292"/>
                <a:gd name="T25" fmla="*/ 32658050 h 99"/>
                <a:gd name="T26" fmla="*/ 8300880 w 292"/>
                <a:gd name="T27" fmla="*/ 31325127 h 99"/>
                <a:gd name="T28" fmla="*/ 6087255 w 292"/>
                <a:gd name="T29" fmla="*/ 28658705 h 99"/>
                <a:gd name="T30" fmla="*/ 3689376 w 292"/>
                <a:gd name="T31" fmla="*/ 25659773 h 99"/>
                <a:gd name="T32" fmla="*/ 1291067 w 292"/>
                <a:gd name="T33" fmla="*/ 22993927 h 99"/>
                <a:gd name="T34" fmla="*/ 184254 w 292"/>
                <a:gd name="T35" fmla="*/ 18995159 h 99"/>
                <a:gd name="T36" fmla="*/ 0 w 292"/>
                <a:gd name="T37" fmla="*/ 13995977 h 99"/>
                <a:gd name="T38" fmla="*/ 184254 w 292"/>
                <a:gd name="T39" fmla="*/ 8331200 h 99"/>
                <a:gd name="T40" fmla="*/ 553192 w 292"/>
                <a:gd name="T41" fmla="*/ 6664614 h 99"/>
                <a:gd name="T42" fmla="*/ 1660004 w 292"/>
                <a:gd name="T43" fmla="*/ 5998441 h 99"/>
                <a:gd name="T44" fmla="*/ 2766817 w 292"/>
                <a:gd name="T45" fmla="*/ 6998277 h 99"/>
                <a:gd name="T46" fmla="*/ 4611505 w 292"/>
                <a:gd name="T47" fmla="*/ 9331036 h 99"/>
                <a:gd name="T48" fmla="*/ 6456193 w 292"/>
                <a:gd name="T49" fmla="*/ 10663959 h 99"/>
                <a:gd name="T50" fmla="*/ 8300880 w 292"/>
                <a:gd name="T51" fmla="*/ 11330132 h 99"/>
                <a:gd name="T52" fmla="*/ 9961314 w 292"/>
                <a:gd name="T53" fmla="*/ 10997045 h 99"/>
                <a:gd name="T54" fmla="*/ 12359193 w 292"/>
                <a:gd name="T55" fmla="*/ 9664123 h 99"/>
                <a:gd name="T56" fmla="*/ 14941756 w 292"/>
                <a:gd name="T57" fmla="*/ 6331527 h 99"/>
                <a:gd name="T58" fmla="*/ 16233253 w 292"/>
                <a:gd name="T59" fmla="*/ 3665682 h 99"/>
                <a:gd name="T60" fmla="*/ 17340065 w 292"/>
                <a:gd name="T61" fmla="*/ 1999673 h 99"/>
                <a:gd name="T62" fmla="*/ 20106882 w 292"/>
                <a:gd name="T63" fmla="*/ 333086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502805" y="3562474"/>
              <a:ext cx="22971" cy="64255"/>
            </a:xfrm>
            <a:custGeom>
              <a:avLst/>
              <a:gdLst>
                <a:gd name="T0" fmla="*/ 7654556 w 43"/>
                <a:gd name="T1" fmla="*/ 35119597 h 93"/>
                <a:gd name="T2" fmla="*/ 6084481 w 43"/>
                <a:gd name="T3" fmla="*/ 34364356 h 93"/>
                <a:gd name="T4" fmla="*/ 5103185 w 43"/>
                <a:gd name="T5" fmla="*/ 33609116 h 93"/>
                <a:gd name="T6" fmla="*/ 4121445 w 43"/>
                <a:gd name="T7" fmla="*/ 32853876 h 93"/>
                <a:gd name="T8" fmla="*/ 3532667 w 43"/>
                <a:gd name="T9" fmla="*/ 31720708 h 93"/>
                <a:gd name="T10" fmla="*/ 2943890 w 43"/>
                <a:gd name="T11" fmla="*/ 29832915 h 93"/>
                <a:gd name="T12" fmla="*/ 2747630 w 43"/>
                <a:gd name="T13" fmla="*/ 27567194 h 93"/>
                <a:gd name="T14" fmla="*/ 2551371 w 43"/>
                <a:gd name="T15" fmla="*/ 24546232 h 93"/>
                <a:gd name="T16" fmla="*/ 2158852 w 43"/>
                <a:gd name="T17" fmla="*/ 20769416 h 93"/>
                <a:gd name="T18" fmla="*/ 2158852 w 43"/>
                <a:gd name="T19" fmla="*/ 18126382 h 93"/>
                <a:gd name="T20" fmla="*/ 1766334 w 43"/>
                <a:gd name="T21" fmla="*/ 15860661 h 93"/>
                <a:gd name="T22" fmla="*/ 1177556 w 43"/>
                <a:gd name="T23" fmla="*/ 14350181 h 93"/>
                <a:gd name="T24" fmla="*/ 785037 w 43"/>
                <a:gd name="T25" fmla="*/ 13594940 h 93"/>
                <a:gd name="T26" fmla="*/ 392519 w 43"/>
                <a:gd name="T27" fmla="*/ 12839700 h 93"/>
                <a:gd name="T28" fmla="*/ 0 w 43"/>
                <a:gd name="T29" fmla="*/ 12084460 h 93"/>
                <a:gd name="T30" fmla="*/ 392519 w 43"/>
                <a:gd name="T31" fmla="*/ 10951292 h 93"/>
                <a:gd name="T32" fmla="*/ 981297 w 43"/>
                <a:gd name="T33" fmla="*/ 9062884 h 93"/>
                <a:gd name="T34" fmla="*/ 1177556 w 43"/>
                <a:gd name="T35" fmla="*/ 10573365 h 93"/>
                <a:gd name="T36" fmla="*/ 1373815 w 43"/>
                <a:gd name="T37" fmla="*/ 10951292 h 93"/>
                <a:gd name="T38" fmla="*/ 1570074 w 43"/>
                <a:gd name="T39" fmla="*/ 11328605 h 93"/>
                <a:gd name="T40" fmla="*/ 1766334 w 43"/>
                <a:gd name="T41" fmla="*/ 10951292 h 93"/>
                <a:gd name="T42" fmla="*/ 2158852 w 43"/>
                <a:gd name="T43" fmla="*/ 9440811 h 93"/>
                <a:gd name="T44" fmla="*/ 2747630 w 43"/>
                <a:gd name="T45" fmla="*/ 7175090 h 93"/>
                <a:gd name="T46" fmla="*/ 3140149 w 43"/>
                <a:gd name="T47" fmla="*/ 4531442 h 93"/>
                <a:gd name="T48" fmla="*/ 3925186 w 43"/>
                <a:gd name="T49" fmla="*/ 2265721 h 93"/>
                <a:gd name="T50" fmla="*/ 4318148 w 43"/>
                <a:gd name="T51" fmla="*/ 1510481 h 93"/>
                <a:gd name="T52" fmla="*/ 4906926 w 43"/>
                <a:gd name="T53" fmla="*/ 755240 h 93"/>
                <a:gd name="T54" fmla="*/ 5495703 w 43"/>
                <a:gd name="T55" fmla="*/ 0 h 93"/>
                <a:gd name="T56" fmla="*/ 6280741 w 43"/>
                <a:gd name="T57" fmla="*/ 0 h 93"/>
                <a:gd name="T58" fmla="*/ 6477000 w 43"/>
                <a:gd name="T59" fmla="*/ 3776202 h 93"/>
                <a:gd name="T60" fmla="*/ 6477000 w 43"/>
                <a:gd name="T61" fmla="*/ 6041923 h 93"/>
                <a:gd name="T62" fmla="*/ 6477000 w 43"/>
                <a:gd name="T63" fmla="*/ 7552403 h 93"/>
                <a:gd name="T64" fmla="*/ 6280741 w 43"/>
                <a:gd name="T65" fmla="*/ 8685571 h 93"/>
                <a:gd name="T66" fmla="*/ 6280741 w 43"/>
                <a:gd name="T67" fmla="*/ 10196052 h 93"/>
                <a:gd name="T68" fmla="*/ 6280741 w 43"/>
                <a:gd name="T69" fmla="*/ 11706532 h 93"/>
                <a:gd name="T70" fmla="*/ 6869519 w 43"/>
                <a:gd name="T71" fmla="*/ 13594940 h 93"/>
                <a:gd name="T72" fmla="*/ 7654556 w 43"/>
                <a:gd name="T73" fmla="*/ 16237974 h 93"/>
                <a:gd name="T74" fmla="*/ 7458297 w 43"/>
                <a:gd name="T75" fmla="*/ 16615902 h 93"/>
                <a:gd name="T76" fmla="*/ 7262037 w 43"/>
                <a:gd name="T77" fmla="*/ 16993215 h 93"/>
                <a:gd name="T78" fmla="*/ 7262037 w 43"/>
                <a:gd name="T79" fmla="*/ 18126382 h 93"/>
                <a:gd name="T80" fmla="*/ 7458297 w 43"/>
                <a:gd name="T81" fmla="*/ 19258935 h 93"/>
                <a:gd name="T82" fmla="*/ 7654556 w 43"/>
                <a:gd name="T83" fmla="*/ 22279897 h 93"/>
                <a:gd name="T84" fmla="*/ 8047074 w 43"/>
                <a:gd name="T85" fmla="*/ 25678785 h 93"/>
                <a:gd name="T86" fmla="*/ 8243334 w 43"/>
                <a:gd name="T87" fmla="*/ 28699747 h 93"/>
                <a:gd name="T88" fmla="*/ 8439593 w 43"/>
                <a:gd name="T89" fmla="*/ 32098635 h 93"/>
                <a:gd name="T90" fmla="*/ 8439593 w 43"/>
                <a:gd name="T91" fmla="*/ 33231189 h 93"/>
                <a:gd name="T92" fmla="*/ 8243334 w 43"/>
                <a:gd name="T93" fmla="*/ 34364356 h 93"/>
                <a:gd name="T94" fmla="*/ 7850815 w 43"/>
                <a:gd name="T95" fmla="*/ 34741669 h 93"/>
                <a:gd name="T96" fmla="*/ 7654556 w 43"/>
                <a:gd name="T97" fmla="*/ 3511959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646374" y="3567829"/>
              <a:ext cx="17228" cy="64255"/>
            </a:xfrm>
            <a:custGeom>
              <a:avLst/>
              <a:gdLst>
                <a:gd name="T0" fmla="*/ 5102959 w 40"/>
                <a:gd name="T1" fmla="*/ 58323616 h 56"/>
                <a:gd name="T2" fmla="*/ 4720068 w 40"/>
                <a:gd name="T3" fmla="*/ 47909049 h 56"/>
                <a:gd name="T4" fmla="*/ 4210022 w 40"/>
                <a:gd name="T5" fmla="*/ 39576375 h 56"/>
                <a:gd name="T6" fmla="*/ 3572107 w 40"/>
                <a:gd name="T7" fmla="*/ 33327635 h 56"/>
                <a:gd name="T8" fmla="*/ 2934193 w 40"/>
                <a:gd name="T9" fmla="*/ 29161808 h 56"/>
                <a:gd name="T10" fmla="*/ 1403341 w 40"/>
                <a:gd name="T11" fmla="*/ 21871101 h 56"/>
                <a:gd name="T12" fmla="*/ 0 w 40"/>
                <a:gd name="T13" fmla="*/ 12497480 h 56"/>
                <a:gd name="T14" fmla="*/ 1658364 w 40"/>
                <a:gd name="T15" fmla="*/ 4165827 h 56"/>
                <a:gd name="T16" fmla="*/ 2551658 w 40"/>
                <a:gd name="T17" fmla="*/ 0 h 56"/>
                <a:gd name="T18" fmla="*/ 3572107 w 40"/>
                <a:gd name="T19" fmla="*/ 12497480 h 56"/>
                <a:gd name="T20" fmla="*/ 4465045 w 40"/>
                <a:gd name="T21" fmla="*/ 22913068 h 56"/>
                <a:gd name="T22" fmla="*/ 4720068 w 40"/>
                <a:gd name="T23" fmla="*/ 26036928 h 56"/>
                <a:gd name="T24" fmla="*/ 4975448 w 40"/>
                <a:gd name="T25" fmla="*/ 30203775 h 56"/>
                <a:gd name="T26" fmla="*/ 4975448 w 40"/>
                <a:gd name="T27" fmla="*/ 34369602 h 56"/>
                <a:gd name="T28" fmla="*/ 5102959 w 40"/>
                <a:gd name="T29" fmla="*/ 38535429 h 56"/>
                <a:gd name="T30" fmla="*/ 5102959 w 40"/>
                <a:gd name="T31" fmla="*/ 45826136 h 56"/>
                <a:gd name="T32" fmla="*/ 5102959 w 40"/>
                <a:gd name="T33" fmla="*/ 47909049 h 56"/>
                <a:gd name="T34" fmla="*/ 5102959 w 40"/>
                <a:gd name="T35" fmla="*/ 51032909 h 56"/>
                <a:gd name="T36" fmla="*/ 5102959 w 40"/>
                <a:gd name="T37" fmla="*/ 58323616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440017" y="4310331"/>
              <a:ext cx="53599" cy="64255"/>
            </a:xfrm>
            <a:custGeom>
              <a:avLst/>
              <a:gdLst>
                <a:gd name="T0" fmla="*/ 0 w 106"/>
                <a:gd name="T1" fmla="*/ 4535778 h 71"/>
                <a:gd name="T2" fmla="*/ 2110117 w 106"/>
                <a:gd name="T3" fmla="*/ 6478878 h 71"/>
                <a:gd name="T4" fmla="*/ 4220234 w 106"/>
                <a:gd name="T5" fmla="*/ 7774815 h 71"/>
                <a:gd name="T6" fmla="*/ 6154648 w 106"/>
                <a:gd name="T7" fmla="*/ 8422783 h 71"/>
                <a:gd name="T8" fmla="*/ 7912939 w 106"/>
                <a:gd name="T9" fmla="*/ 8422783 h 71"/>
                <a:gd name="T10" fmla="*/ 9495526 w 106"/>
                <a:gd name="T11" fmla="*/ 7126846 h 71"/>
                <a:gd name="T12" fmla="*/ 10726708 w 106"/>
                <a:gd name="T13" fmla="*/ 5182942 h 71"/>
                <a:gd name="T14" fmla="*/ 11957469 w 106"/>
                <a:gd name="T15" fmla="*/ 3239842 h 71"/>
                <a:gd name="T16" fmla="*/ 13012528 w 106"/>
                <a:gd name="T17" fmla="*/ 0 h 71"/>
                <a:gd name="T18" fmla="*/ 14771238 w 106"/>
                <a:gd name="T19" fmla="*/ 10366688 h 71"/>
                <a:gd name="T20" fmla="*/ 16529529 w 106"/>
                <a:gd name="T21" fmla="*/ 19437439 h 71"/>
                <a:gd name="T22" fmla="*/ 17760291 w 106"/>
                <a:gd name="T23" fmla="*/ 28508191 h 71"/>
                <a:gd name="T24" fmla="*/ 18463943 w 106"/>
                <a:gd name="T25" fmla="*/ 35635037 h 71"/>
                <a:gd name="T26" fmla="*/ 18639646 w 106"/>
                <a:gd name="T27" fmla="*/ 38874879 h 71"/>
                <a:gd name="T28" fmla="*/ 18639646 w 106"/>
                <a:gd name="T29" fmla="*/ 40818784 h 71"/>
                <a:gd name="T30" fmla="*/ 18463943 w 106"/>
                <a:gd name="T31" fmla="*/ 43409852 h 71"/>
                <a:gd name="T32" fmla="*/ 18112117 w 106"/>
                <a:gd name="T33" fmla="*/ 44705789 h 71"/>
                <a:gd name="T34" fmla="*/ 17760291 w 106"/>
                <a:gd name="T35" fmla="*/ 45353757 h 71"/>
                <a:gd name="T36" fmla="*/ 17232762 w 106"/>
                <a:gd name="T37" fmla="*/ 45353757 h 71"/>
                <a:gd name="T38" fmla="*/ 16177703 w 106"/>
                <a:gd name="T39" fmla="*/ 45353757 h 71"/>
                <a:gd name="T40" fmla="*/ 15298767 w 106"/>
                <a:gd name="T41" fmla="*/ 44057820 h 71"/>
                <a:gd name="T42" fmla="*/ 13012528 w 106"/>
                <a:gd name="T43" fmla="*/ 45353757 h 71"/>
                <a:gd name="T44" fmla="*/ 11078114 w 106"/>
                <a:gd name="T45" fmla="*/ 46001725 h 71"/>
                <a:gd name="T46" fmla="*/ 9319823 w 106"/>
                <a:gd name="T47" fmla="*/ 44705789 h 71"/>
                <a:gd name="T48" fmla="*/ 7912939 w 106"/>
                <a:gd name="T49" fmla="*/ 42761884 h 71"/>
                <a:gd name="T50" fmla="*/ 6506474 w 106"/>
                <a:gd name="T51" fmla="*/ 40170815 h 71"/>
                <a:gd name="T52" fmla="*/ 5627118 w 106"/>
                <a:gd name="T53" fmla="*/ 36930974 h 71"/>
                <a:gd name="T54" fmla="*/ 4747763 w 106"/>
                <a:gd name="T55" fmla="*/ 33043164 h 71"/>
                <a:gd name="T56" fmla="*/ 4220234 w 106"/>
                <a:gd name="T57" fmla="*/ 29156159 h 71"/>
                <a:gd name="T58" fmla="*/ 3692705 w 106"/>
                <a:gd name="T59" fmla="*/ 24620381 h 71"/>
                <a:gd name="T60" fmla="*/ 3517001 w 106"/>
                <a:gd name="T61" fmla="*/ 19437439 h 71"/>
                <a:gd name="T62" fmla="*/ 3340879 w 106"/>
                <a:gd name="T63" fmla="*/ 15549630 h 71"/>
                <a:gd name="T64" fmla="*/ 3165175 w 106"/>
                <a:gd name="T65" fmla="*/ 12310593 h 71"/>
                <a:gd name="T66" fmla="*/ 3165175 w 106"/>
                <a:gd name="T67" fmla="*/ 9070751 h 71"/>
                <a:gd name="T68" fmla="*/ 3340879 w 106"/>
                <a:gd name="T69" fmla="*/ 6478878 h 71"/>
                <a:gd name="T70" fmla="*/ 3517001 w 106"/>
                <a:gd name="T71" fmla="*/ 4535778 h 71"/>
                <a:gd name="T72" fmla="*/ 3692705 w 106"/>
                <a:gd name="T73" fmla="*/ 4535778 h 71"/>
                <a:gd name="T74" fmla="*/ 3517001 w 106"/>
                <a:gd name="T75" fmla="*/ 6478878 h 71"/>
                <a:gd name="T76" fmla="*/ 3340879 w 106"/>
                <a:gd name="T77" fmla="*/ 10366688 h 71"/>
                <a:gd name="T78" fmla="*/ 3340879 w 106"/>
                <a:gd name="T79" fmla="*/ 11014656 h 71"/>
                <a:gd name="T80" fmla="*/ 3340879 w 106"/>
                <a:gd name="T81" fmla="*/ 11014656 h 71"/>
                <a:gd name="T82" fmla="*/ 3517001 w 106"/>
                <a:gd name="T83" fmla="*/ 11014656 h 71"/>
                <a:gd name="T84" fmla="*/ 3692705 w 106"/>
                <a:gd name="T85" fmla="*/ 11014656 h 71"/>
                <a:gd name="T86" fmla="*/ 4044531 w 106"/>
                <a:gd name="T87" fmla="*/ 8422783 h 71"/>
                <a:gd name="T88" fmla="*/ 4747763 w 106"/>
                <a:gd name="T89" fmla="*/ 4535778 h 71"/>
                <a:gd name="T90" fmla="*/ 0 w 106"/>
                <a:gd name="T91" fmla="*/ 4535778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39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438105" y="6343287"/>
              <a:ext cx="78483" cy="62471"/>
              <a:chOff x="1654" y="3671"/>
              <a:chExt cx="49" cy="17"/>
            </a:xfrm>
          </p:grpSpPr>
          <p:sp>
            <p:nvSpPr>
              <p:cNvPr id="555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3 w 59"/>
                  <a:gd name="T1" fmla="*/ 5 h 43"/>
                  <a:gd name="T2" fmla="*/ 7 w 59"/>
                  <a:gd name="T3" fmla="*/ 2 h 43"/>
                  <a:gd name="T4" fmla="*/ 6 w 59"/>
                  <a:gd name="T5" fmla="*/ 2 h 43"/>
                  <a:gd name="T6" fmla="*/ 6 w 59"/>
                  <a:gd name="T7" fmla="*/ 1 h 43"/>
                  <a:gd name="T8" fmla="*/ 5 w 59"/>
                  <a:gd name="T9" fmla="*/ 1 h 43"/>
                  <a:gd name="T10" fmla="*/ 5 w 59"/>
                  <a:gd name="T11" fmla="*/ 0 h 43"/>
                  <a:gd name="T12" fmla="*/ 5 w 59"/>
                  <a:gd name="T13" fmla="*/ 0 h 43"/>
                  <a:gd name="T14" fmla="*/ 4 w 59"/>
                  <a:gd name="T15" fmla="*/ 0 h 43"/>
                  <a:gd name="T16" fmla="*/ 4 w 59"/>
                  <a:gd name="T17" fmla="*/ 1 h 43"/>
                  <a:gd name="T18" fmla="*/ 3 w 59"/>
                  <a:gd name="T19" fmla="*/ 1 h 43"/>
                  <a:gd name="T20" fmla="*/ 3 w 59"/>
                  <a:gd name="T21" fmla="*/ 1 h 43"/>
                  <a:gd name="T22" fmla="*/ 3 w 59"/>
                  <a:gd name="T23" fmla="*/ 1 h 43"/>
                  <a:gd name="T24" fmla="*/ 2 w 59"/>
                  <a:gd name="T25" fmla="*/ 1 h 43"/>
                  <a:gd name="T26" fmla="*/ 1 w 59"/>
                  <a:gd name="T27" fmla="*/ 2 h 43"/>
                  <a:gd name="T28" fmla="*/ 1 w 59"/>
                  <a:gd name="T29" fmla="*/ 2 h 43"/>
                  <a:gd name="T30" fmla="*/ 0 w 59"/>
                  <a:gd name="T31" fmla="*/ 3 h 43"/>
                  <a:gd name="T32" fmla="*/ 1 w 59"/>
                  <a:gd name="T33" fmla="*/ 3 h 43"/>
                  <a:gd name="T34" fmla="*/ 1 w 59"/>
                  <a:gd name="T35" fmla="*/ 4 h 43"/>
                  <a:gd name="T36" fmla="*/ 2 w 59"/>
                  <a:gd name="T37" fmla="*/ 4 h 43"/>
                  <a:gd name="T38" fmla="*/ 3 w 59"/>
                  <a:gd name="T39" fmla="*/ 5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6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3 w 67"/>
                  <a:gd name="T3" fmla="*/ 0 h 51"/>
                  <a:gd name="T4" fmla="*/ 4 w 67"/>
                  <a:gd name="T5" fmla="*/ 0 h 51"/>
                  <a:gd name="T6" fmla="*/ 5 w 67"/>
                  <a:gd name="T7" fmla="*/ 0 h 51"/>
                  <a:gd name="T8" fmla="*/ 6 w 67"/>
                  <a:gd name="T9" fmla="*/ 0 h 51"/>
                  <a:gd name="T10" fmla="*/ 6 w 67"/>
                  <a:gd name="T11" fmla="*/ 0 h 51"/>
                  <a:gd name="T12" fmla="*/ 7 w 67"/>
                  <a:gd name="T13" fmla="*/ 1 h 51"/>
                  <a:gd name="T14" fmla="*/ 6 w 67"/>
                  <a:gd name="T15" fmla="*/ 1 h 51"/>
                  <a:gd name="T16" fmla="*/ 5 w 67"/>
                  <a:gd name="T17" fmla="*/ 2 h 51"/>
                  <a:gd name="T18" fmla="*/ 5 w 67"/>
                  <a:gd name="T19" fmla="*/ 2 h 51"/>
                  <a:gd name="T20" fmla="*/ 4 w 67"/>
                  <a:gd name="T21" fmla="*/ 3 h 51"/>
                  <a:gd name="T22" fmla="*/ 3 w 67"/>
                  <a:gd name="T23" fmla="*/ 3 h 51"/>
                  <a:gd name="T24" fmla="*/ 2 w 67"/>
                  <a:gd name="T25" fmla="*/ 3 h 51"/>
                  <a:gd name="T26" fmla="*/ 3 w 67"/>
                  <a:gd name="T27" fmla="*/ 3 h 51"/>
                  <a:gd name="T28" fmla="*/ 4 w 67"/>
                  <a:gd name="T29" fmla="*/ 3 h 51"/>
                  <a:gd name="T30" fmla="*/ 3 w 67"/>
                  <a:gd name="T31" fmla="*/ 4 h 51"/>
                  <a:gd name="T32" fmla="*/ 3 w 67"/>
                  <a:gd name="T33" fmla="*/ 4 h 51"/>
                  <a:gd name="T34" fmla="*/ 2 w 67"/>
                  <a:gd name="T35" fmla="*/ 5 h 51"/>
                  <a:gd name="T36" fmla="*/ 2 w 67"/>
                  <a:gd name="T37" fmla="*/ 5 h 51"/>
                  <a:gd name="T38" fmla="*/ 1 w 67"/>
                  <a:gd name="T39" fmla="*/ 5 h 51"/>
                  <a:gd name="T40" fmla="*/ 0 w 67"/>
                  <a:gd name="T41" fmla="*/ 6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0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013143" y="3864116"/>
              <a:ext cx="38285" cy="66039"/>
            </a:xfrm>
            <a:custGeom>
              <a:avLst/>
              <a:gdLst>
                <a:gd name="T0" fmla="*/ 0 w 80"/>
                <a:gd name="T1" fmla="*/ 44766232 h 34"/>
                <a:gd name="T2" fmla="*/ 157559 w 80"/>
                <a:gd name="T3" fmla="*/ 56705391 h 34"/>
                <a:gd name="T4" fmla="*/ 315119 w 80"/>
                <a:gd name="T5" fmla="*/ 62674107 h 34"/>
                <a:gd name="T6" fmla="*/ 630238 w 80"/>
                <a:gd name="T7" fmla="*/ 71626316 h 34"/>
                <a:gd name="T8" fmla="*/ 1102519 w 80"/>
                <a:gd name="T9" fmla="*/ 77596760 h 34"/>
                <a:gd name="T10" fmla="*/ 2047478 w 80"/>
                <a:gd name="T11" fmla="*/ 86548970 h 34"/>
                <a:gd name="T12" fmla="*/ 3465116 w 80"/>
                <a:gd name="T13" fmla="*/ 92517685 h 34"/>
                <a:gd name="T14" fmla="*/ 6300391 w 80"/>
                <a:gd name="T15" fmla="*/ 98486401 h 34"/>
                <a:gd name="T16" fmla="*/ 8505428 w 80"/>
                <a:gd name="T17" fmla="*/ 101471623 h 34"/>
                <a:gd name="T18" fmla="*/ 9135666 w 80"/>
                <a:gd name="T19" fmla="*/ 98486401 h 34"/>
                <a:gd name="T20" fmla="*/ 9765506 w 80"/>
                <a:gd name="T21" fmla="*/ 95502907 h 34"/>
                <a:gd name="T22" fmla="*/ 10238184 w 80"/>
                <a:gd name="T23" fmla="*/ 86548970 h 34"/>
                <a:gd name="T24" fmla="*/ 10553303 w 80"/>
                <a:gd name="T25" fmla="*/ 80580254 h 34"/>
                <a:gd name="T26" fmla="*/ 11498263 w 80"/>
                <a:gd name="T27" fmla="*/ 62674107 h 34"/>
                <a:gd name="T28" fmla="*/ 12600781 w 80"/>
                <a:gd name="T29" fmla="*/ 44766232 h 34"/>
                <a:gd name="T30" fmla="*/ 11813381 w 80"/>
                <a:gd name="T31" fmla="*/ 29845306 h 34"/>
                <a:gd name="T32" fmla="*/ 11025584 w 80"/>
                <a:gd name="T33" fmla="*/ 20891369 h 34"/>
                <a:gd name="T34" fmla="*/ 10238184 w 80"/>
                <a:gd name="T35" fmla="*/ 11937431 h 34"/>
                <a:gd name="T36" fmla="*/ 9450784 w 80"/>
                <a:gd name="T37" fmla="*/ 5968716 h 34"/>
                <a:gd name="T38" fmla="*/ 8662988 w 80"/>
                <a:gd name="T39" fmla="*/ 0 h 34"/>
                <a:gd name="T40" fmla="*/ 8033147 w 80"/>
                <a:gd name="T41" fmla="*/ 0 h 34"/>
                <a:gd name="T42" fmla="*/ 7087791 w 80"/>
                <a:gd name="T43" fmla="*/ 2985222 h 34"/>
                <a:gd name="T44" fmla="*/ 6457950 w 80"/>
                <a:gd name="T45" fmla="*/ 5968716 h 34"/>
                <a:gd name="T46" fmla="*/ 5355431 w 80"/>
                <a:gd name="T47" fmla="*/ 5968716 h 34"/>
                <a:gd name="T48" fmla="*/ 3307556 w 80"/>
                <a:gd name="T49" fmla="*/ 5968716 h 34"/>
                <a:gd name="T50" fmla="*/ 2047478 w 80"/>
                <a:gd name="T51" fmla="*/ 8953937 h 34"/>
                <a:gd name="T52" fmla="*/ 1102519 w 80"/>
                <a:gd name="T53" fmla="*/ 14922653 h 34"/>
                <a:gd name="T54" fmla="*/ 630238 w 80"/>
                <a:gd name="T55" fmla="*/ 20891369 h 34"/>
                <a:gd name="T56" fmla="*/ 315119 w 80"/>
                <a:gd name="T57" fmla="*/ 26860085 h 34"/>
                <a:gd name="T58" fmla="*/ 157559 w 80"/>
                <a:gd name="T59" fmla="*/ 32828800 h 34"/>
                <a:gd name="T60" fmla="*/ 0 w 80"/>
                <a:gd name="T61" fmla="*/ 44766232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1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080141" y="3871255"/>
              <a:ext cx="1915" cy="66039"/>
            </a:xfrm>
            <a:custGeom>
              <a:avLst/>
              <a:gdLst>
                <a:gd name="T0" fmla="*/ 0 w 7"/>
                <a:gd name="T1" fmla="*/ 0 h 13"/>
                <a:gd name="T2" fmla="*/ 360249 w 7"/>
                <a:gd name="T3" fmla="*/ 265387321 h 13"/>
                <a:gd name="T4" fmla="*/ 360249 w 7"/>
                <a:gd name="T5" fmla="*/ 142902603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2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095455" y="3873040"/>
              <a:ext cx="7657" cy="66040"/>
            </a:xfrm>
            <a:custGeom>
              <a:avLst/>
              <a:gdLst>
                <a:gd name="T0" fmla="*/ 0 w 20"/>
                <a:gd name="T1" fmla="*/ 0 h 6"/>
                <a:gd name="T2" fmla="*/ 705803 w 20"/>
                <a:gd name="T3" fmla="*/ 287512720 h 6"/>
                <a:gd name="T4" fmla="*/ 2016125 w 20"/>
                <a:gd name="T5" fmla="*/ 575025441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3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112684" y="3862330"/>
              <a:ext cx="9571" cy="64255"/>
            </a:xfrm>
            <a:custGeom>
              <a:avLst/>
              <a:gdLst>
                <a:gd name="T0" fmla="*/ 0 w 14"/>
                <a:gd name="T1" fmla="*/ 272176875 h 12"/>
                <a:gd name="T2" fmla="*/ 4499712 w 14"/>
                <a:gd name="T3" fmla="*/ 0 h 12"/>
                <a:gd name="T4" fmla="*/ 0 w 14"/>
                <a:gd name="T5" fmla="*/ 272176875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4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087798" y="3853407"/>
              <a:ext cx="13400" cy="66039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81635524 h 7"/>
                <a:gd name="T4" fmla="*/ 338741 w 27"/>
                <a:gd name="T5" fmla="*/ 422453286 h 7"/>
                <a:gd name="T6" fmla="*/ 1185798 w 27"/>
                <a:gd name="T7" fmla="*/ 492862167 h 7"/>
                <a:gd name="T8" fmla="*/ 1694115 w 27"/>
                <a:gd name="T9" fmla="*/ 492862167 h 7"/>
                <a:gd name="T10" fmla="*/ 2541173 w 27"/>
                <a:gd name="T11" fmla="*/ 422453286 h 7"/>
                <a:gd name="T12" fmla="*/ 3218654 w 27"/>
                <a:gd name="T13" fmla="*/ 281635524 h 7"/>
                <a:gd name="T14" fmla="*/ 3896547 w 27"/>
                <a:gd name="T15" fmla="*/ 140817762 h 7"/>
                <a:gd name="T16" fmla="*/ 4574028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5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147140" y="3885534"/>
              <a:ext cx="17228" cy="67825"/>
            </a:xfrm>
            <a:custGeom>
              <a:avLst/>
              <a:gdLst>
                <a:gd name="T0" fmla="*/ 0 w 27"/>
                <a:gd name="T1" fmla="*/ 0 h 6"/>
                <a:gd name="T2" fmla="*/ 3080171 w 27"/>
                <a:gd name="T3" fmla="*/ 303263829 h 6"/>
                <a:gd name="T4" fmla="*/ 7559940 w 27"/>
                <a:gd name="T5" fmla="*/ 606517604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6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156711" y="3881964"/>
              <a:ext cx="7657" cy="1070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7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156711" y="3910522"/>
              <a:ext cx="7657" cy="1249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156711" y="3905167"/>
              <a:ext cx="13400" cy="66040"/>
            </a:xfrm>
            <a:custGeom>
              <a:avLst/>
              <a:gdLst>
                <a:gd name="T0" fmla="*/ 0 w 20"/>
                <a:gd name="T1" fmla="*/ 143756360 h 24"/>
                <a:gd name="T2" fmla="*/ 617327 w 20"/>
                <a:gd name="T3" fmla="*/ 143756360 h 24"/>
                <a:gd name="T4" fmla="*/ 1852537 w 20"/>
                <a:gd name="T5" fmla="*/ 131776256 h 24"/>
                <a:gd name="T6" fmla="*/ 2778806 w 20"/>
                <a:gd name="T7" fmla="*/ 119796151 h 24"/>
                <a:gd name="T8" fmla="*/ 3705074 w 20"/>
                <a:gd name="T9" fmla="*/ 95838389 h 24"/>
                <a:gd name="T10" fmla="*/ 4631343 w 20"/>
                <a:gd name="T11" fmla="*/ 77867009 h 24"/>
                <a:gd name="T12" fmla="*/ 5557611 w 20"/>
                <a:gd name="T13" fmla="*/ 53909247 h 24"/>
                <a:gd name="T14" fmla="*/ 5865997 w 20"/>
                <a:gd name="T15" fmla="*/ 23960209 h 24"/>
                <a:gd name="T16" fmla="*/ 6174938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164368" y="3937295"/>
              <a:ext cx="21057" cy="62471"/>
            </a:xfrm>
            <a:custGeom>
              <a:avLst/>
              <a:gdLst>
                <a:gd name="T0" fmla="*/ 3640242 w 33"/>
                <a:gd name="T1" fmla="*/ 34577966 h 25"/>
                <a:gd name="T2" fmla="*/ 0 w 33"/>
                <a:gd name="T3" fmla="*/ 93852575 h 25"/>
                <a:gd name="T4" fmla="*/ 2800430 w 33"/>
                <a:gd name="T5" fmla="*/ 98791014 h 25"/>
                <a:gd name="T6" fmla="*/ 5320394 w 33"/>
                <a:gd name="T7" fmla="*/ 108670115 h 25"/>
                <a:gd name="T8" fmla="*/ 7560950 w 33"/>
                <a:gd name="T9" fmla="*/ 123489879 h 25"/>
                <a:gd name="T10" fmla="*/ 9241102 w 33"/>
                <a:gd name="T11" fmla="*/ 123489879 h 25"/>
                <a:gd name="T12" fmla="*/ 9241102 w 33"/>
                <a:gd name="T13" fmla="*/ 0 h 25"/>
                <a:gd name="T14" fmla="*/ 7560950 w 33"/>
                <a:gd name="T15" fmla="*/ 0 h 25"/>
                <a:gd name="T16" fmla="*/ 3640242 w 33"/>
                <a:gd name="T17" fmla="*/ 34577966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172025" y="3990840"/>
              <a:ext cx="19142" cy="64255"/>
            </a:xfrm>
            <a:custGeom>
              <a:avLst/>
              <a:gdLst>
                <a:gd name="T0" fmla="*/ 0 w 40"/>
                <a:gd name="T1" fmla="*/ 0 h 18"/>
                <a:gd name="T2" fmla="*/ 472678 w 40"/>
                <a:gd name="T3" fmla="*/ 60483750 h 18"/>
                <a:gd name="T4" fmla="*/ 944959 w 40"/>
                <a:gd name="T5" fmla="*/ 110886875 h 18"/>
                <a:gd name="T6" fmla="*/ 1575197 w 40"/>
                <a:gd name="T7" fmla="*/ 141128750 h 18"/>
                <a:gd name="T8" fmla="*/ 2362597 w 40"/>
                <a:gd name="T9" fmla="*/ 161290000 h 18"/>
                <a:gd name="T10" fmla="*/ 4252913 w 40"/>
                <a:gd name="T11" fmla="*/ 181451250 h 18"/>
                <a:gd name="T12" fmla="*/ 6300391 w 40"/>
                <a:gd name="T13" fmla="*/ 181451250 h 18"/>
                <a:gd name="T14" fmla="*/ 6300391 w 40"/>
                <a:gd name="T15" fmla="*/ 0 h 18"/>
                <a:gd name="T16" fmla="*/ 4725194 w 40"/>
                <a:gd name="T17" fmla="*/ 0 h 18"/>
                <a:gd name="T18" fmla="*/ 3150394 w 40"/>
                <a:gd name="T19" fmla="*/ 0 h 18"/>
                <a:gd name="T20" fmla="*/ 157519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1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183510" y="4019398"/>
              <a:ext cx="3828" cy="64255"/>
            </a:xfrm>
            <a:custGeom>
              <a:avLst/>
              <a:gdLst>
                <a:gd name="T0" fmla="*/ 333375 w 11"/>
                <a:gd name="T1" fmla="*/ 102066328 h 32"/>
                <a:gd name="T2" fmla="*/ 499918 w 11"/>
                <a:gd name="T3" fmla="*/ 89307591 h 32"/>
                <a:gd name="T4" fmla="*/ 666461 w 11"/>
                <a:gd name="T5" fmla="*/ 79738538 h 32"/>
                <a:gd name="T6" fmla="*/ 749877 w 11"/>
                <a:gd name="T7" fmla="*/ 70171270 h 32"/>
                <a:gd name="T8" fmla="*/ 833005 w 11"/>
                <a:gd name="T9" fmla="*/ 57412533 h 32"/>
                <a:gd name="T10" fmla="*/ 916420 w 11"/>
                <a:gd name="T11" fmla="*/ 28705373 h 32"/>
                <a:gd name="T12" fmla="*/ 916420 w 11"/>
                <a:gd name="T13" fmla="*/ 0 h 32"/>
                <a:gd name="T14" fmla="*/ 499918 w 11"/>
                <a:gd name="T15" fmla="*/ 9569053 h 32"/>
                <a:gd name="T16" fmla="*/ 249959 w 11"/>
                <a:gd name="T17" fmla="*/ 22327791 h 32"/>
                <a:gd name="T18" fmla="*/ 83416 w 11"/>
                <a:gd name="T19" fmla="*/ 35084742 h 32"/>
                <a:gd name="T20" fmla="*/ 0 w 11"/>
                <a:gd name="T21" fmla="*/ 51033164 h 32"/>
                <a:gd name="T22" fmla="*/ 0 w 11"/>
                <a:gd name="T23" fmla="*/ 63791902 h 32"/>
                <a:gd name="T24" fmla="*/ 83416 w 11"/>
                <a:gd name="T25" fmla="*/ 76550639 h 32"/>
                <a:gd name="T26" fmla="*/ 166543 w 11"/>
                <a:gd name="T27" fmla="*/ 89307591 h 32"/>
                <a:gd name="T28" fmla="*/ 333375 w 11"/>
                <a:gd name="T29" fmla="*/ 102066328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2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210309" y="4053311"/>
              <a:ext cx="1915" cy="6247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128630660 h 24"/>
                <a:gd name="T4" fmla="*/ 180125 w 14"/>
                <a:gd name="T5" fmla="*/ 64315330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3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164368" y="4067590"/>
              <a:ext cx="19142" cy="66039"/>
            </a:xfrm>
            <a:custGeom>
              <a:avLst/>
              <a:gdLst>
                <a:gd name="T0" fmla="*/ 0 w 27"/>
                <a:gd name="T1" fmla="*/ 127779080 h 18"/>
                <a:gd name="T2" fmla="*/ 2420056 w 27"/>
                <a:gd name="T3" fmla="*/ 159725482 h 18"/>
                <a:gd name="T4" fmla="*/ 4494389 w 27"/>
                <a:gd name="T5" fmla="*/ 191668621 h 18"/>
                <a:gd name="T6" fmla="*/ 7605301 w 27"/>
                <a:gd name="T7" fmla="*/ 74537253 h 18"/>
                <a:gd name="T8" fmla="*/ 9333912 w 27"/>
                <a:gd name="T9" fmla="*/ 0 h 18"/>
                <a:gd name="T10" fmla="*/ 7605301 w 27"/>
                <a:gd name="T11" fmla="*/ 0 h 18"/>
                <a:gd name="T12" fmla="*/ 6222412 w 27"/>
                <a:gd name="T13" fmla="*/ 10647713 h 18"/>
                <a:gd name="T14" fmla="*/ 4494389 w 27"/>
                <a:gd name="T15" fmla="*/ 21295426 h 18"/>
                <a:gd name="T16" fmla="*/ 3457222 w 27"/>
                <a:gd name="T17" fmla="*/ 42594115 h 18"/>
                <a:gd name="T18" fmla="*/ 1728611 w 27"/>
                <a:gd name="T19" fmla="*/ 85184966 h 18"/>
                <a:gd name="T20" fmla="*/ 0 w 27"/>
                <a:gd name="T21" fmla="*/ 127779080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4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147140" y="4140769"/>
              <a:ext cx="28713" cy="64255"/>
            </a:xfrm>
            <a:custGeom>
              <a:avLst/>
              <a:gdLst>
                <a:gd name="T0" fmla="*/ 0 w 47"/>
                <a:gd name="T1" fmla="*/ 48971718 h 49"/>
                <a:gd name="T2" fmla="*/ 256866 w 47"/>
                <a:gd name="T3" fmla="*/ 53052695 h 49"/>
                <a:gd name="T4" fmla="*/ 513225 w 47"/>
                <a:gd name="T5" fmla="*/ 55772568 h 49"/>
                <a:gd name="T6" fmla="*/ 1026956 w 47"/>
                <a:gd name="T7" fmla="*/ 58493608 h 49"/>
                <a:gd name="T8" fmla="*/ 1540180 w 47"/>
                <a:gd name="T9" fmla="*/ 61214648 h 49"/>
                <a:gd name="T10" fmla="*/ 3080361 w 47"/>
                <a:gd name="T11" fmla="*/ 65295624 h 49"/>
                <a:gd name="T12" fmla="*/ 3593585 w 47"/>
                <a:gd name="T13" fmla="*/ 66655561 h 49"/>
                <a:gd name="T14" fmla="*/ 4620035 w 47"/>
                <a:gd name="T15" fmla="*/ 66655561 h 49"/>
                <a:gd name="T16" fmla="*/ 6160215 w 47"/>
                <a:gd name="T17" fmla="*/ 62574585 h 49"/>
                <a:gd name="T18" fmla="*/ 7444037 w 47"/>
                <a:gd name="T19" fmla="*/ 57133671 h 49"/>
                <a:gd name="T20" fmla="*/ 8983710 w 47"/>
                <a:gd name="T21" fmla="*/ 53052695 h 49"/>
                <a:gd name="T22" fmla="*/ 10010666 w 47"/>
                <a:gd name="T23" fmla="*/ 47610615 h 49"/>
                <a:gd name="T24" fmla="*/ 11293981 w 47"/>
                <a:gd name="T25" fmla="*/ 42169702 h 49"/>
                <a:gd name="T26" fmla="*/ 11807206 w 47"/>
                <a:gd name="T27" fmla="*/ 36728789 h 49"/>
                <a:gd name="T28" fmla="*/ 12064071 w 47"/>
                <a:gd name="T29" fmla="*/ 32647812 h 49"/>
                <a:gd name="T30" fmla="*/ 12064071 w 47"/>
                <a:gd name="T31" fmla="*/ 16323906 h 49"/>
                <a:gd name="T32" fmla="*/ 12064071 w 47"/>
                <a:gd name="T33" fmla="*/ 0 h 49"/>
                <a:gd name="T34" fmla="*/ 6930305 w 47"/>
                <a:gd name="T35" fmla="*/ 0 h 49"/>
                <a:gd name="T36" fmla="*/ 4363676 w 47"/>
                <a:gd name="T37" fmla="*/ 10882993 h 49"/>
                <a:gd name="T38" fmla="*/ 2310271 w 47"/>
                <a:gd name="T39" fmla="*/ 21764819 h 49"/>
                <a:gd name="T40" fmla="*/ 1283315 w 47"/>
                <a:gd name="T41" fmla="*/ 27206899 h 49"/>
                <a:gd name="T42" fmla="*/ 513225 w 47"/>
                <a:gd name="T43" fmla="*/ 34007749 h 49"/>
                <a:gd name="T44" fmla="*/ 256866 w 47"/>
                <a:gd name="T45" fmla="*/ 40809765 h 49"/>
                <a:gd name="T46" fmla="*/ 0 w 47"/>
                <a:gd name="T47" fmla="*/ 4897171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5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165257" y="4051251"/>
              <a:ext cx="15314" cy="64255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161290000 h 9"/>
                <a:gd name="T4" fmla="*/ 715596 w 26"/>
                <a:gd name="T5" fmla="*/ 282257500 h 9"/>
                <a:gd name="T6" fmla="*/ 1431681 w 26"/>
                <a:gd name="T7" fmla="*/ 322580000 h 9"/>
                <a:gd name="T8" fmla="*/ 2624504 w 26"/>
                <a:gd name="T9" fmla="*/ 362902500 h 9"/>
                <a:gd name="T10" fmla="*/ 3578958 w 26"/>
                <a:gd name="T11" fmla="*/ 322580000 h 9"/>
                <a:gd name="T12" fmla="*/ 4771781 w 26"/>
                <a:gd name="T13" fmla="*/ 282257500 h 9"/>
                <a:gd name="T14" fmla="*/ 5487865 w 26"/>
                <a:gd name="T15" fmla="*/ 161290000 h 9"/>
                <a:gd name="T16" fmla="*/ 6203462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6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546068" y="3744530"/>
              <a:ext cx="19142" cy="64255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1451250 h 18"/>
                <a:gd name="T4" fmla="*/ 994019 w 39"/>
                <a:gd name="T5" fmla="*/ 181451250 h 18"/>
                <a:gd name="T6" fmla="*/ 2154115 w 39"/>
                <a:gd name="T7" fmla="*/ 181451250 h 18"/>
                <a:gd name="T8" fmla="*/ 3810814 w 39"/>
                <a:gd name="T9" fmla="*/ 171370625 h 18"/>
                <a:gd name="T10" fmla="*/ 4970910 w 39"/>
                <a:gd name="T11" fmla="*/ 141128750 h 18"/>
                <a:gd name="T12" fmla="*/ 5633590 w 39"/>
                <a:gd name="T13" fmla="*/ 120967500 h 18"/>
                <a:gd name="T14" fmla="*/ 6130599 w 39"/>
                <a:gd name="T15" fmla="*/ 100806250 h 18"/>
                <a:gd name="T16" fmla="*/ 6296269 w 39"/>
                <a:gd name="T17" fmla="*/ 80645000 h 18"/>
                <a:gd name="T18" fmla="*/ 6461939 w 39"/>
                <a:gd name="T19" fmla="*/ 60483750 h 18"/>
                <a:gd name="T20" fmla="*/ 4804833 w 39"/>
                <a:gd name="T21" fmla="*/ 50403125 h 18"/>
                <a:gd name="T22" fmla="*/ 3148135 w 39"/>
                <a:gd name="T23" fmla="*/ 30241875 h 18"/>
                <a:gd name="T24" fmla="*/ 1657106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57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1697293" y="3557120"/>
              <a:ext cx="158883" cy="219537"/>
              <a:chOff x="1199" y="2121"/>
              <a:chExt cx="97" cy="123"/>
            </a:xfrm>
            <a:solidFill>
              <a:schemeClr val="bg1">
                <a:lumMod val="75000"/>
              </a:schemeClr>
            </a:solidFill>
          </p:grpSpPr>
          <p:sp>
            <p:nvSpPr>
              <p:cNvPr id="545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3 h 25"/>
                  <a:gd name="T2" fmla="*/ 1 w 52"/>
                  <a:gd name="T3" fmla="*/ 3 h 25"/>
                  <a:gd name="T4" fmla="*/ 2 w 52"/>
                  <a:gd name="T5" fmla="*/ 3 h 25"/>
                  <a:gd name="T6" fmla="*/ 2 w 52"/>
                  <a:gd name="T7" fmla="*/ 2 h 25"/>
                  <a:gd name="T8" fmla="*/ 3 w 52"/>
                  <a:gd name="T9" fmla="*/ 2 h 25"/>
                  <a:gd name="T10" fmla="*/ 4 w 52"/>
                  <a:gd name="T11" fmla="*/ 2 h 25"/>
                  <a:gd name="T12" fmla="*/ 4 w 52"/>
                  <a:gd name="T13" fmla="*/ 1 h 25"/>
                  <a:gd name="T14" fmla="*/ 5 w 52"/>
                  <a:gd name="T15" fmla="*/ 1 h 25"/>
                  <a:gd name="T16" fmla="*/ 5 w 52"/>
                  <a:gd name="T17" fmla="*/ 0 h 25"/>
                  <a:gd name="T18" fmla="*/ 4 w 52"/>
                  <a:gd name="T19" fmla="*/ 0 h 25"/>
                  <a:gd name="T20" fmla="*/ 3 w 52"/>
                  <a:gd name="T21" fmla="*/ 0 h 25"/>
                  <a:gd name="T22" fmla="*/ 2 w 52"/>
                  <a:gd name="T23" fmla="*/ 0 h 25"/>
                  <a:gd name="T24" fmla="*/ 2 w 52"/>
                  <a:gd name="T25" fmla="*/ 0 h 25"/>
                  <a:gd name="T26" fmla="*/ 1 w 52"/>
                  <a:gd name="T27" fmla="*/ 1 h 25"/>
                  <a:gd name="T28" fmla="*/ 1 w 52"/>
                  <a:gd name="T29" fmla="*/ 1 h 25"/>
                  <a:gd name="T30" fmla="*/ 0 w 52"/>
                  <a:gd name="T31" fmla="*/ 2 h 25"/>
                  <a:gd name="T32" fmla="*/ 0 w 52"/>
                  <a:gd name="T33" fmla="*/ 3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6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1 h 13"/>
                  <a:gd name="T4" fmla="*/ 0 w 33"/>
                  <a:gd name="T5" fmla="*/ 1 h 13"/>
                  <a:gd name="T6" fmla="*/ 1 w 33"/>
                  <a:gd name="T7" fmla="*/ 1 h 13"/>
                  <a:gd name="T8" fmla="*/ 2 w 33"/>
                  <a:gd name="T9" fmla="*/ 1 h 13"/>
                  <a:gd name="T10" fmla="*/ 3 w 33"/>
                  <a:gd name="T11" fmla="*/ 1 h 13"/>
                  <a:gd name="T12" fmla="*/ 4 w 33"/>
                  <a:gd name="T13" fmla="*/ 1 h 13"/>
                  <a:gd name="T14" fmla="*/ 3 w 33"/>
                  <a:gd name="T15" fmla="*/ 0 h 13"/>
                  <a:gd name="T16" fmla="*/ 2 w 33"/>
                  <a:gd name="T17" fmla="*/ 0 h 13"/>
                  <a:gd name="T18" fmla="*/ 1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7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 w 67"/>
                  <a:gd name="T1" fmla="*/ 2 h 86"/>
                  <a:gd name="T2" fmla="*/ 0 w 67"/>
                  <a:gd name="T3" fmla="*/ 0 h 86"/>
                  <a:gd name="T4" fmla="*/ 2 w 67"/>
                  <a:gd name="T5" fmla="*/ 0 h 86"/>
                  <a:gd name="T6" fmla="*/ 3 w 67"/>
                  <a:gd name="T7" fmla="*/ 0 h 86"/>
                  <a:gd name="T8" fmla="*/ 3 w 67"/>
                  <a:gd name="T9" fmla="*/ 1 h 86"/>
                  <a:gd name="T10" fmla="*/ 3 w 67"/>
                  <a:gd name="T11" fmla="*/ 1 h 86"/>
                  <a:gd name="T12" fmla="*/ 4 w 67"/>
                  <a:gd name="T13" fmla="*/ 2 h 86"/>
                  <a:gd name="T14" fmla="*/ 4 w 67"/>
                  <a:gd name="T15" fmla="*/ 2 h 86"/>
                  <a:gd name="T16" fmla="*/ 5 w 67"/>
                  <a:gd name="T17" fmla="*/ 2 h 86"/>
                  <a:gd name="T18" fmla="*/ 5 w 67"/>
                  <a:gd name="T19" fmla="*/ 3 h 86"/>
                  <a:gd name="T20" fmla="*/ 6 w 67"/>
                  <a:gd name="T21" fmla="*/ 4 h 86"/>
                  <a:gd name="T22" fmla="*/ 6 w 67"/>
                  <a:gd name="T23" fmla="*/ 5 h 86"/>
                  <a:gd name="T24" fmla="*/ 6 w 67"/>
                  <a:gd name="T25" fmla="*/ 5 h 86"/>
                  <a:gd name="T26" fmla="*/ 6 w 67"/>
                  <a:gd name="T27" fmla="*/ 6 h 86"/>
                  <a:gd name="T28" fmla="*/ 6 w 67"/>
                  <a:gd name="T29" fmla="*/ 7 h 86"/>
                  <a:gd name="T30" fmla="*/ 6 w 67"/>
                  <a:gd name="T31" fmla="*/ 8 h 86"/>
                  <a:gd name="T32" fmla="*/ 5 w 67"/>
                  <a:gd name="T33" fmla="*/ 9 h 86"/>
                  <a:gd name="T34" fmla="*/ 5 w 67"/>
                  <a:gd name="T35" fmla="*/ 7 h 86"/>
                  <a:gd name="T36" fmla="*/ 4 w 67"/>
                  <a:gd name="T37" fmla="*/ 6 h 86"/>
                  <a:gd name="T38" fmla="*/ 4 w 67"/>
                  <a:gd name="T39" fmla="*/ 5 h 86"/>
                  <a:gd name="T40" fmla="*/ 4 w 67"/>
                  <a:gd name="T41" fmla="*/ 4 h 86"/>
                  <a:gd name="T42" fmla="*/ 4 w 67"/>
                  <a:gd name="T43" fmla="*/ 4 h 86"/>
                  <a:gd name="T44" fmla="*/ 5 w 67"/>
                  <a:gd name="T45" fmla="*/ 3 h 86"/>
                  <a:gd name="T46" fmla="*/ 4 w 67"/>
                  <a:gd name="T47" fmla="*/ 3 h 86"/>
                  <a:gd name="T48" fmla="*/ 3 w 67"/>
                  <a:gd name="T49" fmla="*/ 3 h 86"/>
                  <a:gd name="T50" fmla="*/ 3 w 67"/>
                  <a:gd name="T51" fmla="*/ 3 h 86"/>
                  <a:gd name="T52" fmla="*/ 2 w 67"/>
                  <a:gd name="T53" fmla="*/ 3 h 86"/>
                  <a:gd name="T54" fmla="*/ 2 w 67"/>
                  <a:gd name="T55" fmla="*/ 2 h 86"/>
                  <a:gd name="T56" fmla="*/ 2 w 67"/>
                  <a:gd name="T57" fmla="*/ 2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8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3 w 49"/>
                  <a:gd name="T1" fmla="*/ 1 h 86"/>
                  <a:gd name="T2" fmla="*/ 2 w 49"/>
                  <a:gd name="T3" fmla="*/ 1 h 86"/>
                  <a:gd name="T4" fmla="*/ 2 w 49"/>
                  <a:gd name="T5" fmla="*/ 0 h 86"/>
                  <a:gd name="T6" fmla="*/ 1 w 49"/>
                  <a:gd name="T7" fmla="*/ 1 h 86"/>
                  <a:gd name="T8" fmla="*/ 1 w 49"/>
                  <a:gd name="T9" fmla="*/ 1 h 86"/>
                  <a:gd name="T10" fmla="*/ 0 w 49"/>
                  <a:gd name="T11" fmla="*/ 2 h 86"/>
                  <a:gd name="T12" fmla="*/ 0 w 49"/>
                  <a:gd name="T13" fmla="*/ 3 h 86"/>
                  <a:gd name="T14" fmla="*/ 0 w 49"/>
                  <a:gd name="T15" fmla="*/ 4 h 86"/>
                  <a:gd name="T16" fmla="*/ 0 w 49"/>
                  <a:gd name="T17" fmla="*/ 5 h 86"/>
                  <a:gd name="T18" fmla="*/ 1 w 49"/>
                  <a:gd name="T19" fmla="*/ 5 h 86"/>
                  <a:gd name="T20" fmla="*/ 1 w 49"/>
                  <a:gd name="T21" fmla="*/ 6 h 86"/>
                  <a:gd name="T22" fmla="*/ 1 w 49"/>
                  <a:gd name="T23" fmla="*/ 7 h 86"/>
                  <a:gd name="T24" fmla="*/ 2 w 49"/>
                  <a:gd name="T25" fmla="*/ 8 h 86"/>
                  <a:gd name="T26" fmla="*/ 2 w 49"/>
                  <a:gd name="T27" fmla="*/ 8 h 86"/>
                  <a:gd name="T28" fmla="*/ 3 w 49"/>
                  <a:gd name="T29" fmla="*/ 9 h 86"/>
                  <a:gd name="T30" fmla="*/ 3 w 49"/>
                  <a:gd name="T31" fmla="*/ 8 h 86"/>
                  <a:gd name="T32" fmla="*/ 4 w 49"/>
                  <a:gd name="T33" fmla="*/ 7 h 86"/>
                  <a:gd name="T34" fmla="*/ 5 w 49"/>
                  <a:gd name="T35" fmla="*/ 6 h 86"/>
                  <a:gd name="T36" fmla="*/ 5 w 49"/>
                  <a:gd name="T37" fmla="*/ 5 h 86"/>
                  <a:gd name="T38" fmla="*/ 5 w 49"/>
                  <a:gd name="T39" fmla="*/ 4 h 86"/>
                  <a:gd name="T40" fmla="*/ 5 w 49"/>
                  <a:gd name="T41" fmla="*/ 4 h 86"/>
                  <a:gd name="T42" fmla="*/ 5 w 49"/>
                  <a:gd name="T43" fmla="*/ 3 h 86"/>
                  <a:gd name="T44" fmla="*/ 5 w 49"/>
                  <a:gd name="T45" fmla="*/ 2 h 86"/>
                  <a:gd name="T46" fmla="*/ 5 w 49"/>
                  <a:gd name="T47" fmla="*/ 2 h 86"/>
                  <a:gd name="T48" fmla="*/ 4 w 49"/>
                  <a:gd name="T49" fmla="*/ 2 h 86"/>
                  <a:gd name="T50" fmla="*/ 4 w 49"/>
                  <a:gd name="T51" fmla="*/ 1 h 86"/>
                  <a:gd name="T52" fmla="*/ 3 w 49"/>
                  <a:gd name="T53" fmla="*/ 1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9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 h 12"/>
                  <a:gd name="T2" fmla="*/ 1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1 h 12"/>
                  <a:gd name="T12" fmla="*/ 0 w 6"/>
                  <a:gd name="T13" fmla="*/ 1 h 12"/>
                  <a:gd name="T14" fmla="*/ 0 w 6"/>
                  <a:gd name="T15" fmla="*/ 1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0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 w 39"/>
                  <a:gd name="T3" fmla="*/ 1 h 48"/>
                  <a:gd name="T4" fmla="*/ 2 w 39"/>
                  <a:gd name="T5" fmla="*/ 2 h 48"/>
                  <a:gd name="T6" fmla="*/ 4 w 39"/>
                  <a:gd name="T7" fmla="*/ 3 h 48"/>
                  <a:gd name="T8" fmla="*/ 4 w 39"/>
                  <a:gd name="T9" fmla="*/ 3 h 48"/>
                  <a:gd name="T10" fmla="*/ 4 w 39"/>
                  <a:gd name="T11" fmla="*/ 4 h 48"/>
                  <a:gd name="T12" fmla="*/ 4 w 39"/>
                  <a:gd name="T13" fmla="*/ 5 h 48"/>
                  <a:gd name="T14" fmla="*/ 2 w 39"/>
                  <a:gd name="T15" fmla="*/ 3 h 48"/>
                  <a:gd name="T16" fmla="*/ 1 w 39"/>
                  <a:gd name="T17" fmla="*/ 3 h 48"/>
                  <a:gd name="T18" fmla="*/ 0 w 39"/>
                  <a:gd name="T19" fmla="*/ 2 h 48"/>
                  <a:gd name="T20" fmla="*/ 0 w 39"/>
                  <a:gd name="T21" fmla="*/ 2 h 48"/>
                  <a:gd name="T22" fmla="*/ 0 w 39"/>
                  <a:gd name="T23" fmla="*/ 1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1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1 w 16"/>
                  <a:gd name="T1" fmla="*/ 0 h 43"/>
                  <a:gd name="T2" fmla="*/ 2 w 16"/>
                  <a:gd name="T3" fmla="*/ 1 h 43"/>
                  <a:gd name="T4" fmla="*/ 2 w 16"/>
                  <a:gd name="T5" fmla="*/ 2 h 43"/>
                  <a:gd name="T6" fmla="*/ 2 w 16"/>
                  <a:gd name="T7" fmla="*/ 2 h 43"/>
                  <a:gd name="T8" fmla="*/ 2 w 16"/>
                  <a:gd name="T9" fmla="*/ 3 h 43"/>
                  <a:gd name="T10" fmla="*/ 2 w 16"/>
                  <a:gd name="T11" fmla="*/ 3 h 43"/>
                  <a:gd name="T12" fmla="*/ 2 w 16"/>
                  <a:gd name="T13" fmla="*/ 4 h 43"/>
                  <a:gd name="T14" fmla="*/ 1 w 16"/>
                  <a:gd name="T15" fmla="*/ 4 h 43"/>
                  <a:gd name="T16" fmla="*/ 0 w 16"/>
                  <a:gd name="T17" fmla="*/ 5 h 43"/>
                  <a:gd name="T18" fmla="*/ 0 w 16"/>
                  <a:gd name="T19" fmla="*/ 3 h 43"/>
                  <a:gd name="T20" fmla="*/ 1 w 16"/>
                  <a:gd name="T21" fmla="*/ 2 h 43"/>
                  <a:gd name="T22" fmla="*/ 1 w 16"/>
                  <a:gd name="T23" fmla="*/ 1 h 43"/>
                  <a:gd name="T24" fmla="*/ 1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2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3 w 24"/>
                  <a:gd name="T1" fmla="*/ 4 h 37"/>
                  <a:gd name="T2" fmla="*/ 2 w 24"/>
                  <a:gd name="T3" fmla="*/ 3 h 37"/>
                  <a:gd name="T4" fmla="*/ 2 w 24"/>
                  <a:gd name="T5" fmla="*/ 2 h 37"/>
                  <a:gd name="T6" fmla="*/ 1 w 24"/>
                  <a:gd name="T7" fmla="*/ 1 h 37"/>
                  <a:gd name="T8" fmla="*/ 1 w 24"/>
                  <a:gd name="T9" fmla="*/ 0 h 37"/>
                  <a:gd name="T10" fmla="*/ 1 w 24"/>
                  <a:gd name="T11" fmla="*/ 1 h 37"/>
                  <a:gd name="T12" fmla="*/ 0 w 24"/>
                  <a:gd name="T13" fmla="*/ 2 h 37"/>
                  <a:gd name="T14" fmla="*/ 0 w 24"/>
                  <a:gd name="T15" fmla="*/ 3 h 37"/>
                  <a:gd name="T16" fmla="*/ 0 w 24"/>
                  <a:gd name="T17" fmla="*/ 3 h 37"/>
                  <a:gd name="T18" fmla="*/ 0 w 24"/>
                  <a:gd name="T19" fmla="*/ 4 h 37"/>
                  <a:gd name="T20" fmla="*/ 0 w 24"/>
                  <a:gd name="T21" fmla="*/ 4 h 37"/>
                  <a:gd name="T22" fmla="*/ 0 w 24"/>
                  <a:gd name="T23" fmla="*/ 4 h 37"/>
                  <a:gd name="T24" fmla="*/ 1 w 24"/>
                  <a:gd name="T25" fmla="*/ 4 h 37"/>
                  <a:gd name="T26" fmla="*/ 2 w 24"/>
                  <a:gd name="T27" fmla="*/ 4 h 37"/>
                  <a:gd name="T28" fmla="*/ 3 w 24"/>
                  <a:gd name="T29" fmla="*/ 4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3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4 w 34"/>
                  <a:gd name="T1" fmla="*/ 0 h 55"/>
                  <a:gd name="T2" fmla="*/ 4 w 34"/>
                  <a:gd name="T3" fmla="*/ 1 h 55"/>
                  <a:gd name="T4" fmla="*/ 4 w 34"/>
                  <a:gd name="T5" fmla="*/ 2 h 55"/>
                  <a:gd name="T6" fmla="*/ 4 w 34"/>
                  <a:gd name="T7" fmla="*/ 3 h 55"/>
                  <a:gd name="T8" fmla="*/ 3 w 34"/>
                  <a:gd name="T9" fmla="*/ 4 h 55"/>
                  <a:gd name="T10" fmla="*/ 3 w 34"/>
                  <a:gd name="T11" fmla="*/ 4 h 55"/>
                  <a:gd name="T12" fmla="*/ 3 w 34"/>
                  <a:gd name="T13" fmla="*/ 5 h 55"/>
                  <a:gd name="T14" fmla="*/ 2 w 34"/>
                  <a:gd name="T15" fmla="*/ 5 h 55"/>
                  <a:gd name="T16" fmla="*/ 2 w 34"/>
                  <a:gd name="T17" fmla="*/ 5 h 55"/>
                  <a:gd name="T18" fmla="*/ 1 w 34"/>
                  <a:gd name="T19" fmla="*/ 5 h 55"/>
                  <a:gd name="T20" fmla="*/ 0 w 34"/>
                  <a:gd name="T21" fmla="*/ 5 h 55"/>
                  <a:gd name="T22" fmla="*/ 1 w 34"/>
                  <a:gd name="T23" fmla="*/ 3 h 55"/>
                  <a:gd name="T24" fmla="*/ 2 w 34"/>
                  <a:gd name="T25" fmla="*/ 2 h 55"/>
                  <a:gd name="T26" fmla="*/ 2 w 34"/>
                  <a:gd name="T27" fmla="*/ 2 h 55"/>
                  <a:gd name="T28" fmla="*/ 2 w 34"/>
                  <a:gd name="T29" fmla="*/ 1 h 55"/>
                  <a:gd name="T30" fmla="*/ 3 w 34"/>
                  <a:gd name="T31" fmla="*/ 1 h 55"/>
                  <a:gd name="T32" fmla="*/ 4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54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1 w 33"/>
                  <a:gd name="T5" fmla="*/ 1 h 12"/>
                  <a:gd name="T6" fmla="*/ 1 w 33"/>
                  <a:gd name="T7" fmla="*/ 1 h 12"/>
                  <a:gd name="T8" fmla="*/ 2 w 33"/>
                  <a:gd name="T9" fmla="*/ 1 h 12"/>
                  <a:gd name="T10" fmla="*/ 3 w 33"/>
                  <a:gd name="T11" fmla="*/ 1 h 12"/>
                  <a:gd name="T12" fmla="*/ 4 w 33"/>
                  <a:gd name="T13" fmla="*/ 1 h 12"/>
                  <a:gd name="T14" fmla="*/ 3 w 33"/>
                  <a:gd name="T15" fmla="*/ 1 h 12"/>
                  <a:gd name="T16" fmla="*/ 2 w 33"/>
                  <a:gd name="T17" fmla="*/ 0 h 12"/>
                  <a:gd name="T18" fmla="*/ 1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8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707245" y="5161709"/>
              <a:ext cx="15314" cy="64255"/>
            </a:xfrm>
            <a:custGeom>
              <a:avLst/>
              <a:gdLst>
                <a:gd name="T0" fmla="*/ 0 w 33"/>
                <a:gd name="T1" fmla="*/ 52679395 h 62"/>
                <a:gd name="T2" fmla="*/ 0 w 33"/>
                <a:gd name="T3" fmla="*/ 45032356 h 62"/>
                <a:gd name="T4" fmla="*/ 0 w 33"/>
                <a:gd name="T5" fmla="*/ 38235194 h 62"/>
                <a:gd name="T6" fmla="*/ 0 w 33"/>
                <a:gd name="T7" fmla="*/ 31438031 h 62"/>
                <a:gd name="T8" fmla="*/ 0 w 33"/>
                <a:gd name="T9" fmla="*/ 26339698 h 62"/>
                <a:gd name="T10" fmla="*/ 0 w 33"/>
                <a:gd name="T11" fmla="*/ 22091240 h 62"/>
                <a:gd name="T12" fmla="*/ 296333 w 33"/>
                <a:gd name="T13" fmla="*/ 18692659 h 62"/>
                <a:gd name="T14" fmla="*/ 592282 w 33"/>
                <a:gd name="T15" fmla="*/ 14444202 h 62"/>
                <a:gd name="T16" fmla="*/ 1184948 w 33"/>
                <a:gd name="T17" fmla="*/ 11045620 h 62"/>
                <a:gd name="T18" fmla="*/ 2073564 w 33"/>
                <a:gd name="T19" fmla="*/ 5098333 h 62"/>
                <a:gd name="T20" fmla="*/ 2962179 w 33"/>
                <a:gd name="T21" fmla="*/ 0 h 62"/>
                <a:gd name="T22" fmla="*/ 3850794 w 33"/>
                <a:gd name="T23" fmla="*/ 5098333 h 62"/>
                <a:gd name="T24" fmla="*/ 4887576 w 33"/>
                <a:gd name="T25" fmla="*/ 1104562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59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718731" y="5263447"/>
              <a:ext cx="11485" cy="66039"/>
            </a:xfrm>
            <a:custGeom>
              <a:avLst/>
              <a:gdLst>
                <a:gd name="T0" fmla="*/ 0 w 26"/>
                <a:gd name="T1" fmla="*/ 191668621 h 18"/>
                <a:gd name="T2" fmla="*/ 0 w 26"/>
                <a:gd name="T3" fmla="*/ 0 h 18"/>
                <a:gd name="T4" fmla="*/ 3489447 w 26"/>
                <a:gd name="T5" fmla="*/ 0 h 18"/>
                <a:gd name="T6" fmla="*/ 805229 w 26"/>
                <a:gd name="T7" fmla="*/ 127779080 h 18"/>
                <a:gd name="T8" fmla="*/ 805229 w 26"/>
                <a:gd name="T9" fmla="*/ 6388954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0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856556" y="5161709"/>
              <a:ext cx="93798" cy="146359"/>
            </a:xfrm>
            <a:custGeom>
              <a:avLst/>
              <a:gdLst>
                <a:gd name="T0" fmla="*/ 33616516 w 180"/>
                <a:gd name="T1" fmla="*/ 65310967 h 240"/>
                <a:gd name="T2" fmla="*/ 32682628 w 180"/>
                <a:gd name="T3" fmla="*/ 65604946 h 240"/>
                <a:gd name="T4" fmla="*/ 31935863 w 180"/>
                <a:gd name="T5" fmla="*/ 65604946 h 240"/>
                <a:gd name="T6" fmla="*/ 31188666 w 180"/>
                <a:gd name="T7" fmla="*/ 66193445 h 240"/>
                <a:gd name="T8" fmla="*/ 30628593 w 180"/>
                <a:gd name="T9" fmla="*/ 66781945 h 240"/>
                <a:gd name="T10" fmla="*/ 29508013 w 180"/>
                <a:gd name="T11" fmla="*/ 68252922 h 240"/>
                <a:gd name="T12" fmla="*/ 28574125 w 180"/>
                <a:gd name="T13" fmla="*/ 70606378 h 240"/>
                <a:gd name="T14" fmla="*/ 26146275 w 180"/>
                <a:gd name="T15" fmla="*/ 68252922 h 240"/>
                <a:gd name="T16" fmla="*/ 24465190 w 180"/>
                <a:gd name="T17" fmla="*/ 65604946 h 240"/>
                <a:gd name="T18" fmla="*/ 22971229 w 180"/>
                <a:gd name="T19" fmla="*/ 62957512 h 240"/>
                <a:gd name="T20" fmla="*/ 22037340 w 180"/>
                <a:gd name="T21" fmla="*/ 60604056 h 240"/>
                <a:gd name="T22" fmla="*/ 20916761 w 180"/>
                <a:gd name="T23" fmla="*/ 57367580 h 240"/>
                <a:gd name="T24" fmla="*/ 19796182 w 180"/>
                <a:gd name="T25" fmla="*/ 54425625 h 240"/>
                <a:gd name="T26" fmla="*/ 18302220 w 180"/>
                <a:gd name="T27" fmla="*/ 51189692 h 240"/>
                <a:gd name="T28" fmla="*/ 16248185 w 180"/>
                <a:gd name="T29" fmla="*/ 47365259 h 240"/>
                <a:gd name="T30" fmla="*/ 15314296 w 180"/>
                <a:gd name="T31" fmla="*/ 45011803 h 240"/>
                <a:gd name="T32" fmla="*/ 14007026 w 180"/>
                <a:gd name="T33" fmla="*/ 42952326 h 240"/>
                <a:gd name="T34" fmla="*/ 13073138 w 180"/>
                <a:gd name="T35" fmla="*/ 40892849 h 240"/>
                <a:gd name="T36" fmla="*/ 11579176 w 180"/>
                <a:gd name="T37" fmla="*/ 39127893 h 240"/>
                <a:gd name="T38" fmla="*/ 8964203 w 180"/>
                <a:gd name="T39" fmla="*/ 35597439 h 240"/>
                <a:gd name="T40" fmla="*/ 6162970 w 180"/>
                <a:gd name="T41" fmla="*/ 32361505 h 240"/>
                <a:gd name="T42" fmla="*/ 5042391 w 180"/>
                <a:gd name="T43" fmla="*/ 30596007 h 240"/>
                <a:gd name="T44" fmla="*/ 3921812 w 180"/>
                <a:gd name="T45" fmla="*/ 28831051 h 240"/>
                <a:gd name="T46" fmla="*/ 2801232 w 180"/>
                <a:gd name="T47" fmla="*/ 27065552 h 240"/>
                <a:gd name="T48" fmla="*/ 1867776 w 180"/>
                <a:gd name="T49" fmla="*/ 24712097 h 240"/>
                <a:gd name="T50" fmla="*/ 1120579 w 180"/>
                <a:gd name="T51" fmla="*/ 22652620 h 240"/>
                <a:gd name="T52" fmla="*/ 747197 w 180"/>
                <a:gd name="T53" fmla="*/ 20005186 h 240"/>
                <a:gd name="T54" fmla="*/ 186691 w 180"/>
                <a:gd name="T55" fmla="*/ 17651730 h 240"/>
                <a:gd name="T56" fmla="*/ 0 w 180"/>
                <a:gd name="T57" fmla="*/ 14709775 h 240"/>
                <a:gd name="T58" fmla="*/ 0 w 180"/>
                <a:gd name="T59" fmla="*/ 10296843 h 240"/>
                <a:gd name="T60" fmla="*/ 0 w 180"/>
                <a:gd name="T61" fmla="*/ 7354888 h 240"/>
                <a:gd name="T62" fmla="*/ 0 w 180"/>
                <a:gd name="T63" fmla="*/ 4412933 h 240"/>
                <a:gd name="T64" fmla="*/ 0 w 180"/>
                <a:gd name="T65" fmla="*/ 0 h 240"/>
                <a:gd name="T66" fmla="*/ 1867776 w 180"/>
                <a:gd name="T67" fmla="*/ 2353456 h 240"/>
                <a:gd name="T68" fmla="*/ 3548429 w 180"/>
                <a:gd name="T69" fmla="*/ 5001432 h 240"/>
                <a:gd name="T70" fmla="*/ 5042391 w 180"/>
                <a:gd name="T71" fmla="*/ 7943387 h 240"/>
                <a:gd name="T72" fmla="*/ 6349662 w 180"/>
                <a:gd name="T73" fmla="*/ 11179321 h 240"/>
                <a:gd name="T74" fmla="*/ 7656932 w 180"/>
                <a:gd name="T75" fmla="*/ 14121276 h 240"/>
                <a:gd name="T76" fmla="*/ 8590820 w 180"/>
                <a:gd name="T77" fmla="*/ 17063231 h 240"/>
                <a:gd name="T78" fmla="*/ 9524708 w 180"/>
                <a:gd name="T79" fmla="*/ 19416686 h 240"/>
                <a:gd name="T80" fmla="*/ 10084782 w 180"/>
                <a:gd name="T81" fmla="*/ 21770142 h 240"/>
                <a:gd name="T82" fmla="*/ 11205361 w 180"/>
                <a:gd name="T83" fmla="*/ 25300596 h 240"/>
                <a:gd name="T84" fmla="*/ 12325941 w 180"/>
                <a:gd name="T85" fmla="*/ 28831051 h 240"/>
                <a:gd name="T86" fmla="*/ 13820335 w 180"/>
                <a:gd name="T87" fmla="*/ 31478485 h 240"/>
                <a:gd name="T88" fmla="*/ 15314296 w 180"/>
                <a:gd name="T89" fmla="*/ 34126461 h 240"/>
                <a:gd name="T90" fmla="*/ 18676034 w 180"/>
                <a:gd name="T91" fmla="*/ 39127893 h 240"/>
                <a:gd name="T92" fmla="*/ 22224464 w 180"/>
                <a:gd name="T93" fmla="*/ 43834804 h 240"/>
                <a:gd name="T94" fmla="*/ 25959584 w 180"/>
                <a:gd name="T95" fmla="*/ 48247737 h 240"/>
                <a:gd name="T96" fmla="*/ 28947508 w 180"/>
                <a:gd name="T97" fmla="*/ 52954648 h 240"/>
                <a:gd name="T98" fmla="*/ 30441469 w 180"/>
                <a:gd name="T99" fmla="*/ 55602624 h 240"/>
                <a:gd name="T100" fmla="*/ 31562049 w 180"/>
                <a:gd name="T101" fmla="*/ 58544579 h 240"/>
                <a:gd name="T102" fmla="*/ 32682628 w 180"/>
                <a:gd name="T103" fmla="*/ 61780513 h 240"/>
                <a:gd name="T104" fmla="*/ 33616516 w 180"/>
                <a:gd name="T105" fmla="*/ 6531096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1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856556" y="5131367"/>
              <a:ext cx="17229" cy="64255"/>
            </a:xfrm>
            <a:custGeom>
              <a:avLst/>
              <a:gdLst>
                <a:gd name="T0" fmla="*/ 0 w 27"/>
                <a:gd name="T1" fmla="*/ 0 h 30"/>
                <a:gd name="T2" fmla="*/ 279939 w 27"/>
                <a:gd name="T3" fmla="*/ 18145125 h 30"/>
                <a:gd name="T4" fmla="*/ 840346 w 27"/>
                <a:gd name="T5" fmla="*/ 39919275 h 30"/>
                <a:gd name="T6" fmla="*/ 1120285 w 27"/>
                <a:gd name="T7" fmla="*/ 50806350 h 30"/>
                <a:gd name="T8" fmla="*/ 1120285 w 27"/>
                <a:gd name="T9" fmla="*/ 68951475 h 30"/>
                <a:gd name="T10" fmla="*/ 840346 w 27"/>
                <a:gd name="T11" fmla="*/ 87096600 h 30"/>
                <a:gd name="T12" fmla="*/ 0 w 27"/>
                <a:gd name="T13" fmla="*/ 108870750 h 30"/>
                <a:gd name="T14" fmla="*/ 4760550 w 27"/>
                <a:gd name="T15" fmla="*/ 97983675 h 30"/>
                <a:gd name="T16" fmla="*/ 7560998 w 27"/>
                <a:gd name="T17" fmla="*/ 87096600 h 30"/>
                <a:gd name="T18" fmla="*/ 6440713 w 27"/>
                <a:gd name="T19" fmla="*/ 72580500 h 30"/>
                <a:gd name="T20" fmla="*/ 4760550 w 27"/>
                <a:gd name="T21" fmla="*/ 43548300 h 30"/>
                <a:gd name="T22" fmla="*/ 3080387 w 27"/>
                <a:gd name="T23" fmla="*/ 29032200 h 30"/>
                <a:gd name="T24" fmla="*/ 1960102 w 27"/>
                <a:gd name="T25" fmla="*/ 14516100 h 30"/>
                <a:gd name="T26" fmla="*/ 1120285 w 27"/>
                <a:gd name="T27" fmla="*/ 362902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62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8483280" y="5716802"/>
              <a:ext cx="553215" cy="455139"/>
              <a:chOff x="5372" y="3323"/>
              <a:chExt cx="341" cy="253"/>
            </a:xfrm>
          </p:grpSpPr>
          <p:sp>
            <p:nvSpPr>
              <p:cNvPr id="54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 h 33"/>
                  <a:gd name="T2" fmla="*/ 0 w 53"/>
                  <a:gd name="T3" fmla="*/ 3 h 33"/>
                  <a:gd name="T4" fmla="*/ 1 w 53"/>
                  <a:gd name="T5" fmla="*/ 2 h 33"/>
                  <a:gd name="T6" fmla="*/ 2 w 53"/>
                  <a:gd name="T7" fmla="*/ 2 h 33"/>
                  <a:gd name="T8" fmla="*/ 2 w 53"/>
                  <a:gd name="T9" fmla="*/ 1 h 33"/>
                  <a:gd name="T10" fmla="*/ 3 w 53"/>
                  <a:gd name="T11" fmla="*/ 1 h 33"/>
                  <a:gd name="T12" fmla="*/ 3 w 53"/>
                  <a:gd name="T13" fmla="*/ 0 h 33"/>
                  <a:gd name="T14" fmla="*/ 4 w 53"/>
                  <a:gd name="T15" fmla="*/ 0 h 33"/>
                  <a:gd name="T16" fmla="*/ 5 w 53"/>
                  <a:gd name="T17" fmla="*/ 0 h 33"/>
                  <a:gd name="T18" fmla="*/ 5 w 53"/>
                  <a:gd name="T19" fmla="*/ 2 h 33"/>
                  <a:gd name="T20" fmla="*/ 3 w 53"/>
                  <a:gd name="T21" fmla="*/ 3 h 33"/>
                  <a:gd name="T22" fmla="*/ 2 w 53"/>
                  <a:gd name="T23" fmla="*/ 3 h 33"/>
                  <a:gd name="T24" fmla="*/ 2 w 53"/>
                  <a:gd name="T25" fmla="*/ 4 h 33"/>
                  <a:gd name="T26" fmla="*/ 2 w 53"/>
                  <a:gd name="T27" fmla="*/ 4 h 33"/>
                  <a:gd name="T28" fmla="*/ 1 w 53"/>
                  <a:gd name="T29" fmla="*/ 4 h 33"/>
                  <a:gd name="T30" fmla="*/ 0 w 53"/>
                  <a:gd name="T31" fmla="*/ 3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3 w 631"/>
                  <a:gd name="T1" fmla="*/ 32 h 358"/>
                  <a:gd name="T2" fmla="*/ 5 w 631"/>
                  <a:gd name="T3" fmla="*/ 31 h 358"/>
                  <a:gd name="T4" fmla="*/ 7 w 631"/>
                  <a:gd name="T5" fmla="*/ 30 h 358"/>
                  <a:gd name="T6" fmla="*/ 8 w 631"/>
                  <a:gd name="T7" fmla="*/ 27 h 358"/>
                  <a:gd name="T8" fmla="*/ 10 w 631"/>
                  <a:gd name="T9" fmla="*/ 27 h 358"/>
                  <a:gd name="T10" fmla="*/ 13 w 631"/>
                  <a:gd name="T11" fmla="*/ 27 h 358"/>
                  <a:gd name="T12" fmla="*/ 14 w 631"/>
                  <a:gd name="T13" fmla="*/ 26 h 358"/>
                  <a:gd name="T14" fmla="*/ 17 w 631"/>
                  <a:gd name="T15" fmla="*/ 25 h 358"/>
                  <a:gd name="T16" fmla="*/ 19 w 631"/>
                  <a:gd name="T17" fmla="*/ 22 h 358"/>
                  <a:gd name="T18" fmla="*/ 22 w 631"/>
                  <a:gd name="T19" fmla="*/ 21 h 358"/>
                  <a:gd name="T20" fmla="*/ 27 w 631"/>
                  <a:gd name="T21" fmla="*/ 19 h 358"/>
                  <a:gd name="T22" fmla="*/ 34 w 631"/>
                  <a:gd name="T23" fmla="*/ 16 h 358"/>
                  <a:gd name="T24" fmla="*/ 37 w 631"/>
                  <a:gd name="T25" fmla="*/ 15 h 358"/>
                  <a:gd name="T26" fmla="*/ 40 w 631"/>
                  <a:gd name="T27" fmla="*/ 14 h 358"/>
                  <a:gd name="T28" fmla="*/ 42 w 631"/>
                  <a:gd name="T29" fmla="*/ 14 h 358"/>
                  <a:gd name="T30" fmla="*/ 45 w 631"/>
                  <a:gd name="T31" fmla="*/ 11 h 358"/>
                  <a:gd name="T32" fmla="*/ 48 w 631"/>
                  <a:gd name="T33" fmla="*/ 8 h 358"/>
                  <a:gd name="T34" fmla="*/ 49 w 631"/>
                  <a:gd name="T35" fmla="*/ 7 h 358"/>
                  <a:gd name="T36" fmla="*/ 52 w 631"/>
                  <a:gd name="T37" fmla="*/ 6 h 358"/>
                  <a:gd name="T38" fmla="*/ 55 w 631"/>
                  <a:gd name="T39" fmla="*/ 4 h 358"/>
                  <a:gd name="T40" fmla="*/ 58 w 631"/>
                  <a:gd name="T41" fmla="*/ 1 h 358"/>
                  <a:gd name="T42" fmla="*/ 61 w 631"/>
                  <a:gd name="T43" fmla="*/ 0 h 358"/>
                  <a:gd name="T44" fmla="*/ 62 w 631"/>
                  <a:gd name="T45" fmla="*/ 2 h 358"/>
                  <a:gd name="T46" fmla="*/ 63 w 631"/>
                  <a:gd name="T47" fmla="*/ 3 h 358"/>
                  <a:gd name="T48" fmla="*/ 64 w 631"/>
                  <a:gd name="T49" fmla="*/ 5 h 358"/>
                  <a:gd name="T50" fmla="*/ 61 w 631"/>
                  <a:gd name="T51" fmla="*/ 9 h 358"/>
                  <a:gd name="T52" fmla="*/ 58 w 631"/>
                  <a:gd name="T53" fmla="*/ 13 h 358"/>
                  <a:gd name="T54" fmla="*/ 54 w 631"/>
                  <a:gd name="T55" fmla="*/ 16 h 358"/>
                  <a:gd name="T56" fmla="*/ 50 w 631"/>
                  <a:gd name="T57" fmla="*/ 19 h 358"/>
                  <a:gd name="T58" fmla="*/ 45 w 631"/>
                  <a:gd name="T59" fmla="*/ 19 h 358"/>
                  <a:gd name="T60" fmla="*/ 45 w 631"/>
                  <a:gd name="T61" fmla="*/ 21 h 358"/>
                  <a:gd name="T62" fmla="*/ 44 w 631"/>
                  <a:gd name="T63" fmla="*/ 21 h 358"/>
                  <a:gd name="T64" fmla="*/ 40 w 631"/>
                  <a:gd name="T65" fmla="*/ 21 h 358"/>
                  <a:gd name="T66" fmla="*/ 37 w 631"/>
                  <a:gd name="T67" fmla="*/ 23 h 358"/>
                  <a:gd name="T68" fmla="*/ 36 w 631"/>
                  <a:gd name="T69" fmla="*/ 23 h 358"/>
                  <a:gd name="T70" fmla="*/ 35 w 631"/>
                  <a:gd name="T71" fmla="*/ 22 h 358"/>
                  <a:gd name="T72" fmla="*/ 32 w 631"/>
                  <a:gd name="T73" fmla="*/ 26 h 358"/>
                  <a:gd name="T74" fmla="*/ 28 w 631"/>
                  <a:gd name="T75" fmla="*/ 30 h 358"/>
                  <a:gd name="T76" fmla="*/ 22 w 631"/>
                  <a:gd name="T77" fmla="*/ 34 h 358"/>
                  <a:gd name="T78" fmla="*/ 17 w 631"/>
                  <a:gd name="T79" fmla="*/ 37 h 358"/>
                  <a:gd name="T80" fmla="*/ 11 w 631"/>
                  <a:gd name="T81" fmla="*/ 38 h 358"/>
                  <a:gd name="T82" fmla="*/ 7 w 631"/>
                  <a:gd name="T83" fmla="*/ 38 h 358"/>
                  <a:gd name="T84" fmla="*/ 6 w 631"/>
                  <a:gd name="T85" fmla="*/ 37 h 358"/>
                  <a:gd name="T86" fmla="*/ 4 w 631"/>
                  <a:gd name="T87" fmla="*/ 36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 w 359"/>
                  <a:gd name="T1" fmla="*/ 31 h 431"/>
                  <a:gd name="T2" fmla="*/ 10 w 359"/>
                  <a:gd name="T3" fmla="*/ 29 h 431"/>
                  <a:gd name="T4" fmla="*/ 17 w 359"/>
                  <a:gd name="T5" fmla="*/ 22 h 431"/>
                  <a:gd name="T6" fmla="*/ 18 w 359"/>
                  <a:gd name="T7" fmla="*/ 18 h 431"/>
                  <a:gd name="T8" fmla="*/ 19 w 359"/>
                  <a:gd name="T9" fmla="*/ 16 h 431"/>
                  <a:gd name="T10" fmla="*/ 20 w 359"/>
                  <a:gd name="T11" fmla="*/ 15 h 431"/>
                  <a:gd name="T12" fmla="*/ 20 w 359"/>
                  <a:gd name="T13" fmla="*/ 13 h 431"/>
                  <a:gd name="T14" fmla="*/ 19 w 359"/>
                  <a:gd name="T15" fmla="*/ 10 h 431"/>
                  <a:gd name="T16" fmla="*/ 18 w 359"/>
                  <a:gd name="T17" fmla="*/ 4 h 431"/>
                  <a:gd name="T18" fmla="*/ 19 w 359"/>
                  <a:gd name="T19" fmla="*/ 0 h 431"/>
                  <a:gd name="T20" fmla="*/ 20 w 359"/>
                  <a:gd name="T21" fmla="*/ 1 h 431"/>
                  <a:gd name="T22" fmla="*/ 22 w 359"/>
                  <a:gd name="T23" fmla="*/ 3 h 431"/>
                  <a:gd name="T24" fmla="*/ 24 w 359"/>
                  <a:gd name="T25" fmla="*/ 6 h 431"/>
                  <a:gd name="T26" fmla="*/ 25 w 359"/>
                  <a:gd name="T27" fmla="*/ 8 h 431"/>
                  <a:gd name="T28" fmla="*/ 25 w 359"/>
                  <a:gd name="T29" fmla="*/ 9 h 431"/>
                  <a:gd name="T30" fmla="*/ 24 w 359"/>
                  <a:gd name="T31" fmla="*/ 11 h 431"/>
                  <a:gd name="T32" fmla="*/ 21 w 359"/>
                  <a:gd name="T33" fmla="*/ 13 h 431"/>
                  <a:gd name="T34" fmla="*/ 21 w 359"/>
                  <a:gd name="T35" fmla="*/ 14 h 431"/>
                  <a:gd name="T36" fmla="*/ 21 w 359"/>
                  <a:gd name="T37" fmla="*/ 16 h 431"/>
                  <a:gd name="T38" fmla="*/ 21 w 359"/>
                  <a:gd name="T39" fmla="*/ 17 h 431"/>
                  <a:gd name="T40" fmla="*/ 24 w 359"/>
                  <a:gd name="T41" fmla="*/ 17 h 431"/>
                  <a:gd name="T42" fmla="*/ 24 w 359"/>
                  <a:gd name="T43" fmla="*/ 16 h 431"/>
                  <a:gd name="T44" fmla="*/ 24 w 359"/>
                  <a:gd name="T45" fmla="*/ 14 h 431"/>
                  <a:gd name="T46" fmla="*/ 27 w 359"/>
                  <a:gd name="T47" fmla="*/ 21 h 431"/>
                  <a:gd name="T48" fmla="*/ 28 w 359"/>
                  <a:gd name="T49" fmla="*/ 22 h 431"/>
                  <a:gd name="T50" fmla="*/ 30 w 359"/>
                  <a:gd name="T51" fmla="*/ 24 h 431"/>
                  <a:gd name="T52" fmla="*/ 31 w 359"/>
                  <a:gd name="T53" fmla="*/ 23 h 431"/>
                  <a:gd name="T54" fmla="*/ 33 w 359"/>
                  <a:gd name="T55" fmla="*/ 22 h 431"/>
                  <a:gd name="T56" fmla="*/ 36 w 359"/>
                  <a:gd name="T57" fmla="*/ 21 h 431"/>
                  <a:gd name="T58" fmla="*/ 37 w 359"/>
                  <a:gd name="T59" fmla="*/ 22 h 431"/>
                  <a:gd name="T60" fmla="*/ 36 w 359"/>
                  <a:gd name="T61" fmla="*/ 26 h 431"/>
                  <a:gd name="T62" fmla="*/ 34 w 359"/>
                  <a:gd name="T63" fmla="*/ 28 h 431"/>
                  <a:gd name="T64" fmla="*/ 31 w 359"/>
                  <a:gd name="T65" fmla="*/ 29 h 431"/>
                  <a:gd name="T66" fmla="*/ 26 w 359"/>
                  <a:gd name="T67" fmla="*/ 31 h 431"/>
                  <a:gd name="T68" fmla="*/ 22 w 359"/>
                  <a:gd name="T69" fmla="*/ 32 h 431"/>
                  <a:gd name="T70" fmla="*/ 20 w 359"/>
                  <a:gd name="T71" fmla="*/ 33 h 431"/>
                  <a:gd name="T72" fmla="*/ 19 w 359"/>
                  <a:gd name="T73" fmla="*/ 36 h 431"/>
                  <a:gd name="T74" fmla="*/ 17 w 359"/>
                  <a:gd name="T75" fmla="*/ 38 h 431"/>
                  <a:gd name="T76" fmla="*/ 11 w 359"/>
                  <a:gd name="T77" fmla="*/ 42 h 431"/>
                  <a:gd name="T78" fmla="*/ 5 w 359"/>
                  <a:gd name="T79" fmla="*/ 45 h 431"/>
                  <a:gd name="T80" fmla="*/ 2 w 359"/>
                  <a:gd name="T81" fmla="*/ 46 h 431"/>
                  <a:gd name="T82" fmla="*/ 1 w 359"/>
                  <a:gd name="T83" fmla="*/ 45 h 431"/>
                  <a:gd name="T84" fmla="*/ 0 w 359"/>
                  <a:gd name="T85" fmla="*/ 44 h 431"/>
                  <a:gd name="T86" fmla="*/ 0 w 359"/>
                  <a:gd name="T87" fmla="*/ 43 h 431"/>
                  <a:gd name="T88" fmla="*/ 1 w 359"/>
                  <a:gd name="T89" fmla="*/ 42 h 431"/>
                  <a:gd name="T90" fmla="*/ 6 w 359"/>
                  <a:gd name="T91" fmla="*/ 40 h 431"/>
                  <a:gd name="T92" fmla="*/ 8 w 359"/>
                  <a:gd name="T93" fmla="*/ 38 h 431"/>
                  <a:gd name="T94" fmla="*/ 7 w 359"/>
                  <a:gd name="T95" fmla="*/ 36 h 431"/>
                  <a:gd name="T96" fmla="*/ 7 w 359"/>
                  <a:gd name="T97" fmla="*/ 35 h 431"/>
                  <a:gd name="T98" fmla="*/ 5 w 359"/>
                  <a:gd name="T99" fmla="*/ 34 h 431"/>
                  <a:gd name="T100" fmla="*/ 2 w 359"/>
                  <a:gd name="T101" fmla="*/ 34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052575" y="4206809"/>
              <a:ext cx="11485" cy="64255"/>
            </a:xfrm>
            <a:custGeom>
              <a:avLst/>
              <a:gdLst>
                <a:gd name="T0" fmla="*/ 0 w 21"/>
                <a:gd name="T1" fmla="*/ 36535442 h 62"/>
                <a:gd name="T2" fmla="*/ 205921 w 21"/>
                <a:gd name="T3" fmla="*/ 24639946 h 62"/>
                <a:gd name="T4" fmla="*/ 617311 w 21"/>
                <a:gd name="T5" fmla="*/ 14444202 h 62"/>
                <a:gd name="T6" fmla="*/ 822779 w 21"/>
                <a:gd name="T7" fmla="*/ 9346790 h 62"/>
                <a:gd name="T8" fmla="*/ 1234168 w 21"/>
                <a:gd name="T9" fmla="*/ 5947287 h 62"/>
                <a:gd name="T10" fmla="*/ 1851479 w 21"/>
                <a:gd name="T11" fmla="*/ 2548706 h 62"/>
                <a:gd name="T12" fmla="*/ 3086100 w 21"/>
                <a:gd name="T13" fmla="*/ 0 h 62"/>
                <a:gd name="T14" fmla="*/ 3086100 w 21"/>
                <a:gd name="T15" fmla="*/ 12745372 h 62"/>
                <a:gd name="T16" fmla="*/ 3702957 w 21"/>
                <a:gd name="T17" fmla="*/ 26339698 h 62"/>
                <a:gd name="T18" fmla="*/ 4114346 w 21"/>
                <a:gd name="T19" fmla="*/ 37385318 h 62"/>
                <a:gd name="T20" fmla="*/ 4320268 w 21"/>
                <a:gd name="T21" fmla="*/ 41633775 h 62"/>
                <a:gd name="T22" fmla="*/ 2057400 w 21"/>
                <a:gd name="T23" fmla="*/ 46732108 h 62"/>
                <a:gd name="T24" fmla="*/ 0 w 21"/>
                <a:gd name="T25" fmla="*/ 52679395 h 62"/>
                <a:gd name="T26" fmla="*/ 0 w 21"/>
                <a:gd name="T27" fmla="*/ 36535442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4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929297" y="5220610"/>
              <a:ext cx="17229" cy="64255"/>
            </a:xfrm>
            <a:custGeom>
              <a:avLst/>
              <a:gdLst>
                <a:gd name="T0" fmla="*/ 0 w 33"/>
                <a:gd name="T1" fmla="*/ 0 h 24"/>
                <a:gd name="T2" fmla="*/ 937379 w 33"/>
                <a:gd name="T3" fmla="*/ 28351163 h 24"/>
                <a:gd name="T4" fmla="*/ 1874759 w 33"/>
                <a:gd name="T5" fmla="*/ 56704706 h 24"/>
                <a:gd name="T6" fmla="*/ 2062235 w 33"/>
                <a:gd name="T7" fmla="*/ 73713975 h 24"/>
                <a:gd name="T8" fmla="*/ 2249711 w 33"/>
                <a:gd name="T9" fmla="*/ 90725625 h 24"/>
                <a:gd name="T10" fmla="*/ 2437186 w 33"/>
                <a:gd name="T11" fmla="*/ 113407031 h 24"/>
                <a:gd name="T12" fmla="*/ 2437186 w 33"/>
                <a:gd name="T13" fmla="*/ 136088438 h 24"/>
                <a:gd name="T14" fmla="*/ 6186271 w 33"/>
                <a:gd name="T15" fmla="*/ 0 h 24"/>
                <a:gd name="T16" fmla="*/ 4498988 w 33"/>
                <a:gd name="T17" fmla="*/ 0 h 24"/>
                <a:gd name="T18" fmla="*/ 2999614 w 33"/>
                <a:gd name="T19" fmla="*/ 0 h 24"/>
                <a:gd name="T20" fmla="*/ 1687283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5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956097" y="5231319"/>
              <a:ext cx="21057" cy="66039"/>
            </a:xfrm>
            <a:custGeom>
              <a:avLst/>
              <a:gdLst>
                <a:gd name="T0" fmla="*/ 7281013 w 33"/>
                <a:gd name="T1" fmla="*/ 138001407 h 25"/>
                <a:gd name="T2" fmla="*/ 8120824 w 33"/>
                <a:gd name="T3" fmla="*/ 121442272 h 25"/>
                <a:gd name="T4" fmla="*/ 9241102 w 33"/>
                <a:gd name="T5" fmla="*/ 99361859 h 25"/>
                <a:gd name="T6" fmla="*/ 9241102 w 33"/>
                <a:gd name="T7" fmla="*/ 0 h 25"/>
                <a:gd name="T8" fmla="*/ 7001075 w 33"/>
                <a:gd name="T9" fmla="*/ 0 h 25"/>
                <a:gd name="T10" fmla="*/ 4480582 w 33"/>
                <a:gd name="T11" fmla="*/ 0 h 25"/>
                <a:gd name="T12" fmla="*/ 1680152 w 33"/>
                <a:gd name="T13" fmla="*/ 0 h 25"/>
                <a:gd name="T14" fmla="*/ 0 w 33"/>
                <a:gd name="T15" fmla="*/ 0 h 25"/>
                <a:gd name="T16" fmla="*/ 7281013 w 33"/>
                <a:gd name="T17" fmla="*/ 13800140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6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129144" y="4194314"/>
              <a:ext cx="1915" cy="62471"/>
            </a:xfrm>
            <a:custGeom>
              <a:avLst/>
              <a:gdLst>
                <a:gd name="T0" fmla="*/ 0 w 7"/>
                <a:gd name="T1" fmla="*/ 0 h 55563"/>
                <a:gd name="T2" fmla="*/ 360249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7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199972" y="4131845"/>
              <a:ext cx="7657" cy="64255"/>
            </a:xfrm>
            <a:custGeom>
              <a:avLst/>
              <a:gdLst>
                <a:gd name="T0" fmla="*/ 2520156 w 16"/>
                <a:gd name="T1" fmla="*/ 0 h 25"/>
                <a:gd name="T2" fmla="*/ 2520156 w 16"/>
                <a:gd name="T3" fmla="*/ 31354776 h 25"/>
                <a:gd name="T4" fmla="*/ 2205038 w 16"/>
                <a:gd name="T5" fmla="*/ 67935348 h 25"/>
                <a:gd name="T6" fmla="*/ 2047478 w 16"/>
                <a:gd name="T7" fmla="*/ 83612736 h 25"/>
                <a:gd name="T8" fmla="*/ 1732756 w 16"/>
                <a:gd name="T9" fmla="*/ 104515920 h 25"/>
                <a:gd name="T10" fmla="*/ 1102519 w 16"/>
                <a:gd name="T11" fmla="*/ 120193308 h 25"/>
                <a:gd name="T12" fmla="*/ 472678 w 16"/>
                <a:gd name="T13" fmla="*/ 130644900 h 25"/>
                <a:gd name="T14" fmla="*/ 157559 w 16"/>
                <a:gd name="T15" fmla="*/ 125419104 h 25"/>
                <a:gd name="T16" fmla="*/ 0 w 16"/>
                <a:gd name="T17" fmla="*/ 109741716 h 25"/>
                <a:gd name="T18" fmla="*/ 157559 w 16"/>
                <a:gd name="T19" fmla="*/ 94064328 h 25"/>
                <a:gd name="T20" fmla="*/ 315119 w 16"/>
                <a:gd name="T21" fmla="*/ 67935348 h 25"/>
                <a:gd name="T22" fmla="*/ 630238 w 16"/>
                <a:gd name="T23" fmla="*/ 47032164 h 25"/>
                <a:gd name="T24" fmla="*/ 1102519 w 16"/>
                <a:gd name="T25" fmla="*/ 20903184 h 25"/>
                <a:gd name="T26" fmla="*/ 1732756 w 16"/>
                <a:gd name="T27" fmla="*/ 5225796 h 25"/>
                <a:gd name="T28" fmla="*/ 2520156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8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335883" y="4006905"/>
              <a:ext cx="5743" cy="64255"/>
            </a:xfrm>
            <a:custGeom>
              <a:avLst/>
              <a:gdLst>
                <a:gd name="T0" fmla="*/ 0 w 14"/>
                <a:gd name="T1" fmla="*/ 0 h 18"/>
                <a:gd name="T2" fmla="*/ 347359 w 14"/>
                <a:gd name="T3" fmla="*/ 10080625 h 18"/>
                <a:gd name="T4" fmla="*/ 578705 w 14"/>
                <a:gd name="T5" fmla="*/ 20161250 h 18"/>
                <a:gd name="T6" fmla="*/ 810390 w 14"/>
                <a:gd name="T7" fmla="*/ 40322500 h 18"/>
                <a:gd name="T8" fmla="*/ 1041736 w 14"/>
                <a:gd name="T9" fmla="*/ 70564375 h 18"/>
                <a:gd name="T10" fmla="*/ 1504768 w 14"/>
                <a:gd name="T11" fmla="*/ 131048125 h 18"/>
                <a:gd name="T12" fmla="*/ 1620441 w 14"/>
                <a:gd name="T13" fmla="*/ 1814512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69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519650" y="4792244"/>
              <a:ext cx="32543" cy="66039"/>
            </a:xfrm>
            <a:custGeom>
              <a:avLst/>
              <a:gdLst>
                <a:gd name="T0" fmla="*/ 0 w 67"/>
                <a:gd name="T1" fmla="*/ 0 h 74"/>
                <a:gd name="T2" fmla="*/ 162331 w 67"/>
                <a:gd name="T3" fmla="*/ 10710771 h 74"/>
                <a:gd name="T4" fmla="*/ 486590 w 67"/>
                <a:gd name="T5" fmla="*/ 18900614 h 74"/>
                <a:gd name="T6" fmla="*/ 1135913 w 67"/>
                <a:gd name="T7" fmla="*/ 25830786 h 74"/>
                <a:gd name="T8" fmla="*/ 1947164 w 67"/>
                <a:gd name="T9" fmla="*/ 31501288 h 74"/>
                <a:gd name="T10" fmla="*/ 2758415 w 67"/>
                <a:gd name="T11" fmla="*/ 36541558 h 74"/>
                <a:gd name="T12" fmla="*/ 3731997 w 67"/>
                <a:gd name="T13" fmla="*/ 40322157 h 74"/>
                <a:gd name="T14" fmla="*/ 4543249 w 67"/>
                <a:gd name="T15" fmla="*/ 43471730 h 74"/>
                <a:gd name="T16" fmla="*/ 5354500 w 67"/>
                <a:gd name="T17" fmla="*/ 46622097 h 74"/>
                <a:gd name="T18" fmla="*/ 7138930 w 67"/>
                <a:gd name="T19" fmla="*/ 40951595 h 74"/>
                <a:gd name="T20" fmla="*/ 8923763 w 67"/>
                <a:gd name="T21" fmla="*/ 34651655 h 74"/>
                <a:gd name="T22" fmla="*/ 9573087 w 67"/>
                <a:gd name="T23" fmla="*/ 30871056 h 74"/>
                <a:gd name="T24" fmla="*/ 10222007 w 67"/>
                <a:gd name="T25" fmla="*/ 27091251 h 74"/>
                <a:gd name="T26" fmla="*/ 10708597 w 67"/>
                <a:gd name="T27" fmla="*/ 23311445 h 74"/>
                <a:gd name="T28" fmla="*/ 10870928 w 67"/>
                <a:gd name="T29" fmla="*/ 18900614 h 74"/>
                <a:gd name="T30" fmla="*/ 10870928 w 67"/>
                <a:gd name="T31" fmla="*/ 15751041 h 74"/>
                <a:gd name="T32" fmla="*/ 10870928 w 67"/>
                <a:gd name="T33" fmla="*/ 11340210 h 74"/>
                <a:gd name="T34" fmla="*/ 10870928 w 67"/>
                <a:gd name="T35" fmla="*/ 5670502 h 74"/>
                <a:gd name="T36" fmla="*/ 10870928 w 67"/>
                <a:gd name="T37" fmla="*/ 0 h 74"/>
                <a:gd name="T38" fmla="*/ 7788253 w 67"/>
                <a:gd name="T39" fmla="*/ 0 h 74"/>
                <a:gd name="T40" fmla="*/ 5354500 w 67"/>
                <a:gd name="T41" fmla="*/ 0 h 74"/>
                <a:gd name="T42" fmla="*/ 2758415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0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8596219" y="4808307"/>
              <a:ext cx="15314" cy="64255"/>
            </a:xfrm>
            <a:custGeom>
              <a:avLst/>
              <a:gdLst>
                <a:gd name="T0" fmla="*/ 0 w 34"/>
                <a:gd name="T1" fmla="*/ 0 h 38"/>
                <a:gd name="T2" fmla="*/ 279026 w 34"/>
                <a:gd name="T3" fmla="*/ 6785811 h 38"/>
                <a:gd name="T4" fmla="*/ 558053 w 34"/>
                <a:gd name="T5" fmla="*/ 15833558 h 38"/>
                <a:gd name="T6" fmla="*/ 697753 w 34"/>
                <a:gd name="T7" fmla="*/ 24879801 h 38"/>
                <a:gd name="T8" fmla="*/ 837079 w 34"/>
                <a:gd name="T9" fmla="*/ 36189486 h 38"/>
                <a:gd name="T10" fmla="*/ 1395132 w 34"/>
                <a:gd name="T11" fmla="*/ 63332728 h 38"/>
                <a:gd name="T12" fmla="*/ 1813859 w 34"/>
                <a:gd name="T13" fmla="*/ 85950592 h 38"/>
                <a:gd name="T14" fmla="*/ 2232212 w 34"/>
                <a:gd name="T15" fmla="*/ 83688655 h 38"/>
                <a:gd name="T16" fmla="*/ 2790638 w 34"/>
                <a:gd name="T17" fmla="*/ 81426718 h 38"/>
                <a:gd name="T18" fmla="*/ 3208991 w 34"/>
                <a:gd name="T19" fmla="*/ 76902845 h 38"/>
                <a:gd name="T20" fmla="*/ 3627718 w 34"/>
                <a:gd name="T21" fmla="*/ 70117034 h 38"/>
                <a:gd name="T22" fmla="*/ 3906744 w 34"/>
                <a:gd name="T23" fmla="*/ 63332728 h 38"/>
                <a:gd name="T24" fmla="*/ 4464797 w 34"/>
                <a:gd name="T25" fmla="*/ 54284980 h 38"/>
                <a:gd name="T26" fmla="*/ 4604124 w 34"/>
                <a:gd name="T27" fmla="*/ 47499170 h 38"/>
                <a:gd name="T28" fmla="*/ 4743824 w 34"/>
                <a:gd name="T29" fmla="*/ 42975296 h 38"/>
                <a:gd name="T30" fmla="*/ 4325097 w 34"/>
                <a:gd name="T31" fmla="*/ 40713359 h 38"/>
                <a:gd name="T32" fmla="*/ 3906744 w 34"/>
                <a:gd name="T33" fmla="*/ 38451422 h 38"/>
                <a:gd name="T34" fmla="*/ 3627718 w 34"/>
                <a:gd name="T35" fmla="*/ 31665612 h 38"/>
                <a:gd name="T36" fmla="*/ 3348691 w 34"/>
                <a:gd name="T37" fmla="*/ 27141738 h 38"/>
                <a:gd name="T38" fmla="*/ 2650938 w 34"/>
                <a:gd name="T39" fmla="*/ 13571621 h 38"/>
                <a:gd name="T40" fmla="*/ 1813859 w 34"/>
                <a:gd name="T41" fmla="*/ 0 h 38"/>
                <a:gd name="T42" fmla="*/ 837079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1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8423938" y="4556642"/>
              <a:ext cx="30628" cy="62470"/>
            </a:xfrm>
            <a:custGeom>
              <a:avLst/>
              <a:gdLst>
                <a:gd name="T0" fmla="*/ 12172830 w 53"/>
                <a:gd name="T1" fmla="*/ 134223298 h 23"/>
                <a:gd name="T2" fmla="*/ 12172830 w 53"/>
                <a:gd name="T3" fmla="*/ 23343287 h 23"/>
                <a:gd name="T4" fmla="*/ 11254117 w 53"/>
                <a:gd name="T5" fmla="*/ 11670436 h 23"/>
                <a:gd name="T6" fmla="*/ 10335404 w 53"/>
                <a:gd name="T7" fmla="*/ 5836426 h 23"/>
                <a:gd name="T8" fmla="*/ 9646249 w 53"/>
                <a:gd name="T9" fmla="*/ 0 h 23"/>
                <a:gd name="T10" fmla="*/ 8727536 w 53"/>
                <a:gd name="T11" fmla="*/ 0 h 23"/>
                <a:gd name="T12" fmla="*/ 7120147 w 53"/>
                <a:gd name="T13" fmla="*/ 5836426 h 23"/>
                <a:gd name="T14" fmla="*/ 5512279 w 53"/>
                <a:gd name="T15" fmla="*/ 23343287 h 23"/>
                <a:gd name="T16" fmla="*/ 2526581 w 53"/>
                <a:gd name="T17" fmla="*/ 75866287 h 23"/>
                <a:gd name="T18" fmla="*/ 0 w 53"/>
                <a:gd name="T19" fmla="*/ 134223298 h 23"/>
                <a:gd name="T20" fmla="*/ 12172830 w 53"/>
                <a:gd name="T21" fmla="*/ 134223298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2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8355025" y="4528084"/>
              <a:ext cx="13400" cy="64255"/>
            </a:xfrm>
            <a:custGeom>
              <a:avLst/>
              <a:gdLst>
                <a:gd name="T0" fmla="*/ 0 w 26"/>
                <a:gd name="T1" fmla="*/ 0 h 12"/>
                <a:gd name="T2" fmla="*/ 730893 w 26"/>
                <a:gd name="T3" fmla="*/ 90725625 h 12"/>
                <a:gd name="T4" fmla="*/ 2009743 w 26"/>
                <a:gd name="T5" fmla="*/ 181451250 h 12"/>
                <a:gd name="T6" fmla="*/ 2557700 w 26"/>
                <a:gd name="T7" fmla="*/ 204135038 h 12"/>
                <a:gd name="T8" fmla="*/ 3288593 w 26"/>
                <a:gd name="T9" fmla="*/ 249497850 h 12"/>
                <a:gd name="T10" fmla="*/ 4019059 w 26"/>
                <a:gd name="T11" fmla="*/ 249497850 h 12"/>
                <a:gd name="T12" fmla="*/ 4749953 w 26"/>
                <a:gd name="T13" fmla="*/ 272176875 h 12"/>
                <a:gd name="T14" fmla="*/ 3836550 w 26"/>
                <a:gd name="T15" fmla="*/ 158772225 h 12"/>
                <a:gd name="T16" fmla="*/ 2375190 w 26"/>
                <a:gd name="T17" fmla="*/ 68046600 h 12"/>
                <a:gd name="T18" fmla="*/ 913403 w 26"/>
                <a:gd name="T19" fmla="*/ 22683788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3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596219" y="4901119"/>
              <a:ext cx="38285" cy="64255"/>
            </a:xfrm>
            <a:custGeom>
              <a:avLst/>
              <a:gdLst>
                <a:gd name="T0" fmla="*/ 0 w 73"/>
                <a:gd name="T1" fmla="*/ 0 h 57150"/>
                <a:gd name="T2" fmla="*/ 3783469 w 73"/>
                <a:gd name="T3" fmla="*/ 0 h 57150"/>
                <a:gd name="T4" fmla="*/ 6998918 w 73"/>
                <a:gd name="T5" fmla="*/ 0 h 57150"/>
                <a:gd name="T6" fmla="*/ 10403997 w 73"/>
                <a:gd name="T7" fmla="*/ 0 h 57150"/>
                <a:gd name="T8" fmla="*/ 13809075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4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8542621" y="4888626"/>
              <a:ext cx="26799" cy="64255"/>
            </a:xfrm>
            <a:custGeom>
              <a:avLst/>
              <a:gdLst>
                <a:gd name="T0" fmla="*/ 0 w 53"/>
                <a:gd name="T1" fmla="*/ 0 h 3"/>
                <a:gd name="T2" fmla="*/ 2461943 w 53"/>
                <a:gd name="T3" fmla="*/ 0 h 3"/>
                <a:gd name="T4" fmla="*/ 4747763 w 53"/>
                <a:gd name="T5" fmla="*/ 1088707500 h 3"/>
                <a:gd name="T6" fmla="*/ 5627118 w 53"/>
                <a:gd name="T7" fmla="*/ 1088707500 h 3"/>
                <a:gd name="T8" fmla="*/ 6857880 w 53"/>
                <a:gd name="T9" fmla="*/ 1088707500 h 3"/>
                <a:gd name="T10" fmla="*/ 7912939 w 53"/>
                <a:gd name="T11" fmla="*/ 362902500 h 3"/>
                <a:gd name="T12" fmla="*/ 9319823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5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8582820" y="4872562"/>
              <a:ext cx="24885" cy="713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6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607705" y="4879701"/>
              <a:ext cx="1915" cy="64255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115957350 h 13"/>
                <a:gd name="T4" fmla="*/ 0 w 1588"/>
                <a:gd name="T5" fmla="*/ 251240192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7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552192" y="4872562"/>
              <a:ext cx="17228" cy="66040"/>
            </a:xfrm>
            <a:custGeom>
              <a:avLst/>
              <a:gdLst>
                <a:gd name="T0" fmla="*/ 0 w 26"/>
                <a:gd name="T1" fmla="*/ 0 h 58738"/>
                <a:gd name="T2" fmla="*/ 4529529 w 26"/>
                <a:gd name="T3" fmla="*/ 0 h 58738"/>
                <a:gd name="T4" fmla="*/ 785070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8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544536" y="4851143"/>
              <a:ext cx="7657" cy="67825"/>
            </a:xfrm>
            <a:custGeom>
              <a:avLst/>
              <a:gdLst>
                <a:gd name="T0" fmla="*/ 2016125 w 20"/>
                <a:gd name="T1" fmla="*/ 0 h 25"/>
                <a:gd name="T2" fmla="*/ 0 w 20"/>
                <a:gd name="T3" fmla="*/ 75693397 h 25"/>
                <a:gd name="T4" fmla="*/ 403225 w 20"/>
                <a:gd name="T5" fmla="*/ 104806242 h 25"/>
                <a:gd name="T6" fmla="*/ 1008063 w 20"/>
                <a:gd name="T7" fmla="*/ 122273949 h 25"/>
                <a:gd name="T8" fmla="*/ 1411288 w 20"/>
                <a:gd name="T9" fmla="*/ 139741656 h 25"/>
                <a:gd name="T10" fmla="*/ 2016125 w 20"/>
                <a:gd name="T11" fmla="*/ 145564225 h 25"/>
                <a:gd name="T12" fmla="*/ 2016125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79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8642161" y="4544147"/>
              <a:ext cx="1915" cy="64255"/>
            </a:xfrm>
            <a:custGeom>
              <a:avLst/>
              <a:gdLst>
                <a:gd name="T0" fmla="*/ 0 w 6"/>
                <a:gd name="T1" fmla="*/ 136088438 h 24"/>
                <a:gd name="T2" fmla="*/ 0 w 6"/>
                <a:gd name="T3" fmla="*/ 0 h 24"/>
                <a:gd name="T4" fmla="*/ 420291 w 6"/>
                <a:gd name="T5" fmla="*/ 68044219 h 24"/>
                <a:gd name="T6" fmla="*/ 0 w 6"/>
                <a:gd name="T7" fmla="*/ 13608843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80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8490937" y="4174682"/>
              <a:ext cx="197166" cy="128510"/>
              <a:chOff x="5379" y="2466"/>
              <a:chExt cx="122" cy="71"/>
            </a:xfrm>
          </p:grpSpPr>
          <p:sp>
            <p:nvSpPr>
              <p:cNvPr id="533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2 w 19"/>
                  <a:gd name="T1" fmla="*/ 3 h 25"/>
                  <a:gd name="T2" fmla="*/ 2 w 19"/>
                  <a:gd name="T3" fmla="*/ 3 h 25"/>
                  <a:gd name="T4" fmla="*/ 2 w 19"/>
                  <a:gd name="T5" fmla="*/ 1 h 25"/>
                  <a:gd name="T6" fmla="*/ 2 w 19"/>
                  <a:gd name="T7" fmla="*/ 1 h 25"/>
                  <a:gd name="T8" fmla="*/ 2 w 19"/>
                  <a:gd name="T9" fmla="*/ 1 h 25"/>
                  <a:gd name="T10" fmla="*/ 2 w 19"/>
                  <a:gd name="T11" fmla="*/ 0 h 25"/>
                  <a:gd name="T12" fmla="*/ 2 w 19"/>
                  <a:gd name="T13" fmla="*/ 0 h 25"/>
                  <a:gd name="T14" fmla="*/ 0 w 19"/>
                  <a:gd name="T15" fmla="*/ 0 h 25"/>
                  <a:gd name="T16" fmla="*/ 0 w 19"/>
                  <a:gd name="T17" fmla="*/ 1 h 25"/>
                  <a:gd name="T18" fmla="*/ 1 w 19"/>
                  <a:gd name="T19" fmla="*/ 2 h 25"/>
                  <a:gd name="T20" fmla="*/ 1 w 19"/>
                  <a:gd name="T21" fmla="*/ 3 h 25"/>
                  <a:gd name="T22" fmla="*/ 1 w 19"/>
                  <a:gd name="T23" fmla="*/ 3 h 25"/>
                  <a:gd name="T24" fmla="*/ 2 w 19"/>
                  <a:gd name="T25" fmla="*/ 3 h 25"/>
                  <a:gd name="T26" fmla="*/ 2 w 19"/>
                  <a:gd name="T27" fmla="*/ 3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4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 w 26"/>
                  <a:gd name="T1" fmla="*/ 2 h 18"/>
                  <a:gd name="T2" fmla="*/ 1 w 26"/>
                  <a:gd name="T3" fmla="*/ 2 h 18"/>
                  <a:gd name="T4" fmla="*/ 0 w 26"/>
                  <a:gd name="T5" fmla="*/ 1 h 18"/>
                  <a:gd name="T6" fmla="*/ 0 w 26"/>
                  <a:gd name="T7" fmla="*/ 0 h 18"/>
                  <a:gd name="T8" fmla="*/ 1 w 26"/>
                  <a:gd name="T9" fmla="*/ 0 h 18"/>
                  <a:gd name="T10" fmla="*/ 1 w 26"/>
                  <a:gd name="T11" fmla="*/ 1 h 18"/>
                  <a:gd name="T12" fmla="*/ 1 w 26"/>
                  <a:gd name="T13" fmla="*/ 1 h 18"/>
                  <a:gd name="T14" fmla="*/ 2 w 26"/>
                  <a:gd name="T15" fmla="*/ 2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5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2 h 18"/>
                  <a:gd name="T2" fmla="*/ 2 w 13"/>
                  <a:gd name="T3" fmla="*/ 0 h 18"/>
                  <a:gd name="T4" fmla="*/ 0 w 13"/>
                  <a:gd name="T5" fmla="*/ 2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6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3 h 24"/>
                  <a:gd name="T2" fmla="*/ 0 w 26"/>
                  <a:gd name="T3" fmla="*/ 3 h 24"/>
                  <a:gd name="T4" fmla="*/ 1 w 26"/>
                  <a:gd name="T5" fmla="*/ 2 h 24"/>
                  <a:gd name="T6" fmla="*/ 1 w 26"/>
                  <a:gd name="T7" fmla="*/ 2 h 24"/>
                  <a:gd name="T8" fmla="*/ 2 w 26"/>
                  <a:gd name="T9" fmla="*/ 2 h 24"/>
                  <a:gd name="T10" fmla="*/ 2 w 26"/>
                  <a:gd name="T11" fmla="*/ 1 h 24"/>
                  <a:gd name="T12" fmla="*/ 2 w 26"/>
                  <a:gd name="T13" fmla="*/ 1 h 24"/>
                  <a:gd name="T14" fmla="*/ 2 w 26"/>
                  <a:gd name="T15" fmla="*/ 0 h 24"/>
                  <a:gd name="T16" fmla="*/ 2 w 26"/>
                  <a:gd name="T17" fmla="*/ 0 h 24"/>
                  <a:gd name="T18" fmla="*/ 0 w 26"/>
                  <a:gd name="T19" fmla="*/ 3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7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1 h 6"/>
                  <a:gd name="T2" fmla="*/ 1 w 34"/>
                  <a:gd name="T3" fmla="*/ 1 h 6"/>
                  <a:gd name="T4" fmla="*/ 2 w 34"/>
                  <a:gd name="T5" fmla="*/ 1 h 6"/>
                  <a:gd name="T6" fmla="*/ 3 w 34"/>
                  <a:gd name="T7" fmla="*/ 0 h 6"/>
                  <a:gd name="T8" fmla="*/ 4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8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9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3 h 19"/>
                  <a:gd name="T2" fmla="*/ 0 w 1"/>
                  <a:gd name="T3" fmla="*/ 1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0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41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 w 14"/>
                  <a:gd name="T1" fmla="*/ 0 h 6"/>
                  <a:gd name="T2" fmla="*/ 1 w 14"/>
                  <a:gd name="T3" fmla="*/ 0 h 6"/>
                  <a:gd name="T4" fmla="*/ 0 w 14"/>
                  <a:gd name="T5" fmla="*/ 1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1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783433" y="4019398"/>
              <a:ext cx="7657" cy="64255"/>
            </a:xfrm>
            <a:custGeom>
              <a:avLst/>
              <a:gdLst>
                <a:gd name="T0" fmla="*/ 775433 w 26"/>
                <a:gd name="T1" fmla="*/ 29424527 h 111"/>
                <a:gd name="T2" fmla="*/ 536819 w 26"/>
                <a:gd name="T3" fmla="*/ 27303799 h 111"/>
                <a:gd name="T4" fmla="*/ 238613 w 26"/>
                <a:gd name="T5" fmla="*/ 25183070 h 111"/>
                <a:gd name="T6" fmla="*/ 119185 w 26"/>
                <a:gd name="T7" fmla="*/ 24122964 h 111"/>
                <a:gd name="T8" fmla="*/ 59592 w 26"/>
                <a:gd name="T9" fmla="*/ 23062342 h 111"/>
                <a:gd name="T10" fmla="*/ 0 w 26"/>
                <a:gd name="T11" fmla="*/ 21206769 h 111"/>
                <a:gd name="T12" fmla="*/ 0 w 26"/>
                <a:gd name="T13" fmla="*/ 19616351 h 111"/>
                <a:gd name="T14" fmla="*/ 0 w 26"/>
                <a:gd name="T15" fmla="*/ 16170361 h 111"/>
                <a:gd name="T16" fmla="*/ 59592 w 26"/>
                <a:gd name="T17" fmla="*/ 13519322 h 111"/>
                <a:gd name="T18" fmla="*/ 179021 w 26"/>
                <a:gd name="T19" fmla="*/ 10868282 h 111"/>
                <a:gd name="T20" fmla="*/ 298206 w 26"/>
                <a:gd name="T21" fmla="*/ 8748069 h 111"/>
                <a:gd name="T22" fmla="*/ 536819 w 26"/>
                <a:gd name="T23" fmla="*/ 6362185 h 111"/>
                <a:gd name="T24" fmla="*/ 835025 w 26"/>
                <a:gd name="T25" fmla="*/ 4506612 h 111"/>
                <a:gd name="T26" fmla="*/ 1193067 w 26"/>
                <a:gd name="T27" fmla="*/ 2385884 h 111"/>
                <a:gd name="T28" fmla="*/ 1550865 w 26"/>
                <a:gd name="T29" fmla="*/ 0 h 111"/>
                <a:gd name="T30" fmla="*/ 1550865 w 26"/>
                <a:gd name="T31" fmla="*/ 1590418 h 111"/>
                <a:gd name="T32" fmla="*/ 1550865 w 26"/>
                <a:gd name="T33" fmla="*/ 3445991 h 111"/>
                <a:gd name="T34" fmla="*/ 1550865 w 26"/>
                <a:gd name="T35" fmla="*/ 5831874 h 111"/>
                <a:gd name="T36" fmla="*/ 1550865 w 26"/>
                <a:gd name="T37" fmla="*/ 8482914 h 111"/>
                <a:gd name="T38" fmla="*/ 1491273 w 26"/>
                <a:gd name="T39" fmla="*/ 11663749 h 111"/>
                <a:gd name="T40" fmla="*/ 1312252 w 26"/>
                <a:gd name="T41" fmla="*/ 14844584 h 111"/>
                <a:gd name="T42" fmla="*/ 1073638 w 26"/>
                <a:gd name="T43" fmla="*/ 17760778 h 111"/>
                <a:gd name="T44" fmla="*/ 775433 w 26"/>
                <a:gd name="T45" fmla="*/ 21206769 h 111"/>
                <a:gd name="T46" fmla="*/ 775433 w 26"/>
                <a:gd name="T47" fmla="*/ 2942452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2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044919" y="6425391"/>
              <a:ext cx="65084" cy="66040"/>
            </a:xfrm>
            <a:custGeom>
              <a:avLst/>
              <a:gdLst>
                <a:gd name="T0" fmla="*/ 0 w 126"/>
                <a:gd name="T1" fmla="*/ 17052968 h 62"/>
                <a:gd name="T2" fmla="*/ 2018494 w 126"/>
                <a:gd name="T3" fmla="*/ 17951091 h 62"/>
                <a:gd name="T4" fmla="*/ 3853644 w 126"/>
                <a:gd name="T5" fmla="*/ 18848266 h 62"/>
                <a:gd name="T6" fmla="*/ 5321678 w 126"/>
                <a:gd name="T7" fmla="*/ 20643565 h 62"/>
                <a:gd name="T8" fmla="*/ 6605940 w 126"/>
                <a:gd name="T9" fmla="*/ 23336039 h 62"/>
                <a:gd name="T10" fmla="*/ 9175322 w 126"/>
                <a:gd name="T11" fmla="*/ 29619110 h 62"/>
                <a:gd name="T12" fmla="*/ 11193815 w 126"/>
                <a:gd name="T13" fmla="*/ 35901234 h 62"/>
                <a:gd name="T14" fmla="*/ 12845193 w 126"/>
                <a:gd name="T15" fmla="*/ 43082428 h 62"/>
                <a:gd name="T16" fmla="*/ 14496571 w 126"/>
                <a:gd name="T17" fmla="*/ 49364552 h 62"/>
                <a:gd name="T18" fmla="*/ 15414146 w 126"/>
                <a:gd name="T19" fmla="*/ 52057026 h 62"/>
                <a:gd name="T20" fmla="*/ 16331721 w 126"/>
                <a:gd name="T21" fmla="*/ 53852325 h 62"/>
                <a:gd name="T22" fmla="*/ 17432640 w 126"/>
                <a:gd name="T23" fmla="*/ 54750448 h 62"/>
                <a:gd name="T24" fmla="*/ 18350215 w 126"/>
                <a:gd name="T25" fmla="*/ 55647623 h 62"/>
                <a:gd name="T26" fmla="*/ 19267790 w 126"/>
                <a:gd name="T27" fmla="*/ 54750448 h 62"/>
                <a:gd name="T28" fmla="*/ 20002021 w 126"/>
                <a:gd name="T29" fmla="*/ 53852325 h 62"/>
                <a:gd name="T30" fmla="*/ 20735824 w 126"/>
                <a:gd name="T31" fmla="*/ 52057026 h 62"/>
                <a:gd name="T32" fmla="*/ 21470056 w 126"/>
                <a:gd name="T33" fmla="*/ 50262675 h 62"/>
                <a:gd name="T34" fmla="*/ 22387631 w 126"/>
                <a:gd name="T35" fmla="*/ 45774902 h 62"/>
                <a:gd name="T36" fmla="*/ 23121434 w 126"/>
                <a:gd name="T37" fmla="*/ 43979604 h 62"/>
                <a:gd name="T38" fmla="*/ 20185365 w 126"/>
                <a:gd name="T39" fmla="*/ 29619110 h 62"/>
                <a:gd name="T40" fmla="*/ 17616412 w 126"/>
                <a:gd name="T41" fmla="*/ 18848266 h 62"/>
                <a:gd name="T42" fmla="*/ 16331721 w 126"/>
                <a:gd name="T43" fmla="*/ 13463318 h 62"/>
                <a:gd name="T44" fmla="*/ 14863687 w 126"/>
                <a:gd name="T45" fmla="*/ 8077422 h 62"/>
                <a:gd name="T46" fmla="*/ 13212309 w 126"/>
                <a:gd name="T47" fmla="*/ 4487773 h 62"/>
                <a:gd name="T48" fmla="*/ 11193815 w 126"/>
                <a:gd name="T49" fmla="*/ 0 h 62"/>
                <a:gd name="T50" fmla="*/ 0 w 126"/>
                <a:gd name="T51" fmla="*/ 0 h 62"/>
                <a:gd name="T52" fmla="*/ 0 w 126"/>
                <a:gd name="T53" fmla="*/ 8077422 h 62"/>
                <a:gd name="T54" fmla="*/ 0 w 126"/>
                <a:gd name="T55" fmla="*/ 17052968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3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820569" y="6243335"/>
              <a:ext cx="36371" cy="62471"/>
            </a:xfrm>
            <a:custGeom>
              <a:avLst/>
              <a:gdLst>
                <a:gd name="T0" fmla="*/ 0 w 66"/>
                <a:gd name="T1" fmla="*/ 0 h 44"/>
                <a:gd name="T2" fmla="*/ 2715127 w 66"/>
                <a:gd name="T3" fmla="*/ 1594911 h 44"/>
                <a:gd name="T4" fmla="*/ 4803686 w 66"/>
                <a:gd name="T5" fmla="*/ 3189821 h 44"/>
                <a:gd name="T6" fmla="*/ 6683390 w 66"/>
                <a:gd name="T7" fmla="*/ 6378380 h 44"/>
                <a:gd name="T8" fmla="*/ 7936982 w 66"/>
                <a:gd name="T9" fmla="*/ 11163112 h 44"/>
                <a:gd name="T10" fmla="*/ 9190118 w 66"/>
                <a:gd name="T11" fmla="*/ 14351670 h 44"/>
                <a:gd name="T12" fmla="*/ 10443253 w 66"/>
                <a:gd name="T13" fmla="*/ 17541492 h 44"/>
                <a:gd name="T14" fmla="*/ 11905245 w 66"/>
                <a:gd name="T15" fmla="*/ 19136402 h 44"/>
                <a:gd name="T16" fmla="*/ 13784948 w 66"/>
                <a:gd name="T17" fmla="*/ 20730050 h 44"/>
                <a:gd name="T18" fmla="*/ 13576092 w 66"/>
                <a:gd name="T19" fmla="*/ 27109693 h 44"/>
                <a:gd name="T20" fmla="*/ 12949524 w 66"/>
                <a:gd name="T21" fmla="*/ 33488073 h 44"/>
                <a:gd name="T22" fmla="*/ 12531812 w 66"/>
                <a:gd name="T23" fmla="*/ 39866453 h 44"/>
                <a:gd name="T24" fmla="*/ 11905245 w 66"/>
                <a:gd name="T25" fmla="*/ 44649922 h 44"/>
                <a:gd name="T26" fmla="*/ 10234397 w 66"/>
                <a:gd name="T27" fmla="*/ 54218123 h 44"/>
                <a:gd name="T28" fmla="*/ 8354694 w 66"/>
                <a:gd name="T29" fmla="*/ 62191413 h 44"/>
                <a:gd name="T30" fmla="*/ 6474534 w 66"/>
                <a:gd name="T31" fmla="*/ 66974883 h 44"/>
                <a:gd name="T32" fmla="*/ 4385974 w 66"/>
                <a:gd name="T33" fmla="*/ 70164704 h 44"/>
                <a:gd name="T34" fmla="*/ 2088559 w 66"/>
                <a:gd name="T35" fmla="*/ 70164704 h 44"/>
                <a:gd name="T36" fmla="*/ 0 w 66"/>
                <a:gd name="T37" fmla="*/ 68569793 h 44"/>
                <a:gd name="T38" fmla="*/ 0 w 66"/>
                <a:gd name="T39" fmla="*/ 49434654 h 44"/>
                <a:gd name="T40" fmla="*/ 0 w 66"/>
                <a:gd name="T41" fmla="*/ 35082983 h 44"/>
                <a:gd name="T42" fmla="*/ 0 w 66"/>
                <a:gd name="T43" fmla="*/ 19136402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4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418196" y="2612928"/>
              <a:ext cx="24885" cy="64255"/>
            </a:xfrm>
            <a:custGeom>
              <a:avLst/>
              <a:gdLst>
                <a:gd name="T0" fmla="*/ 9258386 w 46"/>
                <a:gd name="T1" fmla="*/ 0 h 16"/>
                <a:gd name="T2" fmla="*/ 8050673 w 46"/>
                <a:gd name="T3" fmla="*/ 89307591 h 16"/>
                <a:gd name="T4" fmla="*/ 7044395 w 46"/>
                <a:gd name="T5" fmla="*/ 165856444 h 16"/>
                <a:gd name="T6" fmla="*/ 6239552 w 46"/>
                <a:gd name="T7" fmla="*/ 178615181 h 16"/>
                <a:gd name="T8" fmla="*/ 5836682 w 46"/>
                <a:gd name="T9" fmla="*/ 191373919 h 16"/>
                <a:gd name="T10" fmla="*/ 5232825 w 46"/>
                <a:gd name="T11" fmla="*/ 204132656 h 16"/>
                <a:gd name="T12" fmla="*/ 4629417 w 46"/>
                <a:gd name="T13" fmla="*/ 204132656 h 16"/>
                <a:gd name="T14" fmla="*/ 3220269 w 46"/>
                <a:gd name="T15" fmla="*/ 178615181 h 16"/>
                <a:gd name="T16" fmla="*/ 2213991 w 46"/>
                <a:gd name="T17" fmla="*/ 140342541 h 16"/>
                <a:gd name="T18" fmla="*/ 1006278 w 46"/>
                <a:gd name="T19" fmla="*/ 76548853 h 16"/>
                <a:gd name="T20" fmla="*/ 0 w 46"/>
                <a:gd name="T21" fmla="*/ 0 h 16"/>
                <a:gd name="T22" fmla="*/ 9258386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5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8630676" y="2650410"/>
              <a:ext cx="19142" cy="64255"/>
            </a:xfrm>
            <a:custGeom>
              <a:avLst/>
              <a:gdLst>
                <a:gd name="T0" fmla="*/ 6461939 w 39"/>
                <a:gd name="T1" fmla="*/ 120788723 h 26"/>
                <a:gd name="T2" fmla="*/ 5964929 w 39"/>
                <a:gd name="T3" fmla="*/ 125620096 h 26"/>
                <a:gd name="T4" fmla="*/ 5302250 w 39"/>
                <a:gd name="T5" fmla="*/ 125620096 h 26"/>
                <a:gd name="T6" fmla="*/ 4639163 w 39"/>
                <a:gd name="T7" fmla="*/ 125620096 h 26"/>
                <a:gd name="T8" fmla="*/ 4142154 w 39"/>
                <a:gd name="T9" fmla="*/ 120788723 h 26"/>
                <a:gd name="T10" fmla="*/ 2982465 w 39"/>
                <a:gd name="T11" fmla="*/ 106294604 h 26"/>
                <a:gd name="T12" fmla="*/ 1988446 w 39"/>
                <a:gd name="T13" fmla="*/ 86966913 h 26"/>
                <a:gd name="T14" fmla="*/ 1159689 w 39"/>
                <a:gd name="T15" fmla="*/ 62810048 h 26"/>
                <a:gd name="T16" fmla="*/ 497010 w 39"/>
                <a:gd name="T17" fmla="*/ 33821810 h 26"/>
                <a:gd name="T18" fmla="*/ 165670 w 39"/>
                <a:gd name="T19" fmla="*/ 14494119 h 26"/>
                <a:gd name="T20" fmla="*/ 0 w 39"/>
                <a:gd name="T21" fmla="*/ 0 h 26"/>
                <a:gd name="T22" fmla="*/ 1822776 w 39"/>
                <a:gd name="T23" fmla="*/ 28988238 h 26"/>
                <a:gd name="T24" fmla="*/ 3645144 w 39"/>
                <a:gd name="T25" fmla="*/ 62810048 h 26"/>
                <a:gd name="T26" fmla="*/ 5467920 w 39"/>
                <a:gd name="T27" fmla="*/ 96631858 h 26"/>
                <a:gd name="T28" fmla="*/ 6461939 w 39"/>
                <a:gd name="T29" fmla="*/ 120788723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6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966435" y="2909215"/>
              <a:ext cx="5742" cy="66040"/>
            </a:xfrm>
            <a:custGeom>
              <a:avLst/>
              <a:gdLst>
                <a:gd name="T0" fmla="*/ 2061513 w 11"/>
                <a:gd name="T1" fmla="*/ 0 h 25"/>
                <a:gd name="T2" fmla="*/ 2061513 w 11"/>
                <a:gd name="T3" fmla="*/ 27602161 h 25"/>
                <a:gd name="T4" fmla="*/ 1874063 w 11"/>
                <a:gd name="T5" fmla="*/ 66242367 h 25"/>
                <a:gd name="T6" fmla="*/ 1686614 w 11"/>
                <a:gd name="T7" fmla="*/ 110403945 h 25"/>
                <a:gd name="T8" fmla="*/ 749799 w 11"/>
                <a:gd name="T9" fmla="*/ 138006106 h 25"/>
                <a:gd name="T10" fmla="*/ 374899 w 11"/>
                <a:gd name="T11" fmla="*/ 126965711 h 25"/>
                <a:gd name="T12" fmla="*/ 187450 w 11"/>
                <a:gd name="T13" fmla="*/ 110403945 h 25"/>
                <a:gd name="T14" fmla="*/ 0 w 11"/>
                <a:gd name="T15" fmla="*/ 82804133 h 25"/>
                <a:gd name="T16" fmla="*/ 0 w 11"/>
                <a:gd name="T17" fmla="*/ 66242367 h 25"/>
                <a:gd name="T18" fmla="*/ 187450 w 11"/>
                <a:gd name="T19" fmla="*/ 49682950 h 25"/>
                <a:gd name="T20" fmla="*/ 562349 w 11"/>
                <a:gd name="T21" fmla="*/ 27602161 h 25"/>
                <a:gd name="T22" fmla="*/ 1124265 w 11"/>
                <a:gd name="T23" fmla="*/ 11040394 h 25"/>
                <a:gd name="T24" fmla="*/ 2061513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7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742468" y="3541055"/>
              <a:ext cx="17229" cy="66040"/>
            </a:xfrm>
            <a:custGeom>
              <a:avLst/>
              <a:gdLst>
                <a:gd name="T0" fmla="*/ 10207347 w 20"/>
                <a:gd name="T1" fmla="*/ 0 h 31"/>
                <a:gd name="T2" fmla="*/ 8165592 w 20"/>
                <a:gd name="T3" fmla="*/ 43081481 h 31"/>
                <a:gd name="T4" fmla="*/ 5103674 w 20"/>
                <a:gd name="T5" fmla="*/ 71802468 h 31"/>
                <a:gd name="T6" fmla="*/ 2551837 w 20"/>
                <a:gd name="T7" fmla="*/ 93344156 h 31"/>
                <a:gd name="T8" fmla="*/ 0 w 20"/>
                <a:gd name="T9" fmla="*/ 111295247 h 31"/>
                <a:gd name="T10" fmla="*/ 0 w 20"/>
                <a:gd name="T11" fmla="*/ 89753559 h 31"/>
                <a:gd name="T12" fmla="*/ 510082 w 20"/>
                <a:gd name="T13" fmla="*/ 68213766 h 31"/>
                <a:gd name="T14" fmla="*/ 1020878 w 20"/>
                <a:gd name="T15" fmla="*/ 46672078 h 31"/>
                <a:gd name="T16" fmla="*/ 2551837 w 20"/>
                <a:gd name="T17" fmla="*/ 32311584 h 31"/>
                <a:gd name="T18" fmla="*/ 4082796 w 20"/>
                <a:gd name="T19" fmla="*/ 21541688 h 31"/>
                <a:gd name="T20" fmla="*/ 5613755 w 20"/>
                <a:gd name="T21" fmla="*/ 10769897 h 31"/>
                <a:gd name="T22" fmla="*/ 8165592 w 20"/>
                <a:gd name="T23" fmla="*/ 0 h 31"/>
                <a:gd name="T24" fmla="*/ 102073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8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763525" y="3467877"/>
              <a:ext cx="19142" cy="64255"/>
            </a:xfrm>
            <a:custGeom>
              <a:avLst/>
              <a:gdLst>
                <a:gd name="T0" fmla="*/ 4846760 w 26"/>
                <a:gd name="T1" fmla="*/ 88273581 h 37"/>
                <a:gd name="T2" fmla="*/ 0 w 26"/>
                <a:gd name="T3" fmla="*/ 28629061 h 37"/>
                <a:gd name="T4" fmla="*/ 2236543 w 26"/>
                <a:gd name="T5" fmla="*/ 16700157 h 37"/>
                <a:gd name="T6" fmla="*/ 4846760 w 26"/>
                <a:gd name="T7" fmla="*/ 9542505 h 37"/>
                <a:gd name="T8" fmla="*/ 7828817 w 26"/>
                <a:gd name="T9" fmla="*/ 2386399 h 37"/>
                <a:gd name="T10" fmla="*/ 9692909 w 26"/>
                <a:gd name="T11" fmla="*/ 0 h 37"/>
                <a:gd name="T12" fmla="*/ 9692909 w 26"/>
                <a:gd name="T13" fmla="*/ 14315303 h 37"/>
                <a:gd name="T14" fmla="*/ 9319846 w 26"/>
                <a:gd name="T15" fmla="*/ 26244207 h 37"/>
                <a:gd name="T16" fmla="*/ 8947394 w 26"/>
                <a:gd name="T17" fmla="*/ 40557965 h 37"/>
                <a:gd name="T18" fmla="*/ 8574332 w 26"/>
                <a:gd name="T19" fmla="*/ 50100470 h 37"/>
                <a:gd name="T20" fmla="*/ 6710240 w 26"/>
                <a:gd name="T21" fmla="*/ 69187026 h 37"/>
                <a:gd name="T22" fmla="*/ 4846760 w 26"/>
                <a:gd name="T23" fmla="*/ 88273581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89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629528" y="3298314"/>
              <a:ext cx="1914" cy="67825"/>
            </a:xfrm>
            <a:custGeom>
              <a:avLst/>
              <a:gdLst>
                <a:gd name="T0" fmla="*/ 0 w 7"/>
                <a:gd name="T1" fmla="*/ 202172535 h 18"/>
                <a:gd name="T2" fmla="*/ 0 w 7"/>
                <a:gd name="T3" fmla="*/ 0 h 18"/>
                <a:gd name="T4" fmla="*/ 359796 w 7"/>
                <a:gd name="T5" fmla="*/ 134782807 h 18"/>
                <a:gd name="T6" fmla="*/ 0 w 7"/>
                <a:gd name="T7" fmla="*/ 20217253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0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33586" y="2316641"/>
              <a:ext cx="11485" cy="64255"/>
            </a:xfrm>
            <a:custGeom>
              <a:avLst/>
              <a:gdLst>
                <a:gd name="T0" fmla="*/ 0 w 33"/>
                <a:gd name="T1" fmla="*/ 40784821 h 31"/>
                <a:gd name="T2" fmla="*/ 1582882 w 33"/>
                <a:gd name="T3" fmla="*/ 0 h 31"/>
                <a:gd name="T4" fmla="*/ 1999384 w 33"/>
                <a:gd name="T5" fmla="*/ 16993829 h 31"/>
                <a:gd name="T6" fmla="*/ 2332759 w 33"/>
                <a:gd name="T7" fmla="*/ 40784821 h 31"/>
                <a:gd name="T8" fmla="*/ 2665845 w 33"/>
                <a:gd name="T9" fmla="*/ 74770635 h 31"/>
                <a:gd name="T10" fmla="*/ 2749261 w 33"/>
                <a:gd name="T11" fmla="*/ 105358790 h 31"/>
                <a:gd name="T12" fmla="*/ 2249343 w 33"/>
                <a:gd name="T13" fmla="*/ 101959287 h 31"/>
                <a:gd name="T14" fmla="*/ 1832841 w 33"/>
                <a:gd name="T15" fmla="*/ 95162124 h 31"/>
                <a:gd name="T16" fmla="*/ 1332923 w 33"/>
                <a:gd name="T17" fmla="*/ 84967302 h 31"/>
                <a:gd name="T18" fmla="*/ 916420 w 33"/>
                <a:gd name="T19" fmla="*/ 74770635 h 31"/>
                <a:gd name="T20" fmla="*/ 249959 w 33"/>
                <a:gd name="T21" fmla="*/ 50979644 h 31"/>
                <a:gd name="T22" fmla="*/ 0 w 33"/>
                <a:gd name="T23" fmla="*/ 40784821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1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16359" y="2056051"/>
              <a:ext cx="3828" cy="64255"/>
            </a:xfrm>
            <a:custGeom>
              <a:avLst/>
              <a:gdLst>
                <a:gd name="T0" fmla="*/ 720045 w 14"/>
                <a:gd name="T1" fmla="*/ 0 h 6"/>
                <a:gd name="T2" fmla="*/ 0 w 14"/>
                <a:gd name="T3" fmla="*/ 544353750 h 6"/>
                <a:gd name="T4" fmla="*/ 72004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2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602346" y="4055095"/>
              <a:ext cx="30628" cy="62471"/>
            </a:xfrm>
            <a:custGeom>
              <a:avLst/>
              <a:gdLst>
                <a:gd name="T0" fmla="*/ 10934915 w 59"/>
                <a:gd name="T1" fmla="*/ 19274984 h 31"/>
                <a:gd name="T2" fmla="*/ 10564247 w 59"/>
                <a:gd name="T3" fmla="*/ 35338068 h 31"/>
                <a:gd name="T4" fmla="*/ 9822912 w 59"/>
                <a:gd name="T5" fmla="*/ 48187460 h 31"/>
                <a:gd name="T6" fmla="*/ 9081576 w 59"/>
                <a:gd name="T7" fmla="*/ 61038644 h 31"/>
                <a:gd name="T8" fmla="*/ 8340241 w 59"/>
                <a:gd name="T9" fmla="*/ 77101728 h 31"/>
                <a:gd name="T10" fmla="*/ 7413356 w 59"/>
                <a:gd name="T11" fmla="*/ 86739220 h 31"/>
                <a:gd name="T12" fmla="*/ 6672020 w 59"/>
                <a:gd name="T13" fmla="*/ 93163020 h 31"/>
                <a:gd name="T14" fmla="*/ 5560017 w 59"/>
                <a:gd name="T15" fmla="*/ 99588612 h 31"/>
                <a:gd name="T16" fmla="*/ 4818681 w 59"/>
                <a:gd name="T17" fmla="*/ 99588612 h 31"/>
                <a:gd name="T18" fmla="*/ 3892227 w 59"/>
                <a:gd name="T19" fmla="*/ 99588612 h 31"/>
                <a:gd name="T20" fmla="*/ 3150892 w 59"/>
                <a:gd name="T21" fmla="*/ 96376712 h 31"/>
                <a:gd name="T22" fmla="*/ 2594675 w 59"/>
                <a:gd name="T23" fmla="*/ 93163020 h 31"/>
                <a:gd name="T24" fmla="*/ 2038888 w 59"/>
                <a:gd name="T25" fmla="*/ 86739220 h 31"/>
                <a:gd name="T26" fmla="*/ 741336 w 59"/>
                <a:gd name="T27" fmla="*/ 64250544 h 31"/>
                <a:gd name="T28" fmla="*/ 0 w 59"/>
                <a:gd name="T29" fmla="*/ 38549968 h 31"/>
                <a:gd name="T30" fmla="*/ 185549 w 59"/>
                <a:gd name="T31" fmla="*/ 28912476 h 31"/>
                <a:gd name="T32" fmla="*/ 556217 w 59"/>
                <a:gd name="T33" fmla="*/ 19274984 h 31"/>
                <a:gd name="T34" fmla="*/ 926885 w 59"/>
                <a:gd name="T35" fmla="*/ 12849392 h 31"/>
                <a:gd name="T36" fmla="*/ 1482671 w 59"/>
                <a:gd name="T37" fmla="*/ 9637492 h 31"/>
                <a:gd name="T38" fmla="*/ 2965342 w 59"/>
                <a:gd name="T39" fmla="*/ 3211900 h 31"/>
                <a:gd name="T40" fmla="*/ 4448014 w 59"/>
                <a:gd name="T41" fmla="*/ 0 h 31"/>
                <a:gd name="T42" fmla="*/ 6301353 w 59"/>
                <a:gd name="T43" fmla="*/ 0 h 31"/>
                <a:gd name="T44" fmla="*/ 7784024 w 59"/>
                <a:gd name="T45" fmla="*/ 6425592 h 31"/>
                <a:gd name="T46" fmla="*/ 9452244 w 59"/>
                <a:gd name="T47" fmla="*/ 12849392 h 31"/>
                <a:gd name="T48" fmla="*/ 10934915 w 59"/>
                <a:gd name="T49" fmla="*/ 1927498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3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244383" y="3899813"/>
              <a:ext cx="22971" cy="66039"/>
            </a:xfrm>
            <a:custGeom>
              <a:avLst/>
              <a:gdLst>
                <a:gd name="T0" fmla="*/ 2299781 w 47"/>
                <a:gd name="T1" fmla="*/ 0 h 68"/>
                <a:gd name="T2" fmla="*/ 1314450 w 47"/>
                <a:gd name="T3" fmla="*/ 7461327 h 68"/>
                <a:gd name="T4" fmla="*/ 657022 w 47"/>
                <a:gd name="T5" fmla="*/ 14176348 h 68"/>
                <a:gd name="T6" fmla="*/ 328714 w 47"/>
                <a:gd name="T7" fmla="*/ 20891369 h 68"/>
                <a:gd name="T8" fmla="*/ 0 w 47"/>
                <a:gd name="T9" fmla="*/ 27606390 h 68"/>
                <a:gd name="T10" fmla="*/ 0 w 47"/>
                <a:gd name="T11" fmla="*/ 31337053 h 68"/>
                <a:gd name="T12" fmla="*/ 328714 w 47"/>
                <a:gd name="T13" fmla="*/ 35067717 h 68"/>
                <a:gd name="T14" fmla="*/ 492868 w 47"/>
                <a:gd name="T15" fmla="*/ 38052074 h 68"/>
                <a:gd name="T16" fmla="*/ 821582 w 47"/>
                <a:gd name="T17" fmla="*/ 41036432 h 68"/>
                <a:gd name="T18" fmla="*/ 1149890 w 47"/>
                <a:gd name="T19" fmla="*/ 43274485 h 68"/>
                <a:gd name="T20" fmla="*/ 1478604 w 47"/>
                <a:gd name="T21" fmla="*/ 44767096 h 68"/>
                <a:gd name="T22" fmla="*/ 2135627 w 47"/>
                <a:gd name="T23" fmla="*/ 46258843 h 68"/>
                <a:gd name="T24" fmla="*/ 2628495 w 47"/>
                <a:gd name="T25" fmla="*/ 47751453 h 68"/>
                <a:gd name="T26" fmla="*/ 3614231 w 47"/>
                <a:gd name="T27" fmla="*/ 49989506 h 68"/>
                <a:gd name="T28" fmla="*/ 5092835 w 47"/>
                <a:gd name="T29" fmla="*/ 50735811 h 68"/>
                <a:gd name="T30" fmla="*/ 6406880 w 47"/>
                <a:gd name="T31" fmla="*/ 50735811 h 68"/>
                <a:gd name="T32" fmla="*/ 7721330 w 47"/>
                <a:gd name="T33" fmla="*/ 50735811 h 68"/>
                <a:gd name="T34" fmla="*/ 6735594 w 47"/>
                <a:gd name="T35" fmla="*/ 43274485 h 68"/>
                <a:gd name="T36" fmla="*/ 6242726 w 47"/>
                <a:gd name="T37" fmla="*/ 35813158 h 68"/>
                <a:gd name="T38" fmla="*/ 5914012 w 47"/>
                <a:gd name="T39" fmla="*/ 32083359 h 68"/>
                <a:gd name="T40" fmla="*/ 5749857 w 47"/>
                <a:gd name="T41" fmla="*/ 28352695 h 68"/>
                <a:gd name="T42" fmla="*/ 5421549 w 47"/>
                <a:gd name="T43" fmla="*/ 23129421 h 68"/>
                <a:gd name="T44" fmla="*/ 5421549 w 47"/>
                <a:gd name="T45" fmla="*/ 18652453 h 68"/>
                <a:gd name="T46" fmla="*/ 3942945 w 47"/>
                <a:gd name="T47" fmla="*/ 9699379 h 68"/>
                <a:gd name="T48" fmla="*/ 2299781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94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6174704" y="4110427"/>
              <a:ext cx="55512" cy="421227"/>
              <a:chOff x="3950" y="2430"/>
              <a:chExt cx="36" cy="234"/>
            </a:xfrm>
          </p:grpSpPr>
          <p:sp>
            <p:nvSpPr>
              <p:cNvPr id="502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 h 20"/>
                  <a:gd name="T4" fmla="*/ 2 w 19"/>
                  <a:gd name="T5" fmla="*/ 1 h 20"/>
                  <a:gd name="T6" fmla="*/ 1 w 19"/>
                  <a:gd name="T7" fmla="*/ 1 h 20"/>
                  <a:gd name="T8" fmla="*/ 1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3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 w 19"/>
                  <a:gd name="T1" fmla="*/ 1 h 12"/>
                  <a:gd name="T2" fmla="*/ 2 w 19"/>
                  <a:gd name="T3" fmla="*/ 0 h 12"/>
                  <a:gd name="T4" fmla="*/ 0 w 19"/>
                  <a:gd name="T5" fmla="*/ 0 h 12"/>
                  <a:gd name="T6" fmla="*/ 1 w 19"/>
                  <a:gd name="T7" fmla="*/ 1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4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 w 19"/>
                  <a:gd name="T3" fmla="*/ 0 h 1"/>
                  <a:gd name="T4" fmla="*/ 2 w 19"/>
                  <a:gd name="T5" fmla="*/ 0 h 1"/>
                  <a:gd name="T6" fmla="*/ 1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5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6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7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1 w 6"/>
                  <a:gd name="T1" fmla="*/ 0 h 3"/>
                  <a:gd name="T2" fmla="*/ 1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8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2 w 14"/>
                  <a:gd name="T1" fmla="*/ 0 h 24"/>
                  <a:gd name="T2" fmla="*/ 2 w 14"/>
                  <a:gd name="T3" fmla="*/ 1 h 24"/>
                  <a:gd name="T4" fmla="*/ 1 w 14"/>
                  <a:gd name="T5" fmla="*/ 1 h 24"/>
                  <a:gd name="T6" fmla="*/ 1 w 14"/>
                  <a:gd name="T7" fmla="*/ 2 h 24"/>
                  <a:gd name="T8" fmla="*/ 0 w 14"/>
                  <a:gd name="T9" fmla="*/ 3 h 24"/>
                  <a:gd name="T10" fmla="*/ 0 w 14"/>
                  <a:gd name="T11" fmla="*/ 2 h 24"/>
                  <a:gd name="T12" fmla="*/ 0 w 14"/>
                  <a:gd name="T13" fmla="*/ 1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9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0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 w 13"/>
                  <a:gd name="T1" fmla="*/ 1 h 12"/>
                  <a:gd name="T2" fmla="*/ 0 w 13"/>
                  <a:gd name="T3" fmla="*/ 0 h 12"/>
                  <a:gd name="T4" fmla="*/ 1 w 13"/>
                  <a:gd name="T5" fmla="*/ 1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1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2 h 19"/>
                  <a:gd name="T4" fmla="*/ 0 w 7"/>
                  <a:gd name="T5" fmla="*/ 0 h 19"/>
                  <a:gd name="T6" fmla="*/ 1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2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3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2 h 18"/>
                  <a:gd name="T2" fmla="*/ 1 w 8"/>
                  <a:gd name="T3" fmla="*/ 1 h 18"/>
                  <a:gd name="T4" fmla="*/ 0 w 8"/>
                  <a:gd name="T5" fmla="*/ 0 h 18"/>
                  <a:gd name="T6" fmla="*/ 0 w 8"/>
                  <a:gd name="T7" fmla="*/ 2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4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3 h 19"/>
                  <a:gd name="T4" fmla="*/ 1 w 6"/>
                  <a:gd name="T5" fmla="*/ 2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5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 h 19"/>
                  <a:gd name="T4" fmla="*/ 4 w 28"/>
                  <a:gd name="T5" fmla="*/ 1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6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2 w 15"/>
                  <a:gd name="T1" fmla="*/ 1 h 19"/>
                  <a:gd name="T2" fmla="*/ 1 w 15"/>
                  <a:gd name="T3" fmla="*/ 1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7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 h 20"/>
                  <a:gd name="T4" fmla="*/ 2 w 19"/>
                  <a:gd name="T5" fmla="*/ 1 h 20"/>
                  <a:gd name="T6" fmla="*/ 1 w 19"/>
                  <a:gd name="T7" fmla="*/ 1 h 20"/>
                  <a:gd name="T8" fmla="*/ 1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8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 w 19"/>
                  <a:gd name="T1" fmla="*/ 1 h 12"/>
                  <a:gd name="T2" fmla="*/ 2 w 19"/>
                  <a:gd name="T3" fmla="*/ 0 h 12"/>
                  <a:gd name="T4" fmla="*/ 0 w 19"/>
                  <a:gd name="T5" fmla="*/ 0 h 12"/>
                  <a:gd name="T6" fmla="*/ 1 w 19"/>
                  <a:gd name="T7" fmla="*/ 1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19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 w 19"/>
                  <a:gd name="T3" fmla="*/ 0 h 1"/>
                  <a:gd name="T4" fmla="*/ 2 w 19"/>
                  <a:gd name="T5" fmla="*/ 0 h 1"/>
                  <a:gd name="T6" fmla="*/ 1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0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1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2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1 w 6"/>
                  <a:gd name="T1" fmla="*/ 0 h 3"/>
                  <a:gd name="T2" fmla="*/ 1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3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2 w 14"/>
                  <a:gd name="T1" fmla="*/ 0 h 24"/>
                  <a:gd name="T2" fmla="*/ 2 w 14"/>
                  <a:gd name="T3" fmla="*/ 1 h 24"/>
                  <a:gd name="T4" fmla="*/ 1 w 14"/>
                  <a:gd name="T5" fmla="*/ 1 h 24"/>
                  <a:gd name="T6" fmla="*/ 1 w 14"/>
                  <a:gd name="T7" fmla="*/ 2 h 24"/>
                  <a:gd name="T8" fmla="*/ 0 w 14"/>
                  <a:gd name="T9" fmla="*/ 3 h 24"/>
                  <a:gd name="T10" fmla="*/ 0 w 14"/>
                  <a:gd name="T11" fmla="*/ 2 h 24"/>
                  <a:gd name="T12" fmla="*/ 0 w 14"/>
                  <a:gd name="T13" fmla="*/ 1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4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5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 w 13"/>
                  <a:gd name="T1" fmla="*/ 1 h 12"/>
                  <a:gd name="T2" fmla="*/ 0 w 13"/>
                  <a:gd name="T3" fmla="*/ 0 h 12"/>
                  <a:gd name="T4" fmla="*/ 1 w 13"/>
                  <a:gd name="T5" fmla="*/ 1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6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2 h 19"/>
                  <a:gd name="T4" fmla="*/ 0 w 7"/>
                  <a:gd name="T5" fmla="*/ 0 h 19"/>
                  <a:gd name="T6" fmla="*/ 1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7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8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2 h 18"/>
                  <a:gd name="T2" fmla="*/ 1 w 8"/>
                  <a:gd name="T3" fmla="*/ 1 h 18"/>
                  <a:gd name="T4" fmla="*/ 0 w 8"/>
                  <a:gd name="T5" fmla="*/ 0 h 18"/>
                  <a:gd name="T6" fmla="*/ 0 w 8"/>
                  <a:gd name="T7" fmla="*/ 2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29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3 h 19"/>
                  <a:gd name="T4" fmla="*/ 1 w 6"/>
                  <a:gd name="T5" fmla="*/ 2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0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 h 19"/>
                  <a:gd name="T4" fmla="*/ 4 w 28"/>
                  <a:gd name="T5" fmla="*/ 1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1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2 w 15"/>
                  <a:gd name="T1" fmla="*/ 1 h 19"/>
                  <a:gd name="T2" fmla="*/ 1 w 15"/>
                  <a:gd name="T3" fmla="*/ 1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32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2 w 20"/>
                  <a:gd name="T1" fmla="*/ 2 h 18"/>
                  <a:gd name="T2" fmla="*/ 2 w 20"/>
                  <a:gd name="T3" fmla="*/ 0 h 18"/>
                  <a:gd name="T4" fmla="*/ 0 w 20"/>
                  <a:gd name="T5" fmla="*/ 0 h 18"/>
                  <a:gd name="T6" fmla="*/ 2 w 20"/>
                  <a:gd name="T7" fmla="*/ 2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5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8702739" y="4720112"/>
              <a:ext cx="201080" cy="297545"/>
              <a:chOff x="5509" y="2769"/>
              <a:chExt cx="123" cy="163"/>
            </a:xfrm>
          </p:grpSpPr>
          <p:sp>
            <p:nvSpPr>
              <p:cNvPr id="493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 h 87"/>
                  <a:gd name="T2" fmla="*/ 0 w 40"/>
                  <a:gd name="T3" fmla="*/ 5 h 87"/>
                  <a:gd name="T4" fmla="*/ 0 w 40"/>
                  <a:gd name="T5" fmla="*/ 5 h 87"/>
                  <a:gd name="T6" fmla="*/ 1 w 40"/>
                  <a:gd name="T7" fmla="*/ 6 h 87"/>
                  <a:gd name="T8" fmla="*/ 1 w 40"/>
                  <a:gd name="T9" fmla="*/ 7 h 87"/>
                  <a:gd name="T10" fmla="*/ 2 w 40"/>
                  <a:gd name="T11" fmla="*/ 7 h 87"/>
                  <a:gd name="T12" fmla="*/ 2 w 40"/>
                  <a:gd name="T13" fmla="*/ 8 h 87"/>
                  <a:gd name="T14" fmla="*/ 3 w 40"/>
                  <a:gd name="T15" fmla="*/ 8 h 87"/>
                  <a:gd name="T16" fmla="*/ 4 w 40"/>
                  <a:gd name="T17" fmla="*/ 9 h 87"/>
                  <a:gd name="T18" fmla="*/ 4 w 40"/>
                  <a:gd name="T19" fmla="*/ 8 h 87"/>
                  <a:gd name="T20" fmla="*/ 3 w 40"/>
                  <a:gd name="T21" fmla="*/ 8 h 87"/>
                  <a:gd name="T22" fmla="*/ 3 w 40"/>
                  <a:gd name="T23" fmla="*/ 7 h 87"/>
                  <a:gd name="T24" fmla="*/ 3 w 40"/>
                  <a:gd name="T25" fmla="*/ 7 h 87"/>
                  <a:gd name="T26" fmla="*/ 2 w 40"/>
                  <a:gd name="T27" fmla="*/ 5 h 87"/>
                  <a:gd name="T28" fmla="*/ 2 w 40"/>
                  <a:gd name="T29" fmla="*/ 4 h 87"/>
                  <a:gd name="T30" fmla="*/ 2 w 40"/>
                  <a:gd name="T31" fmla="*/ 3 h 87"/>
                  <a:gd name="T32" fmla="*/ 1 w 40"/>
                  <a:gd name="T33" fmla="*/ 2 h 87"/>
                  <a:gd name="T34" fmla="*/ 1 w 40"/>
                  <a:gd name="T35" fmla="*/ 1 h 87"/>
                  <a:gd name="T36" fmla="*/ 1 w 40"/>
                  <a:gd name="T37" fmla="*/ 1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1 h 87"/>
                  <a:gd name="T44" fmla="*/ 0 w 40"/>
                  <a:gd name="T45" fmla="*/ 2 h 87"/>
                  <a:gd name="T46" fmla="*/ 0 w 40"/>
                  <a:gd name="T47" fmla="*/ 2 h 87"/>
                  <a:gd name="T48" fmla="*/ 0 w 40"/>
                  <a:gd name="T49" fmla="*/ 3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007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4" name="Freeform 151"/>
              <p:cNvSpPr>
                <a:spLocks/>
              </p:cNvSpPr>
              <p:nvPr/>
            </p:nvSpPr>
            <p:spPr bwMode="auto">
              <a:xfrm>
                <a:off x="5612" y="2846"/>
                <a:ext cx="20" cy="12"/>
              </a:xfrm>
              <a:custGeom>
                <a:avLst/>
                <a:gdLst>
                  <a:gd name="T0" fmla="*/ 0 w 61"/>
                  <a:gd name="T1" fmla="*/ 3 h 37"/>
                  <a:gd name="T2" fmla="*/ 2 w 61"/>
                  <a:gd name="T3" fmla="*/ 3 h 37"/>
                  <a:gd name="T4" fmla="*/ 4 w 61"/>
                  <a:gd name="T5" fmla="*/ 4 h 37"/>
                  <a:gd name="T6" fmla="*/ 5 w 61"/>
                  <a:gd name="T7" fmla="*/ 4 h 37"/>
                  <a:gd name="T8" fmla="*/ 7 w 61"/>
                  <a:gd name="T9" fmla="*/ 4 h 37"/>
                  <a:gd name="T10" fmla="*/ 6 w 61"/>
                  <a:gd name="T11" fmla="*/ 3 h 37"/>
                  <a:gd name="T12" fmla="*/ 5 w 61"/>
                  <a:gd name="T13" fmla="*/ 2 h 37"/>
                  <a:gd name="T14" fmla="*/ 5 w 61"/>
                  <a:gd name="T15" fmla="*/ 2 h 37"/>
                  <a:gd name="T16" fmla="*/ 4 w 61"/>
                  <a:gd name="T17" fmla="*/ 1 h 37"/>
                  <a:gd name="T18" fmla="*/ 3 w 61"/>
                  <a:gd name="T19" fmla="*/ 1 h 37"/>
                  <a:gd name="T20" fmla="*/ 2 w 61"/>
                  <a:gd name="T21" fmla="*/ 1 h 37"/>
                  <a:gd name="T22" fmla="*/ 1 w 61"/>
                  <a:gd name="T23" fmla="*/ 0 h 37"/>
                  <a:gd name="T24" fmla="*/ 0 w 61"/>
                  <a:gd name="T25" fmla="*/ 0 h 37"/>
                  <a:gd name="T26" fmla="*/ 0 w 61"/>
                  <a:gd name="T27" fmla="*/ 3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5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 w 40"/>
                  <a:gd name="T1" fmla="*/ 3 h 30"/>
                  <a:gd name="T2" fmla="*/ 4 w 40"/>
                  <a:gd name="T3" fmla="*/ 3 h 30"/>
                  <a:gd name="T4" fmla="*/ 3 w 40"/>
                  <a:gd name="T5" fmla="*/ 3 h 30"/>
                  <a:gd name="T6" fmla="*/ 2 w 40"/>
                  <a:gd name="T7" fmla="*/ 2 h 30"/>
                  <a:gd name="T8" fmla="*/ 2 w 40"/>
                  <a:gd name="T9" fmla="*/ 2 h 30"/>
                  <a:gd name="T10" fmla="*/ 1 w 40"/>
                  <a:gd name="T11" fmla="*/ 2 h 30"/>
                  <a:gd name="T12" fmla="*/ 1 w 40"/>
                  <a:gd name="T13" fmla="*/ 1 h 30"/>
                  <a:gd name="T14" fmla="*/ 0 w 40"/>
                  <a:gd name="T15" fmla="*/ 1 h 30"/>
                  <a:gd name="T16" fmla="*/ 0 w 40"/>
                  <a:gd name="T17" fmla="*/ 0 h 30"/>
                  <a:gd name="T18" fmla="*/ 1 w 40"/>
                  <a:gd name="T19" fmla="*/ 0 h 30"/>
                  <a:gd name="T20" fmla="*/ 2 w 40"/>
                  <a:gd name="T21" fmla="*/ 1 h 30"/>
                  <a:gd name="T22" fmla="*/ 2 w 40"/>
                  <a:gd name="T23" fmla="*/ 1 h 30"/>
                  <a:gd name="T24" fmla="*/ 3 w 40"/>
                  <a:gd name="T25" fmla="*/ 2 h 30"/>
                  <a:gd name="T26" fmla="*/ 4 w 40"/>
                  <a:gd name="T27" fmla="*/ 2 h 30"/>
                  <a:gd name="T28" fmla="*/ 4 w 40"/>
                  <a:gd name="T29" fmla="*/ 3 h 30"/>
                  <a:gd name="T30" fmla="*/ 4 w 40"/>
                  <a:gd name="T31" fmla="*/ 3 h 30"/>
                  <a:gd name="T32" fmla="*/ 4 w 40"/>
                  <a:gd name="T33" fmla="*/ 3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6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8 w 74"/>
                  <a:gd name="T1" fmla="*/ 8 h 80"/>
                  <a:gd name="T2" fmla="*/ 7 w 74"/>
                  <a:gd name="T3" fmla="*/ 8 h 80"/>
                  <a:gd name="T4" fmla="*/ 7 w 74"/>
                  <a:gd name="T5" fmla="*/ 7 h 80"/>
                  <a:gd name="T6" fmla="*/ 7 w 74"/>
                  <a:gd name="T7" fmla="*/ 7 h 80"/>
                  <a:gd name="T8" fmla="*/ 7 w 74"/>
                  <a:gd name="T9" fmla="*/ 6 h 80"/>
                  <a:gd name="T10" fmla="*/ 6 w 74"/>
                  <a:gd name="T11" fmla="*/ 5 h 80"/>
                  <a:gd name="T12" fmla="*/ 5 w 74"/>
                  <a:gd name="T13" fmla="*/ 4 h 80"/>
                  <a:gd name="T14" fmla="*/ 4 w 74"/>
                  <a:gd name="T15" fmla="*/ 3 h 80"/>
                  <a:gd name="T16" fmla="*/ 3 w 74"/>
                  <a:gd name="T17" fmla="*/ 2 h 80"/>
                  <a:gd name="T18" fmla="*/ 2 w 74"/>
                  <a:gd name="T19" fmla="*/ 1 h 80"/>
                  <a:gd name="T20" fmla="*/ 1 w 74"/>
                  <a:gd name="T21" fmla="*/ 0 h 80"/>
                  <a:gd name="T22" fmla="*/ 1 w 74"/>
                  <a:gd name="T23" fmla="*/ 1 h 80"/>
                  <a:gd name="T24" fmla="*/ 0 w 74"/>
                  <a:gd name="T25" fmla="*/ 1 h 80"/>
                  <a:gd name="T26" fmla="*/ 0 w 74"/>
                  <a:gd name="T27" fmla="*/ 2 h 80"/>
                  <a:gd name="T28" fmla="*/ 0 w 74"/>
                  <a:gd name="T29" fmla="*/ 2 h 80"/>
                  <a:gd name="T30" fmla="*/ 0 w 74"/>
                  <a:gd name="T31" fmla="*/ 3 h 80"/>
                  <a:gd name="T32" fmla="*/ 0 w 74"/>
                  <a:gd name="T33" fmla="*/ 3 h 80"/>
                  <a:gd name="T34" fmla="*/ 0 w 74"/>
                  <a:gd name="T35" fmla="*/ 4 h 80"/>
                  <a:gd name="T36" fmla="*/ 1 w 74"/>
                  <a:gd name="T37" fmla="*/ 4 h 80"/>
                  <a:gd name="T38" fmla="*/ 1 w 74"/>
                  <a:gd name="T39" fmla="*/ 5 h 80"/>
                  <a:gd name="T40" fmla="*/ 2 w 74"/>
                  <a:gd name="T41" fmla="*/ 6 h 80"/>
                  <a:gd name="T42" fmla="*/ 2 w 74"/>
                  <a:gd name="T43" fmla="*/ 6 h 80"/>
                  <a:gd name="T44" fmla="*/ 3 w 74"/>
                  <a:gd name="T45" fmla="*/ 7 h 80"/>
                  <a:gd name="T46" fmla="*/ 3 w 74"/>
                  <a:gd name="T47" fmla="*/ 7 h 80"/>
                  <a:gd name="T48" fmla="*/ 4 w 74"/>
                  <a:gd name="T49" fmla="*/ 7 h 80"/>
                  <a:gd name="T50" fmla="*/ 5 w 74"/>
                  <a:gd name="T51" fmla="*/ 7 h 80"/>
                  <a:gd name="T52" fmla="*/ 5 w 74"/>
                  <a:gd name="T53" fmla="*/ 8 h 80"/>
                  <a:gd name="T54" fmla="*/ 6 w 74"/>
                  <a:gd name="T55" fmla="*/ 8 h 80"/>
                  <a:gd name="T56" fmla="*/ 6 w 74"/>
                  <a:gd name="T57" fmla="*/ 8 h 80"/>
                  <a:gd name="T58" fmla="*/ 7 w 74"/>
                  <a:gd name="T59" fmla="*/ 8 h 80"/>
                  <a:gd name="T60" fmla="*/ 8 w 74"/>
                  <a:gd name="T61" fmla="*/ 8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7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 w 86"/>
                  <a:gd name="T1" fmla="*/ 9 h 80"/>
                  <a:gd name="T2" fmla="*/ 8 w 86"/>
                  <a:gd name="T3" fmla="*/ 9 h 80"/>
                  <a:gd name="T4" fmla="*/ 8 w 86"/>
                  <a:gd name="T5" fmla="*/ 7 h 80"/>
                  <a:gd name="T6" fmla="*/ 7 w 86"/>
                  <a:gd name="T7" fmla="*/ 7 h 80"/>
                  <a:gd name="T8" fmla="*/ 7 w 86"/>
                  <a:gd name="T9" fmla="*/ 6 h 80"/>
                  <a:gd name="T10" fmla="*/ 6 w 86"/>
                  <a:gd name="T11" fmla="*/ 6 h 80"/>
                  <a:gd name="T12" fmla="*/ 5 w 86"/>
                  <a:gd name="T13" fmla="*/ 6 h 80"/>
                  <a:gd name="T14" fmla="*/ 5 w 86"/>
                  <a:gd name="T15" fmla="*/ 5 h 80"/>
                  <a:gd name="T16" fmla="*/ 4 w 86"/>
                  <a:gd name="T17" fmla="*/ 4 h 80"/>
                  <a:gd name="T18" fmla="*/ 3 w 86"/>
                  <a:gd name="T19" fmla="*/ 3 h 80"/>
                  <a:gd name="T20" fmla="*/ 2 w 86"/>
                  <a:gd name="T21" fmla="*/ 2 h 80"/>
                  <a:gd name="T22" fmla="*/ 1 w 86"/>
                  <a:gd name="T23" fmla="*/ 1 h 80"/>
                  <a:gd name="T24" fmla="*/ 0 w 86"/>
                  <a:gd name="T25" fmla="*/ 0 h 80"/>
                  <a:gd name="T26" fmla="*/ 0 w 86"/>
                  <a:gd name="T27" fmla="*/ 1 h 80"/>
                  <a:gd name="T28" fmla="*/ 1 w 86"/>
                  <a:gd name="T29" fmla="*/ 2 h 80"/>
                  <a:gd name="T30" fmla="*/ 1 w 86"/>
                  <a:gd name="T31" fmla="*/ 4 h 80"/>
                  <a:gd name="T32" fmla="*/ 2 w 86"/>
                  <a:gd name="T33" fmla="*/ 5 h 80"/>
                  <a:gd name="T34" fmla="*/ 2 w 86"/>
                  <a:gd name="T35" fmla="*/ 6 h 80"/>
                  <a:gd name="T36" fmla="*/ 3 w 86"/>
                  <a:gd name="T37" fmla="*/ 8 h 80"/>
                  <a:gd name="T38" fmla="*/ 4 w 86"/>
                  <a:gd name="T39" fmla="*/ 8 h 80"/>
                  <a:gd name="T40" fmla="*/ 4 w 86"/>
                  <a:gd name="T41" fmla="*/ 9 h 80"/>
                  <a:gd name="T42" fmla="*/ 5 w 86"/>
                  <a:gd name="T43" fmla="*/ 9 h 80"/>
                  <a:gd name="T44" fmla="*/ 5 w 86"/>
                  <a:gd name="T45" fmla="*/ 9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8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1 h 31"/>
                  <a:gd name="T2" fmla="*/ 0 w 74"/>
                  <a:gd name="T3" fmla="*/ 1 h 31"/>
                  <a:gd name="T4" fmla="*/ 1 w 74"/>
                  <a:gd name="T5" fmla="*/ 2 h 31"/>
                  <a:gd name="T6" fmla="*/ 1 w 74"/>
                  <a:gd name="T7" fmla="*/ 2 h 31"/>
                  <a:gd name="T8" fmla="*/ 2 w 74"/>
                  <a:gd name="T9" fmla="*/ 2 h 31"/>
                  <a:gd name="T10" fmla="*/ 2 w 74"/>
                  <a:gd name="T11" fmla="*/ 3 h 31"/>
                  <a:gd name="T12" fmla="*/ 3 w 74"/>
                  <a:gd name="T13" fmla="*/ 3 h 31"/>
                  <a:gd name="T14" fmla="*/ 3 w 74"/>
                  <a:gd name="T15" fmla="*/ 4 h 31"/>
                  <a:gd name="T16" fmla="*/ 4 w 74"/>
                  <a:gd name="T17" fmla="*/ 4 h 31"/>
                  <a:gd name="T18" fmla="*/ 5 w 74"/>
                  <a:gd name="T19" fmla="*/ 4 h 31"/>
                  <a:gd name="T20" fmla="*/ 7 w 74"/>
                  <a:gd name="T21" fmla="*/ 4 h 31"/>
                  <a:gd name="T22" fmla="*/ 7 w 74"/>
                  <a:gd name="T23" fmla="*/ 4 h 31"/>
                  <a:gd name="T24" fmla="*/ 8 w 74"/>
                  <a:gd name="T25" fmla="*/ 4 h 31"/>
                  <a:gd name="T26" fmla="*/ 8 w 74"/>
                  <a:gd name="T27" fmla="*/ 4 h 31"/>
                  <a:gd name="T28" fmla="*/ 8 w 74"/>
                  <a:gd name="T29" fmla="*/ 3 h 31"/>
                  <a:gd name="T30" fmla="*/ 7 w 74"/>
                  <a:gd name="T31" fmla="*/ 2 h 31"/>
                  <a:gd name="T32" fmla="*/ 6 w 74"/>
                  <a:gd name="T33" fmla="*/ 2 h 31"/>
                  <a:gd name="T34" fmla="*/ 6 w 74"/>
                  <a:gd name="T35" fmla="*/ 1 h 31"/>
                  <a:gd name="T36" fmla="*/ 5 w 74"/>
                  <a:gd name="T37" fmla="*/ 1 h 31"/>
                  <a:gd name="T38" fmla="*/ 5 w 74"/>
                  <a:gd name="T39" fmla="*/ 1 h 31"/>
                  <a:gd name="T40" fmla="*/ 5 w 74"/>
                  <a:gd name="T41" fmla="*/ 0 h 31"/>
                  <a:gd name="T42" fmla="*/ 4 w 74"/>
                  <a:gd name="T43" fmla="*/ 0 h 31"/>
                  <a:gd name="T44" fmla="*/ 3 w 74"/>
                  <a:gd name="T45" fmla="*/ 0 h 31"/>
                  <a:gd name="T46" fmla="*/ 2 w 74"/>
                  <a:gd name="T47" fmla="*/ 0 h 31"/>
                  <a:gd name="T48" fmla="*/ 2 w 74"/>
                  <a:gd name="T49" fmla="*/ 0 h 31"/>
                  <a:gd name="T50" fmla="*/ 2 w 74"/>
                  <a:gd name="T51" fmla="*/ 0 h 31"/>
                  <a:gd name="T52" fmla="*/ 1 w 74"/>
                  <a:gd name="T53" fmla="*/ 0 h 31"/>
                  <a:gd name="T54" fmla="*/ 1 w 74"/>
                  <a:gd name="T55" fmla="*/ 0 h 31"/>
                  <a:gd name="T56" fmla="*/ 0 w 74"/>
                  <a:gd name="T57" fmla="*/ 1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9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 w 20"/>
                  <a:gd name="T1" fmla="*/ 0 h 1"/>
                  <a:gd name="T2" fmla="*/ 0 w 20"/>
                  <a:gd name="T3" fmla="*/ 0 h 1"/>
                  <a:gd name="T4" fmla="*/ 1 w 20"/>
                  <a:gd name="T5" fmla="*/ 0 h 1"/>
                  <a:gd name="T6" fmla="*/ 2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0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1 w 100"/>
                  <a:gd name="T1" fmla="*/ 3 h 65"/>
                  <a:gd name="T2" fmla="*/ 4 w 100"/>
                  <a:gd name="T3" fmla="*/ 4 h 65"/>
                  <a:gd name="T4" fmla="*/ 6 w 100"/>
                  <a:gd name="T5" fmla="*/ 6 h 65"/>
                  <a:gd name="T6" fmla="*/ 7 w 100"/>
                  <a:gd name="T7" fmla="*/ 6 h 65"/>
                  <a:gd name="T8" fmla="*/ 9 w 100"/>
                  <a:gd name="T9" fmla="*/ 7 h 65"/>
                  <a:gd name="T10" fmla="*/ 9 w 100"/>
                  <a:gd name="T11" fmla="*/ 7 h 65"/>
                  <a:gd name="T12" fmla="*/ 9 w 100"/>
                  <a:gd name="T13" fmla="*/ 7 h 65"/>
                  <a:gd name="T14" fmla="*/ 10 w 100"/>
                  <a:gd name="T15" fmla="*/ 7 h 65"/>
                  <a:gd name="T16" fmla="*/ 10 w 100"/>
                  <a:gd name="T17" fmla="*/ 6 h 65"/>
                  <a:gd name="T18" fmla="*/ 10 w 100"/>
                  <a:gd name="T19" fmla="*/ 6 h 65"/>
                  <a:gd name="T20" fmla="*/ 9 w 100"/>
                  <a:gd name="T21" fmla="*/ 6 h 65"/>
                  <a:gd name="T22" fmla="*/ 9 w 100"/>
                  <a:gd name="T23" fmla="*/ 5 h 65"/>
                  <a:gd name="T24" fmla="*/ 8 w 100"/>
                  <a:gd name="T25" fmla="*/ 5 h 65"/>
                  <a:gd name="T26" fmla="*/ 7 w 100"/>
                  <a:gd name="T27" fmla="*/ 4 h 65"/>
                  <a:gd name="T28" fmla="*/ 6 w 100"/>
                  <a:gd name="T29" fmla="*/ 2 h 65"/>
                  <a:gd name="T30" fmla="*/ 5 w 100"/>
                  <a:gd name="T31" fmla="*/ 2 h 65"/>
                  <a:gd name="T32" fmla="*/ 5 w 100"/>
                  <a:gd name="T33" fmla="*/ 1 h 65"/>
                  <a:gd name="T34" fmla="*/ 4 w 100"/>
                  <a:gd name="T35" fmla="*/ 0 h 65"/>
                  <a:gd name="T36" fmla="*/ 4 w 100"/>
                  <a:gd name="T37" fmla="*/ 0 h 65"/>
                  <a:gd name="T38" fmla="*/ 3 w 100"/>
                  <a:gd name="T39" fmla="*/ 0 h 65"/>
                  <a:gd name="T40" fmla="*/ 2 w 100"/>
                  <a:gd name="T41" fmla="*/ 0 h 65"/>
                  <a:gd name="T42" fmla="*/ 1 w 100"/>
                  <a:gd name="T43" fmla="*/ 0 h 65"/>
                  <a:gd name="T44" fmla="*/ 0 w 100"/>
                  <a:gd name="T45" fmla="*/ 1 h 65"/>
                  <a:gd name="T46" fmla="*/ 1 w 100"/>
                  <a:gd name="T47" fmla="*/ 3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501" name="Freeform 158"/>
              <p:cNvSpPr>
                <a:spLocks/>
              </p:cNvSpPr>
              <p:nvPr/>
            </p:nvSpPr>
            <p:spPr bwMode="auto">
              <a:xfrm>
                <a:off x="5579" y="2898"/>
                <a:ext cx="24" cy="34"/>
              </a:xfrm>
              <a:custGeom>
                <a:avLst/>
                <a:gdLst>
                  <a:gd name="T0" fmla="*/ 7 w 79"/>
                  <a:gd name="T1" fmla="*/ 9 h 104"/>
                  <a:gd name="T2" fmla="*/ 5 w 79"/>
                  <a:gd name="T3" fmla="*/ 7 h 104"/>
                  <a:gd name="T4" fmla="*/ 4 w 79"/>
                  <a:gd name="T5" fmla="*/ 4 h 104"/>
                  <a:gd name="T6" fmla="*/ 3 w 79"/>
                  <a:gd name="T7" fmla="*/ 2 h 104"/>
                  <a:gd name="T8" fmla="*/ 1 w 79"/>
                  <a:gd name="T9" fmla="*/ 0 h 104"/>
                  <a:gd name="T10" fmla="*/ 1 w 79"/>
                  <a:gd name="T11" fmla="*/ 2 h 104"/>
                  <a:gd name="T12" fmla="*/ 0 w 79"/>
                  <a:gd name="T13" fmla="*/ 4 h 104"/>
                  <a:gd name="T14" fmla="*/ 0 w 79"/>
                  <a:gd name="T15" fmla="*/ 4 h 104"/>
                  <a:gd name="T16" fmla="*/ 0 w 79"/>
                  <a:gd name="T17" fmla="*/ 5 h 104"/>
                  <a:gd name="T18" fmla="*/ 0 w 79"/>
                  <a:gd name="T19" fmla="*/ 6 h 104"/>
                  <a:gd name="T20" fmla="*/ 0 w 79"/>
                  <a:gd name="T21" fmla="*/ 7 h 104"/>
                  <a:gd name="T22" fmla="*/ 0 w 79"/>
                  <a:gd name="T23" fmla="*/ 7 h 104"/>
                  <a:gd name="T24" fmla="*/ 0 w 79"/>
                  <a:gd name="T25" fmla="*/ 8 h 104"/>
                  <a:gd name="T26" fmla="*/ 1 w 79"/>
                  <a:gd name="T27" fmla="*/ 9 h 104"/>
                  <a:gd name="T28" fmla="*/ 1 w 79"/>
                  <a:gd name="T29" fmla="*/ 9 h 104"/>
                  <a:gd name="T30" fmla="*/ 1 w 79"/>
                  <a:gd name="T31" fmla="*/ 9 h 104"/>
                  <a:gd name="T32" fmla="*/ 2 w 79"/>
                  <a:gd name="T33" fmla="*/ 9 h 104"/>
                  <a:gd name="T34" fmla="*/ 2 w 79"/>
                  <a:gd name="T35" fmla="*/ 10 h 104"/>
                  <a:gd name="T36" fmla="*/ 3 w 79"/>
                  <a:gd name="T37" fmla="*/ 10 h 104"/>
                  <a:gd name="T38" fmla="*/ 4 w 79"/>
                  <a:gd name="T39" fmla="*/ 10 h 104"/>
                  <a:gd name="T40" fmla="*/ 5 w 79"/>
                  <a:gd name="T41" fmla="*/ 10 h 104"/>
                  <a:gd name="T42" fmla="*/ 6 w 79"/>
                  <a:gd name="T43" fmla="*/ 11 h 104"/>
                  <a:gd name="T44" fmla="*/ 7 w 79"/>
                  <a:gd name="T45" fmla="*/ 11 h 104"/>
                  <a:gd name="T46" fmla="*/ 7 w 79"/>
                  <a:gd name="T47" fmla="*/ 9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96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58548" y="4378156"/>
              <a:ext cx="13400" cy="62470"/>
            </a:xfrm>
            <a:custGeom>
              <a:avLst/>
              <a:gdLst>
                <a:gd name="T0" fmla="*/ 4574028 w 27"/>
                <a:gd name="T1" fmla="*/ 0 h 19"/>
                <a:gd name="T2" fmla="*/ 4574028 w 27"/>
                <a:gd name="T3" fmla="*/ 102620090 h 19"/>
                <a:gd name="T4" fmla="*/ 4574028 w 27"/>
                <a:gd name="T5" fmla="*/ 162480834 h 19"/>
                <a:gd name="T6" fmla="*/ 1524539 w 27"/>
                <a:gd name="T7" fmla="*/ 162480834 h 19"/>
                <a:gd name="T8" fmla="*/ 0 w 27"/>
                <a:gd name="T9" fmla="*/ 162480834 h 19"/>
                <a:gd name="T10" fmla="*/ 1524539 w 27"/>
                <a:gd name="T11" fmla="*/ 102620090 h 19"/>
                <a:gd name="T12" fmla="*/ 4574028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7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66664" y="4535224"/>
              <a:ext cx="17229" cy="64255"/>
            </a:xfrm>
            <a:custGeom>
              <a:avLst/>
              <a:gdLst>
                <a:gd name="T0" fmla="*/ 0 w 39"/>
                <a:gd name="T1" fmla="*/ 0 h 35"/>
                <a:gd name="T2" fmla="*/ 5234537 w 39"/>
                <a:gd name="T3" fmla="*/ 0 h 35"/>
                <a:gd name="T4" fmla="*/ 4831909 w 39"/>
                <a:gd name="T5" fmla="*/ 23996469 h 35"/>
                <a:gd name="T6" fmla="*/ 4429280 w 39"/>
                <a:gd name="T7" fmla="*/ 50657760 h 35"/>
                <a:gd name="T8" fmla="*/ 3624023 w 39"/>
                <a:gd name="T9" fmla="*/ 74654229 h 35"/>
                <a:gd name="T10" fmla="*/ 2952853 w 39"/>
                <a:gd name="T11" fmla="*/ 90651330 h 35"/>
                <a:gd name="T12" fmla="*/ 2550225 w 39"/>
                <a:gd name="T13" fmla="*/ 93317786 h 35"/>
                <a:gd name="T14" fmla="*/ 2147596 w 39"/>
                <a:gd name="T15" fmla="*/ 93317786 h 35"/>
                <a:gd name="T16" fmla="*/ 1744968 w 39"/>
                <a:gd name="T17" fmla="*/ 90651330 h 35"/>
                <a:gd name="T18" fmla="*/ 1476427 w 39"/>
                <a:gd name="T19" fmla="*/ 82653596 h 35"/>
                <a:gd name="T20" fmla="*/ 939711 w 39"/>
                <a:gd name="T21" fmla="*/ 69321317 h 35"/>
                <a:gd name="T22" fmla="*/ 671170 w 39"/>
                <a:gd name="T23" fmla="*/ 53324216 h 35"/>
                <a:gd name="T24" fmla="*/ 268541 w 39"/>
                <a:gd name="T25" fmla="*/ 293277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8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335501" y="2653980"/>
              <a:ext cx="878636" cy="373035"/>
            </a:xfrm>
            <a:custGeom>
              <a:avLst/>
              <a:gdLst>
                <a:gd name="T0" fmla="*/ 5962683 w 1688"/>
                <a:gd name="T1" fmla="*/ 59909146 h 630"/>
                <a:gd name="T2" fmla="*/ 16025384 w 1688"/>
                <a:gd name="T3" fmla="*/ 69061727 h 630"/>
                <a:gd name="T4" fmla="*/ 28882729 w 1688"/>
                <a:gd name="T5" fmla="*/ 73222231 h 630"/>
                <a:gd name="T6" fmla="*/ 35590908 w 1688"/>
                <a:gd name="T7" fmla="*/ 77937293 h 630"/>
                <a:gd name="T8" fmla="*/ 44349097 w 1688"/>
                <a:gd name="T9" fmla="*/ 91804936 h 630"/>
                <a:gd name="T10" fmla="*/ 47144172 w 1688"/>
                <a:gd name="T11" fmla="*/ 96797014 h 630"/>
                <a:gd name="T12" fmla="*/ 47330655 w 1688"/>
                <a:gd name="T13" fmla="*/ 107059239 h 630"/>
                <a:gd name="T14" fmla="*/ 50870795 w 1688"/>
                <a:gd name="T15" fmla="*/ 113161486 h 630"/>
                <a:gd name="T16" fmla="*/ 63542089 w 1688"/>
                <a:gd name="T17" fmla="*/ 115380246 h 630"/>
                <a:gd name="T18" fmla="*/ 86275653 w 1688"/>
                <a:gd name="T19" fmla="*/ 125364928 h 630"/>
                <a:gd name="T20" fmla="*/ 101742022 w 1688"/>
                <a:gd name="T21" fmla="*/ 130079990 h 630"/>
                <a:gd name="T22" fmla="*/ 107145689 w 1688"/>
                <a:gd name="T23" fmla="*/ 141451331 h 630"/>
                <a:gd name="T24" fmla="*/ 115903879 w 1688"/>
                <a:gd name="T25" fmla="*/ 150326897 h 630"/>
                <a:gd name="T26" fmla="*/ 124848118 w 1688"/>
                <a:gd name="T27" fmla="*/ 153932842 h 630"/>
                <a:gd name="T28" fmla="*/ 170874261 w 1688"/>
                <a:gd name="T29" fmla="*/ 159757020 h 630"/>
                <a:gd name="T30" fmla="*/ 193235292 w 1688"/>
                <a:gd name="T31" fmla="*/ 170296787 h 630"/>
                <a:gd name="T32" fmla="*/ 208142214 w 1688"/>
                <a:gd name="T33" fmla="*/ 174734307 h 630"/>
                <a:gd name="T34" fmla="*/ 215595891 w 1688"/>
                <a:gd name="T35" fmla="*/ 170019245 h 630"/>
                <a:gd name="T36" fmla="*/ 250441734 w 1688"/>
                <a:gd name="T37" fmla="*/ 156428618 h 630"/>
                <a:gd name="T38" fmla="*/ 259944988 w 1688"/>
                <a:gd name="T39" fmla="*/ 141451331 h 630"/>
                <a:gd name="T40" fmla="*/ 261435983 w 1688"/>
                <a:gd name="T41" fmla="*/ 133962951 h 630"/>
                <a:gd name="T42" fmla="*/ 258267943 w 1688"/>
                <a:gd name="T43" fmla="*/ 126197029 h 630"/>
                <a:gd name="T44" fmla="*/ 255286386 w 1688"/>
                <a:gd name="T45" fmla="*/ 115102703 h 630"/>
                <a:gd name="T46" fmla="*/ 279324462 w 1688"/>
                <a:gd name="T47" fmla="*/ 109278525 h 630"/>
                <a:gd name="T48" fmla="*/ 297026891 w 1688"/>
                <a:gd name="T49" fmla="*/ 95133339 h 630"/>
                <a:gd name="T50" fmla="*/ 307648176 w 1688"/>
                <a:gd name="T51" fmla="*/ 90140735 h 630"/>
                <a:gd name="T52" fmla="*/ 314542838 w 1688"/>
                <a:gd name="T53" fmla="*/ 82374812 h 630"/>
                <a:gd name="T54" fmla="*/ 308580155 w 1688"/>
                <a:gd name="T55" fmla="*/ 77382208 h 630"/>
                <a:gd name="T56" fmla="*/ 301685493 w 1688"/>
                <a:gd name="T57" fmla="*/ 69893828 h 630"/>
                <a:gd name="T58" fmla="*/ 294976882 w 1688"/>
                <a:gd name="T59" fmla="*/ 68784185 h 630"/>
                <a:gd name="T60" fmla="*/ 289386732 w 1688"/>
                <a:gd name="T61" fmla="*/ 71558030 h 630"/>
                <a:gd name="T62" fmla="*/ 278951930 w 1688"/>
                <a:gd name="T63" fmla="*/ 71002945 h 630"/>
                <a:gd name="T64" fmla="*/ 271498253 w 1688"/>
                <a:gd name="T65" fmla="*/ 65178766 h 630"/>
                <a:gd name="T66" fmla="*/ 267212183 w 1688"/>
                <a:gd name="T67" fmla="*/ 51865681 h 630"/>
                <a:gd name="T68" fmla="*/ 254727371 w 1688"/>
                <a:gd name="T69" fmla="*/ 34392092 h 630"/>
                <a:gd name="T70" fmla="*/ 239633967 w 1688"/>
                <a:gd name="T71" fmla="*/ 33282976 h 630"/>
                <a:gd name="T72" fmla="*/ 234788883 w 1688"/>
                <a:gd name="T73" fmla="*/ 40771356 h 630"/>
                <a:gd name="T74" fmla="*/ 230316763 w 1688"/>
                <a:gd name="T75" fmla="*/ 45763960 h 630"/>
                <a:gd name="T76" fmla="*/ 217645900 w 1688"/>
                <a:gd name="T77" fmla="*/ 46318518 h 630"/>
                <a:gd name="T78" fmla="*/ 194539372 w 1688"/>
                <a:gd name="T79" fmla="*/ 46318518 h 630"/>
                <a:gd name="T80" fmla="*/ 183731605 w 1688"/>
                <a:gd name="T81" fmla="*/ 38829612 h 630"/>
                <a:gd name="T82" fmla="*/ 171805808 w 1688"/>
                <a:gd name="T83" fmla="*/ 29954573 h 630"/>
                <a:gd name="T84" fmla="*/ 158761982 w 1688"/>
                <a:gd name="T85" fmla="*/ 27735813 h 630"/>
                <a:gd name="T86" fmla="*/ 149258727 w 1688"/>
                <a:gd name="T87" fmla="*/ 31618774 h 630"/>
                <a:gd name="T88" fmla="*/ 137891945 w 1688"/>
                <a:gd name="T89" fmla="*/ 32173333 h 630"/>
                <a:gd name="T90" fmla="*/ 128947705 w 1688"/>
                <a:gd name="T91" fmla="*/ 28012829 h 630"/>
                <a:gd name="T92" fmla="*/ 123357556 w 1688"/>
                <a:gd name="T93" fmla="*/ 18860248 h 630"/>
                <a:gd name="T94" fmla="*/ 83108045 w 1688"/>
                <a:gd name="T95" fmla="*/ 1941744 h 630"/>
                <a:gd name="T96" fmla="*/ 83108045 w 1688"/>
                <a:gd name="T97" fmla="*/ 12203442 h 630"/>
                <a:gd name="T98" fmla="*/ 87766216 w 1688"/>
                <a:gd name="T99" fmla="*/ 21911108 h 630"/>
                <a:gd name="T100" fmla="*/ 91306788 w 1688"/>
                <a:gd name="T101" fmla="*/ 29399488 h 630"/>
                <a:gd name="T102" fmla="*/ 57206442 w 1688"/>
                <a:gd name="T103" fmla="*/ 33837534 h 630"/>
                <a:gd name="T104" fmla="*/ 54784332 w 1688"/>
                <a:gd name="T105" fmla="*/ 24129868 h 630"/>
                <a:gd name="T106" fmla="*/ 41926555 w 1688"/>
                <a:gd name="T107" fmla="*/ 26903713 h 630"/>
                <a:gd name="T108" fmla="*/ 34472878 w 1688"/>
                <a:gd name="T109" fmla="*/ 24407410 h 630"/>
                <a:gd name="T110" fmla="*/ 25715121 w 1688"/>
                <a:gd name="T111" fmla="*/ 26903713 h 630"/>
                <a:gd name="T112" fmla="*/ 12671294 w 1688"/>
                <a:gd name="T113" fmla="*/ 39661713 h 630"/>
                <a:gd name="T114" fmla="*/ 5776632 w 1688"/>
                <a:gd name="T115" fmla="*/ 41880999 h 630"/>
                <a:gd name="T116" fmla="*/ 745497 w 1688"/>
                <a:gd name="T117" fmla="*/ 4687307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99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1905946" y="4865422"/>
              <a:ext cx="396247" cy="467634"/>
            </a:xfrm>
            <a:custGeom>
              <a:avLst/>
              <a:gdLst>
                <a:gd name="T0" fmla="*/ 4886695 w 758"/>
                <a:gd name="T1" fmla="*/ 21897013 h 795"/>
                <a:gd name="T2" fmla="*/ 9209373 w 758"/>
                <a:gd name="T3" fmla="*/ 24086504 h 795"/>
                <a:gd name="T4" fmla="*/ 13532051 w 758"/>
                <a:gd name="T5" fmla="*/ 29561019 h 795"/>
                <a:gd name="T6" fmla="*/ 16538981 w 758"/>
                <a:gd name="T7" fmla="*/ 36677784 h 795"/>
                <a:gd name="T8" fmla="*/ 17478864 w 758"/>
                <a:gd name="T9" fmla="*/ 46257661 h 795"/>
                <a:gd name="T10" fmla="*/ 15787249 w 758"/>
                <a:gd name="T11" fmla="*/ 50910790 h 795"/>
                <a:gd name="T12" fmla="*/ 15223666 w 758"/>
                <a:gd name="T13" fmla="*/ 56111160 h 795"/>
                <a:gd name="T14" fmla="*/ 16538981 w 758"/>
                <a:gd name="T15" fmla="*/ 65691038 h 795"/>
                <a:gd name="T16" fmla="*/ 17854730 w 758"/>
                <a:gd name="T17" fmla="*/ 76092302 h 795"/>
                <a:gd name="T18" fmla="*/ 15599532 w 758"/>
                <a:gd name="T19" fmla="*/ 84303551 h 795"/>
                <a:gd name="T20" fmla="*/ 15223666 w 758"/>
                <a:gd name="T21" fmla="*/ 96347064 h 795"/>
                <a:gd name="T22" fmla="*/ 17478864 w 758"/>
                <a:gd name="T23" fmla="*/ 106748328 h 795"/>
                <a:gd name="T24" fmla="*/ 18606462 w 758"/>
                <a:gd name="T25" fmla="*/ 113590949 h 795"/>
                <a:gd name="T26" fmla="*/ 14659650 w 758"/>
                <a:gd name="T27" fmla="*/ 125086697 h 795"/>
                <a:gd name="T28" fmla="*/ 21237526 w 758"/>
                <a:gd name="T29" fmla="*/ 144794218 h 795"/>
                <a:gd name="T30" fmla="*/ 25936071 w 758"/>
                <a:gd name="T31" fmla="*/ 157932739 h 795"/>
                <a:gd name="T32" fmla="*/ 27439969 w 758"/>
                <a:gd name="T33" fmla="*/ 170249874 h 795"/>
                <a:gd name="T34" fmla="*/ 28567568 w 758"/>
                <a:gd name="T35" fmla="*/ 180376994 h 795"/>
                <a:gd name="T36" fmla="*/ 35145444 w 758"/>
                <a:gd name="T37" fmla="*/ 202000385 h 795"/>
                <a:gd name="T38" fmla="*/ 40219854 w 758"/>
                <a:gd name="T39" fmla="*/ 214043899 h 795"/>
                <a:gd name="T40" fmla="*/ 43227218 w 758"/>
                <a:gd name="T41" fmla="*/ 217328399 h 795"/>
                <a:gd name="T42" fmla="*/ 47174030 w 758"/>
                <a:gd name="T43" fmla="*/ 216233391 h 795"/>
                <a:gd name="T44" fmla="*/ 54315922 w 758"/>
                <a:gd name="T45" fmla="*/ 208295763 h 795"/>
                <a:gd name="T46" fmla="*/ 60893798 w 758"/>
                <a:gd name="T47" fmla="*/ 204189877 h 795"/>
                <a:gd name="T48" fmla="*/ 66719941 w 758"/>
                <a:gd name="T49" fmla="*/ 204737643 h 795"/>
                <a:gd name="T50" fmla="*/ 72922384 w 758"/>
                <a:gd name="T51" fmla="*/ 210759399 h 795"/>
                <a:gd name="T52" fmla="*/ 78560378 w 758"/>
                <a:gd name="T53" fmla="*/ 213496134 h 795"/>
                <a:gd name="T54" fmla="*/ 82131324 w 758"/>
                <a:gd name="T55" fmla="*/ 207474377 h 795"/>
                <a:gd name="T56" fmla="*/ 89837232 w 758"/>
                <a:gd name="T57" fmla="*/ 203916256 h 795"/>
                <a:gd name="T58" fmla="*/ 98670739 w 758"/>
                <a:gd name="T59" fmla="*/ 170249874 h 795"/>
                <a:gd name="T60" fmla="*/ 101301802 w 758"/>
                <a:gd name="T61" fmla="*/ 164228117 h 795"/>
                <a:gd name="T62" fmla="*/ 108067828 w 758"/>
                <a:gd name="T63" fmla="*/ 159848610 h 795"/>
                <a:gd name="T64" fmla="*/ 124982675 w 758"/>
                <a:gd name="T65" fmla="*/ 156837731 h 795"/>
                <a:gd name="T66" fmla="*/ 129117637 w 758"/>
                <a:gd name="T67" fmla="*/ 158479981 h 795"/>
                <a:gd name="T68" fmla="*/ 132312717 w 758"/>
                <a:gd name="T69" fmla="*/ 160122231 h 795"/>
                <a:gd name="T70" fmla="*/ 139830475 w 758"/>
                <a:gd name="T71" fmla="*/ 156837731 h 795"/>
                <a:gd name="T72" fmla="*/ 142273389 w 758"/>
                <a:gd name="T73" fmla="*/ 148078717 h 795"/>
                <a:gd name="T74" fmla="*/ 141333940 w 758"/>
                <a:gd name="T75" fmla="*/ 136582969 h 795"/>
                <a:gd name="T76" fmla="*/ 136447246 w 758"/>
                <a:gd name="T77" fmla="*/ 126455326 h 795"/>
                <a:gd name="T78" fmla="*/ 133440316 w 758"/>
                <a:gd name="T79" fmla="*/ 119065463 h 795"/>
                <a:gd name="T80" fmla="*/ 126110274 w 758"/>
                <a:gd name="T81" fmla="*/ 109759207 h 795"/>
                <a:gd name="T82" fmla="*/ 118968382 w 758"/>
                <a:gd name="T83" fmla="*/ 109211441 h 795"/>
                <a:gd name="T84" fmla="*/ 113706255 w 758"/>
                <a:gd name="T85" fmla="*/ 103463829 h 795"/>
                <a:gd name="T86" fmla="*/ 110887041 w 758"/>
                <a:gd name="T87" fmla="*/ 95525678 h 795"/>
                <a:gd name="T88" fmla="*/ 109947159 w 758"/>
                <a:gd name="T89" fmla="*/ 85124937 h 795"/>
                <a:gd name="T90" fmla="*/ 109571293 w 758"/>
                <a:gd name="T91" fmla="*/ 73628665 h 795"/>
                <a:gd name="T92" fmla="*/ 105248614 w 758"/>
                <a:gd name="T93" fmla="*/ 66238803 h 795"/>
                <a:gd name="T94" fmla="*/ 94535776 w 758"/>
                <a:gd name="T95" fmla="*/ 56111160 h 795"/>
                <a:gd name="T96" fmla="*/ 82695340 w 758"/>
                <a:gd name="T97" fmla="*/ 48720774 h 795"/>
                <a:gd name="T98" fmla="*/ 73674117 w 758"/>
                <a:gd name="T99" fmla="*/ 45709896 h 795"/>
                <a:gd name="T100" fmla="*/ 67471674 w 758"/>
                <a:gd name="T101" fmla="*/ 44067646 h 795"/>
                <a:gd name="T102" fmla="*/ 62021397 w 758"/>
                <a:gd name="T103" fmla="*/ 39688662 h 795"/>
                <a:gd name="T104" fmla="*/ 57698718 w 758"/>
                <a:gd name="T105" fmla="*/ 33392761 h 795"/>
                <a:gd name="T106" fmla="*/ 54879505 w 758"/>
                <a:gd name="T107" fmla="*/ 25181512 h 795"/>
                <a:gd name="T108" fmla="*/ 52436157 w 758"/>
                <a:gd name="T109" fmla="*/ 5200370 h 795"/>
                <a:gd name="T110" fmla="*/ 49053361 w 758"/>
                <a:gd name="T111" fmla="*/ 821386 h 795"/>
                <a:gd name="T112" fmla="*/ 42663202 w 758"/>
                <a:gd name="T113" fmla="*/ 821386 h 795"/>
                <a:gd name="T114" fmla="*/ 32514380 w 758"/>
                <a:gd name="T115" fmla="*/ 8211249 h 795"/>
                <a:gd name="T116" fmla="*/ 22365125 w 758"/>
                <a:gd name="T117" fmla="*/ 18065271 h 795"/>
                <a:gd name="T118" fmla="*/ 0 w 758"/>
                <a:gd name="T119" fmla="*/ 21897013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0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164368" y="4224658"/>
              <a:ext cx="143569" cy="242741"/>
            </a:xfrm>
            <a:custGeom>
              <a:avLst/>
              <a:gdLst>
                <a:gd name="T0" fmla="*/ 42796825 w 273"/>
                <a:gd name="T1" fmla="*/ 38074539 h 414"/>
                <a:gd name="T2" fmla="*/ 40514130 w 273"/>
                <a:gd name="T3" fmla="*/ 36170551 h 414"/>
                <a:gd name="T4" fmla="*/ 38231871 w 273"/>
                <a:gd name="T5" fmla="*/ 32907019 h 414"/>
                <a:gd name="T6" fmla="*/ 36139328 w 273"/>
                <a:gd name="T7" fmla="*/ 28555643 h 414"/>
                <a:gd name="T8" fmla="*/ 34807828 w 273"/>
                <a:gd name="T9" fmla="*/ 26108255 h 414"/>
                <a:gd name="T10" fmla="*/ 33476765 w 273"/>
                <a:gd name="T11" fmla="*/ 25292111 h 414"/>
                <a:gd name="T12" fmla="*/ 31764526 w 273"/>
                <a:gd name="T13" fmla="*/ 25564333 h 414"/>
                <a:gd name="T14" fmla="*/ 30623614 w 273"/>
                <a:gd name="T15" fmla="*/ 27467799 h 414"/>
                <a:gd name="T16" fmla="*/ 29101963 w 273"/>
                <a:gd name="T17" fmla="*/ 23388645 h 414"/>
                <a:gd name="T18" fmla="*/ 27009420 w 273"/>
                <a:gd name="T19" fmla="*/ 14685893 h 414"/>
                <a:gd name="T20" fmla="*/ 25107465 w 273"/>
                <a:gd name="T21" fmla="*/ 9790596 h 414"/>
                <a:gd name="T22" fmla="*/ 23395661 w 273"/>
                <a:gd name="T23" fmla="*/ 6798764 h 414"/>
                <a:gd name="T24" fmla="*/ 21112966 w 273"/>
                <a:gd name="T25" fmla="*/ 3807454 h 414"/>
                <a:gd name="T26" fmla="*/ 18259816 w 273"/>
                <a:gd name="T27" fmla="*/ 1359544 h 414"/>
                <a:gd name="T28" fmla="*/ 15216513 w 273"/>
                <a:gd name="T29" fmla="*/ 1903466 h 414"/>
                <a:gd name="T30" fmla="*/ 13124406 w 273"/>
                <a:gd name="T31" fmla="*/ 5166998 h 414"/>
                <a:gd name="T32" fmla="*/ 11983059 w 273"/>
                <a:gd name="T33" fmla="*/ 6798764 h 414"/>
                <a:gd name="T34" fmla="*/ 10841711 w 273"/>
                <a:gd name="T35" fmla="*/ 8702752 h 414"/>
                <a:gd name="T36" fmla="*/ 10651559 w 273"/>
                <a:gd name="T37" fmla="*/ 11422362 h 414"/>
                <a:gd name="T38" fmla="*/ 11031863 w 273"/>
                <a:gd name="T39" fmla="*/ 16045438 h 414"/>
                <a:gd name="T40" fmla="*/ 9890952 w 273"/>
                <a:gd name="T41" fmla="*/ 21212957 h 414"/>
                <a:gd name="T42" fmla="*/ 6276757 w 273"/>
                <a:gd name="T43" fmla="*/ 24476489 h 414"/>
                <a:gd name="T44" fmla="*/ 3233455 w 273"/>
                <a:gd name="T45" fmla="*/ 28283943 h 414"/>
                <a:gd name="T46" fmla="*/ 761044 w 273"/>
                <a:gd name="T47" fmla="*/ 32091397 h 414"/>
                <a:gd name="T48" fmla="*/ 7608257 w 273"/>
                <a:gd name="T49" fmla="*/ 53848276 h 414"/>
                <a:gd name="T50" fmla="*/ 13885014 w 273"/>
                <a:gd name="T51" fmla="*/ 55751742 h 414"/>
                <a:gd name="T52" fmla="*/ 15977557 w 273"/>
                <a:gd name="T53" fmla="*/ 57111286 h 414"/>
                <a:gd name="T54" fmla="*/ 17689360 w 273"/>
                <a:gd name="T55" fmla="*/ 59286974 h 414"/>
                <a:gd name="T56" fmla="*/ 18830708 w 273"/>
                <a:gd name="T57" fmla="*/ 61462662 h 414"/>
                <a:gd name="T58" fmla="*/ 19591315 w 273"/>
                <a:gd name="T59" fmla="*/ 64454494 h 414"/>
                <a:gd name="T60" fmla="*/ 20162207 w 273"/>
                <a:gd name="T61" fmla="*/ 72069402 h 414"/>
                <a:gd name="T62" fmla="*/ 19591315 w 273"/>
                <a:gd name="T63" fmla="*/ 75876856 h 414"/>
                <a:gd name="T64" fmla="*/ 18259816 w 273"/>
                <a:gd name="T65" fmla="*/ 79684309 h 414"/>
                <a:gd name="T66" fmla="*/ 16928316 w 273"/>
                <a:gd name="T67" fmla="*/ 83491763 h 414"/>
                <a:gd name="T68" fmla="*/ 16357861 w 273"/>
                <a:gd name="T69" fmla="*/ 87299217 h 414"/>
                <a:gd name="T70" fmla="*/ 17309056 w 273"/>
                <a:gd name="T71" fmla="*/ 93282359 h 414"/>
                <a:gd name="T72" fmla="*/ 20352359 w 273"/>
                <a:gd name="T73" fmla="*/ 101712889 h 414"/>
                <a:gd name="T74" fmla="*/ 22254314 w 273"/>
                <a:gd name="T75" fmla="*/ 105792564 h 414"/>
                <a:gd name="T76" fmla="*/ 24537009 w 273"/>
                <a:gd name="T77" fmla="*/ 109056096 h 414"/>
                <a:gd name="T78" fmla="*/ 26819268 w 273"/>
                <a:gd name="T79" fmla="*/ 111775706 h 414"/>
                <a:gd name="T80" fmla="*/ 29101963 w 273"/>
                <a:gd name="T81" fmla="*/ 112591329 h 414"/>
                <a:gd name="T82" fmla="*/ 40894870 w 273"/>
                <a:gd name="T83" fmla="*/ 108239953 h 414"/>
                <a:gd name="T84" fmla="*/ 48503126 w 273"/>
                <a:gd name="T85" fmla="*/ 104704721 h 414"/>
                <a:gd name="T86" fmla="*/ 50785385 w 273"/>
                <a:gd name="T87" fmla="*/ 102529033 h 414"/>
                <a:gd name="T88" fmla="*/ 51926732 w 273"/>
                <a:gd name="T89" fmla="*/ 100625045 h 414"/>
                <a:gd name="T90" fmla="*/ 51165689 w 273"/>
                <a:gd name="T91" fmla="*/ 95729747 h 414"/>
                <a:gd name="T92" fmla="*/ 50024777 w 273"/>
                <a:gd name="T93" fmla="*/ 91106671 h 414"/>
                <a:gd name="T94" fmla="*/ 46030279 w 273"/>
                <a:gd name="T95" fmla="*/ 84035685 h 414"/>
                <a:gd name="T96" fmla="*/ 42225933 w 273"/>
                <a:gd name="T97" fmla="*/ 76692478 h 414"/>
                <a:gd name="T98" fmla="*/ 40894870 w 273"/>
                <a:gd name="T99" fmla="*/ 72341102 h 414"/>
                <a:gd name="T100" fmla="*/ 40323978 w 273"/>
                <a:gd name="T101" fmla="*/ 67174104 h 414"/>
                <a:gd name="T102" fmla="*/ 40894870 w 273"/>
                <a:gd name="T103" fmla="*/ 58471352 h 414"/>
                <a:gd name="T104" fmla="*/ 42225933 w 273"/>
                <a:gd name="T105" fmla="*/ 51672588 h 414"/>
                <a:gd name="T106" fmla="*/ 43747584 w 273"/>
                <a:gd name="T107" fmla="*/ 45417225 h 414"/>
                <a:gd name="T108" fmla="*/ 44128324 w 273"/>
                <a:gd name="T109" fmla="*/ 38618461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101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1819804" y="4039032"/>
              <a:ext cx="390505" cy="451569"/>
              <a:chOff x="1486" y="2412"/>
              <a:chExt cx="244" cy="256"/>
            </a:xfrm>
          </p:grpSpPr>
          <p:sp>
            <p:nvSpPr>
              <p:cNvPr id="48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2 h 22"/>
                  <a:gd name="T4" fmla="*/ 1 w 54"/>
                  <a:gd name="T5" fmla="*/ 2 h 22"/>
                  <a:gd name="T6" fmla="*/ 1 w 54"/>
                  <a:gd name="T7" fmla="*/ 2 h 22"/>
                  <a:gd name="T8" fmla="*/ 2 w 54"/>
                  <a:gd name="T9" fmla="*/ 2 h 22"/>
                  <a:gd name="T10" fmla="*/ 2 w 54"/>
                  <a:gd name="T11" fmla="*/ 2 h 22"/>
                  <a:gd name="T12" fmla="*/ 3 w 54"/>
                  <a:gd name="T13" fmla="*/ 2 h 22"/>
                  <a:gd name="T14" fmla="*/ 3 w 54"/>
                  <a:gd name="T15" fmla="*/ 2 h 22"/>
                  <a:gd name="T16" fmla="*/ 3 w 54"/>
                  <a:gd name="T17" fmla="*/ 2 h 22"/>
                  <a:gd name="T18" fmla="*/ 4 w 54"/>
                  <a:gd name="T19" fmla="*/ 2 h 22"/>
                  <a:gd name="T20" fmla="*/ 4 w 54"/>
                  <a:gd name="T21" fmla="*/ 2 h 22"/>
                  <a:gd name="T22" fmla="*/ 5 w 54"/>
                  <a:gd name="T23" fmla="*/ 1 h 22"/>
                  <a:gd name="T24" fmla="*/ 5 w 54"/>
                  <a:gd name="T25" fmla="*/ 1 h 22"/>
                  <a:gd name="T26" fmla="*/ 6 w 54"/>
                  <a:gd name="T27" fmla="*/ 1 h 22"/>
                  <a:gd name="T28" fmla="*/ 4 w 54"/>
                  <a:gd name="T29" fmla="*/ 1 h 22"/>
                  <a:gd name="T30" fmla="*/ 2 w 54"/>
                  <a:gd name="T31" fmla="*/ 0 h 22"/>
                  <a:gd name="T32" fmla="*/ 1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1 w 6"/>
                  <a:gd name="T1" fmla="*/ 3 h 24"/>
                  <a:gd name="T2" fmla="*/ 1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1 h 24"/>
                  <a:gd name="T10" fmla="*/ 0 w 6"/>
                  <a:gd name="T11" fmla="*/ 1 h 24"/>
                  <a:gd name="T12" fmla="*/ 0 w 6"/>
                  <a:gd name="T13" fmla="*/ 2 h 24"/>
                  <a:gd name="T14" fmla="*/ 0 w 6"/>
                  <a:gd name="T15" fmla="*/ 2 h 24"/>
                  <a:gd name="T16" fmla="*/ 0 w 6"/>
                  <a:gd name="T17" fmla="*/ 3 h 24"/>
                  <a:gd name="T18" fmla="*/ 1 w 6"/>
                  <a:gd name="T19" fmla="*/ 3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 h 12"/>
                  <a:gd name="T2" fmla="*/ 2 w 27"/>
                  <a:gd name="T3" fmla="*/ 1 h 12"/>
                  <a:gd name="T4" fmla="*/ 1 w 27"/>
                  <a:gd name="T5" fmla="*/ 0 h 12"/>
                  <a:gd name="T6" fmla="*/ 0 w 27"/>
                  <a:gd name="T7" fmla="*/ 1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9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1 w 743"/>
                  <a:gd name="T1" fmla="*/ 23 h 672"/>
                  <a:gd name="T2" fmla="*/ 5 w 743"/>
                  <a:gd name="T3" fmla="*/ 30 h 672"/>
                  <a:gd name="T4" fmla="*/ 13 w 743"/>
                  <a:gd name="T5" fmla="*/ 33 h 672"/>
                  <a:gd name="T6" fmla="*/ 18 w 743"/>
                  <a:gd name="T7" fmla="*/ 35 h 672"/>
                  <a:gd name="T8" fmla="*/ 21 w 743"/>
                  <a:gd name="T9" fmla="*/ 38 h 672"/>
                  <a:gd name="T10" fmla="*/ 32 w 743"/>
                  <a:gd name="T11" fmla="*/ 42 h 672"/>
                  <a:gd name="T12" fmla="*/ 31 w 743"/>
                  <a:gd name="T13" fmla="*/ 47 h 672"/>
                  <a:gd name="T14" fmla="*/ 33 w 743"/>
                  <a:gd name="T15" fmla="*/ 57 h 672"/>
                  <a:gd name="T16" fmla="*/ 33 w 743"/>
                  <a:gd name="T17" fmla="*/ 59 h 672"/>
                  <a:gd name="T18" fmla="*/ 33 w 743"/>
                  <a:gd name="T19" fmla="*/ 63 h 672"/>
                  <a:gd name="T20" fmla="*/ 35 w 743"/>
                  <a:gd name="T21" fmla="*/ 69 h 672"/>
                  <a:gd name="T22" fmla="*/ 40 w 743"/>
                  <a:gd name="T23" fmla="*/ 73 h 672"/>
                  <a:gd name="T24" fmla="*/ 45 w 743"/>
                  <a:gd name="T25" fmla="*/ 75 h 672"/>
                  <a:gd name="T26" fmla="*/ 50 w 743"/>
                  <a:gd name="T27" fmla="*/ 73 h 672"/>
                  <a:gd name="T28" fmla="*/ 55 w 743"/>
                  <a:gd name="T29" fmla="*/ 69 h 672"/>
                  <a:gd name="T30" fmla="*/ 56 w 743"/>
                  <a:gd name="T31" fmla="*/ 65 h 672"/>
                  <a:gd name="T32" fmla="*/ 52 w 743"/>
                  <a:gd name="T33" fmla="*/ 52 h 672"/>
                  <a:gd name="T34" fmla="*/ 62 w 743"/>
                  <a:gd name="T35" fmla="*/ 56 h 672"/>
                  <a:gd name="T36" fmla="*/ 65 w 743"/>
                  <a:gd name="T37" fmla="*/ 53 h 672"/>
                  <a:gd name="T38" fmla="*/ 70 w 743"/>
                  <a:gd name="T39" fmla="*/ 49 h 672"/>
                  <a:gd name="T40" fmla="*/ 72 w 743"/>
                  <a:gd name="T41" fmla="*/ 49 h 672"/>
                  <a:gd name="T42" fmla="*/ 74 w 743"/>
                  <a:gd name="T43" fmla="*/ 48 h 672"/>
                  <a:gd name="T44" fmla="*/ 72 w 743"/>
                  <a:gd name="T45" fmla="*/ 36 h 672"/>
                  <a:gd name="T46" fmla="*/ 77 w 743"/>
                  <a:gd name="T47" fmla="*/ 33 h 672"/>
                  <a:gd name="T48" fmla="*/ 77 w 743"/>
                  <a:gd name="T49" fmla="*/ 28 h 672"/>
                  <a:gd name="T50" fmla="*/ 78 w 743"/>
                  <a:gd name="T51" fmla="*/ 26 h 672"/>
                  <a:gd name="T52" fmla="*/ 78 w 743"/>
                  <a:gd name="T53" fmla="*/ 24 h 672"/>
                  <a:gd name="T54" fmla="*/ 76 w 743"/>
                  <a:gd name="T55" fmla="*/ 22 h 672"/>
                  <a:gd name="T56" fmla="*/ 74 w 743"/>
                  <a:gd name="T57" fmla="*/ 19 h 672"/>
                  <a:gd name="T58" fmla="*/ 72 w 743"/>
                  <a:gd name="T59" fmla="*/ 16 h 672"/>
                  <a:gd name="T60" fmla="*/ 69 w 743"/>
                  <a:gd name="T61" fmla="*/ 17 h 672"/>
                  <a:gd name="T62" fmla="*/ 68 w 743"/>
                  <a:gd name="T63" fmla="*/ 15 h 672"/>
                  <a:gd name="T64" fmla="*/ 65 w 743"/>
                  <a:gd name="T65" fmla="*/ 13 h 672"/>
                  <a:gd name="T66" fmla="*/ 63 w 743"/>
                  <a:gd name="T67" fmla="*/ 11 h 672"/>
                  <a:gd name="T68" fmla="*/ 58 w 743"/>
                  <a:gd name="T69" fmla="*/ 8 h 672"/>
                  <a:gd name="T70" fmla="*/ 53 w 743"/>
                  <a:gd name="T71" fmla="*/ 10 h 672"/>
                  <a:gd name="T72" fmla="*/ 51 w 743"/>
                  <a:gd name="T73" fmla="*/ 11 h 672"/>
                  <a:gd name="T74" fmla="*/ 47 w 743"/>
                  <a:gd name="T75" fmla="*/ 13 h 672"/>
                  <a:gd name="T76" fmla="*/ 45 w 743"/>
                  <a:gd name="T77" fmla="*/ 12 h 672"/>
                  <a:gd name="T78" fmla="*/ 42 w 743"/>
                  <a:gd name="T79" fmla="*/ 11 h 672"/>
                  <a:gd name="T80" fmla="*/ 39 w 743"/>
                  <a:gd name="T81" fmla="*/ 9 h 672"/>
                  <a:gd name="T82" fmla="*/ 34 w 743"/>
                  <a:gd name="T83" fmla="*/ 9 h 672"/>
                  <a:gd name="T84" fmla="*/ 32 w 743"/>
                  <a:gd name="T85" fmla="*/ 10 h 672"/>
                  <a:gd name="T86" fmla="*/ 27 w 743"/>
                  <a:gd name="T87" fmla="*/ 10 h 672"/>
                  <a:gd name="T88" fmla="*/ 25 w 743"/>
                  <a:gd name="T89" fmla="*/ 6 h 672"/>
                  <a:gd name="T90" fmla="*/ 19 w 743"/>
                  <a:gd name="T91" fmla="*/ 2 h 672"/>
                  <a:gd name="T92" fmla="*/ 16 w 743"/>
                  <a:gd name="T93" fmla="*/ 1 h 672"/>
                  <a:gd name="T94" fmla="*/ 15 w 743"/>
                  <a:gd name="T95" fmla="*/ 5 h 672"/>
                  <a:gd name="T96" fmla="*/ 13 w 743"/>
                  <a:gd name="T97" fmla="*/ 8 h 672"/>
                  <a:gd name="T98" fmla="*/ 13 w 743"/>
                  <a:gd name="T99" fmla="*/ 15 h 672"/>
                  <a:gd name="T100" fmla="*/ 11 w 743"/>
                  <a:gd name="T101" fmla="*/ 22 h 672"/>
                  <a:gd name="T102" fmla="*/ 10 w 743"/>
                  <a:gd name="T103" fmla="*/ 21 h 672"/>
                  <a:gd name="T104" fmla="*/ 8 w 743"/>
                  <a:gd name="T105" fmla="*/ 20 h 672"/>
                  <a:gd name="T106" fmla="*/ 6 w 743"/>
                  <a:gd name="T107" fmla="*/ 19 h 672"/>
                  <a:gd name="T108" fmla="*/ 6 w 743"/>
                  <a:gd name="T109" fmla="*/ 13 h 672"/>
                  <a:gd name="T110" fmla="*/ 8 w 743"/>
                  <a:gd name="T111" fmla="*/ 7 h 672"/>
                  <a:gd name="T112" fmla="*/ 11 w 743"/>
                  <a:gd name="T113" fmla="*/ 2 h 672"/>
                  <a:gd name="T114" fmla="*/ 6 w 743"/>
                  <a:gd name="T115" fmla="*/ 3 h 672"/>
                  <a:gd name="T116" fmla="*/ 2 w 743"/>
                  <a:gd name="T117" fmla="*/ 8 h 672"/>
                  <a:gd name="T118" fmla="*/ 0 w 743"/>
                  <a:gd name="T119" fmla="*/ 13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2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874551" y="5770347"/>
              <a:ext cx="38285" cy="12493"/>
            </a:xfrm>
            <a:custGeom>
              <a:avLst/>
              <a:gdLst>
                <a:gd name="T0" fmla="*/ 0 w 79"/>
                <a:gd name="T1" fmla="*/ 5368545 h 23"/>
                <a:gd name="T2" fmla="*/ 3553589 w 79"/>
                <a:gd name="T3" fmla="*/ 3034542 h 23"/>
                <a:gd name="T4" fmla="*/ 7268339 w 79"/>
                <a:gd name="T5" fmla="*/ 933891 h 23"/>
                <a:gd name="T6" fmla="*/ 9045133 w 79"/>
                <a:gd name="T7" fmla="*/ 233352 h 23"/>
                <a:gd name="T8" fmla="*/ 10498801 w 79"/>
                <a:gd name="T9" fmla="*/ 0 h 23"/>
                <a:gd name="T10" fmla="*/ 11145054 w 79"/>
                <a:gd name="T11" fmla="*/ 0 h 23"/>
                <a:gd name="T12" fmla="*/ 11952870 w 79"/>
                <a:gd name="T13" fmla="*/ 233352 h 23"/>
                <a:gd name="T14" fmla="*/ 12437158 w 79"/>
                <a:gd name="T15" fmla="*/ 466704 h 23"/>
                <a:gd name="T16" fmla="*/ 12760285 w 79"/>
                <a:gd name="T17" fmla="*/ 933891 h 23"/>
                <a:gd name="T18" fmla="*/ 12437158 w 79"/>
                <a:gd name="T19" fmla="*/ 1867299 h 23"/>
                <a:gd name="T20" fmla="*/ 12114032 w 79"/>
                <a:gd name="T21" fmla="*/ 3034542 h 23"/>
                <a:gd name="T22" fmla="*/ 11629744 w 79"/>
                <a:gd name="T23" fmla="*/ 3734598 h 23"/>
                <a:gd name="T24" fmla="*/ 10983491 w 79"/>
                <a:gd name="T25" fmla="*/ 4434654 h 23"/>
                <a:gd name="T26" fmla="*/ 10337639 w 79"/>
                <a:gd name="T27" fmla="*/ 4901841 h 23"/>
                <a:gd name="T28" fmla="*/ 9529823 w 79"/>
                <a:gd name="T29" fmla="*/ 5135193 h 23"/>
                <a:gd name="T30" fmla="*/ 8560845 w 79"/>
                <a:gd name="T31" fmla="*/ 5368545 h 23"/>
                <a:gd name="T32" fmla="*/ 7429902 w 79"/>
                <a:gd name="T33" fmla="*/ 5368545 h 23"/>
                <a:gd name="T34" fmla="*/ 5976234 w 79"/>
                <a:gd name="T35" fmla="*/ 5368545 h 23"/>
                <a:gd name="T36" fmla="*/ 5168820 w 79"/>
                <a:gd name="T37" fmla="*/ 4901841 h 23"/>
                <a:gd name="T38" fmla="*/ 4199440 w 79"/>
                <a:gd name="T39" fmla="*/ 4668489 h 23"/>
                <a:gd name="T40" fmla="*/ 3715152 w 79"/>
                <a:gd name="T41" fmla="*/ 4434654 h 23"/>
                <a:gd name="T42" fmla="*/ 3068899 w 79"/>
                <a:gd name="T43" fmla="*/ 4201302 h 23"/>
                <a:gd name="T44" fmla="*/ 2261484 w 79"/>
                <a:gd name="T45" fmla="*/ 4201302 h 23"/>
                <a:gd name="T46" fmla="*/ 1453668 w 79"/>
                <a:gd name="T47" fmla="*/ 4668489 h 23"/>
                <a:gd name="T48" fmla="*/ 0 w 79"/>
                <a:gd name="T49" fmla="*/ 5368545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3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014290" y="5920276"/>
              <a:ext cx="1915" cy="5354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3779441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4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123402" y="5918490"/>
              <a:ext cx="1914" cy="1427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5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123402" y="5918490"/>
              <a:ext cx="3828" cy="17849"/>
            </a:xfrm>
            <a:custGeom>
              <a:avLst/>
              <a:gdLst>
                <a:gd name="T0" fmla="*/ 0 w 5"/>
                <a:gd name="T1" fmla="*/ 0 h 30"/>
                <a:gd name="T2" fmla="*/ 806450 w 5"/>
                <a:gd name="T3" fmla="*/ 279929 h 30"/>
                <a:gd name="T4" fmla="*/ 1612900 w 5"/>
                <a:gd name="T5" fmla="*/ 1120246 h 30"/>
                <a:gd name="T6" fmla="*/ 2016125 w 5"/>
                <a:gd name="T7" fmla="*/ 2239963 h 30"/>
                <a:gd name="T8" fmla="*/ 2016125 w 5"/>
                <a:gd name="T9" fmla="*/ 3640137 h 30"/>
                <a:gd name="T10" fmla="*/ 2016125 w 5"/>
                <a:gd name="T11" fmla="*/ 5040313 h 30"/>
                <a:gd name="T12" fmla="*/ 1612900 w 5"/>
                <a:gd name="T13" fmla="*/ 6440488 h 30"/>
                <a:gd name="T14" fmla="*/ 806450 w 5"/>
                <a:gd name="T15" fmla="*/ 7560204 h 30"/>
                <a:gd name="T16" fmla="*/ 0 w 5"/>
                <a:gd name="T17" fmla="*/ 840052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6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483280" y="5322347"/>
              <a:ext cx="26799" cy="32127"/>
            </a:xfrm>
            <a:custGeom>
              <a:avLst/>
              <a:gdLst>
                <a:gd name="T0" fmla="*/ 0 w 53"/>
                <a:gd name="T1" fmla="*/ 3239366 h 55"/>
                <a:gd name="T2" fmla="*/ 175703 w 53"/>
                <a:gd name="T3" fmla="*/ 4588625 h 55"/>
                <a:gd name="T4" fmla="*/ 879355 w 53"/>
                <a:gd name="T5" fmla="*/ 5938405 h 55"/>
                <a:gd name="T6" fmla="*/ 1582588 w 53"/>
                <a:gd name="T7" fmla="*/ 7288184 h 55"/>
                <a:gd name="T8" fmla="*/ 2637646 w 53"/>
                <a:gd name="T9" fmla="*/ 8907607 h 55"/>
                <a:gd name="T10" fmla="*/ 4572060 w 53"/>
                <a:gd name="T11" fmla="*/ 11876809 h 55"/>
                <a:gd name="T12" fmla="*/ 5802822 w 53"/>
                <a:gd name="T13" fmla="*/ 14846011 h 55"/>
                <a:gd name="T14" fmla="*/ 9319823 w 53"/>
                <a:gd name="T15" fmla="*/ 14846011 h 55"/>
                <a:gd name="T16" fmla="*/ 7034003 w 53"/>
                <a:gd name="T17" fmla="*/ 11066838 h 55"/>
                <a:gd name="T18" fmla="*/ 4923886 w 53"/>
                <a:gd name="T19" fmla="*/ 7827991 h 55"/>
                <a:gd name="T20" fmla="*/ 4044531 w 53"/>
                <a:gd name="T21" fmla="*/ 6208568 h 55"/>
                <a:gd name="T22" fmla="*/ 3340879 w 53"/>
                <a:gd name="T23" fmla="*/ 4318981 h 55"/>
                <a:gd name="T24" fmla="*/ 2813350 w 53"/>
                <a:gd name="T25" fmla="*/ 2159231 h 55"/>
                <a:gd name="T26" fmla="*/ 2461943 w 53"/>
                <a:gd name="T27" fmla="*/ 0 h 55"/>
                <a:gd name="T28" fmla="*/ 1230762 w 53"/>
                <a:gd name="T29" fmla="*/ 1619423 h 55"/>
                <a:gd name="T30" fmla="*/ 0 w 53"/>
                <a:gd name="T31" fmla="*/ 3239366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7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490937" y="5240243"/>
              <a:ext cx="32542" cy="44622"/>
            </a:xfrm>
            <a:custGeom>
              <a:avLst/>
              <a:gdLst>
                <a:gd name="T0" fmla="*/ 0 w 65"/>
                <a:gd name="T1" fmla="*/ 8961021 h 75"/>
                <a:gd name="T2" fmla="*/ 1551545 w 65"/>
                <a:gd name="T3" fmla="*/ 12040810 h 75"/>
                <a:gd name="T4" fmla="*/ 3447693 w 65"/>
                <a:gd name="T5" fmla="*/ 15401590 h 75"/>
                <a:gd name="T6" fmla="*/ 4481918 w 65"/>
                <a:gd name="T7" fmla="*/ 17081715 h 75"/>
                <a:gd name="T8" fmla="*/ 5516143 w 65"/>
                <a:gd name="T9" fmla="*/ 18761841 h 75"/>
                <a:gd name="T10" fmla="*/ 6722669 w 65"/>
                <a:gd name="T11" fmla="*/ 19881571 h 75"/>
                <a:gd name="T12" fmla="*/ 7929196 w 65"/>
                <a:gd name="T13" fmla="*/ 21001831 h 75"/>
                <a:gd name="T14" fmla="*/ 8791119 w 65"/>
                <a:gd name="T15" fmla="*/ 17081715 h 75"/>
                <a:gd name="T16" fmla="*/ 9998061 w 65"/>
                <a:gd name="T17" fmla="*/ 13441003 h 75"/>
                <a:gd name="T18" fmla="*/ 10514966 w 65"/>
                <a:gd name="T19" fmla="*/ 11760877 h 75"/>
                <a:gd name="T20" fmla="*/ 10859984 w 65"/>
                <a:gd name="T21" fmla="*/ 10080752 h 75"/>
                <a:gd name="T22" fmla="*/ 11204587 w 65"/>
                <a:gd name="T23" fmla="*/ 8680559 h 75"/>
                <a:gd name="T24" fmla="*/ 11204587 w 65"/>
                <a:gd name="T25" fmla="*/ 7280896 h 75"/>
                <a:gd name="T26" fmla="*/ 11204587 w 65"/>
                <a:gd name="T27" fmla="*/ 5880703 h 75"/>
                <a:gd name="T28" fmla="*/ 10859984 w 65"/>
                <a:gd name="T29" fmla="*/ 5040376 h 75"/>
                <a:gd name="T30" fmla="*/ 10514966 w 65"/>
                <a:gd name="T31" fmla="*/ 3640183 h 75"/>
                <a:gd name="T32" fmla="*/ 9998061 w 65"/>
                <a:gd name="T33" fmla="*/ 2800385 h 75"/>
                <a:gd name="T34" fmla="*/ 8791119 w 65"/>
                <a:gd name="T35" fmla="*/ 1400193 h 75"/>
                <a:gd name="T36" fmla="*/ 7929196 w 65"/>
                <a:gd name="T37" fmla="*/ 0 h 75"/>
                <a:gd name="T38" fmla="*/ 5860746 w 65"/>
                <a:gd name="T39" fmla="*/ 0 h 75"/>
                <a:gd name="T40" fmla="*/ 4481918 w 65"/>
                <a:gd name="T41" fmla="*/ 0 h 75"/>
                <a:gd name="T42" fmla="*/ 4309616 w 65"/>
                <a:gd name="T43" fmla="*/ 559865 h 75"/>
                <a:gd name="T44" fmla="*/ 4136900 w 65"/>
                <a:gd name="T45" fmla="*/ 1960058 h 75"/>
                <a:gd name="T46" fmla="*/ 3964598 w 65"/>
                <a:gd name="T47" fmla="*/ 2520453 h 75"/>
                <a:gd name="T48" fmla="*/ 3964598 w 65"/>
                <a:gd name="T49" fmla="*/ 3080318 h 75"/>
                <a:gd name="T50" fmla="*/ 4136900 w 65"/>
                <a:gd name="T51" fmla="*/ 3360251 h 75"/>
                <a:gd name="T52" fmla="*/ 4481918 w 65"/>
                <a:gd name="T53" fmla="*/ 3640183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8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462223" y="5213471"/>
              <a:ext cx="21057" cy="33912"/>
            </a:xfrm>
            <a:custGeom>
              <a:avLst/>
              <a:gdLst>
                <a:gd name="T0" fmla="*/ 0 w 40"/>
                <a:gd name="T1" fmla="*/ 14673327 h 62"/>
                <a:gd name="T2" fmla="*/ 571913 w 40"/>
                <a:gd name="T3" fmla="*/ 12306582 h 62"/>
                <a:gd name="T4" fmla="*/ 1334173 w 40"/>
                <a:gd name="T5" fmla="*/ 10176756 h 62"/>
                <a:gd name="T6" fmla="*/ 2287216 w 40"/>
                <a:gd name="T7" fmla="*/ 7810012 h 62"/>
                <a:gd name="T8" fmla="*/ 3240260 w 40"/>
                <a:gd name="T9" fmla="*/ 5916617 h 62"/>
                <a:gd name="T10" fmla="*/ 4383650 w 40"/>
                <a:gd name="T11" fmla="*/ 4023222 h 62"/>
                <a:gd name="T12" fmla="*/ 5527476 w 40"/>
                <a:gd name="T13" fmla="*/ 2129826 h 62"/>
                <a:gd name="T14" fmla="*/ 6670866 w 40"/>
                <a:gd name="T15" fmla="*/ 709780 h 62"/>
                <a:gd name="T16" fmla="*/ 7623909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9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8364597" y="5076036"/>
              <a:ext cx="82312" cy="155283"/>
            </a:xfrm>
            <a:custGeom>
              <a:avLst/>
              <a:gdLst>
                <a:gd name="T0" fmla="*/ 29306293 w 159"/>
                <a:gd name="T1" fmla="*/ 73649424 h 259"/>
                <a:gd name="T2" fmla="*/ 29306293 w 159"/>
                <a:gd name="T3" fmla="*/ 71374559 h 259"/>
                <a:gd name="T4" fmla="*/ 29306293 w 159"/>
                <a:gd name="T5" fmla="*/ 69383918 h 259"/>
                <a:gd name="T6" fmla="*/ 29306293 w 159"/>
                <a:gd name="T7" fmla="*/ 67109053 h 259"/>
                <a:gd name="T8" fmla="*/ 29306293 w 159"/>
                <a:gd name="T9" fmla="*/ 64834188 h 259"/>
                <a:gd name="T10" fmla="*/ 29306293 w 159"/>
                <a:gd name="T11" fmla="*/ 63696756 h 259"/>
                <a:gd name="T12" fmla="*/ 29122115 w 159"/>
                <a:gd name="T13" fmla="*/ 62275098 h 259"/>
                <a:gd name="T14" fmla="*/ 28753328 w 159"/>
                <a:gd name="T15" fmla="*/ 61137666 h 259"/>
                <a:gd name="T16" fmla="*/ 28200363 w 159"/>
                <a:gd name="T17" fmla="*/ 59716008 h 259"/>
                <a:gd name="T18" fmla="*/ 26726076 w 159"/>
                <a:gd name="T19" fmla="*/ 57440610 h 259"/>
                <a:gd name="T20" fmla="*/ 24882572 w 159"/>
                <a:gd name="T21" fmla="*/ 55450503 h 259"/>
                <a:gd name="T22" fmla="*/ 22855320 w 159"/>
                <a:gd name="T23" fmla="*/ 53744088 h 259"/>
                <a:gd name="T24" fmla="*/ 20643459 w 159"/>
                <a:gd name="T25" fmla="*/ 52322430 h 259"/>
                <a:gd name="T26" fmla="*/ 18247420 w 159"/>
                <a:gd name="T27" fmla="*/ 51184998 h 259"/>
                <a:gd name="T28" fmla="*/ 16035560 w 159"/>
                <a:gd name="T29" fmla="*/ 50900773 h 259"/>
                <a:gd name="T30" fmla="*/ 15666773 w 159"/>
                <a:gd name="T31" fmla="*/ 50616015 h 259"/>
                <a:gd name="T32" fmla="*/ 15113808 w 159"/>
                <a:gd name="T33" fmla="*/ 50331790 h 259"/>
                <a:gd name="T34" fmla="*/ 14929629 w 159"/>
                <a:gd name="T35" fmla="*/ 49763340 h 259"/>
                <a:gd name="T36" fmla="*/ 14745451 w 159"/>
                <a:gd name="T37" fmla="*/ 49194357 h 259"/>
                <a:gd name="T38" fmla="*/ 14745451 w 159"/>
                <a:gd name="T39" fmla="*/ 47488475 h 259"/>
                <a:gd name="T40" fmla="*/ 14929629 w 159"/>
                <a:gd name="T41" fmla="*/ 45782060 h 259"/>
                <a:gd name="T42" fmla="*/ 15666773 w 159"/>
                <a:gd name="T43" fmla="*/ 42085537 h 259"/>
                <a:gd name="T44" fmla="*/ 16035560 w 159"/>
                <a:gd name="T45" fmla="*/ 40379122 h 259"/>
                <a:gd name="T46" fmla="*/ 13454912 w 159"/>
                <a:gd name="T47" fmla="*/ 40094897 h 259"/>
                <a:gd name="T48" fmla="*/ 10874695 w 159"/>
                <a:gd name="T49" fmla="*/ 39525914 h 259"/>
                <a:gd name="T50" fmla="*/ 8847013 w 159"/>
                <a:gd name="T51" fmla="*/ 38388482 h 259"/>
                <a:gd name="T52" fmla="*/ 7372725 w 159"/>
                <a:gd name="T53" fmla="*/ 36682599 h 259"/>
                <a:gd name="T54" fmla="*/ 5713830 w 159"/>
                <a:gd name="T55" fmla="*/ 34407734 h 259"/>
                <a:gd name="T56" fmla="*/ 4423721 w 159"/>
                <a:gd name="T57" fmla="*/ 32132869 h 259"/>
                <a:gd name="T58" fmla="*/ 3317791 w 159"/>
                <a:gd name="T59" fmla="*/ 29573779 h 259"/>
                <a:gd name="T60" fmla="*/ 2396039 w 159"/>
                <a:gd name="T61" fmla="*/ 26729931 h 259"/>
                <a:gd name="T62" fmla="*/ 1658895 w 159"/>
                <a:gd name="T63" fmla="*/ 23886083 h 259"/>
                <a:gd name="T64" fmla="*/ 1290109 w 159"/>
                <a:gd name="T65" fmla="*/ 20758544 h 259"/>
                <a:gd name="T66" fmla="*/ 921752 w 159"/>
                <a:gd name="T67" fmla="*/ 17061488 h 259"/>
                <a:gd name="T68" fmla="*/ 368787 w 159"/>
                <a:gd name="T69" fmla="*/ 13649191 h 259"/>
                <a:gd name="T70" fmla="*/ 0 w 159"/>
                <a:gd name="T71" fmla="*/ 7108820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0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8356940" y="5038554"/>
              <a:ext cx="7657" cy="3748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1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8356940" y="5020706"/>
              <a:ext cx="7657" cy="17849"/>
            </a:xfrm>
            <a:custGeom>
              <a:avLst/>
              <a:gdLst>
                <a:gd name="T0" fmla="*/ 0 w 13"/>
                <a:gd name="T1" fmla="*/ 10080625 h 25"/>
                <a:gd name="T2" fmla="*/ 238369 w 13"/>
                <a:gd name="T3" fmla="*/ 7661275 h 25"/>
                <a:gd name="T4" fmla="*/ 954454 w 13"/>
                <a:gd name="T5" fmla="*/ 5241925 h 25"/>
                <a:gd name="T6" fmla="*/ 1908908 w 13"/>
                <a:gd name="T7" fmla="*/ 2419350 h 25"/>
                <a:gd name="T8" fmla="*/ 3101731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2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8364597" y="5006427"/>
              <a:ext cx="0" cy="1427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3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8309083" y="4931463"/>
              <a:ext cx="55514" cy="74964"/>
            </a:xfrm>
            <a:custGeom>
              <a:avLst/>
              <a:gdLst>
                <a:gd name="T0" fmla="*/ 21194974 w 100"/>
                <a:gd name="T1" fmla="*/ 36142729 h 123"/>
                <a:gd name="T2" fmla="*/ 19075385 w 100"/>
                <a:gd name="T3" fmla="*/ 35848925 h 123"/>
                <a:gd name="T4" fmla="*/ 16108236 w 100"/>
                <a:gd name="T5" fmla="*/ 34967514 h 123"/>
                <a:gd name="T6" fmla="*/ 12717077 w 100"/>
                <a:gd name="T7" fmla="*/ 33497954 h 123"/>
                <a:gd name="T8" fmla="*/ 9113682 w 100"/>
                <a:gd name="T9" fmla="*/ 31441328 h 123"/>
                <a:gd name="T10" fmla="*/ 7206328 w 100"/>
                <a:gd name="T11" fmla="*/ 30266113 h 123"/>
                <a:gd name="T12" fmla="*/ 5722523 w 100"/>
                <a:gd name="T13" fmla="*/ 29090357 h 123"/>
                <a:gd name="T14" fmla="*/ 4239179 w 100"/>
                <a:gd name="T15" fmla="*/ 27621338 h 123"/>
                <a:gd name="T16" fmla="*/ 2755374 w 100"/>
                <a:gd name="T17" fmla="*/ 26152320 h 123"/>
                <a:gd name="T18" fmla="*/ 1695580 w 100"/>
                <a:gd name="T19" fmla="*/ 24682760 h 123"/>
                <a:gd name="T20" fmla="*/ 848020 w 100"/>
                <a:gd name="T21" fmla="*/ 23213741 h 123"/>
                <a:gd name="T22" fmla="*/ 211775 w 100"/>
                <a:gd name="T23" fmla="*/ 21450377 h 123"/>
                <a:gd name="T24" fmla="*/ 0 w 100"/>
                <a:gd name="T25" fmla="*/ 19981359 h 123"/>
                <a:gd name="T26" fmla="*/ 424010 w 100"/>
                <a:gd name="T27" fmla="*/ 16161370 h 123"/>
                <a:gd name="T28" fmla="*/ 1483805 w 100"/>
                <a:gd name="T29" fmla="*/ 10578558 h 123"/>
                <a:gd name="T30" fmla="*/ 2331364 w 100"/>
                <a:gd name="T31" fmla="*/ 4995204 h 123"/>
                <a:gd name="T32" fmla="*/ 2755374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4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326312" y="4867208"/>
              <a:ext cx="1914" cy="57116"/>
            </a:xfrm>
            <a:custGeom>
              <a:avLst/>
              <a:gdLst>
                <a:gd name="T0" fmla="*/ 503714 w 5"/>
                <a:gd name="T1" fmla="*/ 0 h 99"/>
                <a:gd name="T2" fmla="*/ 403098 w 5"/>
                <a:gd name="T3" fmla="*/ 8952089 h 99"/>
                <a:gd name="T4" fmla="*/ 100616 w 5"/>
                <a:gd name="T5" fmla="*/ 15535051 h 99"/>
                <a:gd name="T6" fmla="*/ 0 w 5"/>
                <a:gd name="T7" fmla="*/ 18167927 h 99"/>
                <a:gd name="T8" fmla="*/ 0 w 5"/>
                <a:gd name="T9" fmla="*/ 20537568 h 99"/>
                <a:gd name="T10" fmla="*/ 201549 w 5"/>
                <a:gd name="T11" fmla="*/ 22907208 h 99"/>
                <a:gd name="T12" fmla="*/ 503714 w 5"/>
                <a:gd name="T13" fmla="*/ 26067071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5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333969" y="4860068"/>
              <a:ext cx="9571" cy="41051"/>
            </a:xfrm>
            <a:custGeom>
              <a:avLst/>
              <a:gdLst>
                <a:gd name="T0" fmla="*/ 4499712 w 14"/>
                <a:gd name="T1" fmla="*/ 0 h 68"/>
                <a:gd name="T2" fmla="*/ 2571021 w 14"/>
                <a:gd name="T3" fmla="*/ 4612862 h 68"/>
                <a:gd name="T4" fmla="*/ 1285794 w 14"/>
                <a:gd name="T5" fmla="*/ 9514061 h 68"/>
                <a:gd name="T6" fmla="*/ 642897 w 14"/>
                <a:gd name="T7" fmla="*/ 14991935 h 68"/>
                <a:gd name="T8" fmla="*/ 0 w 14"/>
                <a:gd name="T9" fmla="*/ 19604796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6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8353111" y="4838650"/>
              <a:ext cx="1914" cy="24988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3472785 h 43"/>
                <a:gd name="T4" fmla="*/ 0 w 1587"/>
                <a:gd name="T5" fmla="*/ 6945571 h 43"/>
                <a:gd name="T6" fmla="*/ 0 w 1587"/>
                <a:gd name="T7" fmla="*/ 9884440 h 43"/>
                <a:gd name="T8" fmla="*/ 0 w 1587"/>
                <a:gd name="T9" fmla="*/ 11487224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7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8353111" y="4860068"/>
              <a:ext cx="1914" cy="357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8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8333969" y="4842220"/>
              <a:ext cx="1914" cy="17849"/>
            </a:xfrm>
            <a:custGeom>
              <a:avLst/>
              <a:gdLst>
                <a:gd name="T0" fmla="*/ 0 w 1587"/>
                <a:gd name="T1" fmla="*/ 8129536 h 31"/>
                <a:gd name="T2" fmla="*/ 0 w 1587"/>
                <a:gd name="T3" fmla="*/ 5769282 h 31"/>
                <a:gd name="T4" fmla="*/ 0 w 1587"/>
                <a:gd name="T5" fmla="*/ 3933415 h 31"/>
                <a:gd name="T6" fmla="*/ 0 w 1587"/>
                <a:gd name="T7" fmla="*/ 2098060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9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997062" y="5954187"/>
              <a:ext cx="116768" cy="98168"/>
            </a:xfrm>
            <a:custGeom>
              <a:avLst/>
              <a:gdLst>
                <a:gd name="T0" fmla="*/ 3519272 w 225"/>
                <a:gd name="T1" fmla="*/ 43190134 h 167"/>
                <a:gd name="T2" fmla="*/ 1296755 w 225"/>
                <a:gd name="T3" fmla="*/ 38816118 h 167"/>
                <a:gd name="T4" fmla="*/ 0 w 225"/>
                <a:gd name="T5" fmla="*/ 35535868 h 167"/>
                <a:gd name="T6" fmla="*/ 185066 w 225"/>
                <a:gd name="T7" fmla="*/ 29522251 h 167"/>
                <a:gd name="T8" fmla="*/ 2037450 w 225"/>
                <a:gd name="T9" fmla="*/ 18588258 h 167"/>
                <a:gd name="T10" fmla="*/ 4445464 w 225"/>
                <a:gd name="T11" fmla="*/ 10660551 h 167"/>
                <a:gd name="T12" fmla="*/ 6297848 w 225"/>
                <a:gd name="T13" fmla="*/ 5740176 h 167"/>
                <a:gd name="T14" fmla="*/ 8150232 w 225"/>
                <a:gd name="T15" fmla="*/ 2459926 h 167"/>
                <a:gd name="T16" fmla="*/ 10002617 w 225"/>
                <a:gd name="T17" fmla="*/ 273441 h 167"/>
                <a:gd name="T18" fmla="*/ 12040067 w 225"/>
                <a:gd name="T19" fmla="*/ 273441 h 167"/>
                <a:gd name="T20" fmla="*/ 14077517 w 225"/>
                <a:gd name="T21" fmla="*/ 819801 h 167"/>
                <a:gd name="T22" fmla="*/ 16300465 w 225"/>
                <a:gd name="T23" fmla="*/ 2187008 h 167"/>
                <a:gd name="T24" fmla="*/ 18523412 w 225"/>
                <a:gd name="T25" fmla="*/ 4646934 h 167"/>
                <a:gd name="T26" fmla="*/ 20745928 w 225"/>
                <a:gd name="T27" fmla="*/ 6560500 h 167"/>
                <a:gd name="T28" fmla="*/ 23709571 w 225"/>
                <a:gd name="T29" fmla="*/ 6560500 h 167"/>
                <a:gd name="T30" fmla="*/ 26858710 w 225"/>
                <a:gd name="T31" fmla="*/ 5193816 h 167"/>
                <a:gd name="T32" fmla="*/ 30563479 w 225"/>
                <a:gd name="T33" fmla="*/ 1913566 h 167"/>
                <a:gd name="T34" fmla="*/ 41677354 w 225"/>
                <a:gd name="T35" fmla="*/ 0 h 167"/>
                <a:gd name="T36" fmla="*/ 39824969 w 225"/>
                <a:gd name="T37" fmla="*/ 6013618 h 167"/>
                <a:gd name="T38" fmla="*/ 37231890 w 225"/>
                <a:gd name="T39" fmla="*/ 11207434 h 167"/>
                <a:gd name="T40" fmla="*/ 31119108 w 225"/>
                <a:gd name="T41" fmla="*/ 19681500 h 167"/>
                <a:gd name="T42" fmla="*/ 25561955 w 225"/>
                <a:gd name="T43" fmla="*/ 27335243 h 167"/>
                <a:gd name="T44" fmla="*/ 23895068 w 225"/>
                <a:gd name="T45" fmla="*/ 31162376 h 167"/>
                <a:gd name="T46" fmla="*/ 23339439 w 225"/>
                <a:gd name="T47" fmla="*/ 35535868 h 167"/>
                <a:gd name="T48" fmla="*/ 22783809 w 225"/>
                <a:gd name="T49" fmla="*/ 34442626 h 167"/>
                <a:gd name="T50" fmla="*/ 22227750 w 225"/>
                <a:gd name="T51" fmla="*/ 31982177 h 167"/>
                <a:gd name="T52" fmla="*/ 19634670 w 225"/>
                <a:gd name="T53" fmla="*/ 33075942 h 167"/>
                <a:gd name="T54" fmla="*/ 17967783 w 225"/>
                <a:gd name="T55" fmla="*/ 34989508 h 167"/>
                <a:gd name="T56" fmla="*/ 14818643 w 225"/>
                <a:gd name="T57" fmla="*/ 39636442 h 167"/>
                <a:gd name="T58" fmla="*/ 13151325 w 225"/>
                <a:gd name="T59" fmla="*/ 41822927 h 167"/>
                <a:gd name="T60" fmla="*/ 11113875 w 225"/>
                <a:gd name="T61" fmla="*/ 43736493 h 167"/>
                <a:gd name="T62" fmla="*/ 8520795 w 225"/>
                <a:gd name="T63" fmla="*/ 45103177 h 167"/>
                <a:gd name="T64" fmla="*/ 4816027 w 225"/>
                <a:gd name="T65" fmla="*/ 45650060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0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163601" y="5076036"/>
              <a:ext cx="3828" cy="19634"/>
            </a:xfrm>
            <a:custGeom>
              <a:avLst/>
              <a:gdLst>
                <a:gd name="T0" fmla="*/ 0 w 7"/>
                <a:gd name="T1" fmla="*/ 9837302 h 31"/>
                <a:gd name="T2" fmla="*/ 1028700 w 7"/>
                <a:gd name="T3" fmla="*/ 6981257 h 31"/>
                <a:gd name="T4" fmla="*/ 1234168 w 7"/>
                <a:gd name="T5" fmla="*/ 4125211 h 31"/>
                <a:gd name="T6" fmla="*/ 1440089 w 7"/>
                <a:gd name="T7" fmla="*/ 1904030 h 31"/>
                <a:gd name="T8" fmla="*/ 1440089 w 7"/>
                <a:gd name="T9" fmla="*/ 0 h 31"/>
                <a:gd name="T10" fmla="*/ 1234168 w 7"/>
                <a:gd name="T11" fmla="*/ 1904030 h 31"/>
                <a:gd name="T12" fmla="*/ 822779 w 7"/>
                <a:gd name="T13" fmla="*/ 4125211 h 31"/>
                <a:gd name="T14" fmla="*/ 205921 w 7"/>
                <a:gd name="T15" fmla="*/ 6981257 h 31"/>
                <a:gd name="T16" fmla="*/ 0 w 7"/>
                <a:gd name="T17" fmla="*/ 9837302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1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083203" y="4988578"/>
              <a:ext cx="19142" cy="17849"/>
            </a:xfrm>
            <a:custGeom>
              <a:avLst/>
              <a:gdLst>
                <a:gd name="T0" fmla="*/ 7636837 w 33"/>
                <a:gd name="T1" fmla="*/ 8129536 h 31"/>
                <a:gd name="T2" fmla="*/ 7636837 w 33"/>
                <a:gd name="T3" fmla="*/ 0 h 31"/>
                <a:gd name="T4" fmla="*/ 6248496 w 33"/>
                <a:gd name="T5" fmla="*/ 0 h 31"/>
                <a:gd name="T6" fmla="*/ 5091064 w 33"/>
                <a:gd name="T7" fmla="*/ 524387 h 31"/>
                <a:gd name="T8" fmla="*/ 3702723 w 33"/>
                <a:gd name="T9" fmla="*/ 1310968 h 31"/>
                <a:gd name="T10" fmla="*/ 2545773 w 33"/>
                <a:gd name="T11" fmla="*/ 2098060 h 31"/>
                <a:gd name="T12" fmla="*/ 1388341 w 33"/>
                <a:gd name="T13" fmla="*/ 3146835 h 31"/>
                <a:gd name="T14" fmla="*/ 694170 w 33"/>
                <a:gd name="T15" fmla="*/ 4196121 h 31"/>
                <a:gd name="T16" fmla="*/ 231390 w 33"/>
                <a:gd name="T17" fmla="*/ 5507089 h 31"/>
                <a:gd name="T18" fmla="*/ 0 w 33"/>
                <a:gd name="T19" fmla="*/ 6555863 h 31"/>
                <a:gd name="T20" fmla="*/ 231390 w 33"/>
                <a:gd name="T21" fmla="*/ 7080762 h 31"/>
                <a:gd name="T22" fmla="*/ 694170 w 33"/>
                <a:gd name="T23" fmla="*/ 7605149 h 31"/>
                <a:gd name="T24" fmla="*/ 1388341 w 33"/>
                <a:gd name="T25" fmla="*/ 7867343 h 31"/>
                <a:gd name="T26" fmla="*/ 2545773 w 33"/>
                <a:gd name="T27" fmla="*/ 7867343 h 31"/>
                <a:gd name="T28" fmla="*/ 5091064 w 33"/>
                <a:gd name="T29" fmla="*/ 8129536 h 31"/>
                <a:gd name="T30" fmla="*/ 7636837 w 33"/>
                <a:gd name="T31" fmla="*/ 8129536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2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102345" y="4890410"/>
              <a:ext cx="3828" cy="10709"/>
            </a:xfrm>
            <a:custGeom>
              <a:avLst/>
              <a:gdLst>
                <a:gd name="T0" fmla="*/ 0 w 13"/>
                <a:gd name="T1" fmla="*/ 4775033 h 19"/>
                <a:gd name="T2" fmla="*/ 119185 w 13"/>
                <a:gd name="T3" fmla="*/ 4523874 h 19"/>
                <a:gd name="T4" fmla="*/ 298206 w 13"/>
                <a:gd name="T5" fmla="*/ 4272213 h 19"/>
                <a:gd name="T6" fmla="*/ 417635 w 13"/>
                <a:gd name="T7" fmla="*/ 3769895 h 19"/>
                <a:gd name="T8" fmla="*/ 477227 w 13"/>
                <a:gd name="T9" fmla="*/ 3015916 h 19"/>
                <a:gd name="T10" fmla="*/ 715840 w 13"/>
                <a:gd name="T11" fmla="*/ 1507958 h 19"/>
                <a:gd name="T12" fmla="*/ 775433 w 13"/>
                <a:gd name="T13" fmla="*/ 0 h 19"/>
                <a:gd name="T14" fmla="*/ 0 w 13"/>
                <a:gd name="T15" fmla="*/ 4775033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3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909007" y="4893980"/>
              <a:ext cx="44027" cy="24988"/>
            </a:xfrm>
            <a:custGeom>
              <a:avLst/>
              <a:gdLst>
                <a:gd name="T0" fmla="*/ 9511166 w 87"/>
                <a:gd name="T1" fmla="*/ 11760729 h 42"/>
                <a:gd name="T2" fmla="*/ 10391651 w 87"/>
                <a:gd name="T3" fmla="*/ 11760729 h 42"/>
                <a:gd name="T4" fmla="*/ 11272136 w 87"/>
                <a:gd name="T5" fmla="*/ 11480800 h 42"/>
                <a:gd name="T6" fmla="*/ 11976775 w 87"/>
                <a:gd name="T7" fmla="*/ 11200871 h 42"/>
                <a:gd name="T8" fmla="*/ 12505150 w 87"/>
                <a:gd name="T9" fmla="*/ 10640483 h 42"/>
                <a:gd name="T10" fmla="*/ 13209790 w 87"/>
                <a:gd name="T11" fmla="*/ 9520767 h 42"/>
                <a:gd name="T12" fmla="*/ 13738165 w 87"/>
                <a:gd name="T13" fmla="*/ 7840662 h 42"/>
                <a:gd name="T14" fmla="*/ 13914429 w 87"/>
                <a:gd name="T15" fmla="*/ 6160558 h 42"/>
                <a:gd name="T16" fmla="*/ 14090275 w 87"/>
                <a:gd name="T17" fmla="*/ 4480454 h 42"/>
                <a:gd name="T18" fmla="*/ 14442804 w 87"/>
                <a:gd name="T19" fmla="*/ 3080279 h 42"/>
                <a:gd name="T20" fmla="*/ 15323289 w 87"/>
                <a:gd name="T21" fmla="*/ 1680104 h 42"/>
                <a:gd name="T22" fmla="*/ 13561900 w 87"/>
                <a:gd name="T23" fmla="*/ 559858 h 42"/>
                <a:gd name="T24" fmla="*/ 11800511 w 87"/>
                <a:gd name="T25" fmla="*/ 0 h 42"/>
                <a:gd name="T26" fmla="*/ 10039541 w 87"/>
                <a:gd name="T27" fmla="*/ 0 h 42"/>
                <a:gd name="T28" fmla="*/ 8278152 w 87"/>
                <a:gd name="T29" fmla="*/ 0 h 42"/>
                <a:gd name="T30" fmla="*/ 7045137 w 87"/>
                <a:gd name="T31" fmla="*/ 0 h 42"/>
                <a:gd name="T32" fmla="*/ 5636278 w 87"/>
                <a:gd name="T33" fmla="*/ 559858 h 42"/>
                <a:gd name="T34" fmla="*/ 4403263 w 87"/>
                <a:gd name="T35" fmla="*/ 1120246 h 42"/>
                <a:gd name="T36" fmla="*/ 3346514 w 87"/>
                <a:gd name="T37" fmla="*/ 1680104 h 42"/>
                <a:gd name="T38" fmla="*/ 1408860 w 87"/>
                <a:gd name="T39" fmla="*/ 3360208 h 42"/>
                <a:gd name="T40" fmla="*/ 0 w 87"/>
                <a:gd name="T41" fmla="*/ 5040313 h 42"/>
                <a:gd name="T42" fmla="*/ 1937234 w 87"/>
                <a:gd name="T43" fmla="*/ 6720417 h 42"/>
                <a:gd name="T44" fmla="*/ 4755373 w 87"/>
                <a:gd name="T45" fmla="*/ 8960379 h 42"/>
                <a:gd name="T46" fmla="*/ 7573512 w 87"/>
                <a:gd name="T47" fmla="*/ 10920942 h 42"/>
                <a:gd name="T48" fmla="*/ 9511166 w 87"/>
                <a:gd name="T49" fmla="*/ 11760729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4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203801" y="5415159"/>
              <a:ext cx="1914" cy="16064"/>
            </a:xfrm>
            <a:custGeom>
              <a:avLst/>
              <a:gdLst>
                <a:gd name="T0" fmla="*/ 0 w 7"/>
                <a:gd name="T1" fmla="*/ 0 h 31"/>
                <a:gd name="T2" fmla="*/ 359796 w 7"/>
                <a:gd name="T3" fmla="*/ 0 h 31"/>
                <a:gd name="T4" fmla="*/ 359796 w 7"/>
                <a:gd name="T5" fmla="*/ 3823653 h 31"/>
                <a:gd name="T6" fmla="*/ 0 w 7"/>
                <a:gd name="T7" fmla="*/ 6585385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5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7283050" y="4860068"/>
              <a:ext cx="1228943" cy="1020941"/>
            </a:xfrm>
            <a:custGeom>
              <a:avLst/>
              <a:gdLst>
                <a:gd name="T0" fmla="*/ 40874512 w 2332"/>
                <a:gd name="T1" fmla="*/ 194556139 h 1731"/>
                <a:gd name="T2" fmla="*/ 62076149 w 2332"/>
                <a:gd name="T3" fmla="*/ 178595232 h 1731"/>
                <a:gd name="T4" fmla="*/ 83086363 w 2332"/>
                <a:gd name="T5" fmla="*/ 166762255 h 1731"/>
                <a:gd name="T6" fmla="*/ 115557051 w 2332"/>
                <a:gd name="T7" fmla="*/ 156855539 h 1731"/>
                <a:gd name="T8" fmla="*/ 129308921 w 2332"/>
                <a:gd name="T9" fmla="*/ 120256036 h 1731"/>
                <a:gd name="T10" fmla="*/ 144780539 w 2332"/>
                <a:gd name="T11" fmla="*/ 120806322 h 1731"/>
                <a:gd name="T12" fmla="*/ 149746614 w 2332"/>
                <a:gd name="T13" fmla="*/ 99892320 h 1731"/>
                <a:gd name="T14" fmla="*/ 165408781 w 2332"/>
                <a:gd name="T15" fmla="*/ 86958771 h 1731"/>
                <a:gd name="T16" fmla="*/ 179352074 w 2332"/>
                <a:gd name="T17" fmla="*/ 67695626 h 1731"/>
                <a:gd name="T18" fmla="*/ 196160158 w 2332"/>
                <a:gd name="T19" fmla="*/ 61366554 h 1731"/>
                <a:gd name="T20" fmla="*/ 205901320 w 2332"/>
                <a:gd name="T21" fmla="*/ 78152627 h 1731"/>
                <a:gd name="T22" fmla="*/ 216788400 w 2332"/>
                <a:gd name="T23" fmla="*/ 74300103 h 1731"/>
                <a:gd name="T24" fmla="*/ 224619702 w 2332"/>
                <a:gd name="T25" fmla="*/ 47331910 h 1731"/>
                <a:gd name="T26" fmla="*/ 252124316 w 2332"/>
                <a:gd name="T27" fmla="*/ 32196694 h 1731"/>
                <a:gd name="T28" fmla="*/ 255180092 w 2332"/>
                <a:gd name="T29" fmla="*/ 11282692 h 1731"/>
                <a:gd name="T30" fmla="*/ 273516502 w 2332"/>
                <a:gd name="T31" fmla="*/ 29444741 h 1731"/>
                <a:gd name="T32" fmla="*/ 294908688 w 2332"/>
                <a:gd name="T33" fmla="*/ 32196694 h 1731"/>
                <a:gd name="T34" fmla="*/ 279819478 w 2332"/>
                <a:gd name="T35" fmla="*/ 72098436 h 1731"/>
                <a:gd name="T36" fmla="*/ 288223739 w 2332"/>
                <a:gd name="T37" fmla="*/ 91636986 h 1731"/>
                <a:gd name="T38" fmla="*/ 302167032 w 2332"/>
                <a:gd name="T39" fmla="*/ 97415772 h 1731"/>
                <a:gd name="T40" fmla="*/ 318593144 w 2332"/>
                <a:gd name="T41" fmla="*/ 116403512 h 1731"/>
                <a:gd name="T42" fmla="*/ 336929553 w 2332"/>
                <a:gd name="T43" fmla="*/ 113651559 h 1731"/>
                <a:gd name="T44" fmla="*/ 349535506 w 2332"/>
                <a:gd name="T45" fmla="*/ 56412934 h 1731"/>
                <a:gd name="T46" fmla="*/ 363669785 w 2332"/>
                <a:gd name="T47" fmla="*/ 2751953 h 1731"/>
                <a:gd name="T48" fmla="*/ 369208818 w 2332"/>
                <a:gd name="T49" fmla="*/ 22014573 h 1731"/>
                <a:gd name="T50" fmla="*/ 371310102 w 2332"/>
                <a:gd name="T51" fmla="*/ 48432481 h 1731"/>
                <a:gd name="T52" fmla="*/ 379331953 w 2332"/>
                <a:gd name="T53" fmla="*/ 66044244 h 1731"/>
                <a:gd name="T54" fmla="*/ 389646511 w 2332"/>
                <a:gd name="T55" fmla="*/ 118054369 h 1731"/>
                <a:gd name="T56" fmla="*/ 399005701 w 2332"/>
                <a:gd name="T57" fmla="*/ 148600205 h 1731"/>
                <a:gd name="T58" fmla="*/ 413139543 w 2332"/>
                <a:gd name="T59" fmla="*/ 188777352 h 1731"/>
                <a:gd name="T60" fmla="*/ 423836073 w 2332"/>
                <a:gd name="T61" fmla="*/ 211617616 h 1731"/>
                <a:gd name="T62" fmla="*/ 445419246 w 2332"/>
                <a:gd name="T63" fmla="*/ 245465167 h 1731"/>
                <a:gd name="T64" fmla="*/ 434723153 w 2332"/>
                <a:gd name="T65" fmla="*/ 304079768 h 1731"/>
                <a:gd name="T66" fmla="*/ 398623292 w 2332"/>
                <a:gd name="T67" fmla="*/ 374802752 h 1731"/>
                <a:gd name="T68" fmla="*/ 382961125 w 2332"/>
                <a:gd name="T69" fmla="*/ 394065373 h 1731"/>
                <a:gd name="T70" fmla="*/ 351063832 w 2332"/>
                <a:gd name="T71" fmla="*/ 437820163 h 1731"/>
                <a:gd name="T72" fmla="*/ 334064325 w 2332"/>
                <a:gd name="T73" fmla="*/ 461210713 h 1731"/>
                <a:gd name="T74" fmla="*/ 303503934 w 2332"/>
                <a:gd name="T75" fmla="*/ 474969952 h 1731"/>
                <a:gd name="T76" fmla="*/ 289751627 w 2332"/>
                <a:gd name="T77" fmla="*/ 465888928 h 1731"/>
                <a:gd name="T78" fmla="*/ 269314372 w 2332"/>
                <a:gd name="T79" fmla="*/ 475795643 h 1731"/>
                <a:gd name="T80" fmla="*/ 247731199 w 2332"/>
                <a:gd name="T81" fmla="*/ 465888928 h 1731"/>
                <a:gd name="T82" fmla="*/ 244293013 w 2332"/>
                <a:gd name="T83" fmla="*/ 444149235 h 1731"/>
                <a:gd name="T84" fmla="*/ 241236800 w 2332"/>
                <a:gd name="T85" fmla="*/ 417181042 h 1731"/>
                <a:gd name="T86" fmla="*/ 233978892 w 2332"/>
                <a:gd name="T87" fmla="*/ 412778232 h 1731"/>
                <a:gd name="T88" fmla="*/ 244483999 w 2332"/>
                <a:gd name="T89" fmla="*/ 380306133 h 1731"/>
                <a:gd name="T90" fmla="*/ 207811181 w 2332"/>
                <a:gd name="T91" fmla="*/ 374802752 h 1731"/>
                <a:gd name="T92" fmla="*/ 183554204 w 2332"/>
                <a:gd name="T93" fmla="*/ 352787654 h 1731"/>
                <a:gd name="T94" fmla="*/ 144016158 w 2332"/>
                <a:gd name="T95" fmla="*/ 364070346 h 1731"/>
                <a:gd name="T96" fmla="*/ 96838670 w 2332"/>
                <a:gd name="T97" fmla="*/ 390488254 h 1731"/>
                <a:gd name="T98" fmla="*/ 40874512 w 2332"/>
                <a:gd name="T99" fmla="*/ 405348064 h 1731"/>
                <a:gd name="T100" fmla="*/ 10505107 w 2332"/>
                <a:gd name="T101" fmla="*/ 410026279 h 1731"/>
                <a:gd name="T102" fmla="*/ 381972 w 2332"/>
                <a:gd name="T103" fmla="*/ 391588825 h 1731"/>
                <a:gd name="T104" fmla="*/ 18527395 w 2332"/>
                <a:gd name="T105" fmla="*/ 369849132 h 1731"/>
                <a:gd name="T106" fmla="*/ 14325265 w 2332"/>
                <a:gd name="T107" fmla="*/ 341504963 h 1731"/>
                <a:gd name="T108" fmla="*/ 21583172 w 2332"/>
                <a:gd name="T109" fmla="*/ 321966937 h 1731"/>
                <a:gd name="T110" fmla="*/ 11078065 w 2332"/>
                <a:gd name="T111" fmla="*/ 259499812 h 1731"/>
                <a:gd name="T112" fmla="*/ 21583172 w 2332"/>
                <a:gd name="T113" fmla="*/ 265278598 h 1731"/>
                <a:gd name="T114" fmla="*/ 20246270 w 2332"/>
                <a:gd name="T115" fmla="*/ 237209833 h 1731"/>
                <a:gd name="T116" fmla="*/ 28077572 w 2332"/>
                <a:gd name="T117" fmla="*/ 21051704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6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634889" y="3360785"/>
              <a:ext cx="805895" cy="653259"/>
            </a:xfrm>
            <a:custGeom>
              <a:avLst/>
              <a:gdLst>
                <a:gd name="T0" fmla="*/ 235638210 w 1535"/>
                <a:gd name="T1" fmla="*/ 253903210 h 1109"/>
                <a:gd name="T2" fmla="*/ 246254101 w 1535"/>
                <a:gd name="T3" fmla="*/ 269548971 h 1109"/>
                <a:gd name="T4" fmla="*/ 231277692 w 1535"/>
                <a:gd name="T5" fmla="*/ 274215508 h 1109"/>
                <a:gd name="T6" fmla="*/ 223126158 w 1535"/>
                <a:gd name="T7" fmla="*/ 300566485 h 1109"/>
                <a:gd name="T8" fmla="*/ 201894376 w 1535"/>
                <a:gd name="T9" fmla="*/ 276136716 h 1109"/>
                <a:gd name="T10" fmla="*/ 188434461 w 1535"/>
                <a:gd name="T11" fmla="*/ 277783914 h 1109"/>
                <a:gd name="T12" fmla="*/ 173079255 w 1535"/>
                <a:gd name="T13" fmla="*/ 285195257 h 1109"/>
                <a:gd name="T14" fmla="*/ 149003448 w 1535"/>
                <a:gd name="T15" fmla="*/ 266529632 h 1109"/>
                <a:gd name="T16" fmla="*/ 122842518 w 1535"/>
                <a:gd name="T17" fmla="*/ 251707470 h 1109"/>
                <a:gd name="T18" fmla="*/ 111468162 w 1535"/>
                <a:gd name="T19" fmla="*/ 242374919 h 1109"/>
                <a:gd name="T20" fmla="*/ 101800134 w 1535"/>
                <a:gd name="T21" fmla="*/ 229198907 h 1109"/>
                <a:gd name="T22" fmla="*/ 91942272 w 1535"/>
                <a:gd name="T23" fmla="*/ 226728634 h 1109"/>
                <a:gd name="T24" fmla="*/ 83222107 w 1535"/>
                <a:gd name="T25" fmla="*/ 207789000 h 1109"/>
                <a:gd name="T26" fmla="*/ 88530052 w 1535"/>
                <a:gd name="T27" fmla="*/ 193515380 h 1109"/>
                <a:gd name="T28" fmla="*/ 85307231 w 1535"/>
                <a:gd name="T29" fmla="*/ 164968663 h 1109"/>
                <a:gd name="T30" fmla="*/ 66729204 w 1535"/>
                <a:gd name="T31" fmla="*/ 128461536 h 1109"/>
                <a:gd name="T32" fmla="*/ 57629807 w 1535"/>
                <a:gd name="T33" fmla="*/ 116932722 h 1109"/>
                <a:gd name="T34" fmla="*/ 55544683 w 1535"/>
                <a:gd name="T35" fmla="*/ 101286960 h 1109"/>
                <a:gd name="T36" fmla="*/ 41137340 w 1535"/>
                <a:gd name="T37" fmla="*/ 68073706 h 1109"/>
                <a:gd name="T38" fmla="*/ 31658710 w 1535"/>
                <a:gd name="T39" fmla="*/ 20312299 h 1109"/>
                <a:gd name="T40" fmla="*/ 15923837 w 1535"/>
                <a:gd name="T41" fmla="*/ 28546717 h 1109"/>
                <a:gd name="T42" fmla="*/ 21421616 w 1535"/>
                <a:gd name="T43" fmla="*/ 60936896 h 1109"/>
                <a:gd name="T44" fmla="*/ 28435889 w 1535"/>
                <a:gd name="T45" fmla="*/ 89483613 h 1109"/>
                <a:gd name="T46" fmla="*/ 37156054 w 1535"/>
                <a:gd name="T47" fmla="*/ 110344978 h 1109"/>
                <a:gd name="T48" fmla="*/ 37914519 w 1535"/>
                <a:gd name="T49" fmla="*/ 127637937 h 1109"/>
                <a:gd name="T50" fmla="*/ 40378875 w 1535"/>
                <a:gd name="T51" fmla="*/ 143832765 h 1109"/>
                <a:gd name="T52" fmla="*/ 49099040 w 1535"/>
                <a:gd name="T53" fmla="*/ 156733720 h 1109"/>
                <a:gd name="T54" fmla="*/ 40568274 w 1535"/>
                <a:gd name="T55" fmla="*/ 163595998 h 1109"/>
                <a:gd name="T56" fmla="*/ 36587423 w 1535"/>
                <a:gd name="T57" fmla="*/ 148773835 h 1109"/>
                <a:gd name="T58" fmla="*/ 22748711 w 1535"/>
                <a:gd name="T59" fmla="*/ 130108210 h 1109"/>
                <a:gd name="T60" fmla="*/ 27677424 w 1535"/>
                <a:gd name="T61" fmla="*/ 115286048 h 1109"/>
                <a:gd name="T62" fmla="*/ 16871700 w 1535"/>
                <a:gd name="T63" fmla="*/ 100463361 h 1109"/>
                <a:gd name="T64" fmla="*/ 5118547 w 1535"/>
                <a:gd name="T65" fmla="*/ 84268534 h 1109"/>
                <a:gd name="T66" fmla="*/ 12322219 w 1535"/>
                <a:gd name="T67" fmla="*/ 79327464 h 1109"/>
                <a:gd name="T68" fmla="*/ 12132820 w 1535"/>
                <a:gd name="T69" fmla="*/ 61760495 h 1109"/>
                <a:gd name="T70" fmla="*/ 1137261 w 1535"/>
                <a:gd name="T71" fmla="*/ 32115122 h 1109"/>
                <a:gd name="T72" fmla="*/ 7203671 w 1535"/>
                <a:gd name="T73" fmla="*/ 1372665 h 1109"/>
                <a:gd name="T74" fmla="*/ 39999643 w 1535"/>
                <a:gd name="T75" fmla="*/ 4941070 h 1109"/>
                <a:gd name="T76" fmla="*/ 68435532 w 1535"/>
                <a:gd name="T77" fmla="*/ 20861365 h 1109"/>
                <a:gd name="T78" fmla="*/ 94407064 w 1535"/>
                <a:gd name="T79" fmla="*/ 15096696 h 1109"/>
                <a:gd name="T80" fmla="*/ 112416025 w 1535"/>
                <a:gd name="T81" fmla="*/ 14822686 h 1109"/>
                <a:gd name="T82" fmla="*/ 119998929 w 1535"/>
                <a:gd name="T83" fmla="*/ 30193915 h 1109"/>
                <a:gd name="T84" fmla="*/ 132700379 w 1535"/>
                <a:gd name="T85" fmla="*/ 59015165 h 1109"/>
                <a:gd name="T86" fmla="*/ 142179009 w 1535"/>
                <a:gd name="T87" fmla="*/ 52701954 h 1109"/>
                <a:gd name="T88" fmla="*/ 155828323 w 1535"/>
                <a:gd name="T89" fmla="*/ 48310474 h 1109"/>
                <a:gd name="T90" fmla="*/ 166633612 w 1535"/>
                <a:gd name="T91" fmla="*/ 66975574 h 1109"/>
                <a:gd name="T92" fmla="*/ 171562761 w 1535"/>
                <a:gd name="T93" fmla="*/ 99365229 h 1109"/>
                <a:gd name="T94" fmla="*/ 182747283 w 1535"/>
                <a:gd name="T95" fmla="*/ 111168577 h 1109"/>
                <a:gd name="T96" fmla="*/ 185212075 w 1535"/>
                <a:gd name="T97" fmla="*/ 125167664 h 1109"/>
                <a:gd name="T98" fmla="*/ 176491474 w 1535"/>
                <a:gd name="T99" fmla="*/ 135049281 h 1109"/>
                <a:gd name="T100" fmla="*/ 173837719 w 1535"/>
                <a:gd name="T101" fmla="*/ 174026680 h 1109"/>
                <a:gd name="T102" fmla="*/ 181230789 w 1535"/>
                <a:gd name="T103" fmla="*/ 217121550 h 1109"/>
                <a:gd name="T104" fmla="*/ 199808816 w 1535"/>
                <a:gd name="T105" fmla="*/ 240727721 h 1109"/>
                <a:gd name="T106" fmla="*/ 221041034 w 1535"/>
                <a:gd name="T107" fmla="*/ 233041845 h 1109"/>
                <a:gd name="T108" fmla="*/ 236775472 w 1535"/>
                <a:gd name="T109" fmla="*/ 233316378 h 1109"/>
                <a:gd name="T110" fmla="*/ 245685471 w 1535"/>
                <a:gd name="T111" fmla="*/ 203671529 h 1109"/>
                <a:gd name="T112" fmla="*/ 253268374 w 1535"/>
                <a:gd name="T113" fmla="*/ 190221508 h 1109"/>
                <a:gd name="T114" fmla="*/ 285495280 w 1535"/>
                <a:gd name="T115" fmla="*/ 186104036 h 1109"/>
                <a:gd name="T116" fmla="*/ 284926649 w 1535"/>
                <a:gd name="T117" fmla="*/ 200103124 h 1109"/>
                <a:gd name="T118" fmla="*/ 278291608 w 1535"/>
                <a:gd name="T119" fmla="*/ 225356493 h 1109"/>
                <a:gd name="T120" fmla="*/ 259524183 w 1535"/>
                <a:gd name="T121" fmla="*/ 243747060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7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172025" y="5204546"/>
              <a:ext cx="254595" cy="298072"/>
            </a:xfrm>
            <a:custGeom>
              <a:avLst/>
              <a:gdLst>
                <a:gd name="T0" fmla="*/ 2642266 w 486"/>
                <a:gd name="T1" fmla="*/ 48505704 h 505"/>
                <a:gd name="T2" fmla="*/ 5851042 w 486"/>
                <a:gd name="T3" fmla="*/ 54568655 h 505"/>
                <a:gd name="T4" fmla="*/ 9625460 w 486"/>
                <a:gd name="T5" fmla="*/ 63938956 h 505"/>
                <a:gd name="T6" fmla="*/ 15476502 w 486"/>
                <a:gd name="T7" fmla="*/ 73309782 h 505"/>
                <a:gd name="T8" fmla="*/ 23780829 w 486"/>
                <a:gd name="T9" fmla="*/ 80750795 h 505"/>
                <a:gd name="T10" fmla="*/ 32085591 w 486"/>
                <a:gd name="T11" fmla="*/ 85436208 h 505"/>
                <a:gd name="T12" fmla="*/ 46429507 w 486"/>
                <a:gd name="T13" fmla="*/ 90396708 h 505"/>
                <a:gd name="T14" fmla="*/ 55677873 w 486"/>
                <a:gd name="T15" fmla="*/ 94806509 h 505"/>
                <a:gd name="T16" fmla="*/ 56432930 w 486"/>
                <a:gd name="T17" fmla="*/ 105003647 h 505"/>
                <a:gd name="T18" fmla="*/ 52280549 w 486"/>
                <a:gd name="T19" fmla="*/ 115200786 h 505"/>
                <a:gd name="T20" fmla="*/ 50393340 w 486"/>
                <a:gd name="T21" fmla="*/ 122090574 h 505"/>
                <a:gd name="T22" fmla="*/ 50204359 w 486"/>
                <a:gd name="T23" fmla="*/ 127602824 h 505"/>
                <a:gd name="T24" fmla="*/ 52469096 w 486"/>
                <a:gd name="T25" fmla="*/ 132839462 h 505"/>
                <a:gd name="T26" fmla="*/ 56432930 w 486"/>
                <a:gd name="T27" fmla="*/ 136146288 h 505"/>
                <a:gd name="T28" fmla="*/ 64925804 w 486"/>
                <a:gd name="T29" fmla="*/ 138902413 h 505"/>
                <a:gd name="T30" fmla="*/ 73041584 w 486"/>
                <a:gd name="T31" fmla="*/ 138902413 h 505"/>
                <a:gd name="T32" fmla="*/ 78326550 w 486"/>
                <a:gd name="T33" fmla="*/ 136146288 h 505"/>
                <a:gd name="T34" fmla="*/ 84177158 w 486"/>
                <a:gd name="T35" fmla="*/ 130634562 h 505"/>
                <a:gd name="T36" fmla="*/ 89273143 w 486"/>
                <a:gd name="T37" fmla="*/ 123193024 h 505"/>
                <a:gd name="T38" fmla="*/ 91538315 w 486"/>
                <a:gd name="T39" fmla="*/ 115200786 h 505"/>
                <a:gd name="T40" fmla="*/ 91349334 w 486"/>
                <a:gd name="T41" fmla="*/ 109413448 h 505"/>
                <a:gd name="T42" fmla="*/ 90216748 w 486"/>
                <a:gd name="T43" fmla="*/ 98664559 h 505"/>
                <a:gd name="T44" fmla="*/ 88895615 w 486"/>
                <a:gd name="T45" fmla="*/ 87089358 h 505"/>
                <a:gd name="T46" fmla="*/ 87763463 w 486"/>
                <a:gd name="T47" fmla="*/ 74412232 h 505"/>
                <a:gd name="T48" fmla="*/ 86064801 w 486"/>
                <a:gd name="T49" fmla="*/ 69451206 h 505"/>
                <a:gd name="T50" fmla="*/ 82856025 w 486"/>
                <a:gd name="T51" fmla="*/ 65868244 h 505"/>
                <a:gd name="T52" fmla="*/ 77949022 w 486"/>
                <a:gd name="T53" fmla="*/ 63938956 h 505"/>
                <a:gd name="T54" fmla="*/ 73985623 w 486"/>
                <a:gd name="T55" fmla="*/ 61183356 h 505"/>
                <a:gd name="T56" fmla="*/ 69833242 w 486"/>
                <a:gd name="T57" fmla="*/ 57049168 h 505"/>
                <a:gd name="T58" fmla="*/ 62283538 w 486"/>
                <a:gd name="T59" fmla="*/ 51813055 h 505"/>
                <a:gd name="T60" fmla="*/ 54734268 w 486"/>
                <a:gd name="T61" fmla="*/ 47403254 h 505"/>
                <a:gd name="T62" fmla="*/ 51525492 w 486"/>
                <a:gd name="T63" fmla="*/ 44095904 h 505"/>
                <a:gd name="T64" fmla="*/ 49826830 w 486"/>
                <a:gd name="T65" fmla="*/ 41615391 h 505"/>
                <a:gd name="T66" fmla="*/ 49260754 w 486"/>
                <a:gd name="T67" fmla="*/ 34449991 h 505"/>
                <a:gd name="T68" fmla="*/ 49260754 w 486"/>
                <a:gd name="T69" fmla="*/ 24804077 h 505"/>
                <a:gd name="T70" fmla="*/ 48128169 w 486"/>
                <a:gd name="T71" fmla="*/ 19567439 h 505"/>
                <a:gd name="T72" fmla="*/ 45485902 w 486"/>
                <a:gd name="T73" fmla="*/ 15158164 h 505"/>
                <a:gd name="T74" fmla="*/ 44164769 w 486"/>
                <a:gd name="T75" fmla="*/ 10197138 h 505"/>
                <a:gd name="T76" fmla="*/ 37559104 w 486"/>
                <a:gd name="T77" fmla="*/ 3307350 h 505"/>
                <a:gd name="T78" fmla="*/ 35105385 w 486"/>
                <a:gd name="T79" fmla="*/ 2204900 h 505"/>
                <a:gd name="T80" fmla="*/ 32651666 w 486"/>
                <a:gd name="T81" fmla="*/ 551225 h 505"/>
                <a:gd name="T82" fmla="*/ 26234548 w 486"/>
                <a:gd name="T83" fmla="*/ 275613 h 505"/>
                <a:gd name="T84" fmla="*/ 13211765 w 486"/>
                <a:gd name="T85" fmla="*/ 3031738 h 505"/>
                <a:gd name="T86" fmla="*/ 7926798 w 486"/>
                <a:gd name="T87" fmla="*/ 5787863 h 505"/>
                <a:gd name="T88" fmla="*/ 4529909 w 486"/>
                <a:gd name="T89" fmla="*/ 10197138 h 505"/>
                <a:gd name="T90" fmla="*/ 3774852 w 486"/>
                <a:gd name="T91" fmla="*/ 17638152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8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376849" y="4310331"/>
              <a:ext cx="88055" cy="123155"/>
            </a:xfrm>
            <a:custGeom>
              <a:avLst/>
              <a:gdLst>
                <a:gd name="T0" fmla="*/ 1354482 w 166"/>
                <a:gd name="T1" fmla="*/ 50750915 h 208"/>
                <a:gd name="T2" fmla="*/ 15288180 w 166"/>
                <a:gd name="T3" fmla="*/ 57684396 h 208"/>
                <a:gd name="T4" fmla="*/ 16449101 w 166"/>
                <a:gd name="T5" fmla="*/ 57406867 h 208"/>
                <a:gd name="T6" fmla="*/ 17416902 w 166"/>
                <a:gd name="T7" fmla="*/ 56575334 h 208"/>
                <a:gd name="T8" fmla="*/ 18771384 w 166"/>
                <a:gd name="T9" fmla="*/ 54911214 h 208"/>
                <a:gd name="T10" fmla="*/ 20126306 w 166"/>
                <a:gd name="T11" fmla="*/ 53247094 h 208"/>
                <a:gd name="T12" fmla="*/ 22641709 w 166"/>
                <a:gd name="T13" fmla="*/ 48809793 h 208"/>
                <a:gd name="T14" fmla="*/ 25157552 w 166"/>
                <a:gd name="T15" fmla="*/ 43817960 h 208"/>
                <a:gd name="T16" fmla="*/ 29802118 w 166"/>
                <a:gd name="T17" fmla="*/ 33834294 h 208"/>
                <a:gd name="T18" fmla="*/ 32124401 w 166"/>
                <a:gd name="T19" fmla="*/ 28564932 h 208"/>
                <a:gd name="T20" fmla="*/ 27866956 w 166"/>
                <a:gd name="T21" fmla="*/ 26068753 h 208"/>
                <a:gd name="T22" fmla="*/ 24383751 w 166"/>
                <a:gd name="T23" fmla="*/ 23295571 h 208"/>
                <a:gd name="T24" fmla="*/ 20900107 w 166"/>
                <a:gd name="T25" fmla="*/ 20522389 h 208"/>
                <a:gd name="T26" fmla="*/ 17997583 w 166"/>
                <a:gd name="T27" fmla="*/ 17749207 h 208"/>
                <a:gd name="T28" fmla="*/ 16642661 w 166"/>
                <a:gd name="T29" fmla="*/ 16085087 h 208"/>
                <a:gd name="T30" fmla="*/ 15675300 w 166"/>
                <a:gd name="T31" fmla="*/ 14698496 h 208"/>
                <a:gd name="T32" fmla="*/ 14513939 w 166"/>
                <a:gd name="T33" fmla="*/ 13034376 h 208"/>
                <a:gd name="T34" fmla="*/ 13740138 w 166"/>
                <a:gd name="T35" fmla="*/ 11093254 h 208"/>
                <a:gd name="T36" fmla="*/ 12965897 w 166"/>
                <a:gd name="T37" fmla="*/ 9151606 h 208"/>
                <a:gd name="T38" fmla="*/ 12385216 w 166"/>
                <a:gd name="T39" fmla="*/ 7210484 h 208"/>
                <a:gd name="T40" fmla="*/ 11998095 w 166"/>
                <a:gd name="T41" fmla="*/ 4991833 h 208"/>
                <a:gd name="T42" fmla="*/ 11611415 w 166"/>
                <a:gd name="T43" fmla="*/ 3050711 h 208"/>
                <a:gd name="T44" fmla="*/ 9675813 w 166"/>
                <a:gd name="T45" fmla="*/ 2773182 h 208"/>
                <a:gd name="T46" fmla="*/ 8321331 w 166"/>
                <a:gd name="T47" fmla="*/ 2218651 h 208"/>
                <a:gd name="T48" fmla="*/ 7740650 w 166"/>
                <a:gd name="T49" fmla="*/ 1386591 h 208"/>
                <a:gd name="T50" fmla="*/ 7547090 w 166"/>
                <a:gd name="T51" fmla="*/ 832060 h 208"/>
                <a:gd name="T52" fmla="*/ 7353969 w 166"/>
                <a:gd name="T53" fmla="*/ 277529 h 208"/>
                <a:gd name="T54" fmla="*/ 6966849 w 166"/>
                <a:gd name="T55" fmla="*/ 0 h 208"/>
                <a:gd name="T56" fmla="*/ 6192608 w 166"/>
                <a:gd name="T57" fmla="*/ 277529 h 208"/>
                <a:gd name="T58" fmla="*/ 5225247 w 166"/>
                <a:gd name="T59" fmla="*/ 1386591 h 208"/>
                <a:gd name="T60" fmla="*/ 3870325 w 166"/>
                <a:gd name="T61" fmla="*/ 3050711 h 208"/>
                <a:gd name="T62" fmla="*/ 2128723 w 166"/>
                <a:gd name="T63" fmla="*/ 6101422 h 208"/>
                <a:gd name="T64" fmla="*/ 1354482 w 166"/>
                <a:gd name="T65" fmla="*/ 8042544 h 208"/>
                <a:gd name="T66" fmla="*/ 774241 w 166"/>
                <a:gd name="T67" fmla="*/ 10261194 h 208"/>
                <a:gd name="T68" fmla="*/ 387120 w 166"/>
                <a:gd name="T69" fmla="*/ 12479845 h 208"/>
                <a:gd name="T70" fmla="*/ 0 w 166"/>
                <a:gd name="T71" fmla="*/ 14975498 h 208"/>
                <a:gd name="T72" fmla="*/ 0 w 166"/>
                <a:gd name="T73" fmla="*/ 16639618 h 208"/>
                <a:gd name="T74" fmla="*/ 387120 w 166"/>
                <a:gd name="T75" fmla="*/ 18026209 h 208"/>
                <a:gd name="T76" fmla="*/ 580681 w 166"/>
                <a:gd name="T77" fmla="*/ 19412800 h 208"/>
                <a:gd name="T78" fmla="*/ 967801 w 166"/>
                <a:gd name="T79" fmla="*/ 21076920 h 208"/>
                <a:gd name="T80" fmla="*/ 1935163 w 166"/>
                <a:gd name="T81" fmla="*/ 23850102 h 208"/>
                <a:gd name="T82" fmla="*/ 3289644 w 166"/>
                <a:gd name="T83" fmla="*/ 27178342 h 208"/>
                <a:gd name="T84" fmla="*/ 4257445 w 166"/>
                <a:gd name="T85" fmla="*/ 30229052 h 208"/>
                <a:gd name="T86" fmla="*/ 5418367 w 166"/>
                <a:gd name="T87" fmla="*/ 33279236 h 208"/>
                <a:gd name="T88" fmla="*/ 5805488 w 166"/>
                <a:gd name="T89" fmla="*/ 34943356 h 208"/>
                <a:gd name="T90" fmla="*/ 6192608 w 166"/>
                <a:gd name="T91" fmla="*/ 36884478 h 208"/>
                <a:gd name="T92" fmla="*/ 6386168 w 166"/>
                <a:gd name="T93" fmla="*/ 38548598 h 208"/>
                <a:gd name="T94" fmla="*/ 6386168 w 166"/>
                <a:gd name="T95" fmla="*/ 40767249 h 208"/>
                <a:gd name="T96" fmla="*/ 6192608 w 166"/>
                <a:gd name="T97" fmla="*/ 42431369 h 208"/>
                <a:gd name="T98" fmla="*/ 5999048 w 166"/>
                <a:gd name="T99" fmla="*/ 44095489 h 208"/>
                <a:gd name="T100" fmla="*/ 5418367 w 166"/>
                <a:gd name="T101" fmla="*/ 45759082 h 208"/>
                <a:gd name="T102" fmla="*/ 4838126 w 166"/>
                <a:gd name="T103" fmla="*/ 46868670 h 208"/>
                <a:gd name="T104" fmla="*/ 4063885 w 166"/>
                <a:gd name="T105" fmla="*/ 48255261 h 208"/>
                <a:gd name="T106" fmla="*/ 3289644 w 166"/>
                <a:gd name="T107" fmla="*/ 49087321 h 208"/>
                <a:gd name="T108" fmla="*/ 2128723 w 166"/>
                <a:gd name="T109" fmla="*/ 49919381 h 208"/>
                <a:gd name="T110" fmla="*/ 1354482 w 166"/>
                <a:gd name="T111" fmla="*/ 50750915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9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1791091" y="3814140"/>
              <a:ext cx="84227" cy="66039"/>
            </a:xfrm>
            <a:custGeom>
              <a:avLst/>
              <a:gdLst>
                <a:gd name="T0" fmla="*/ 27754727 w 164"/>
                <a:gd name="T1" fmla="*/ 33173415 h 104"/>
                <a:gd name="T2" fmla="*/ 24308226 w 164"/>
                <a:gd name="T3" fmla="*/ 32535215 h 104"/>
                <a:gd name="T4" fmla="*/ 19954527 w 164"/>
                <a:gd name="T5" fmla="*/ 30940844 h 104"/>
                <a:gd name="T6" fmla="*/ 17414798 w 164"/>
                <a:gd name="T7" fmla="*/ 29983544 h 104"/>
                <a:gd name="T8" fmla="*/ 14512189 w 164"/>
                <a:gd name="T9" fmla="*/ 29664444 h 104"/>
                <a:gd name="T10" fmla="*/ 13242538 w 164"/>
                <a:gd name="T11" fmla="*/ 29664444 h 104"/>
                <a:gd name="T12" fmla="*/ 11610007 w 164"/>
                <a:gd name="T13" fmla="*/ 29983544 h 104"/>
                <a:gd name="T14" fmla="*/ 9977050 w 164"/>
                <a:gd name="T15" fmla="*/ 30621744 h 104"/>
                <a:gd name="T16" fmla="*/ 8525959 w 164"/>
                <a:gd name="T17" fmla="*/ 31259380 h 104"/>
                <a:gd name="T18" fmla="*/ 7437747 w 164"/>
                <a:gd name="T19" fmla="*/ 31897580 h 104"/>
                <a:gd name="T20" fmla="*/ 6167670 w 164"/>
                <a:gd name="T21" fmla="*/ 31897580 h 104"/>
                <a:gd name="T22" fmla="*/ 4898018 w 164"/>
                <a:gd name="T23" fmla="*/ 31578480 h 104"/>
                <a:gd name="T24" fmla="*/ 3446501 w 164"/>
                <a:gd name="T25" fmla="*/ 30621744 h 104"/>
                <a:gd name="T26" fmla="*/ 1995410 w 164"/>
                <a:gd name="T27" fmla="*/ 29345909 h 104"/>
                <a:gd name="T28" fmla="*/ 1088212 w 164"/>
                <a:gd name="T29" fmla="*/ 28070073 h 104"/>
                <a:gd name="T30" fmla="*/ 544319 w 164"/>
                <a:gd name="T31" fmla="*/ 27431873 h 104"/>
                <a:gd name="T32" fmla="*/ 181440 w 164"/>
                <a:gd name="T33" fmla="*/ 26793673 h 104"/>
                <a:gd name="T34" fmla="*/ 0 w 164"/>
                <a:gd name="T35" fmla="*/ 25836938 h 104"/>
                <a:gd name="T36" fmla="*/ 0 w 164"/>
                <a:gd name="T37" fmla="*/ 25199303 h 104"/>
                <a:gd name="T38" fmla="*/ 0 w 164"/>
                <a:gd name="T39" fmla="*/ 24242002 h 104"/>
                <a:gd name="T40" fmla="*/ 181440 w 164"/>
                <a:gd name="T41" fmla="*/ 23604367 h 104"/>
                <a:gd name="T42" fmla="*/ 544319 w 164"/>
                <a:gd name="T43" fmla="*/ 22647067 h 104"/>
                <a:gd name="T44" fmla="*/ 1088212 w 164"/>
                <a:gd name="T45" fmla="*/ 22328532 h 104"/>
                <a:gd name="T46" fmla="*/ 2176850 w 164"/>
                <a:gd name="T47" fmla="*/ 21371232 h 104"/>
                <a:gd name="T48" fmla="*/ 3627941 w 164"/>
                <a:gd name="T49" fmla="*/ 21052131 h 104"/>
                <a:gd name="T50" fmla="*/ 7256308 w 164"/>
                <a:gd name="T51" fmla="*/ 21052131 h 104"/>
                <a:gd name="T52" fmla="*/ 11065688 w 164"/>
                <a:gd name="T53" fmla="*/ 21371232 h 104"/>
                <a:gd name="T54" fmla="*/ 12698219 w 164"/>
                <a:gd name="T55" fmla="*/ 21371232 h 104"/>
                <a:gd name="T56" fmla="*/ 14330750 w 164"/>
                <a:gd name="T57" fmla="*/ 21371232 h 104"/>
                <a:gd name="T58" fmla="*/ 15782267 w 164"/>
                <a:gd name="T59" fmla="*/ 21371232 h 104"/>
                <a:gd name="T60" fmla="*/ 17051918 w 164"/>
                <a:gd name="T61" fmla="*/ 21371232 h 104"/>
                <a:gd name="T62" fmla="*/ 17051918 w 164"/>
                <a:gd name="T63" fmla="*/ 17862825 h 104"/>
                <a:gd name="T64" fmla="*/ 17051918 w 164"/>
                <a:gd name="T65" fmla="*/ 13715654 h 104"/>
                <a:gd name="T66" fmla="*/ 17051918 w 164"/>
                <a:gd name="T67" fmla="*/ 9250513 h 104"/>
                <a:gd name="T68" fmla="*/ 17051918 w 164"/>
                <a:gd name="T69" fmla="*/ 5741542 h 104"/>
                <a:gd name="T70" fmla="*/ 14330750 w 164"/>
                <a:gd name="T71" fmla="*/ 5422442 h 104"/>
                <a:gd name="T72" fmla="*/ 12153900 w 164"/>
                <a:gd name="T73" fmla="*/ 4784806 h 104"/>
                <a:gd name="T74" fmla="*/ 11247128 w 164"/>
                <a:gd name="T75" fmla="*/ 4146606 h 104"/>
                <a:gd name="T76" fmla="*/ 10339930 w 164"/>
                <a:gd name="T77" fmla="*/ 3189871 h 104"/>
                <a:gd name="T78" fmla="*/ 9433157 w 164"/>
                <a:gd name="T79" fmla="*/ 1914036 h 104"/>
                <a:gd name="T80" fmla="*/ 8525959 w 164"/>
                <a:gd name="T81" fmla="*/ 0 h 104"/>
                <a:gd name="T82" fmla="*/ 26485076 w 164"/>
                <a:gd name="T83" fmla="*/ 0 h 104"/>
                <a:gd name="T84" fmla="*/ 26666089 w 164"/>
                <a:gd name="T85" fmla="*/ 1914036 h 104"/>
                <a:gd name="T86" fmla="*/ 26847529 w 164"/>
                <a:gd name="T87" fmla="*/ 4146606 h 104"/>
                <a:gd name="T88" fmla="*/ 27210408 w 164"/>
                <a:gd name="T89" fmla="*/ 6060642 h 104"/>
                <a:gd name="T90" fmla="*/ 27573288 w 164"/>
                <a:gd name="T91" fmla="*/ 7974113 h 104"/>
                <a:gd name="T92" fmla="*/ 28299046 w 164"/>
                <a:gd name="T93" fmla="*/ 11163983 h 104"/>
                <a:gd name="T94" fmla="*/ 28842939 w 164"/>
                <a:gd name="T95" fmla="*/ 14672954 h 104"/>
                <a:gd name="T96" fmla="*/ 29568698 w 164"/>
                <a:gd name="T97" fmla="*/ 17224625 h 104"/>
                <a:gd name="T98" fmla="*/ 29750137 w 164"/>
                <a:gd name="T99" fmla="*/ 19776296 h 104"/>
                <a:gd name="T100" fmla="*/ 29568698 w 164"/>
                <a:gd name="T101" fmla="*/ 20733596 h 104"/>
                <a:gd name="T102" fmla="*/ 29024379 w 164"/>
                <a:gd name="T103" fmla="*/ 21690332 h 104"/>
                <a:gd name="T104" fmla="*/ 28480486 w 164"/>
                <a:gd name="T105" fmla="*/ 22647067 h 104"/>
                <a:gd name="T106" fmla="*/ 27754727 w 164"/>
                <a:gd name="T107" fmla="*/ 23285267 h 104"/>
                <a:gd name="T108" fmla="*/ 27754727 w 164"/>
                <a:gd name="T109" fmla="*/ 33173415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0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233280" y="6461088"/>
              <a:ext cx="28714" cy="64255"/>
            </a:xfrm>
            <a:custGeom>
              <a:avLst/>
              <a:gdLst>
                <a:gd name="T0" fmla="*/ 0 w 53"/>
                <a:gd name="T1" fmla="*/ 72378971 h 19"/>
                <a:gd name="T2" fmla="*/ 1413054 w 53"/>
                <a:gd name="T3" fmla="*/ 117617708 h 19"/>
                <a:gd name="T4" fmla="*/ 2826109 w 53"/>
                <a:gd name="T5" fmla="*/ 153805689 h 19"/>
                <a:gd name="T6" fmla="*/ 4441349 w 53"/>
                <a:gd name="T7" fmla="*/ 171901184 h 19"/>
                <a:gd name="T8" fmla="*/ 5854404 w 53"/>
                <a:gd name="T9" fmla="*/ 171901184 h 19"/>
                <a:gd name="T10" fmla="*/ 7065721 w 53"/>
                <a:gd name="T11" fmla="*/ 162853437 h 19"/>
                <a:gd name="T12" fmla="*/ 8478776 w 53"/>
                <a:gd name="T13" fmla="*/ 135710195 h 19"/>
                <a:gd name="T14" fmla="*/ 9487908 w 53"/>
                <a:gd name="T15" fmla="*/ 108569961 h 19"/>
                <a:gd name="T16" fmla="*/ 10699226 w 53"/>
                <a:gd name="T17" fmla="*/ 72378971 h 19"/>
                <a:gd name="T18" fmla="*/ 9487908 w 53"/>
                <a:gd name="T19" fmla="*/ 45235729 h 19"/>
                <a:gd name="T20" fmla="*/ 8478776 w 53"/>
                <a:gd name="T21" fmla="*/ 18095495 h 19"/>
                <a:gd name="T22" fmla="*/ 7065721 w 53"/>
                <a:gd name="T23" fmla="*/ 9047747 h 19"/>
                <a:gd name="T24" fmla="*/ 5854404 w 53"/>
                <a:gd name="T25" fmla="*/ 0 h 19"/>
                <a:gd name="T26" fmla="*/ 4441349 w 53"/>
                <a:gd name="T27" fmla="*/ 0 h 19"/>
                <a:gd name="T28" fmla="*/ 2826109 w 53"/>
                <a:gd name="T29" fmla="*/ 9047747 h 19"/>
                <a:gd name="T30" fmla="*/ 1413054 w 53"/>
                <a:gd name="T31" fmla="*/ 27143242 h 19"/>
                <a:gd name="T32" fmla="*/ 0 w 53"/>
                <a:gd name="T33" fmla="*/ 72378971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1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191167" y="6437885"/>
              <a:ext cx="42113" cy="66039"/>
            </a:xfrm>
            <a:custGeom>
              <a:avLst/>
              <a:gdLst>
                <a:gd name="T0" fmla="*/ 0 w 80"/>
                <a:gd name="T1" fmla="*/ 0 h 18"/>
                <a:gd name="T2" fmla="*/ 190778 w 80"/>
                <a:gd name="T3" fmla="*/ 63889540 h 18"/>
                <a:gd name="T4" fmla="*/ 953016 w 80"/>
                <a:gd name="T5" fmla="*/ 127779080 h 18"/>
                <a:gd name="T6" fmla="*/ 1524913 w 80"/>
                <a:gd name="T7" fmla="*/ 149074506 h 18"/>
                <a:gd name="T8" fmla="*/ 2096373 w 80"/>
                <a:gd name="T9" fmla="*/ 170373195 h 18"/>
                <a:gd name="T10" fmla="*/ 2858611 w 80"/>
                <a:gd name="T11" fmla="*/ 191668621 h 18"/>
                <a:gd name="T12" fmla="*/ 3811627 w 80"/>
                <a:gd name="T13" fmla="*/ 191668621 h 18"/>
                <a:gd name="T14" fmla="*/ 4192746 w 80"/>
                <a:gd name="T15" fmla="*/ 159725482 h 18"/>
                <a:gd name="T16" fmla="*/ 4574302 w 80"/>
                <a:gd name="T17" fmla="*/ 138426793 h 18"/>
                <a:gd name="T18" fmla="*/ 4955421 w 80"/>
                <a:gd name="T19" fmla="*/ 117131368 h 18"/>
                <a:gd name="T20" fmla="*/ 5908000 w 80"/>
                <a:gd name="T21" fmla="*/ 106483655 h 18"/>
                <a:gd name="T22" fmla="*/ 7242135 w 80"/>
                <a:gd name="T23" fmla="*/ 85184966 h 18"/>
                <a:gd name="T24" fmla="*/ 8957389 w 80"/>
                <a:gd name="T25" fmla="*/ 74537253 h 18"/>
                <a:gd name="T26" fmla="*/ 10863421 w 80"/>
                <a:gd name="T27" fmla="*/ 74537253 h 18"/>
                <a:gd name="T28" fmla="*/ 12578675 w 80"/>
                <a:gd name="T29" fmla="*/ 63889540 h 18"/>
                <a:gd name="T30" fmla="*/ 13340913 w 80"/>
                <a:gd name="T31" fmla="*/ 53241827 h 18"/>
                <a:gd name="T32" fmla="*/ 14103588 w 80"/>
                <a:gd name="T33" fmla="*/ 42594115 h 18"/>
                <a:gd name="T34" fmla="*/ 14675048 w 80"/>
                <a:gd name="T35" fmla="*/ 21295426 h 18"/>
                <a:gd name="T36" fmla="*/ 1524694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2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191167" y="6414682"/>
              <a:ext cx="26799" cy="67825"/>
            </a:xfrm>
            <a:custGeom>
              <a:avLst/>
              <a:gdLst>
                <a:gd name="T0" fmla="*/ 4668699 w 46"/>
                <a:gd name="T1" fmla="*/ 0 h 27"/>
                <a:gd name="T2" fmla="*/ 0 w 46"/>
                <a:gd name="T3" fmla="*/ 89855205 h 27"/>
                <a:gd name="T4" fmla="*/ 2100746 w 46"/>
                <a:gd name="T5" fmla="*/ 109822780 h 27"/>
                <a:gd name="T6" fmla="*/ 3734766 w 46"/>
                <a:gd name="T7" fmla="*/ 124796785 h 27"/>
                <a:gd name="T8" fmla="*/ 5369270 w 46"/>
                <a:gd name="T9" fmla="*/ 134781690 h 27"/>
                <a:gd name="T10" fmla="*/ 6769445 w 46"/>
                <a:gd name="T11" fmla="*/ 134781690 h 27"/>
                <a:gd name="T12" fmla="*/ 7703378 w 46"/>
                <a:gd name="T13" fmla="*/ 134781690 h 27"/>
                <a:gd name="T14" fmla="*/ 8637311 w 46"/>
                <a:gd name="T15" fmla="*/ 124796785 h 27"/>
                <a:gd name="T16" fmla="*/ 9804124 w 46"/>
                <a:gd name="T17" fmla="*/ 109822780 h 27"/>
                <a:gd name="T18" fmla="*/ 10738057 w 46"/>
                <a:gd name="T19" fmla="*/ 89855205 h 27"/>
                <a:gd name="T20" fmla="*/ 9570761 w 46"/>
                <a:gd name="T21" fmla="*/ 79870300 h 27"/>
                <a:gd name="T22" fmla="*/ 7703378 w 46"/>
                <a:gd name="T23" fmla="*/ 54911390 h 27"/>
                <a:gd name="T24" fmla="*/ 6069358 w 46"/>
                <a:gd name="T25" fmla="*/ 24958910 h 27"/>
                <a:gd name="T26" fmla="*/ 4668699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3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154797" y="6407542"/>
              <a:ext cx="30628" cy="67825"/>
            </a:xfrm>
            <a:custGeom>
              <a:avLst/>
              <a:gdLst>
                <a:gd name="T0" fmla="*/ 7522633 w 54"/>
                <a:gd name="T1" fmla="*/ 0 h 39"/>
                <a:gd name="T2" fmla="*/ 4424774 w 54"/>
                <a:gd name="T3" fmla="*/ 9570020 h 39"/>
                <a:gd name="T4" fmla="*/ 2212622 w 54"/>
                <a:gd name="T5" fmla="*/ 23925823 h 39"/>
                <a:gd name="T6" fmla="*/ 1327385 w 54"/>
                <a:gd name="T7" fmla="*/ 31102951 h 39"/>
                <a:gd name="T8" fmla="*/ 884767 w 54"/>
                <a:gd name="T9" fmla="*/ 38281626 h 39"/>
                <a:gd name="T10" fmla="*/ 442619 w 54"/>
                <a:gd name="T11" fmla="*/ 47851646 h 39"/>
                <a:gd name="T12" fmla="*/ 0 w 54"/>
                <a:gd name="T13" fmla="*/ 57421666 h 39"/>
                <a:gd name="T14" fmla="*/ 442619 w 54"/>
                <a:gd name="T15" fmla="*/ 66991686 h 39"/>
                <a:gd name="T16" fmla="*/ 663693 w 54"/>
                <a:gd name="T17" fmla="*/ 76561706 h 39"/>
                <a:gd name="T18" fmla="*/ 1106311 w 54"/>
                <a:gd name="T19" fmla="*/ 83740381 h 39"/>
                <a:gd name="T20" fmla="*/ 1770004 w 54"/>
                <a:gd name="T21" fmla="*/ 88524617 h 39"/>
                <a:gd name="T22" fmla="*/ 2433696 w 54"/>
                <a:gd name="T23" fmla="*/ 90917509 h 39"/>
                <a:gd name="T24" fmla="*/ 3540007 w 54"/>
                <a:gd name="T25" fmla="*/ 93310401 h 39"/>
                <a:gd name="T26" fmla="*/ 4424774 w 54"/>
                <a:gd name="T27" fmla="*/ 93310401 h 39"/>
                <a:gd name="T28" fmla="*/ 5531085 w 54"/>
                <a:gd name="T29" fmla="*/ 93310401 h 39"/>
                <a:gd name="T30" fmla="*/ 6637396 w 54"/>
                <a:gd name="T31" fmla="*/ 90917509 h 39"/>
                <a:gd name="T32" fmla="*/ 7522633 w 54"/>
                <a:gd name="T33" fmla="*/ 88524617 h 39"/>
                <a:gd name="T34" fmla="*/ 8628474 w 54"/>
                <a:gd name="T35" fmla="*/ 83740381 h 39"/>
                <a:gd name="T36" fmla="*/ 9513711 w 54"/>
                <a:gd name="T37" fmla="*/ 78954597 h 39"/>
                <a:gd name="T38" fmla="*/ 10398478 w 54"/>
                <a:gd name="T39" fmla="*/ 71777469 h 39"/>
                <a:gd name="T40" fmla="*/ 11062641 w 54"/>
                <a:gd name="T41" fmla="*/ 62207449 h 39"/>
                <a:gd name="T42" fmla="*/ 11504789 w 54"/>
                <a:gd name="T43" fmla="*/ 52635883 h 39"/>
                <a:gd name="T44" fmla="*/ 11947407 w 54"/>
                <a:gd name="T45" fmla="*/ 43065863 h 39"/>
                <a:gd name="T46" fmla="*/ 11283715 w 54"/>
                <a:gd name="T47" fmla="*/ 40674518 h 39"/>
                <a:gd name="T48" fmla="*/ 10620022 w 54"/>
                <a:gd name="T49" fmla="*/ 38281626 h 39"/>
                <a:gd name="T50" fmla="*/ 9734785 w 54"/>
                <a:gd name="T51" fmla="*/ 33495843 h 39"/>
                <a:gd name="T52" fmla="*/ 9292637 w 54"/>
                <a:gd name="T53" fmla="*/ 26318715 h 39"/>
                <a:gd name="T54" fmla="*/ 8628474 w 54"/>
                <a:gd name="T55" fmla="*/ 19140040 h 39"/>
                <a:gd name="T56" fmla="*/ 8186326 w 54"/>
                <a:gd name="T57" fmla="*/ 11962912 h 39"/>
                <a:gd name="T58" fmla="*/ 7522633 w 54"/>
                <a:gd name="T59" fmla="*/ 4785783 h 39"/>
                <a:gd name="T60" fmla="*/ 752263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4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124169" y="6396833"/>
              <a:ext cx="34456" cy="66040"/>
            </a:xfrm>
            <a:custGeom>
              <a:avLst/>
              <a:gdLst>
                <a:gd name="T0" fmla="*/ 0 w 60"/>
                <a:gd name="T1" fmla="*/ 168675957 h 15"/>
                <a:gd name="T2" fmla="*/ 2268379 w 60"/>
                <a:gd name="T3" fmla="*/ 199341109 h 15"/>
                <a:gd name="T4" fmla="*/ 4082891 w 60"/>
                <a:gd name="T5" fmla="*/ 214675642 h 15"/>
                <a:gd name="T6" fmla="*/ 6124099 w 60"/>
                <a:gd name="T7" fmla="*/ 230010176 h 15"/>
                <a:gd name="T8" fmla="*/ 7938611 w 60"/>
                <a:gd name="T9" fmla="*/ 230010176 h 15"/>
                <a:gd name="T10" fmla="*/ 9299258 w 60"/>
                <a:gd name="T11" fmla="*/ 214675642 h 15"/>
                <a:gd name="T12" fmla="*/ 10887075 w 60"/>
                <a:gd name="T13" fmla="*/ 184006575 h 15"/>
                <a:gd name="T14" fmla="*/ 12474893 w 60"/>
                <a:gd name="T15" fmla="*/ 138006889 h 15"/>
                <a:gd name="T16" fmla="*/ 13608844 w 60"/>
                <a:gd name="T17" fmla="*/ 76668753 h 15"/>
                <a:gd name="T18" fmla="*/ 12928283 w 60"/>
                <a:gd name="T19" fmla="*/ 46003602 h 15"/>
                <a:gd name="T20" fmla="*/ 12248198 w 60"/>
                <a:gd name="T21" fmla="*/ 0 h 15"/>
                <a:gd name="T22" fmla="*/ 11567636 w 60"/>
                <a:gd name="T23" fmla="*/ 0 h 15"/>
                <a:gd name="T24" fmla="*/ 10660380 w 60"/>
                <a:gd name="T25" fmla="*/ 0 h 15"/>
                <a:gd name="T26" fmla="*/ 9072563 w 60"/>
                <a:gd name="T27" fmla="*/ 0 h 15"/>
                <a:gd name="T28" fmla="*/ 7484745 w 60"/>
                <a:gd name="T29" fmla="*/ 46003602 h 15"/>
                <a:gd name="T30" fmla="*/ 5443538 w 60"/>
                <a:gd name="T31" fmla="*/ 92003287 h 15"/>
                <a:gd name="T32" fmla="*/ 3629025 w 60"/>
                <a:gd name="T33" fmla="*/ 122672355 h 15"/>
                <a:gd name="T34" fmla="*/ 1587818 w 60"/>
                <a:gd name="T35" fmla="*/ 153341423 h 15"/>
                <a:gd name="T36" fmla="*/ 0 w 60"/>
                <a:gd name="T37" fmla="*/ 16867595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5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095455" y="6382554"/>
              <a:ext cx="40200" cy="64255"/>
            </a:xfrm>
            <a:custGeom>
              <a:avLst/>
              <a:gdLst>
                <a:gd name="T0" fmla="*/ 7123360 w 79"/>
                <a:gd name="T1" fmla="*/ 0 h 32"/>
                <a:gd name="T2" fmla="*/ 6054856 w 79"/>
                <a:gd name="T3" fmla="*/ 3189684 h 32"/>
                <a:gd name="T4" fmla="*/ 5342520 w 79"/>
                <a:gd name="T5" fmla="*/ 6379369 h 32"/>
                <a:gd name="T6" fmla="*/ 4452100 w 79"/>
                <a:gd name="T7" fmla="*/ 12758738 h 32"/>
                <a:gd name="T8" fmla="*/ 3561680 w 79"/>
                <a:gd name="T9" fmla="*/ 19138106 h 32"/>
                <a:gd name="T10" fmla="*/ 2671260 w 79"/>
                <a:gd name="T11" fmla="*/ 28705373 h 32"/>
                <a:gd name="T12" fmla="*/ 1780840 w 79"/>
                <a:gd name="T13" fmla="*/ 35084742 h 32"/>
                <a:gd name="T14" fmla="*/ 890420 w 79"/>
                <a:gd name="T15" fmla="*/ 38274427 h 32"/>
                <a:gd name="T16" fmla="*/ 0 w 79"/>
                <a:gd name="T17" fmla="*/ 41464111 h 32"/>
                <a:gd name="T18" fmla="*/ 890420 w 79"/>
                <a:gd name="T19" fmla="*/ 66981586 h 32"/>
                <a:gd name="T20" fmla="*/ 1780840 w 79"/>
                <a:gd name="T21" fmla="*/ 82928222 h 32"/>
                <a:gd name="T22" fmla="*/ 2137008 w 79"/>
                <a:gd name="T23" fmla="*/ 92497275 h 32"/>
                <a:gd name="T24" fmla="*/ 2671260 w 79"/>
                <a:gd name="T25" fmla="*/ 98876644 h 32"/>
                <a:gd name="T26" fmla="*/ 3205512 w 79"/>
                <a:gd name="T27" fmla="*/ 98876644 h 32"/>
                <a:gd name="T28" fmla="*/ 3561680 w 79"/>
                <a:gd name="T29" fmla="*/ 102066328 h 32"/>
                <a:gd name="T30" fmla="*/ 4808268 w 79"/>
                <a:gd name="T31" fmla="*/ 98876644 h 32"/>
                <a:gd name="T32" fmla="*/ 6054856 w 79"/>
                <a:gd name="T33" fmla="*/ 95686959 h 32"/>
                <a:gd name="T34" fmla="*/ 7301444 w 79"/>
                <a:gd name="T35" fmla="*/ 86117906 h 32"/>
                <a:gd name="T36" fmla="*/ 8548032 w 79"/>
                <a:gd name="T37" fmla="*/ 76550639 h 32"/>
                <a:gd name="T38" fmla="*/ 11041208 w 79"/>
                <a:gd name="T39" fmla="*/ 57412533 h 32"/>
                <a:gd name="T40" fmla="*/ 14068636 w 79"/>
                <a:gd name="T41" fmla="*/ 41464111 h 32"/>
                <a:gd name="T42" fmla="*/ 11931628 w 79"/>
                <a:gd name="T43" fmla="*/ 19138106 h 32"/>
                <a:gd name="T44" fmla="*/ 10328872 w 79"/>
                <a:gd name="T45" fmla="*/ 6379369 h 32"/>
                <a:gd name="T46" fmla="*/ 8726116 w 79"/>
                <a:gd name="T47" fmla="*/ 3189684 h 32"/>
                <a:gd name="T48" fmla="*/ 712336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6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087798" y="6361136"/>
              <a:ext cx="36371" cy="64255"/>
            </a:xfrm>
            <a:custGeom>
              <a:avLst/>
              <a:gdLst>
                <a:gd name="T0" fmla="*/ 6892703 w 66"/>
                <a:gd name="T1" fmla="*/ 0 h 19"/>
                <a:gd name="T2" fmla="*/ 5221398 w 66"/>
                <a:gd name="T3" fmla="*/ 9047747 h 19"/>
                <a:gd name="T4" fmla="*/ 3968263 w 66"/>
                <a:gd name="T5" fmla="*/ 18095495 h 19"/>
                <a:gd name="T6" fmla="*/ 2715127 w 66"/>
                <a:gd name="T7" fmla="*/ 36190989 h 19"/>
                <a:gd name="T8" fmla="*/ 1879703 w 66"/>
                <a:gd name="T9" fmla="*/ 63331224 h 19"/>
                <a:gd name="T10" fmla="*/ 1044280 w 66"/>
                <a:gd name="T11" fmla="*/ 99522213 h 19"/>
                <a:gd name="T12" fmla="*/ 417712 w 66"/>
                <a:gd name="T13" fmla="*/ 126665455 h 19"/>
                <a:gd name="T14" fmla="*/ 0 w 66"/>
                <a:gd name="T15" fmla="*/ 153805689 h 19"/>
                <a:gd name="T16" fmla="*/ 0 w 66"/>
                <a:gd name="T17" fmla="*/ 171901184 h 19"/>
                <a:gd name="T18" fmla="*/ 3968263 w 66"/>
                <a:gd name="T19" fmla="*/ 171901184 h 19"/>
                <a:gd name="T20" fmla="*/ 7936982 w 66"/>
                <a:gd name="T21" fmla="*/ 171901184 h 19"/>
                <a:gd name="T22" fmla="*/ 9607830 w 66"/>
                <a:gd name="T23" fmla="*/ 162853437 h 19"/>
                <a:gd name="T24" fmla="*/ 11278677 w 66"/>
                <a:gd name="T25" fmla="*/ 153805689 h 19"/>
                <a:gd name="T26" fmla="*/ 12740668 w 66"/>
                <a:gd name="T27" fmla="*/ 135710195 h 19"/>
                <a:gd name="T28" fmla="*/ 13784948 w 66"/>
                <a:gd name="T29" fmla="*/ 117617708 h 19"/>
                <a:gd name="T30" fmla="*/ 11905245 w 66"/>
                <a:gd name="T31" fmla="*/ 72378971 h 19"/>
                <a:gd name="T32" fmla="*/ 10443253 w 66"/>
                <a:gd name="T33" fmla="*/ 36190989 h 19"/>
                <a:gd name="T34" fmla="*/ 8772406 w 66"/>
                <a:gd name="T35" fmla="*/ 9047747 h 19"/>
                <a:gd name="T36" fmla="*/ 6892703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7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1967201" y="6013088"/>
              <a:ext cx="30628" cy="67825"/>
            </a:xfrm>
            <a:custGeom>
              <a:avLst/>
              <a:gdLst>
                <a:gd name="T0" fmla="*/ 2985698 w 53"/>
                <a:gd name="T1" fmla="*/ 0 h 80"/>
                <a:gd name="T2" fmla="*/ 1837426 w 53"/>
                <a:gd name="T3" fmla="*/ 2842816 h 80"/>
                <a:gd name="T4" fmla="*/ 918713 w 53"/>
                <a:gd name="T5" fmla="*/ 5686385 h 80"/>
                <a:gd name="T6" fmla="*/ 459117 w 53"/>
                <a:gd name="T7" fmla="*/ 7392075 h 80"/>
                <a:gd name="T8" fmla="*/ 229558 w 53"/>
                <a:gd name="T9" fmla="*/ 9097764 h 80"/>
                <a:gd name="T10" fmla="*/ 0 w 53"/>
                <a:gd name="T11" fmla="*/ 11372017 h 80"/>
                <a:gd name="T12" fmla="*/ 0 w 53"/>
                <a:gd name="T13" fmla="*/ 14215586 h 80"/>
                <a:gd name="T14" fmla="*/ 0 w 53"/>
                <a:gd name="T15" fmla="*/ 17058402 h 80"/>
                <a:gd name="T16" fmla="*/ 459117 w 53"/>
                <a:gd name="T17" fmla="*/ 22175470 h 80"/>
                <a:gd name="T18" fmla="*/ 1377830 w 53"/>
                <a:gd name="T19" fmla="*/ 27293292 h 80"/>
                <a:gd name="T20" fmla="*/ 2066985 w 53"/>
                <a:gd name="T21" fmla="*/ 32411114 h 80"/>
                <a:gd name="T22" fmla="*/ 2985698 w 53"/>
                <a:gd name="T23" fmla="*/ 37528183 h 80"/>
                <a:gd name="T24" fmla="*/ 4593566 w 53"/>
                <a:gd name="T25" fmla="*/ 41508878 h 80"/>
                <a:gd name="T26" fmla="*/ 5052683 w 53"/>
                <a:gd name="T27" fmla="*/ 43214568 h 80"/>
                <a:gd name="T28" fmla="*/ 5971396 w 53"/>
                <a:gd name="T29" fmla="*/ 44351694 h 80"/>
                <a:gd name="T30" fmla="*/ 6890109 w 53"/>
                <a:gd name="T31" fmla="*/ 45488820 h 80"/>
                <a:gd name="T32" fmla="*/ 7579264 w 53"/>
                <a:gd name="T33" fmla="*/ 45488820 h 80"/>
                <a:gd name="T34" fmla="*/ 8268419 w 53"/>
                <a:gd name="T35" fmla="*/ 44920257 h 80"/>
                <a:gd name="T36" fmla="*/ 8727536 w 53"/>
                <a:gd name="T37" fmla="*/ 44351694 h 80"/>
                <a:gd name="T38" fmla="*/ 9646249 w 53"/>
                <a:gd name="T39" fmla="*/ 43214568 h 80"/>
                <a:gd name="T40" fmla="*/ 10335404 w 53"/>
                <a:gd name="T41" fmla="*/ 41508878 h 80"/>
                <a:gd name="T42" fmla="*/ 11024558 w 53"/>
                <a:gd name="T43" fmla="*/ 39802435 h 80"/>
                <a:gd name="T44" fmla="*/ 11713713 w 53"/>
                <a:gd name="T45" fmla="*/ 38096746 h 80"/>
                <a:gd name="T46" fmla="*/ 12172830 w 53"/>
                <a:gd name="T47" fmla="*/ 36391056 h 80"/>
                <a:gd name="T48" fmla="*/ 12172830 w 53"/>
                <a:gd name="T49" fmla="*/ 35253930 h 80"/>
                <a:gd name="T50" fmla="*/ 11943272 w 53"/>
                <a:gd name="T51" fmla="*/ 30704671 h 80"/>
                <a:gd name="T52" fmla="*/ 11254117 w 53"/>
                <a:gd name="T53" fmla="*/ 26724729 h 80"/>
                <a:gd name="T54" fmla="*/ 10564962 w 53"/>
                <a:gd name="T55" fmla="*/ 23881913 h 80"/>
                <a:gd name="T56" fmla="*/ 9876287 w 53"/>
                <a:gd name="T57" fmla="*/ 21038344 h 80"/>
                <a:gd name="T58" fmla="*/ 9187132 w 53"/>
                <a:gd name="T59" fmla="*/ 18195528 h 80"/>
                <a:gd name="T60" fmla="*/ 8268419 w 53"/>
                <a:gd name="T61" fmla="*/ 15352713 h 80"/>
                <a:gd name="T62" fmla="*/ 7808823 w 53"/>
                <a:gd name="T63" fmla="*/ 11372017 h 80"/>
                <a:gd name="T64" fmla="*/ 7579264 w 53"/>
                <a:gd name="T65" fmla="*/ 6823512 h 80"/>
                <a:gd name="T66" fmla="*/ 7579264 w 53"/>
                <a:gd name="T67" fmla="*/ 5686385 h 80"/>
                <a:gd name="T68" fmla="*/ 7120147 w 53"/>
                <a:gd name="T69" fmla="*/ 4549259 h 80"/>
                <a:gd name="T70" fmla="*/ 6660551 w 53"/>
                <a:gd name="T71" fmla="*/ 3411379 h 80"/>
                <a:gd name="T72" fmla="*/ 5741838 w 53"/>
                <a:gd name="T73" fmla="*/ 2274253 h 80"/>
                <a:gd name="T74" fmla="*/ 4364008 w 53"/>
                <a:gd name="T75" fmla="*/ 568563 h 80"/>
                <a:gd name="T76" fmla="*/ 2985698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8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003571" y="6120180"/>
              <a:ext cx="21057" cy="60685"/>
            </a:xfrm>
            <a:custGeom>
              <a:avLst/>
              <a:gdLst>
                <a:gd name="T0" fmla="*/ 0 w 41"/>
                <a:gd name="T1" fmla="*/ 67751177 h 43"/>
                <a:gd name="T2" fmla="*/ 4898159 w 41"/>
                <a:gd name="T3" fmla="*/ 67751177 h 43"/>
                <a:gd name="T4" fmla="*/ 7437960 w 41"/>
                <a:gd name="T5" fmla="*/ 37815136 h 43"/>
                <a:gd name="T6" fmla="*/ 6893626 w 41"/>
                <a:gd name="T7" fmla="*/ 18907568 h 43"/>
                <a:gd name="T8" fmla="*/ 6168272 w 41"/>
                <a:gd name="T9" fmla="*/ 0 h 43"/>
                <a:gd name="T10" fmla="*/ 4898159 w 41"/>
                <a:gd name="T11" fmla="*/ 6302523 h 43"/>
                <a:gd name="T12" fmla="*/ 3628471 w 41"/>
                <a:gd name="T13" fmla="*/ 14180362 h 43"/>
                <a:gd name="T14" fmla="*/ 2721247 w 41"/>
                <a:gd name="T15" fmla="*/ 22058202 h 43"/>
                <a:gd name="T16" fmla="*/ 1814022 w 41"/>
                <a:gd name="T17" fmla="*/ 29936041 h 43"/>
                <a:gd name="T18" fmla="*/ 1088669 w 41"/>
                <a:gd name="T19" fmla="*/ 37815136 h 43"/>
                <a:gd name="T20" fmla="*/ 544334 w 41"/>
                <a:gd name="T21" fmla="*/ 47268292 h 43"/>
                <a:gd name="T22" fmla="*/ 181445 w 41"/>
                <a:gd name="T23" fmla="*/ 58298021 h 43"/>
                <a:gd name="T24" fmla="*/ 0 w 41"/>
                <a:gd name="T25" fmla="*/ 6775117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9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009315" y="6145168"/>
              <a:ext cx="9571" cy="66039"/>
            </a:xfrm>
            <a:custGeom>
              <a:avLst/>
              <a:gdLst>
                <a:gd name="T0" fmla="*/ 3149798 w 20"/>
                <a:gd name="T1" fmla="*/ 0 h 24"/>
                <a:gd name="T2" fmla="*/ 0 w 20"/>
                <a:gd name="T3" fmla="*/ 0 h 24"/>
                <a:gd name="T4" fmla="*/ 157549 w 20"/>
                <a:gd name="T5" fmla="*/ 29948528 h 24"/>
                <a:gd name="T6" fmla="*/ 315099 w 20"/>
                <a:gd name="T7" fmla="*/ 53905882 h 24"/>
                <a:gd name="T8" fmla="*/ 629801 w 20"/>
                <a:gd name="T9" fmla="*/ 77865683 h 24"/>
                <a:gd name="T10" fmla="*/ 1102449 w 20"/>
                <a:gd name="T11" fmla="*/ 101823037 h 24"/>
                <a:gd name="T12" fmla="*/ 1575098 w 20"/>
                <a:gd name="T13" fmla="*/ 119794112 h 24"/>
                <a:gd name="T14" fmla="*/ 2204899 w 20"/>
                <a:gd name="T15" fmla="*/ 131771565 h 24"/>
                <a:gd name="T16" fmla="*/ 2677150 w 20"/>
                <a:gd name="T17" fmla="*/ 143751465 h 24"/>
                <a:gd name="T18" fmla="*/ 3149798 w 20"/>
                <a:gd name="T19" fmla="*/ 143751465 h 24"/>
                <a:gd name="T20" fmla="*/ 3149798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0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026542" y="6214777"/>
              <a:ext cx="21057" cy="67825"/>
            </a:xfrm>
            <a:custGeom>
              <a:avLst/>
              <a:gdLst>
                <a:gd name="T0" fmla="*/ 0 w 39"/>
                <a:gd name="T1" fmla="*/ 23617939 h 43"/>
                <a:gd name="T2" fmla="*/ 401201 w 39"/>
                <a:gd name="T3" fmla="*/ 33457928 h 43"/>
                <a:gd name="T4" fmla="*/ 1203156 w 39"/>
                <a:gd name="T5" fmla="*/ 43299321 h 43"/>
                <a:gd name="T6" fmla="*/ 2405864 w 39"/>
                <a:gd name="T7" fmla="*/ 53139310 h 43"/>
                <a:gd name="T8" fmla="*/ 3207819 w 39"/>
                <a:gd name="T9" fmla="*/ 62980703 h 43"/>
                <a:gd name="T10" fmla="*/ 4611575 w 39"/>
                <a:gd name="T11" fmla="*/ 72822095 h 43"/>
                <a:gd name="T12" fmla="*/ 5614131 w 39"/>
                <a:gd name="T13" fmla="*/ 78725528 h 43"/>
                <a:gd name="T14" fmla="*/ 6816839 w 39"/>
                <a:gd name="T15" fmla="*/ 84630363 h 43"/>
                <a:gd name="T16" fmla="*/ 7819394 w 39"/>
                <a:gd name="T17" fmla="*/ 84630363 h 43"/>
                <a:gd name="T18" fmla="*/ 7618793 w 39"/>
                <a:gd name="T19" fmla="*/ 62980703 h 43"/>
                <a:gd name="T20" fmla="*/ 7218040 w 39"/>
                <a:gd name="T21" fmla="*/ 37394485 h 43"/>
                <a:gd name="T22" fmla="*/ 6816839 w 39"/>
                <a:gd name="T23" fmla="*/ 15744825 h 43"/>
                <a:gd name="T24" fmla="*/ 6416085 w 39"/>
                <a:gd name="T25" fmla="*/ 0 h 43"/>
                <a:gd name="T26" fmla="*/ 3809621 w 39"/>
                <a:gd name="T27" fmla="*/ 5904835 h 43"/>
                <a:gd name="T28" fmla="*/ 1203156 w 39"/>
                <a:gd name="T29" fmla="*/ 11808268 h 43"/>
                <a:gd name="T30" fmla="*/ 0 w 39"/>
                <a:gd name="T31" fmla="*/ 23617939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1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011228" y="6229056"/>
              <a:ext cx="32543" cy="66040"/>
            </a:xfrm>
            <a:custGeom>
              <a:avLst/>
              <a:gdLst>
                <a:gd name="T0" fmla="*/ 6982532 w 55"/>
                <a:gd name="T1" fmla="*/ 23336039 h 62"/>
                <a:gd name="T2" fmla="*/ 1926453 w 55"/>
                <a:gd name="T3" fmla="*/ 0 h 62"/>
                <a:gd name="T4" fmla="*/ 963226 w 55"/>
                <a:gd name="T5" fmla="*/ 4487773 h 62"/>
                <a:gd name="T6" fmla="*/ 240929 w 55"/>
                <a:gd name="T7" fmla="*/ 9872721 h 62"/>
                <a:gd name="T8" fmla="*/ 0 w 55"/>
                <a:gd name="T9" fmla="*/ 14360494 h 62"/>
                <a:gd name="T10" fmla="*/ 0 w 55"/>
                <a:gd name="T11" fmla="*/ 18848266 h 62"/>
                <a:gd name="T12" fmla="*/ 481368 w 55"/>
                <a:gd name="T13" fmla="*/ 23336039 h 62"/>
                <a:gd name="T14" fmla="*/ 963226 w 55"/>
                <a:gd name="T15" fmla="*/ 27823812 h 62"/>
                <a:gd name="T16" fmla="*/ 1926453 w 55"/>
                <a:gd name="T17" fmla="*/ 32311584 h 62"/>
                <a:gd name="T18" fmla="*/ 2648750 w 55"/>
                <a:gd name="T19" fmla="*/ 36799357 h 62"/>
                <a:gd name="T20" fmla="*/ 3852414 w 55"/>
                <a:gd name="T21" fmla="*/ 40389007 h 62"/>
                <a:gd name="T22" fmla="*/ 5056570 w 55"/>
                <a:gd name="T23" fmla="*/ 43979604 h 62"/>
                <a:gd name="T24" fmla="*/ 6260235 w 55"/>
                <a:gd name="T25" fmla="*/ 47570201 h 62"/>
                <a:gd name="T26" fmla="*/ 7945758 w 55"/>
                <a:gd name="T27" fmla="*/ 50262675 h 62"/>
                <a:gd name="T28" fmla="*/ 9149423 w 55"/>
                <a:gd name="T29" fmla="*/ 52057026 h 62"/>
                <a:gd name="T30" fmla="*/ 10594017 w 55"/>
                <a:gd name="T31" fmla="*/ 53852325 h 62"/>
                <a:gd name="T32" fmla="*/ 11798172 w 55"/>
                <a:gd name="T33" fmla="*/ 54750448 h 62"/>
                <a:gd name="T34" fmla="*/ 13242766 w 55"/>
                <a:gd name="T35" fmla="*/ 55647623 h 62"/>
                <a:gd name="T36" fmla="*/ 13001837 w 55"/>
                <a:gd name="T37" fmla="*/ 47570201 h 62"/>
                <a:gd name="T38" fmla="*/ 12761398 w 55"/>
                <a:gd name="T39" fmla="*/ 41287130 h 62"/>
                <a:gd name="T40" fmla="*/ 11798172 w 55"/>
                <a:gd name="T41" fmla="*/ 35901234 h 62"/>
                <a:gd name="T42" fmla="*/ 11075875 w 55"/>
                <a:gd name="T43" fmla="*/ 31414409 h 62"/>
                <a:gd name="T44" fmla="*/ 10353578 w 55"/>
                <a:gd name="T45" fmla="*/ 27823812 h 62"/>
                <a:gd name="T46" fmla="*/ 9149423 w 55"/>
                <a:gd name="T47" fmla="*/ 25131338 h 62"/>
                <a:gd name="T48" fmla="*/ 7945758 w 55"/>
                <a:gd name="T49" fmla="*/ 23336039 h 62"/>
                <a:gd name="T50" fmla="*/ 6982532 w 55"/>
                <a:gd name="T51" fmla="*/ 23336039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2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047599" y="6266539"/>
              <a:ext cx="13399" cy="66039"/>
            </a:xfrm>
            <a:custGeom>
              <a:avLst/>
              <a:gdLst>
                <a:gd name="T0" fmla="*/ 3326298 w 35"/>
                <a:gd name="T1" fmla="*/ 24257015 h 43"/>
                <a:gd name="T2" fmla="*/ 705453 w 35"/>
                <a:gd name="T3" fmla="*/ 0 h 43"/>
                <a:gd name="T4" fmla="*/ 403207 w 35"/>
                <a:gd name="T5" fmla="*/ 14927394 h 43"/>
                <a:gd name="T6" fmla="*/ 0 w 35"/>
                <a:gd name="T7" fmla="*/ 35452560 h 43"/>
                <a:gd name="T8" fmla="*/ 201603 w 35"/>
                <a:gd name="T9" fmla="*/ 52244513 h 43"/>
                <a:gd name="T10" fmla="*/ 503850 w 35"/>
                <a:gd name="T11" fmla="*/ 67171906 h 43"/>
                <a:gd name="T12" fmla="*/ 604810 w 35"/>
                <a:gd name="T13" fmla="*/ 72769679 h 43"/>
                <a:gd name="T14" fmla="*/ 806414 w 35"/>
                <a:gd name="T15" fmla="*/ 76501528 h 43"/>
                <a:gd name="T16" fmla="*/ 1108660 w 35"/>
                <a:gd name="T17" fmla="*/ 80233376 h 43"/>
                <a:gd name="T18" fmla="*/ 1411224 w 35"/>
                <a:gd name="T19" fmla="*/ 80233376 h 43"/>
                <a:gd name="T20" fmla="*/ 1814431 w 35"/>
                <a:gd name="T21" fmla="*/ 80233376 h 43"/>
                <a:gd name="T22" fmla="*/ 2217638 w 35"/>
                <a:gd name="T23" fmla="*/ 78367452 h 43"/>
                <a:gd name="T24" fmla="*/ 2620845 w 35"/>
                <a:gd name="T25" fmla="*/ 76501528 h 43"/>
                <a:gd name="T26" fmla="*/ 2822448 w 35"/>
                <a:gd name="T27" fmla="*/ 72769679 h 43"/>
                <a:gd name="T28" fmla="*/ 3124694 w 35"/>
                <a:gd name="T29" fmla="*/ 65305982 h 43"/>
                <a:gd name="T30" fmla="*/ 3326298 w 35"/>
                <a:gd name="T31" fmla="*/ 55976361 h 43"/>
                <a:gd name="T32" fmla="*/ 3527901 w 35"/>
                <a:gd name="T33" fmla="*/ 37318485 h 43"/>
                <a:gd name="T34" fmla="*/ 3326298 w 35"/>
                <a:gd name="T35" fmla="*/ 24257015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3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043771" y="6304020"/>
              <a:ext cx="24885" cy="62471"/>
            </a:xfrm>
            <a:custGeom>
              <a:avLst/>
              <a:gdLst>
                <a:gd name="T0" fmla="*/ 8035581 w 53"/>
                <a:gd name="T1" fmla="*/ 0 h 21"/>
                <a:gd name="T2" fmla="*/ 6216020 w 53"/>
                <a:gd name="T3" fmla="*/ 7000938 h 21"/>
                <a:gd name="T4" fmla="*/ 4851642 w 53"/>
                <a:gd name="T5" fmla="*/ 14001876 h 21"/>
                <a:gd name="T6" fmla="*/ 3790199 w 53"/>
                <a:gd name="T7" fmla="*/ 35002044 h 21"/>
                <a:gd name="T8" fmla="*/ 3183939 w 53"/>
                <a:gd name="T9" fmla="*/ 49003920 h 21"/>
                <a:gd name="T10" fmla="*/ 2577289 w 53"/>
                <a:gd name="T11" fmla="*/ 70006734 h 21"/>
                <a:gd name="T12" fmla="*/ 1971028 w 53"/>
                <a:gd name="T13" fmla="*/ 91006902 h 21"/>
                <a:gd name="T14" fmla="*/ 1212910 w 53"/>
                <a:gd name="T15" fmla="*/ 112009716 h 21"/>
                <a:gd name="T16" fmla="*/ 0 w 53"/>
                <a:gd name="T17" fmla="*/ 126008946 h 21"/>
                <a:gd name="T18" fmla="*/ 758118 w 53"/>
                <a:gd name="T19" fmla="*/ 140010822 h 21"/>
                <a:gd name="T20" fmla="*/ 1667703 w 53"/>
                <a:gd name="T21" fmla="*/ 147011760 h 21"/>
                <a:gd name="T22" fmla="*/ 2577289 w 53"/>
                <a:gd name="T23" fmla="*/ 147011760 h 21"/>
                <a:gd name="T24" fmla="*/ 3638731 w 53"/>
                <a:gd name="T25" fmla="*/ 147011760 h 21"/>
                <a:gd name="T26" fmla="*/ 5761227 w 53"/>
                <a:gd name="T27" fmla="*/ 133009884 h 21"/>
                <a:gd name="T28" fmla="*/ 8035581 w 53"/>
                <a:gd name="T29" fmla="*/ 126008946 h 21"/>
                <a:gd name="T30" fmla="*/ 8035581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4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072484" y="6320085"/>
              <a:ext cx="21057" cy="64255"/>
            </a:xfrm>
            <a:custGeom>
              <a:avLst/>
              <a:gdLst>
                <a:gd name="T0" fmla="*/ 3628649 w 43"/>
                <a:gd name="T1" fmla="*/ 0 h 38"/>
                <a:gd name="T2" fmla="*/ 1979005 w 43"/>
                <a:gd name="T3" fmla="*/ 0 h 38"/>
                <a:gd name="T4" fmla="*/ 329766 w 43"/>
                <a:gd name="T5" fmla="*/ 0 h 38"/>
                <a:gd name="T6" fmla="*/ 164883 w 43"/>
                <a:gd name="T7" fmla="*/ 0 h 38"/>
                <a:gd name="T8" fmla="*/ 0 w 43"/>
                <a:gd name="T9" fmla="*/ 2261937 h 38"/>
                <a:gd name="T10" fmla="*/ 0 w 43"/>
                <a:gd name="T11" fmla="*/ 6785811 h 38"/>
                <a:gd name="T12" fmla="*/ 0 w 43"/>
                <a:gd name="T13" fmla="*/ 13571621 h 38"/>
                <a:gd name="T14" fmla="*/ 164883 w 43"/>
                <a:gd name="T15" fmla="*/ 22617864 h 38"/>
                <a:gd name="T16" fmla="*/ 329766 w 43"/>
                <a:gd name="T17" fmla="*/ 27141738 h 38"/>
                <a:gd name="T18" fmla="*/ 494650 w 43"/>
                <a:gd name="T19" fmla="*/ 40713359 h 38"/>
                <a:gd name="T20" fmla="*/ 824822 w 43"/>
                <a:gd name="T21" fmla="*/ 56546917 h 38"/>
                <a:gd name="T22" fmla="*/ 1649238 w 43"/>
                <a:gd name="T23" fmla="*/ 67855097 h 38"/>
                <a:gd name="T24" fmla="*/ 2474060 w 43"/>
                <a:gd name="T25" fmla="*/ 76902845 h 38"/>
                <a:gd name="T26" fmla="*/ 3463360 w 43"/>
                <a:gd name="T27" fmla="*/ 83688655 h 38"/>
                <a:gd name="T28" fmla="*/ 4453065 w 43"/>
                <a:gd name="T29" fmla="*/ 85950592 h 38"/>
                <a:gd name="T30" fmla="*/ 5772537 w 43"/>
                <a:gd name="T31" fmla="*/ 85950592 h 38"/>
                <a:gd name="T32" fmla="*/ 7092009 w 43"/>
                <a:gd name="T33" fmla="*/ 83688655 h 38"/>
                <a:gd name="T34" fmla="*/ 6597359 w 43"/>
                <a:gd name="T35" fmla="*/ 65593161 h 38"/>
                <a:gd name="T36" fmla="*/ 5937420 w 43"/>
                <a:gd name="T37" fmla="*/ 52023043 h 38"/>
                <a:gd name="T38" fmla="*/ 5442770 w 43"/>
                <a:gd name="T39" fmla="*/ 38451422 h 38"/>
                <a:gd name="T40" fmla="*/ 4947715 w 43"/>
                <a:gd name="T41" fmla="*/ 29403675 h 38"/>
                <a:gd name="T42" fmla="*/ 4453065 w 43"/>
                <a:gd name="T43" fmla="*/ 22617864 h 38"/>
                <a:gd name="T44" fmla="*/ 3958415 w 43"/>
                <a:gd name="T45" fmla="*/ 15833558 h 38"/>
                <a:gd name="T46" fmla="*/ 3793532 w 43"/>
                <a:gd name="T47" fmla="*/ 9047747 h 38"/>
                <a:gd name="T48" fmla="*/ 3628649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5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074399" y="6352212"/>
              <a:ext cx="7657" cy="64255"/>
            </a:xfrm>
            <a:custGeom>
              <a:avLst/>
              <a:gdLst>
                <a:gd name="T0" fmla="*/ 0 w 20"/>
                <a:gd name="T1" fmla="*/ 0 h 5"/>
                <a:gd name="T2" fmla="*/ 100965 w 20"/>
                <a:gd name="T3" fmla="*/ 261289800 h 5"/>
                <a:gd name="T4" fmla="*/ 201613 w 20"/>
                <a:gd name="T5" fmla="*/ 391934700 h 5"/>
                <a:gd name="T6" fmla="*/ 403225 w 20"/>
                <a:gd name="T7" fmla="*/ 522579600 h 5"/>
                <a:gd name="T8" fmla="*/ 705803 w 20"/>
                <a:gd name="T9" fmla="*/ 653224500 h 5"/>
                <a:gd name="T10" fmla="*/ 1109028 w 20"/>
                <a:gd name="T11" fmla="*/ 522579600 h 5"/>
                <a:gd name="T12" fmla="*/ 1411288 w 20"/>
                <a:gd name="T13" fmla="*/ 391934700 h 5"/>
                <a:gd name="T14" fmla="*/ 1713865 w 20"/>
                <a:gd name="T15" fmla="*/ 261289800 h 5"/>
                <a:gd name="T16" fmla="*/ 2016125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6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164368" y="6430746"/>
              <a:ext cx="42113" cy="64255"/>
            </a:xfrm>
            <a:custGeom>
              <a:avLst/>
              <a:gdLst>
                <a:gd name="T0" fmla="*/ 9155613 w 73"/>
                <a:gd name="T1" fmla="*/ 0 h 22"/>
                <a:gd name="T2" fmla="*/ 7324682 w 73"/>
                <a:gd name="T3" fmla="*/ 6748895 h 22"/>
                <a:gd name="T4" fmla="*/ 5951124 w 73"/>
                <a:gd name="T5" fmla="*/ 13495193 h 22"/>
                <a:gd name="T6" fmla="*/ 4577567 w 73"/>
                <a:gd name="T7" fmla="*/ 33741880 h 22"/>
                <a:gd name="T8" fmla="*/ 3433175 w 73"/>
                <a:gd name="T9" fmla="*/ 53985968 h 22"/>
                <a:gd name="T10" fmla="*/ 1373557 w 73"/>
                <a:gd name="T11" fmla="*/ 94474145 h 22"/>
                <a:gd name="T12" fmla="*/ 0 w 73"/>
                <a:gd name="T13" fmla="*/ 128216025 h 22"/>
                <a:gd name="T14" fmla="*/ 4577567 w 73"/>
                <a:gd name="T15" fmla="*/ 134964920 h 22"/>
                <a:gd name="T16" fmla="*/ 8926926 w 73"/>
                <a:gd name="T17" fmla="*/ 148460114 h 22"/>
                <a:gd name="T18" fmla="*/ 11215709 w 73"/>
                <a:gd name="T19" fmla="*/ 148460114 h 22"/>
                <a:gd name="T20" fmla="*/ 13046640 w 73"/>
                <a:gd name="T21" fmla="*/ 148460114 h 22"/>
                <a:gd name="T22" fmla="*/ 14878050 w 73"/>
                <a:gd name="T23" fmla="*/ 141711218 h 22"/>
                <a:gd name="T24" fmla="*/ 16708981 w 73"/>
                <a:gd name="T25" fmla="*/ 128216025 h 22"/>
                <a:gd name="T26" fmla="*/ 14648885 w 73"/>
                <a:gd name="T27" fmla="*/ 94474145 h 22"/>
                <a:gd name="T28" fmla="*/ 12817953 w 73"/>
                <a:gd name="T29" fmla="*/ 53985968 h 22"/>
                <a:gd name="T30" fmla="*/ 12131414 w 73"/>
                <a:gd name="T31" fmla="*/ 33741880 h 22"/>
                <a:gd name="T32" fmla="*/ 11215709 w 73"/>
                <a:gd name="T33" fmla="*/ 13495193 h 22"/>
                <a:gd name="T34" fmla="*/ 10071317 w 73"/>
                <a:gd name="T35" fmla="*/ 6748895 h 22"/>
                <a:gd name="T36" fmla="*/ 9155613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7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210309" y="6364706"/>
              <a:ext cx="149311" cy="112447"/>
            </a:xfrm>
            <a:custGeom>
              <a:avLst/>
              <a:gdLst>
                <a:gd name="T0" fmla="*/ 45632377 w 281"/>
                <a:gd name="T1" fmla="*/ 45113636 h 193"/>
                <a:gd name="T2" fmla="*/ 36505901 w 281"/>
                <a:gd name="T3" fmla="*/ 45919440 h 193"/>
                <a:gd name="T4" fmla="*/ 32622379 w 281"/>
                <a:gd name="T5" fmla="*/ 45113636 h 193"/>
                <a:gd name="T6" fmla="*/ 30097848 w 281"/>
                <a:gd name="T7" fmla="*/ 44039403 h 193"/>
                <a:gd name="T8" fmla="*/ 25243555 w 281"/>
                <a:gd name="T9" fmla="*/ 36251862 h 193"/>
                <a:gd name="T10" fmla="*/ 20194491 w 281"/>
                <a:gd name="T11" fmla="*/ 25242141 h 193"/>
                <a:gd name="T12" fmla="*/ 18252951 w 281"/>
                <a:gd name="T13" fmla="*/ 19871495 h 193"/>
                <a:gd name="T14" fmla="*/ 16893520 w 281"/>
                <a:gd name="T15" fmla="*/ 13695044 h 193"/>
                <a:gd name="T16" fmla="*/ 16117080 w 281"/>
                <a:gd name="T17" fmla="*/ 7250165 h 193"/>
                <a:gd name="T18" fmla="*/ 8349595 w 281"/>
                <a:gd name="T19" fmla="*/ 0 h 193"/>
                <a:gd name="T20" fmla="*/ 5436843 w 281"/>
                <a:gd name="T21" fmla="*/ 13963991 h 193"/>
                <a:gd name="T22" fmla="*/ 3495302 w 281"/>
                <a:gd name="T23" fmla="*/ 16380368 h 193"/>
                <a:gd name="T24" fmla="*/ 1165101 w 281"/>
                <a:gd name="T25" fmla="*/ 18528833 h 193"/>
                <a:gd name="T26" fmla="*/ 0 w 281"/>
                <a:gd name="T27" fmla="*/ 19603066 h 193"/>
                <a:gd name="T28" fmla="*/ 194330 w 281"/>
                <a:gd name="T29" fmla="*/ 20139924 h 193"/>
                <a:gd name="T30" fmla="*/ 1747651 w 281"/>
                <a:gd name="T31" fmla="*/ 21751014 h 193"/>
                <a:gd name="T32" fmla="*/ 7184494 w 281"/>
                <a:gd name="T33" fmla="*/ 29806983 h 193"/>
                <a:gd name="T34" fmla="*/ 8738255 w 281"/>
                <a:gd name="T35" fmla="*/ 32761253 h 193"/>
                <a:gd name="T36" fmla="*/ 10291576 w 281"/>
                <a:gd name="T37" fmla="*/ 34640772 h 193"/>
                <a:gd name="T38" fmla="*/ 12039227 w 281"/>
                <a:gd name="T39" fmla="*/ 35983434 h 193"/>
                <a:gd name="T40" fmla="*/ 13786878 w 281"/>
                <a:gd name="T41" fmla="*/ 36520291 h 193"/>
                <a:gd name="T42" fmla="*/ 14757649 w 281"/>
                <a:gd name="T43" fmla="*/ 37862953 h 193"/>
                <a:gd name="T44" fmla="*/ 15340199 w 281"/>
                <a:gd name="T45" fmla="*/ 39742990 h 193"/>
                <a:gd name="T46" fmla="*/ 16699630 w 281"/>
                <a:gd name="T47" fmla="*/ 41085651 h 193"/>
                <a:gd name="T48" fmla="*/ 19223721 w 281"/>
                <a:gd name="T49" fmla="*/ 41354080 h 193"/>
                <a:gd name="T50" fmla="*/ 20583152 w 281"/>
                <a:gd name="T51" fmla="*/ 42159884 h 193"/>
                <a:gd name="T52" fmla="*/ 21165702 w 281"/>
                <a:gd name="T53" fmla="*/ 43770974 h 193"/>
                <a:gd name="T54" fmla="*/ 21165702 w 281"/>
                <a:gd name="T55" fmla="*/ 48067388 h 193"/>
                <a:gd name="T56" fmla="*/ 21553923 w 281"/>
                <a:gd name="T57" fmla="*/ 50752711 h 193"/>
                <a:gd name="T58" fmla="*/ 22330803 w 281"/>
                <a:gd name="T59" fmla="*/ 51826944 h 193"/>
                <a:gd name="T60" fmla="*/ 25049225 w 281"/>
                <a:gd name="T61" fmla="*/ 51826944 h 193"/>
                <a:gd name="T62" fmla="*/ 31845499 w 281"/>
                <a:gd name="T63" fmla="*/ 51290087 h 193"/>
                <a:gd name="T64" fmla="*/ 34952581 w 281"/>
                <a:gd name="T65" fmla="*/ 50752711 h 193"/>
                <a:gd name="T66" fmla="*/ 37282341 w 281"/>
                <a:gd name="T67" fmla="*/ 49947425 h 193"/>
                <a:gd name="T68" fmla="*/ 41166304 w 281"/>
                <a:gd name="T69" fmla="*/ 50484282 h 193"/>
                <a:gd name="T70" fmla="*/ 54564522 w 281"/>
                <a:gd name="T71" fmla="*/ 4484520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48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670493" y="3853407"/>
              <a:ext cx="63171" cy="66039"/>
            </a:xfrm>
            <a:custGeom>
              <a:avLst/>
              <a:gdLst>
                <a:gd name="T0" fmla="*/ 0 w 120"/>
                <a:gd name="T1" fmla="*/ 19802760 h 56"/>
                <a:gd name="T2" fmla="*/ 762245 w 120"/>
                <a:gd name="T3" fmla="*/ 28603870 h 56"/>
                <a:gd name="T4" fmla="*/ 1906050 w 120"/>
                <a:gd name="T5" fmla="*/ 36304710 h 56"/>
                <a:gd name="T6" fmla="*/ 2859075 w 120"/>
                <a:gd name="T7" fmla="*/ 40704741 h 56"/>
                <a:gd name="T8" fmla="*/ 4002443 w 120"/>
                <a:gd name="T9" fmla="*/ 45105821 h 56"/>
                <a:gd name="T10" fmla="*/ 5145811 w 120"/>
                <a:gd name="T11" fmla="*/ 48406630 h 56"/>
                <a:gd name="T12" fmla="*/ 6670739 w 120"/>
                <a:gd name="T13" fmla="*/ 50606121 h 56"/>
                <a:gd name="T14" fmla="*/ 8195229 w 120"/>
                <a:gd name="T15" fmla="*/ 52806661 h 56"/>
                <a:gd name="T16" fmla="*/ 9720157 w 120"/>
                <a:gd name="T17" fmla="*/ 53906931 h 56"/>
                <a:gd name="T18" fmla="*/ 12769575 w 120"/>
                <a:gd name="T19" fmla="*/ 55007201 h 56"/>
                <a:gd name="T20" fmla="*/ 16200116 w 120"/>
                <a:gd name="T21" fmla="*/ 56107470 h 56"/>
                <a:gd name="T22" fmla="*/ 19440314 w 120"/>
                <a:gd name="T23" fmla="*/ 57207740 h 56"/>
                <a:gd name="T24" fmla="*/ 22870855 w 120"/>
                <a:gd name="T25" fmla="*/ 61607771 h 56"/>
                <a:gd name="T26" fmla="*/ 22870855 w 120"/>
                <a:gd name="T27" fmla="*/ 40704741 h 56"/>
                <a:gd name="T28" fmla="*/ 21155584 w 120"/>
                <a:gd name="T29" fmla="*/ 37404980 h 56"/>
                <a:gd name="T30" fmla="*/ 19440314 w 120"/>
                <a:gd name="T31" fmla="*/ 33003901 h 56"/>
                <a:gd name="T32" fmla="*/ 17915386 w 120"/>
                <a:gd name="T33" fmla="*/ 26403330 h 56"/>
                <a:gd name="T34" fmla="*/ 16772018 w 120"/>
                <a:gd name="T35" fmla="*/ 19802760 h 56"/>
                <a:gd name="T36" fmla="*/ 15437870 w 120"/>
                <a:gd name="T37" fmla="*/ 14301411 h 56"/>
                <a:gd name="T38" fmla="*/ 14294502 w 120"/>
                <a:gd name="T39" fmla="*/ 7700840 h 56"/>
                <a:gd name="T40" fmla="*/ 12769575 w 120"/>
                <a:gd name="T41" fmla="*/ 3300810 h 56"/>
                <a:gd name="T42" fmla="*/ 11435427 w 120"/>
                <a:gd name="T43" fmla="*/ 0 h 56"/>
                <a:gd name="T44" fmla="*/ 10482402 w 120"/>
                <a:gd name="T45" fmla="*/ 1100270 h 56"/>
                <a:gd name="T46" fmla="*/ 9148255 w 120"/>
                <a:gd name="T47" fmla="*/ 3300810 h 56"/>
                <a:gd name="T48" fmla="*/ 7814107 w 120"/>
                <a:gd name="T49" fmla="*/ 6600570 h 56"/>
                <a:gd name="T50" fmla="*/ 6289616 w 120"/>
                <a:gd name="T51" fmla="*/ 9901380 h 56"/>
                <a:gd name="T52" fmla="*/ 4574346 w 120"/>
                <a:gd name="T53" fmla="*/ 14301411 h 56"/>
                <a:gd name="T54" fmla="*/ 3049418 w 120"/>
                <a:gd name="T55" fmla="*/ 16501950 h 56"/>
                <a:gd name="T56" fmla="*/ 1524927 w 120"/>
                <a:gd name="T57" fmla="*/ 19802760 h 56"/>
                <a:gd name="T58" fmla="*/ 0 w 120"/>
                <a:gd name="T59" fmla="*/ 1980276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ED7D31">
                    <a:lumMod val="75000"/>
                  </a:srgbClr>
                </a:solidFill>
              </a:endParaRPr>
            </a:p>
          </p:txBody>
        </p:sp>
        <p:sp>
          <p:nvSpPr>
            <p:cNvPr id="149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191904" y="3716176"/>
              <a:ext cx="302450" cy="123156"/>
            </a:xfrm>
            <a:custGeom>
              <a:avLst/>
              <a:gdLst>
                <a:gd name="T0" fmla="*/ 24250495 w 574"/>
                <a:gd name="T1" fmla="*/ 288343 h 204"/>
                <a:gd name="T2" fmla="*/ 18140241 w 574"/>
                <a:gd name="T3" fmla="*/ 1730056 h 204"/>
                <a:gd name="T4" fmla="*/ 12602864 w 574"/>
                <a:gd name="T5" fmla="*/ 4612946 h 204"/>
                <a:gd name="T6" fmla="*/ 8210804 w 574"/>
                <a:gd name="T7" fmla="*/ 7496373 h 204"/>
                <a:gd name="T8" fmla="*/ 5728336 w 574"/>
                <a:gd name="T9" fmla="*/ 10090920 h 204"/>
                <a:gd name="T10" fmla="*/ 3055346 w 574"/>
                <a:gd name="T11" fmla="*/ 14704403 h 204"/>
                <a:gd name="T12" fmla="*/ 763836 w 574"/>
                <a:gd name="T13" fmla="*/ 20470719 h 204"/>
                <a:gd name="T14" fmla="*/ 0 w 574"/>
                <a:gd name="T15" fmla="*/ 23641952 h 204"/>
                <a:gd name="T16" fmla="*/ 190959 w 574"/>
                <a:gd name="T17" fmla="*/ 24795322 h 204"/>
                <a:gd name="T18" fmla="*/ 2482468 w 574"/>
                <a:gd name="T19" fmla="*/ 24795322 h 204"/>
                <a:gd name="T20" fmla="*/ 5537377 w 574"/>
                <a:gd name="T21" fmla="*/ 23930294 h 204"/>
                <a:gd name="T22" fmla="*/ 9929436 w 574"/>
                <a:gd name="T23" fmla="*/ 21623553 h 204"/>
                <a:gd name="T24" fmla="*/ 15275854 w 574"/>
                <a:gd name="T25" fmla="*/ 16722264 h 204"/>
                <a:gd name="T26" fmla="*/ 19476955 w 574"/>
                <a:gd name="T27" fmla="*/ 13262689 h 204"/>
                <a:gd name="T28" fmla="*/ 22722822 w 574"/>
                <a:gd name="T29" fmla="*/ 11532633 h 204"/>
                <a:gd name="T30" fmla="*/ 33416095 w 574"/>
                <a:gd name="T31" fmla="*/ 10667605 h 204"/>
                <a:gd name="T32" fmla="*/ 33607054 w 574"/>
                <a:gd name="T33" fmla="*/ 13839375 h 204"/>
                <a:gd name="T34" fmla="*/ 34370891 w 574"/>
                <a:gd name="T35" fmla="*/ 15857236 h 204"/>
                <a:gd name="T36" fmla="*/ 35134727 w 574"/>
                <a:gd name="T37" fmla="*/ 17010607 h 204"/>
                <a:gd name="T38" fmla="*/ 36280482 w 574"/>
                <a:gd name="T39" fmla="*/ 17587292 h 204"/>
                <a:gd name="T40" fmla="*/ 43727450 w 574"/>
                <a:gd name="T41" fmla="*/ 17587292 h 204"/>
                <a:gd name="T42" fmla="*/ 51365377 w 574"/>
                <a:gd name="T43" fmla="*/ 22488581 h 204"/>
                <a:gd name="T44" fmla="*/ 57666590 w 574"/>
                <a:gd name="T45" fmla="*/ 27389870 h 204"/>
                <a:gd name="T46" fmla="*/ 64158763 w 574"/>
                <a:gd name="T47" fmla="*/ 32003352 h 204"/>
                <a:gd name="T48" fmla="*/ 71606168 w 574"/>
                <a:gd name="T49" fmla="*/ 35462928 h 204"/>
                <a:gd name="T50" fmla="*/ 71796690 w 574"/>
                <a:gd name="T51" fmla="*/ 38634160 h 204"/>
                <a:gd name="T52" fmla="*/ 72942444 w 574"/>
                <a:gd name="T53" fmla="*/ 40940901 h 204"/>
                <a:gd name="T54" fmla="*/ 75615872 w 574"/>
                <a:gd name="T55" fmla="*/ 43824328 h 204"/>
                <a:gd name="T56" fmla="*/ 81726126 w 574"/>
                <a:gd name="T57" fmla="*/ 47860589 h 204"/>
                <a:gd name="T58" fmla="*/ 76761627 w 574"/>
                <a:gd name="T59" fmla="*/ 55068619 h 204"/>
                <a:gd name="T60" fmla="*/ 77716422 w 574"/>
                <a:gd name="T61" fmla="*/ 56798138 h 204"/>
                <a:gd name="T62" fmla="*/ 79053136 w 574"/>
                <a:gd name="T63" fmla="*/ 57951508 h 204"/>
                <a:gd name="T64" fmla="*/ 81917085 w 574"/>
                <a:gd name="T65" fmla="*/ 58816536 h 204"/>
                <a:gd name="T66" fmla="*/ 88027777 w 574"/>
                <a:gd name="T67" fmla="*/ 58816536 h 204"/>
                <a:gd name="T68" fmla="*/ 105976621 w 574"/>
                <a:gd name="T69" fmla="*/ 54491933 h 204"/>
                <a:gd name="T70" fmla="*/ 106740458 w 574"/>
                <a:gd name="T71" fmla="*/ 52761877 h 204"/>
                <a:gd name="T72" fmla="*/ 107886212 w 574"/>
                <a:gd name="T73" fmla="*/ 51031821 h 204"/>
                <a:gd name="T74" fmla="*/ 109222926 w 574"/>
                <a:gd name="T75" fmla="*/ 49878987 h 204"/>
                <a:gd name="T76" fmla="*/ 109604844 w 574"/>
                <a:gd name="T77" fmla="*/ 46418875 h 204"/>
                <a:gd name="T78" fmla="*/ 107122376 w 574"/>
                <a:gd name="T79" fmla="*/ 44112671 h 204"/>
                <a:gd name="T80" fmla="*/ 101584999 w 574"/>
                <a:gd name="T81" fmla="*/ 42670957 h 204"/>
                <a:gd name="T82" fmla="*/ 96238581 w 574"/>
                <a:gd name="T83" fmla="*/ 39787531 h 204"/>
                <a:gd name="T84" fmla="*/ 90700767 w 574"/>
                <a:gd name="T85" fmla="*/ 35751270 h 204"/>
                <a:gd name="T86" fmla="*/ 82680922 w 574"/>
                <a:gd name="T87" fmla="*/ 28831583 h 204"/>
                <a:gd name="T88" fmla="*/ 73133404 w 574"/>
                <a:gd name="T89" fmla="*/ 19605691 h 204"/>
                <a:gd name="T90" fmla="*/ 68359863 w 574"/>
                <a:gd name="T91" fmla="*/ 15568894 h 204"/>
                <a:gd name="T92" fmla="*/ 66450272 w 574"/>
                <a:gd name="T93" fmla="*/ 14992208 h 204"/>
                <a:gd name="T94" fmla="*/ 63013445 w 574"/>
                <a:gd name="T95" fmla="*/ 14992208 h 204"/>
                <a:gd name="T96" fmla="*/ 59576181 w 574"/>
                <a:gd name="T97" fmla="*/ 14704403 h 204"/>
                <a:gd name="T98" fmla="*/ 57666590 w 574"/>
                <a:gd name="T99" fmla="*/ 14127717 h 204"/>
                <a:gd name="T100" fmla="*/ 56138917 w 574"/>
                <a:gd name="T101" fmla="*/ 12397661 h 204"/>
                <a:gd name="T102" fmla="*/ 55375081 w 574"/>
                <a:gd name="T103" fmla="*/ 9225892 h 204"/>
                <a:gd name="T104" fmla="*/ 27114882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0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865746" y="3814140"/>
              <a:ext cx="107198" cy="78534"/>
            </a:xfrm>
            <a:custGeom>
              <a:avLst/>
              <a:gdLst>
                <a:gd name="T0" fmla="*/ 7562083 w 207"/>
                <a:gd name="T1" fmla="*/ 37821880 h 129"/>
                <a:gd name="T2" fmla="*/ 9221979 w 207"/>
                <a:gd name="T3" fmla="*/ 35476219 h 129"/>
                <a:gd name="T4" fmla="*/ 11066547 w 207"/>
                <a:gd name="T5" fmla="*/ 33716974 h 129"/>
                <a:gd name="T6" fmla="*/ 12911114 w 207"/>
                <a:gd name="T7" fmla="*/ 32251207 h 129"/>
                <a:gd name="T8" fmla="*/ 14939924 w 207"/>
                <a:gd name="T9" fmla="*/ 30785440 h 129"/>
                <a:gd name="T10" fmla="*/ 19366457 w 207"/>
                <a:gd name="T11" fmla="*/ 29026195 h 129"/>
                <a:gd name="T12" fmla="*/ 23792990 w 207"/>
                <a:gd name="T13" fmla="*/ 26974012 h 129"/>
                <a:gd name="T14" fmla="*/ 28035281 w 207"/>
                <a:gd name="T15" fmla="*/ 25507704 h 129"/>
                <a:gd name="T16" fmla="*/ 31908658 w 207"/>
                <a:gd name="T17" fmla="*/ 23748459 h 129"/>
                <a:gd name="T18" fmla="*/ 33568554 w 207"/>
                <a:gd name="T19" fmla="*/ 22575628 h 129"/>
                <a:gd name="T20" fmla="*/ 35228880 w 207"/>
                <a:gd name="T21" fmla="*/ 21403340 h 129"/>
                <a:gd name="T22" fmla="*/ 36888776 w 207"/>
                <a:gd name="T23" fmla="*/ 19644094 h 129"/>
                <a:gd name="T24" fmla="*/ 38179758 w 207"/>
                <a:gd name="T25" fmla="*/ 17884849 h 129"/>
                <a:gd name="T26" fmla="*/ 36519862 w 207"/>
                <a:gd name="T27" fmla="*/ 15832667 h 129"/>
                <a:gd name="T28" fmla="*/ 34675295 w 207"/>
                <a:gd name="T29" fmla="*/ 13779943 h 129"/>
                <a:gd name="T30" fmla="*/ 33015399 w 207"/>
                <a:gd name="T31" fmla="*/ 12314176 h 129"/>
                <a:gd name="T32" fmla="*/ 31170831 w 207"/>
                <a:gd name="T33" fmla="*/ 10554931 h 129"/>
                <a:gd name="T34" fmla="*/ 27666367 w 207"/>
                <a:gd name="T35" fmla="*/ 8502748 h 129"/>
                <a:gd name="T36" fmla="*/ 23792990 w 207"/>
                <a:gd name="T37" fmla="*/ 6743503 h 129"/>
                <a:gd name="T38" fmla="*/ 19735371 w 207"/>
                <a:gd name="T39" fmla="*/ 5277736 h 129"/>
                <a:gd name="T40" fmla="*/ 15677751 w 207"/>
                <a:gd name="T41" fmla="*/ 3811428 h 129"/>
                <a:gd name="T42" fmla="*/ 11620132 w 207"/>
                <a:gd name="T43" fmla="*/ 2052182 h 129"/>
                <a:gd name="T44" fmla="*/ 7562083 w 207"/>
                <a:gd name="T45" fmla="*/ 0 h 129"/>
                <a:gd name="T46" fmla="*/ 0 w 207"/>
                <a:gd name="T47" fmla="*/ 0 h 129"/>
                <a:gd name="T48" fmla="*/ 184242 w 207"/>
                <a:gd name="T49" fmla="*/ 1759245 h 129"/>
                <a:gd name="T50" fmla="*/ 368914 w 207"/>
                <a:gd name="T51" fmla="*/ 3811428 h 129"/>
                <a:gd name="T52" fmla="*/ 737827 w 207"/>
                <a:gd name="T53" fmla="*/ 5570673 h 129"/>
                <a:gd name="T54" fmla="*/ 1106741 w 207"/>
                <a:gd name="T55" fmla="*/ 7329918 h 129"/>
                <a:gd name="T56" fmla="*/ 1844568 w 207"/>
                <a:gd name="T57" fmla="*/ 10261994 h 129"/>
                <a:gd name="T58" fmla="*/ 2397723 w 207"/>
                <a:gd name="T59" fmla="*/ 13487006 h 129"/>
                <a:gd name="T60" fmla="*/ 3135550 w 207"/>
                <a:gd name="T61" fmla="*/ 15832667 h 129"/>
                <a:gd name="T62" fmla="*/ 3319792 w 207"/>
                <a:gd name="T63" fmla="*/ 18177786 h 129"/>
                <a:gd name="T64" fmla="*/ 3135550 w 207"/>
                <a:gd name="T65" fmla="*/ 19057679 h 129"/>
                <a:gd name="T66" fmla="*/ 2582395 w 207"/>
                <a:gd name="T67" fmla="*/ 19937031 h 129"/>
                <a:gd name="T68" fmla="*/ 2028810 w 207"/>
                <a:gd name="T69" fmla="*/ 20816924 h 129"/>
                <a:gd name="T70" fmla="*/ 1290983 w 207"/>
                <a:gd name="T71" fmla="*/ 21403340 h 129"/>
                <a:gd name="T72" fmla="*/ 0 w 207"/>
                <a:gd name="T73" fmla="*/ 30491962 h 129"/>
                <a:gd name="T74" fmla="*/ 737827 w 207"/>
                <a:gd name="T75" fmla="*/ 31078377 h 129"/>
                <a:gd name="T76" fmla="*/ 2397723 w 207"/>
                <a:gd name="T77" fmla="*/ 32251207 h 129"/>
                <a:gd name="T78" fmla="*/ 3504464 w 207"/>
                <a:gd name="T79" fmla="*/ 33130559 h 129"/>
                <a:gd name="T80" fmla="*/ 4611204 w 207"/>
                <a:gd name="T81" fmla="*/ 34303389 h 129"/>
                <a:gd name="T82" fmla="*/ 6086429 w 207"/>
                <a:gd name="T83" fmla="*/ 35769698 h 129"/>
                <a:gd name="T84" fmla="*/ 7562083 w 207"/>
                <a:gd name="T85" fmla="*/ 3782188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8C8C8"/>
            </a:solidFill>
            <a:ln w="9525" cap="flat" cmpd="sng">
              <a:solidFill>
                <a:srgbClr val="C8C8C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B050"/>
                </a:solidFill>
              </a:endParaRPr>
            </a:p>
          </p:txBody>
        </p:sp>
        <p:sp>
          <p:nvSpPr>
            <p:cNvPr id="151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345072" y="3881964"/>
              <a:ext cx="40200" cy="94597"/>
            </a:xfrm>
            <a:custGeom>
              <a:avLst/>
              <a:gdLst>
                <a:gd name="T0" fmla="*/ 15436420 w 72"/>
                <a:gd name="T1" fmla="*/ 0 h 154"/>
                <a:gd name="T2" fmla="*/ 14793274 w 72"/>
                <a:gd name="T3" fmla="*/ 1193762 h 154"/>
                <a:gd name="T4" fmla="*/ 14364511 w 72"/>
                <a:gd name="T5" fmla="*/ 2686374 h 154"/>
                <a:gd name="T6" fmla="*/ 14150129 w 72"/>
                <a:gd name="T7" fmla="*/ 3880136 h 154"/>
                <a:gd name="T8" fmla="*/ 14150129 w 72"/>
                <a:gd name="T9" fmla="*/ 5372748 h 154"/>
                <a:gd name="T10" fmla="*/ 14150129 w 72"/>
                <a:gd name="T11" fmla="*/ 8059123 h 154"/>
                <a:gd name="T12" fmla="*/ 14150129 w 72"/>
                <a:gd name="T13" fmla="*/ 11044347 h 154"/>
                <a:gd name="T14" fmla="*/ 14793274 w 72"/>
                <a:gd name="T15" fmla="*/ 12835263 h 154"/>
                <a:gd name="T16" fmla="*/ 15222038 w 72"/>
                <a:gd name="T17" fmla="*/ 14924483 h 154"/>
                <a:gd name="T18" fmla="*/ 15222038 w 72"/>
                <a:gd name="T19" fmla="*/ 17014250 h 154"/>
                <a:gd name="T20" fmla="*/ 15222038 w 72"/>
                <a:gd name="T21" fmla="*/ 19401774 h 154"/>
                <a:gd name="T22" fmla="*/ 14793274 w 72"/>
                <a:gd name="T23" fmla="*/ 21789844 h 154"/>
                <a:gd name="T24" fmla="*/ 14364511 w 72"/>
                <a:gd name="T25" fmla="*/ 24476218 h 154"/>
                <a:gd name="T26" fmla="*/ 13935747 w 72"/>
                <a:gd name="T27" fmla="*/ 27162592 h 154"/>
                <a:gd name="T28" fmla="*/ 13078220 w 72"/>
                <a:gd name="T29" fmla="*/ 29848967 h 154"/>
                <a:gd name="T30" fmla="*/ 11362702 w 72"/>
                <a:gd name="T31" fmla="*/ 34625107 h 154"/>
                <a:gd name="T32" fmla="*/ 9433265 w 72"/>
                <a:gd name="T33" fmla="*/ 39102398 h 154"/>
                <a:gd name="T34" fmla="*/ 7289446 w 72"/>
                <a:gd name="T35" fmla="*/ 42983080 h 154"/>
                <a:gd name="T36" fmla="*/ 5574391 w 72"/>
                <a:gd name="T37" fmla="*/ 45967758 h 154"/>
                <a:gd name="T38" fmla="*/ 5574391 w 72"/>
                <a:gd name="T39" fmla="*/ 42087622 h 154"/>
                <a:gd name="T40" fmla="*/ 3215728 w 72"/>
                <a:gd name="T41" fmla="*/ 42983080 h 154"/>
                <a:gd name="T42" fmla="*/ 0 w 72"/>
                <a:gd name="T43" fmla="*/ 44176842 h 154"/>
                <a:gd name="T44" fmla="*/ 643146 w 72"/>
                <a:gd name="T45" fmla="*/ 38505243 h 154"/>
                <a:gd name="T46" fmla="*/ 1715055 w 72"/>
                <a:gd name="T47" fmla="*/ 31341579 h 154"/>
                <a:gd name="T48" fmla="*/ 1929437 w 72"/>
                <a:gd name="T49" fmla="*/ 27461443 h 154"/>
                <a:gd name="T50" fmla="*/ 2572582 w 72"/>
                <a:gd name="T51" fmla="*/ 22984152 h 154"/>
                <a:gd name="T52" fmla="*/ 3215728 w 72"/>
                <a:gd name="T53" fmla="*/ 18805166 h 154"/>
                <a:gd name="T54" fmla="*/ 4288100 w 72"/>
                <a:gd name="T55" fmla="*/ 14626179 h 154"/>
                <a:gd name="T56" fmla="*/ 4288100 w 72"/>
                <a:gd name="T57" fmla="*/ 0 h 154"/>
                <a:gd name="T58" fmla="*/ 5360010 w 72"/>
                <a:gd name="T59" fmla="*/ 0 h 154"/>
                <a:gd name="T60" fmla="*/ 8146974 w 72"/>
                <a:gd name="T61" fmla="*/ 0 h 154"/>
                <a:gd name="T62" fmla="*/ 12006310 w 72"/>
                <a:gd name="T63" fmla="*/ 0 h 154"/>
                <a:gd name="T64" fmla="*/ 15436420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2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249360" y="3881964"/>
              <a:ext cx="112941" cy="164207"/>
            </a:xfrm>
            <a:custGeom>
              <a:avLst/>
              <a:gdLst>
                <a:gd name="T0" fmla="*/ 1532309 w 214"/>
                <a:gd name="T1" fmla="*/ 60121941 h 271"/>
                <a:gd name="T2" fmla="*/ 2298683 w 214"/>
                <a:gd name="T3" fmla="*/ 52570455 h 271"/>
                <a:gd name="T4" fmla="*/ 4597365 w 214"/>
                <a:gd name="T5" fmla="*/ 42986126 h 271"/>
                <a:gd name="T6" fmla="*/ 6704783 w 214"/>
                <a:gd name="T7" fmla="*/ 34272707 h 271"/>
                <a:gd name="T8" fmla="*/ 8428795 w 214"/>
                <a:gd name="T9" fmla="*/ 32529808 h 271"/>
                <a:gd name="T10" fmla="*/ 12451489 w 214"/>
                <a:gd name="T11" fmla="*/ 32239325 h 271"/>
                <a:gd name="T12" fmla="*/ 17048854 w 214"/>
                <a:gd name="T13" fmla="*/ 32239325 h 271"/>
                <a:gd name="T14" fmla="*/ 20305613 w 214"/>
                <a:gd name="T15" fmla="*/ 31948842 h 271"/>
                <a:gd name="T16" fmla="*/ 22987264 w 214"/>
                <a:gd name="T17" fmla="*/ 30496965 h 271"/>
                <a:gd name="T18" fmla="*/ 24902978 w 214"/>
                <a:gd name="T19" fmla="*/ 27301649 h 271"/>
                <a:gd name="T20" fmla="*/ 21646657 w 214"/>
                <a:gd name="T21" fmla="*/ 21202580 h 271"/>
                <a:gd name="T22" fmla="*/ 16474184 w 214"/>
                <a:gd name="T23" fmla="*/ 16845870 h 271"/>
                <a:gd name="T24" fmla="*/ 14750172 w 214"/>
                <a:gd name="T25" fmla="*/ 14232061 h 271"/>
                <a:gd name="T26" fmla="*/ 14175501 w 214"/>
                <a:gd name="T27" fmla="*/ 11908195 h 271"/>
                <a:gd name="T28" fmla="*/ 14367204 w 214"/>
                <a:gd name="T29" fmla="*/ 9875351 h 271"/>
                <a:gd name="T30" fmla="*/ 15708248 w 214"/>
                <a:gd name="T31" fmla="*/ 8132452 h 271"/>
                <a:gd name="T32" fmla="*/ 19347537 w 214"/>
                <a:gd name="T33" fmla="*/ 5518642 h 271"/>
                <a:gd name="T34" fmla="*/ 28734408 w 214"/>
                <a:gd name="T35" fmla="*/ 871450 h 271"/>
                <a:gd name="T36" fmla="*/ 34481114 w 214"/>
                <a:gd name="T37" fmla="*/ 0 h 271"/>
                <a:gd name="T38" fmla="*/ 37929138 w 214"/>
                <a:gd name="T39" fmla="*/ 0 h 271"/>
                <a:gd name="T40" fmla="*/ 39653150 w 214"/>
                <a:gd name="T41" fmla="*/ 14232061 h 271"/>
                <a:gd name="T42" fmla="*/ 38120841 w 214"/>
                <a:gd name="T43" fmla="*/ 22364513 h 271"/>
                <a:gd name="T44" fmla="*/ 37354468 w 214"/>
                <a:gd name="T45" fmla="*/ 30496965 h 271"/>
                <a:gd name="T46" fmla="*/ 35822158 w 214"/>
                <a:gd name="T47" fmla="*/ 42986126 h 271"/>
                <a:gd name="T48" fmla="*/ 40802491 w 214"/>
                <a:gd name="T49" fmla="*/ 44728486 h 271"/>
                <a:gd name="T50" fmla="*/ 40994194 w 214"/>
                <a:gd name="T51" fmla="*/ 48213746 h 271"/>
                <a:gd name="T52" fmla="*/ 40227821 w 214"/>
                <a:gd name="T53" fmla="*/ 50537611 h 271"/>
                <a:gd name="T54" fmla="*/ 39653150 w 214"/>
                <a:gd name="T55" fmla="*/ 51409061 h 271"/>
                <a:gd name="T56" fmla="*/ 38312544 w 214"/>
                <a:gd name="T57" fmla="*/ 51699544 h 271"/>
                <a:gd name="T58" fmla="*/ 36779797 w 214"/>
                <a:gd name="T59" fmla="*/ 56927164 h 271"/>
                <a:gd name="T60" fmla="*/ 34672817 w 214"/>
                <a:gd name="T61" fmla="*/ 62155323 h 271"/>
                <a:gd name="T62" fmla="*/ 29692046 w 214"/>
                <a:gd name="T63" fmla="*/ 70578258 h 271"/>
                <a:gd name="T64" fmla="*/ 22987264 w 214"/>
                <a:gd name="T65" fmla="*/ 78710710 h 271"/>
                <a:gd name="T66" fmla="*/ 16665887 w 214"/>
                <a:gd name="T67" fmla="*/ 75806417 h 271"/>
                <a:gd name="T68" fmla="*/ 10535774 w 214"/>
                <a:gd name="T69" fmla="*/ 72030674 h 271"/>
                <a:gd name="T70" fmla="*/ 0 w 214"/>
                <a:gd name="T71" fmla="*/ 64188706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3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306787" y="4006905"/>
              <a:ext cx="86141" cy="64255"/>
            </a:xfrm>
            <a:custGeom>
              <a:avLst/>
              <a:gdLst>
                <a:gd name="T0" fmla="*/ 13080625 w 153"/>
                <a:gd name="T1" fmla="*/ 0 h 80"/>
                <a:gd name="T2" fmla="*/ 18094825 w 153"/>
                <a:gd name="T3" fmla="*/ 7144464 h 80"/>
                <a:gd name="T4" fmla="*/ 22672927 w 153"/>
                <a:gd name="T5" fmla="*/ 12247959 h 80"/>
                <a:gd name="T6" fmla="*/ 25071003 w 153"/>
                <a:gd name="T7" fmla="*/ 14289643 h 80"/>
                <a:gd name="T8" fmla="*/ 27469078 w 153"/>
                <a:gd name="T9" fmla="*/ 15820549 h 80"/>
                <a:gd name="T10" fmla="*/ 28995424 w 153"/>
                <a:gd name="T11" fmla="*/ 16330613 h 80"/>
                <a:gd name="T12" fmla="*/ 30303253 w 153"/>
                <a:gd name="T13" fmla="*/ 16330613 h 80"/>
                <a:gd name="T14" fmla="*/ 31829598 w 153"/>
                <a:gd name="T15" fmla="*/ 15820549 h 80"/>
                <a:gd name="T16" fmla="*/ 33355476 w 153"/>
                <a:gd name="T17" fmla="*/ 15309771 h 80"/>
                <a:gd name="T18" fmla="*/ 33355476 w 153"/>
                <a:gd name="T19" fmla="*/ 28578572 h 80"/>
                <a:gd name="T20" fmla="*/ 32483279 w 153"/>
                <a:gd name="T21" fmla="*/ 30620256 h 80"/>
                <a:gd name="T22" fmla="*/ 31611548 w 153"/>
                <a:gd name="T23" fmla="*/ 33171289 h 80"/>
                <a:gd name="T24" fmla="*/ 30085203 w 153"/>
                <a:gd name="T25" fmla="*/ 35212973 h 80"/>
                <a:gd name="T26" fmla="*/ 28777374 w 153"/>
                <a:gd name="T27" fmla="*/ 36743878 h 80"/>
                <a:gd name="T28" fmla="*/ 27251029 w 153"/>
                <a:gd name="T29" fmla="*/ 38274784 h 80"/>
                <a:gd name="T30" fmla="*/ 25943200 w 153"/>
                <a:gd name="T31" fmla="*/ 39805689 h 80"/>
                <a:gd name="T32" fmla="*/ 24416855 w 153"/>
                <a:gd name="T33" fmla="*/ 40316468 h 80"/>
                <a:gd name="T34" fmla="*/ 23109026 w 153"/>
                <a:gd name="T35" fmla="*/ 40826531 h 80"/>
                <a:gd name="T36" fmla="*/ 19620704 w 153"/>
                <a:gd name="T37" fmla="*/ 37764720 h 80"/>
                <a:gd name="T38" fmla="*/ 16568947 w 153"/>
                <a:gd name="T39" fmla="*/ 36233814 h 80"/>
                <a:gd name="T40" fmla="*/ 13734773 w 153"/>
                <a:gd name="T41" fmla="*/ 35212973 h 80"/>
                <a:gd name="T42" fmla="*/ 10900598 w 153"/>
                <a:gd name="T43" fmla="*/ 35212973 h 80"/>
                <a:gd name="T44" fmla="*/ 8502523 w 153"/>
                <a:gd name="T45" fmla="*/ 34702909 h 80"/>
                <a:gd name="T46" fmla="*/ 5886398 w 153"/>
                <a:gd name="T47" fmla="*/ 34192131 h 80"/>
                <a:gd name="T48" fmla="*/ 3052224 w 153"/>
                <a:gd name="T49" fmla="*/ 33171289 h 80"/>
                <a:gd name="T50" fmla="*/ 0 w 153"/>
                <a:gd name="T51" fmla="*/ 31640383 h 80"/>
                <a:gd name="T52" fmla="*/ 1525878 w 153"/>
                <a:gd name="T53" fmla="*/ 29599414 h 80"/>
                <a:gd name="T54" fmla="*/ 5014201 w 153"/>
                <a:gd name="T55" fmla="*/ 22965013 h 80"/>
                <a:gd name="T56" fmla="*/ 7412276 w 153"/>
                <a:gd name="T57" fmla="*/ 18882360 h 80"/>
                <a:gd name="T58" fmla="*/ 9810352 w 153"/>
                <a:gd name="T59" fmla="*/ 14289643 h 80"/>
                <a:gd name="T60" fmla="*/ 12208427 w 153"/>
                <a:gd name="T61" fmla="*/ 8675370 h 80"/>
                <a:gd name="T62" fmla="*/ 14606503 w 153"/>
                <a:gd name="T63" fmla="*/ 3061811 h 80"/>
                <a:gd name="T64" fmla="*/ 1308062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4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345072" y="3964068"/>
              <a:ext cx="172282" cy="98167"/>
            </a:xfrm>
            <a:custGeom>
              <a:avLst/>
              <a:gdLst>
                <a:gd name="T0" fmla="*/ 0 w 332"/>
                <a:gd name="T1" fmla="*/ 20552418 h 169"/>
                <a:gd name="T2" fmla="*/ 8148609 w 332"/>
                <a:gd name="T3" fmla="*/ 26958742 h 169"/>
                <a:gd name="T4" fmla="*/ 12223128 w 332"/>
                <a:gd name="T5" fmla="*/ 28826909 h 169"/>
                <a:gd name="T6" fmla="*/ 14630486 w 332"/>
                <a:gd name="T7" fmla="*/ 29094012 h 169"/>
                <a:gd name="T8" fmla="*/ 17223323 w 332"/>
                <a:gd name="T9" fmla="*/ 28559807 h 169"/>
                <a:gd name="T10" fmla="*/ 16667746 w 332"/>
                <a:gd name="T11" fmla="*/ 38435879 h 169"/>
                <a:gd name="T12" fmla="*/ 17593851 w 332"/>
                <a:gd name="T13" fmla="*/ 41104836 h 169"/>
                <a:gd name="T14" fmla="*/ 18334477 w 332"/>
                <a:gd name="T15" fmla="*/ 43507208 h 169"/>
                <a:gd name="T16" fmla="*/ 19816160 w 332"/>
                <a:gd name="T17" fmla="*/ 44841687 h 169"/>
                <a:gd name="T18" fmla="*/ 21668371 w 332"/>
                <a:gd name="T19" fmla="*/ 45108789 h 169"/>
                <a:gd name="T20" fmla="*/ 22779525 w 332"/>
                <a:gd name="T21" fmla="*/ 44307998 h 169"/>
                <a:gd name="T22" fmla="*/ 24446257 w 332"/>
                <a:gd name="T23" fmla="*/ 41905627 h 169"/>
                <a:gd name="T24" fmla="*/ 27039094 w 332"/>
                <a:gd name="T25" fmla="*/ 36300610 h 169"/>
                <a:gd name="T26" fmla="*/ 32224337 w 332"/>
                <a:gd name="T27" fmla="*/ 30695076 h 169"/>
                <a:gd name="T28" fmla="*/ 39632320 w 332"/>
                <a:gd name="T29" fmla="*/ 25623747 h 169"/>
                <a:gd name="T30" fmla="*/ 47410831 w 332"/>
                <a:gd name="T31" fmla="*/ 21353209 h 169"/>
                <a:gd name="T32" fmla="*/ 56300066 w 332"/>
                <a:gd name="T33" fmla="*/ 17349773 h 169"/>
                <a:gd name="T34" fmla="*/ 61485740 w 332"/>
                <a:gd name="T35" fmla="*/ 12277927 h 169"/>
                <a:gd name="T36" fmla="*/ 61485740 w 332"/>
                <a:gd name="T37" fmla="*/ 5872119 h 169"/>
                <a:gd name="T38" fmla="*/ 59263431 w 332"/>
                <a:gd name="T39" fmla="*/ 533688 h 169"/>
                <a:gd name="T40" fmla="*/ 52411026 w 332"/>
                <a:gd name="T41" fmla="*/ 267102 h 169"/>
                <a:gd name="T42" fmla="*/ 43336311 w 332"/>
                <a:gd name="T43" fmla="*/ 0 h 169"/>
                <a:gd name="T44" fmla="*/ 33335492 w 332"/>
                <a:gd name="T45" fmla="*/ 267102 h 169"/>
                <a:gd name="T46" fmla="*/ 24260777 w 332"/>
                <a:gd name="T47" fmla="*/ 1067893 h 169"/>
                <a:gd name="T48" fmla="*/ 16667746 w 332"/>
                <a:gd name="T49" fmla="*/ 2668957 h 169"/>
                <a:gd name="T50" fmla="*/ 10926495 w 332"/>
                <a:gd name="T51" fmla="*/ 5071329 h 169"/>
                <a:gd name="T52" fmla="*/ 7778511 w 332"/>
                <a:gd name="T53" fmla="*/ 5872119 h 169"/>
                <a:gd name="T54" fmla="*/ 6481877 w 332"/>
                <a:gd name="T55" fmla="*/ 6139222 h 169"/>
                <a:gd name="T56" fmla="*/ 6296828 w 332"/>
                <a:gd name="T57" fmla="*/ 6940012 h 169"/>
                <a:gd name="T58" fmla="*/ 6111349 w 332"/>
                <a:gd name="T59" fmla="*/ 10142658 h 169"/>
                <a:gd name="T60" fmla="*/ 5370723 w 332"/>
                <a:gd name="T61" fmla="*/ 11744239 h 169"/>
                <a:gd name="T62" fmla="*/ 4259569 w 332"/>
                <a:gd name="T63" fmla="*/ 12277927 h 169"/>
                <a:gd name="T64" fmla="*/ 3518942 w 332"/>
                <a:gd name="T65" fmla="*/ 14680299 h 169"/>
                <a:gd name="T66" fmla="*/ 2037260 w 332"/>
                <a:gd name="T67" fmla="*/ 19217940 h 169"/>
                <a:gd name="T68" fmla="*/ 1296203 w 332"/>
                <a:gd name="T69" fmla="*/ 22153999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5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366129" y="3997980"/>
              <a:ext cx="151224" cy="137435"/>
            </a:xfrm>
            <a:custGeom>
              <a:avLst/>
              <a:gdLst>
                <a:gd name="T0" fmla="*/ 8460486 w 286"/>
                <a:gd name="T1" fmla="*/ 23268914 h 235"/>
                <a:gd name="T2" fmla="*/ 9422125 w 286"/>
                <a:gd name="T3" fmla="*/ 25974795 h 235"/>
                <a:gd name="T4" fmla="*/ 10191260 w 286"/>
                <a:gd name="T5" fmla="*/ 28409672 h 235"/>
                <a:gd name="T6" fmla="*/ 11729530 w 286"/>
                <a:gd name="T7" fmla="*/ 29762612 h 235"/>
                <a:gd name="T8" fmla="*/ 13652368 w 286"/>
                <a:gd name="T9" fmla="*/ 30033096 h 235"/>
                <a:gd name="T10" fmla="*/ 14806071 w 286"/>
                <a:gd name="T11" fmla="*/ 29221124 h 235"/>
                <a:gd name="T12" fmla="*/ 16536405 w 286"/>
                <a:gd name="T13" fmla="*/ 26786247 h 235"/>
                <a:gd name="T14" fmla="*/ 19228378 w 286"/>
                <a:gd name="T15" fmla="*/ 21104521 h 235"/>
                <a:gd name="T16" fmla="*/ 24612324 w 286"/>
                <a:gd name="T17" fmla="*/ 15422274 h 235"/>
                <a:gd name="T18" fmla="*/ 32304114 w 286"/>
                <a:gd name="T19" fmla="*/ 10281516 h 235"/>
                <a:gd name="T20" fmla="*/ 40380033 w 286"/>
                <a:gd name="T21" fmla="*/ 5952731 h 235"/>
                <a:gd name="T22" fmla="*/ 49609655 w 286"/>
                <a:gd name="T23" fmla="*/ 1893909 h 235"/>
                <a:gd name="T24" fmla="*/ 54993601 w 286"/>
                <a:gd name="T25" fmla="*/ 2976365 h 235"/>
                <a:gd name="T26" fmla="*/ 54224465 w 286"/>
                <a:gd name="T27" fmla="*/ 8658092 h 235"/>
                <a:gd name="T28" fmla="*/ 52301628 w 286"/>
                <a:gd name="T29" fmla="*/ 18939608 h 235"/>
                <a:gd name="T30" fmla="*/ 48840519 w 286"/>
                <a:gd name="T31" fmla="*/ 34632886 h 235"/>
                <a:gd name="T32" fmla="*/ 46917682 w 286"/>
                <a:gd name="T33" fmla="*/ 47078795 h 235"/>
                <a:gd name="T34" fmla="*/ 46148546 w 286"/>
                <a:gd name="T35" fmla="*/ 55736887 h 235"/>
                <a:gd name="T36" fmla="*/ 28073871 w 286"/>
                <a:gd name="T37" fmla="*/ 58442768 h 235"/>
                <a:gd name="T38" fmla="*/ 26535162 w 286"/>
                <a:gd name="T39" fmla="*/ 58983736 h 235"/>
                <a:gd name="T40" fmla="*/ 25381459 w 286"/>
                <a:gd name="T41" fmla="*/ 60336677 h 235"/>
                <a:gd name="T42" fmla="*/ 24420260 w 286"/>
                <a:gd name="T43" fmla="*/ 63583526 h 235"/>
                <a:gd name="T44" fmla="*/ 20959152 w 286"/>
                <a:gd name="T45" fmla="*/ 58713252 h 235"/>
                <a:gd name="T46" fmla="*/ 18074676 w 286"/>
                <a:gd name="T47" fmla="*/ 53842978 h 235"/>
                <a:gd name="T48" fmla="*/ 13267800 w 286"/>
                <a:gd name="T49" fmla="*/ 43290978 h 235"/>
                <a:gd name="T50" fmla="*/ 10575827 w 286"/>
                <a:gd name="T51" fmla="*/ 38420704 h 235"/>
                <a:gd name="T52" fmla="*/ 7883854 w 286"/>
                <a:gd name="T53" fmla="*/ 33820914 h 235"/>
                <a:gd name="T54" fmla="*/ 4230243 w 286"/>
                <a:gd name="T55" fmla="*/ 29762612 h 235"/>
                <a:gd name="T56" fmla="*/ 0 w 286"/>
                <a:gd name="T57" fmla="*/ 26786247 h 235"/>
                <a:gd name="T58" fmla="*/ 2499908 w 286"/>
                <a:gd name="T59" fmla="*/ 26245279 h 235"/>
                <a:gd name="T60" fmla="*/ 4999378 w 286"/>
                <a:gd name="T61" fmla="*/ 24621854 h 235"/>
                <a:gd name="T62" fmla="*/ 7499287 w 286"/>
                <a:gd name="T63" fmla="*/ 22727945 h 235"/>
                <a:gd name="T64" fmla="*/ 9037557 w 286"/>
                <a:gd name="T65" fmla="*/ 20292548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6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427385" y="4124705"/>
              <a:ext cx="101454" cy="112446"/>
            </a:xfrm>
            <a:custGeom>
              <a:avLst/>
              <a:gdLst>
                <a:gd name="T0" fmla="*/ 31668346 w 205"/>
                <a:gd name="T1" fmla="*/ 50723364 h 191"/>
                <a:gd name="T2" fmla="*/ 29478321 w 205"/>
                <a:gd name="T3" fmla="*/ 50723364 h 191"/>
                <a:gd name="T4" fmla="*/ 26614790 w 205"/>
                <a:gd name="T5" fmla="*/ 50723364 h 191"/>
                <a:gd name="T6" fmla="*/ 24256492 w 205"/>
                <a:gd name="T7" fmla="*/ 49352518 h 191"/>
                <a:gd name="T8" fmla="*/ 22909069 w 205"/>
                <a:gd name="T9" fmla="*/ 47433440 h 191"/>
                <a:gd name="T10" fmla="*/ 21729919 w 205"/>
                <a:gd name="T11" fmla="*/ 44691750 h 191"/>
                <a:gd name="T12" fmla="*/ 20213812 w 205"/>
                <a:gd name="T13" fmla="*/ 40304836 h 191"/>
                <a:gd name="T14" fmla="*/ 18529430 w 205"/>
                <a:gd name="T15" fmla="*/ 35917922 h 191"/>
                <a:gd name="T16" fmla="*/ 16676364 w 205"/>
                <a:gd name="T17" fmla="*/ 33175708 h 191"/>
                <a:gd name="T18" fmla="*/ 15665489 w 205"/>
                <a:gd name="T19" fmla="*/ 34547077 h 191"/>
                <a:gd name="T20" fmla="*/ 15160256 w 205"/>
                <a:gd name="T21" fmla="*/ 37014389 h 191"/>
                <a:gd name="T22" fmla="*/ 14149791 w 205"/>
                <a:gd name="T23" fmla="*/ 35643544 h 191"/>
                <a:gd name="T24" fmla="*/ 12128451 w 205"/>
                <a:gd name="T25" fmla="*/ 30982251 h 191"/>
                <a:gd name="T26" fmla="*/ 9433194 w 205"/>
                <a:gd name="T27" fmla="*/ 23853647 h 191"/>
                <a:gd name="T28" fmla="*/ 6906211 w 205"/>
                <a:gd name="T29" fmla="*/ 18370267 h 191"/>
                <a:gd name="T30" fmla="*/ 5221830 w 205"/>
                <a:gd name="T31" fmla="*/ 15902432 h 191"/>
                <a:gd name="T32" fmla="*/ 4379639 w 205"/>
                <a:gd name="T33" fmla="*/ 16450665 h 191"/>
                <a:gd name="T34" fmla="*/ 4884871 w 205"/>
                <a:gd name="T35" fmla="*/ 18918500 h 191"/>
                <a:gd name="T36" fmla="*/ 5727062 w 205"/>
                <a:gd name="T37" fmla="*/ 21386336 h 191"/>
                <a:gd name="T38" fmla="*/ 6906211 w 205"/>
                <a:gd name="T39" fmla="*/ 23031036 h 191"/>
                <a:gd name="T40" fmla="*/ 7748812 w 205"/>
                <a:gd name="T41" fmla="*/ 28788795 h 191"/>
                <a:gd name="T42" fmla="*/ 2190025 w 205"/>
                <a:gd name="T43" fmla="*/ 26869716 h 191"/>
                <a:gd name="T44" fmla="*/ 673917 w 205"/>
                <a:gd name="T45" fmla="*/ 23031036 h 191"/>
                <a:gd name="T46" fmla="*/ 0 w 205"/>
                <a:gd name="T47" fmla="*/ 16450665 h 191"/>
                <a:gd name="T48" fmla="*/ 0 w 205"/>
                <a:gd name="T49" fmla="*/ 10419051 h 191"/>
                <a:gd name="T50" fmla="*/ 505232 w 205"/>
                <a:gd name="T51" fmla="*/ 7676837 h 191"/>
                <a:gd name="T52" fmla="*/ 1347423 w 205"/>
                <a:gd name="T53" fmla="*/ 6032137 h 191"/>
                <a:gd name="T54" fmla="*/ 2358299 w 205"/>
                <a:gd name="T55" fmla="*/ 3564302 h 191"/>
                <a:gd name="T56" fmla="*/ 3368763 w 205"/>
                <a:gd name="T57" fmla="*/ 1096467 h 191"/>
                <a:gd name="T58" fmla="*/ 4716597 w 205"/>
                <a:gd name="T59" fmla="*/ 0 h 191"/>
                <a:gd name="T60" fmla="*/ 21224276 w 205"/>
                <a:gd name="T61" fmla="*/ 1645224 h 191"/>
                <a:gd name="T62" fmla="*/ 21392961 w 205"/>
                <a:gd name="T63" fmla="*/ 5757759 h 191"/>
                <a:gd name="T64" fmla="*/ 21898193 w 205"/>
                <a:gd name="T65" fmla="*/ 10144673 h 191"/>
                <a:gd name="T66" fmla="*/ 24088218 w 205"/>
                <a:gd name="T67" fmla="*/ 19192879 h 191"/>
                <a:gd name="T68" fmla="*/ 27793940 w 205"/>
                <a:gd name="T69" fmla="*/ 27966706 h 191"/>
                <a:gd name="T70" fmla="*/ 29815280 w 205"/>
                <a:gd name="T71" fmla="*/ 32079242 h 191"/>
                <a:gd name="T72" fmla="*/ 32341852 w 205"/>
                <a:gd name="T73" fmla="*/ 35643544 h 191"/>
                <a:gd name="T74" fmla="*/ 31836620 w 205"/>
                <a:gd name="T75" fmla="*/ 39207846 h 191"/>
                <a:gd name="T76" fmla="*/ 31836620 w 205"/>
                <a:gd name="T77" fmla="*/ 42772148 h 191"/>
                <a:gd name="T78" fmla="*/ 32341852 w 205"/>
                <a:gd name="T79" fmla="*/ 52368587 h 191"/>
                <a:gd name="T80" fmla="*/ 34531877 w 205"/>
                <a:gd name="T81" fmla="*/ 50723364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7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525011" y="4185391"/>
              <a:ext cx="172282" cy="89243"/>
            </a:xfrm>
            <a:custGeom>
              <a:avLst/>
              <a:gdLst>
                <a:gd name="T0" fmla="*/ 565854 w 329"/>
                <a:gd name="T1" fmla="*/ 15408028 h 154"/>
                <a:gd name="T2" fmla="*/ 0 w 329"/>
                <a:gd name="T3" fmla="*/ 11157857 h 154"/>
                <a:gd name="T4" fmla="*/ 377381 w 329"/>
                <a:gd name="T5" fmla="*/ 8235414 h 154"/>
                <a:gd name="T6" fmla="*/ 3206219 w 329"/>
                <a:gd name="T7" fmla="*/ 8766814 h 154"/>
                <a:gd name="T8" fmla="*/ 6789385 w 329"/>
                <a:gd name="T9" fmla="*/ 10891899 h 154"/>
                <a:gd name="T10" fmla="*/ 9240842 w 329"/>
                <a:gd name="T11" fmla="*/ 11423300 h 154"/>
                <a:gd name="T12" fmla="*/ 12635535 w 329"/>
                <a:gd name="T13" fmla="*/ 11423300 h 154"/>
                <a:gd name="T14" fmla="*/ 16218701 w 329"/>
                <a:gd name="T15" fmla="*/ 10360499 h 154"/>
                <a:gd name="T16" fmla="*/ 20745103 w 329"/>
                <a:gd name="T17" fmla="*/ 7969972 h 154"/>
                <a:gd name="T18" fmla="*/ 26402779 w 329"/>
                <a:gd name="T19" fmla="*/ 3453328 h 154"/>
                <a:gd name="T20" fmla="*/ 30551799 w 329"/>
                <a:gd name="T21" fmla="*/ 1062800 h 154"/>
                <a:gd name="T22" fmla="*/ 33757584 w 329"/>
                <a:gd name="T23" fmla="*/ 0 h 154"/>
                <a:gd name="T24" fmla="*/ 38283986 w 329"/>
                <a:gd name="T25" fmla="*/ 0 h 154"/>
                <a:gd name="T26" fmla="*/ 42244533 w 329"/>
                <a:gd name="T27" fmla="*/ 1594200 h 154"/>
                <a:gd name="T28" fmla="*/ 45827699 w 329"/>
                <a:gd name="T29" fmla="*/ 3984728 h 154"/>
                <a:gd name="T30" fmla="*/ 48845011 w 329"/>
                <a:gd name="T31" fmla="*/ 7438571 h 154"/>
                <a:gd name="T32" fmla="*/ 52805558 w 329"/>
                <a:gd name="T33" fmla="*/ 12220142 h 154"/>
                <a:gd name="T34" fmla="*/ 56954578 w 329"/>
                <a:gd name="T35" fmla="*/ 16205386 h 154"/>
                <a:gd name="T36" fmla="*/ 60160363 w 329"/>
                <a:gd name="T37" fmla="*/ 17799071 h 154"/>
                <a:gd name="T38" fmla="*/ 59029089 w 329"/>
                <a:gd name="T39" fmla="*/ 21784314 h 154"/>
                <a:gd name="T40" fmla="*/ 55257015 w 329"/>
                <a:gd name="T41" fmla="*/ 28160085 h 154"/>
                <a:gd name="T42" fmla="*/ 52239703 w 329"/>
                <a:gd name="T43" fmla="*/ 36660942 h 154"/>
                <a:gd name="T44" fmla="*/ 49976720 w 329"/>
                <a:gd name="T45" fmla="*/ 40646185 h 154"/>
                <a:gd name="T46" fmla="*/ 47713302 w 329"/>
                <a:gd name="T47" fmla="*/ 38786542 h 154"/>
                <a:gd name="T48" fmla="*/ 45261845 w 329"/>
                <a:gd name="T49" fmla="*/ 36129541 h 154"/>
                <a:gd name="T50" fmla="*/ 43375808 w 329"/>
                <a:gd name="T51" fmla="*/ 33473056 h 154"/>
                <a:gd name="T52" fmla="*/ 43375808 w 329"/>
                <a:gd name="T53" fmla="*/ 30285170 h 154"/>
                <a:gd name="T54" fmla="*/ 44319043 w 329"/>
                <a:gd name="T55" fmla="*/ 26565885 h 154"/>
                <a:gd name="T56" fmla="*/ 46958974 w 329"/>
                <a:gd name="T57" fmla="*/ 22846599 h 154"/>
                <a:gd name="T58" fmla="*/ 43941662 w 329"/>
                <a:gd name="T59" fmla="*/ 18065028 h 154"/>
                <a:gd name="T60" fmla="*/ 39038314 w 329"/>
                <a:gd name="T61" fmla="*/ 14611185 h 154"/>
                <a:gd name="T62" fmla="*/ 36775330 w 329"/>
                <a:gd name="T63" fmla="*/ 10891899 h 154"/>
                <a:gd name="T64" fmla="*/ 33757584 w 329"/>
                <a:gd name="T65" fmla="*/ 9032256 h 154"/>
                <a:gd name="T66" fmla="*/ 30740273 w 329"/>
                <a:gd name="T67" fmla="*/ 10891899 h 154"/>
                <a:gd name="T68" fmla="*/ 28288816 w 329"/>
                <a:gd name="T69" fmla="*/ 13282942 h 154"/>
                <a:gd name="T70" fmla="*/ 26402779 w 329"/>
                <a:gd name="T71" fmla="*/ 16205386 h 154"/>
                <a:gd name="T72" fmla="*/ 24894123 w 329"/>
                <a:gd name="T73" fmla="*/ 19658713 h 154"/>
                <a:gd name="T74" fmla="*/ 24139795 w 329"/>
                <a:gd name="T75" fmla="*/ 23377999 h 154"/>
                <a:gd name="T76" fmla="*/ 23196560 w 329"/>
                <a:gd name="T77" fmla="*/ 28956928 h 154"/>
                <a:gd name="T78" fmla="*/ 23008086 w 329"/>
                <a:gd name="T79" fmla="*/ 33207614 h 154"/>
                <a:gd name="T80" fmla="*/ 22253758 w 329"/>
                <a:gd name="T81" fmla="*/ 34269899 h 154"/>
                <a:gd name="T82" fmla="*/ 20367722 w 329"/>
                <a:gd name="T83" fmla="*/ 35864099 h 154"/>
                <a:gd name="T84" fmla="*/ 18104738 w 329"/>
                <a:gd name="T85" fmla="*/ 35864099 h 154"/>
                <a:gd name="T86" fmla="*/ 15652847 w 329"/>
                <a:gd name="T87" fmla="*/ 34269899 h 154"/>
                <a:gd name="T88" fmla="*/ 12447062 w 329"/>
                <a:gd name="T89" fmla="*/ 30816571 h 154"/>
                <a:gd name="T90" fmla="*/ 9052369 w 329"/>
                <a:gd name="T91" fmla="*/ 24972200 h 154"/>
                <a:gd name="T92" fmla="*/ 6223531 w 329"/>
                <a:gd name="T93" fmla="*/ 21252914 h 154"/>
                <a:gd name="T94" fmla="*/ 4149021 w 329"/>
                <a:gd name="T95" fmla="*/ 19658713 h 154"/>
                <a:gd name="T96" fmla="*/ 565854 w 329"/>
                <a:gd name="T97" fmla="*/ 19393271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8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346221" y="5595431"/>
              <a:ext cx="160796" cy="174916"/>
            </a:xfrm>
            <a:custGeom>
              <a:avLst/>
              <a:gdLst>
                <a:gd name="T0" fmla="*/ 56402692 w 306"/>
                <a:gd name="T1" fmla="*/ 51029662 h 293"/>
                <a:gd name="T2" fmla="*/ 56212690 w 306"/>
                <a:gd name="T3" fmla="*/ 52157448 h 293"/>
                <a:gd name="T4" fmla="*/ 55263116 w 306"/>
                <a:gd name="T5" fmla="*/ 54694966 h 293"/>
                <a:gd name="T6" fmla="*/ 53553970 w 306"/>
                <a:gd name="T7" fmla="*/ 56104699 h 293"/>
                <a:gd name="T8" fmla="*/ 51654822 w 306"/>
                <a:gd name="T9" fmla="*/ 56668592 h 293"/>
                <a:gd name="T10" fmla="*/ 49945676 w 306"/>
                <a:gd name="T11" fmla="*/ 58359740 h 293"/>
                <a:gd name="T12" fmla="*/ 48046528 w 306"/>
                <a:gd name="T13" fmla="*/ 64562563 h 293"/>
                <a:gd name="T14" fmla="*/ 45957814 w 306"/>
                <a:gd name="T15" fmla="*/ 71610695 h 293"/>
                <a:gd name="T16" fmla="*/ 43868664 w 306"/>
                <a:gd name="T17" fmla="*/ 75275999 h 293"/>
                <a:gd name="T18" fmla="*/ 41969516 w 306"/>
                <a:gd name="T19" fmla="*/ 76967678 h 293"/>
                <a:gd name="T20" fmla="*/ 37981653 w 306"/>
                <a:gd name="T21" fmla="*/ 79222719 h 293"/>
                <a:gd name="T22" fmla="*/ 31145069 w 306"/>
                <a:gd name="T23" fmla="*/ 81760238 h 293"/>
                <a:gd name="T24" fmla="*/ 26397199 w 306"/>
                <a:gd name="T25" fmla="*/ 82606077 h 293"/>
                <a:gd name="T26" fmla="*/ 23358475 w 306"/>
                <a:gd name="T27" fmla="*/ 82606077 h 293"/>
                <a:gd name="T28" fmla="*/ 20130185 w 306"/>
                <a:gd name="T29" fmla="*/ 81760238 h 293"/>
                <a:gd name="T30" fmla="*/ 17471465 w 306"/>
                <a:gd name="T31" fmla="*/ 80632452 h 293"/>
                <a:gd name="T32" fmla="*/ 15192749 w 306"/>
                <a:gd name="T33" fmla="*/ 78376880 h 293"/>
                <a:gd name="T34" fmla="*/ 13483602 w 306"/>
                <a:gd name="T35" fmla="*/ 75557946 h 293"/>
                <a:gd name="T36" fmla="*/ 190002 w 306"/>
                <a:gd name="T37" fmla="*/ 66536189 h 293"/>
                <a:gd name="T38" fmla="*/ 0 w 306"/>
                <a:gd name="T39" fmla="*/ 24810230 h 293"/>
                <a:gd name="T40" fmla="*/ 190002 w 306"/>
                <a:gd name="T41" fmla="*/ 13814848 h 293"/>
                <a:gd name="T42" fmla="*/ 759572 w 306"/>
                <a:gd name="T43" fmla="*/ 9867597 h 293"/>
                <a:gd name="T44" fmla="*/ 2089150 w 306"/>
                <a:gd name="T45" fmla="*/ 5920346 h 293"/>
                <a:gd name="T46" fmla="*/ 3798296 w 306"/>
                <a:gd name="T47" fmla="*/ 2255572 h 293"/>
                <a:gd name="T48" fmla="*/ 7786158 w 306"/>
                <a:gd name="T49" fmla="*/ 563893 h 293"/>
                <a:gd name="T50" fmla="*/ 10065310 w 306"/>
                <a:gd name="T51" fmla="*/ 0 h 293"/>
                <a:gd name="T52" fmla="*/ 13673169 w 306"/>
                <a:gd name="T53" fmla="*/ 1691679 h 293"/>
                <a:gd name="T54" fmla="*/ 15192749 w 306"/>
                <a:gd name="T55" fmla="*/ 1973626 h 293"/>
                <a:gd name="T56" fmla="*/ 15952321 w 306"/>
                <a:gd name="T57" fmla="*/ 1127786 h 293"/>
                <a:gd name="T58" fmla="*/ 16521891 w 306"/>
                <a:gd name="T59" fmla="*/ 1409733 h 293"/>
                <a:gd name="T60" fmla="*/ 17091897 w 306"/>
                <a:gd name="T61" fmla="*/ 3101412 h 293"/>
                <a:gd name="T62" fmla="*/ 18801043 w 306"/>
                <a:gd name="T63" fmla="*/ 5356453 h 293"/>
                <a:gd name="T64" fmla="*/ 22978907 w 306"/>
                <a:gd name="T65" fmla="*/ 8739811 h 293"/>
                <a:gd name="T66" fmla="*/ 28106345 w 306"/>
                <a:gd name="T67" fmla="*/ 11559276 h 293"/>
                <a:gd name="T68" fmla="*/ 34563361 w 306"/>
                <a:gd name="T69" fmla="*/ 16633782 h 293"/>
                <a:gd name="T70" fmla="*/ 39880801 w 306"/>
                <a:gd name="T71" fmla="*/ 22272712 h 293"/>
                <a:gd name="T72" fmla="*/ 45767812 w 306"/>
                <a:gd name="T73" fmla="*/ 28756950 h 293"/>
                <a:gd name="T74" fmla="*/ 49566108 w 306"/>
                <a:gd name="T75" fmla="*/ 32986148 h 293"/>
                <a:gd name="T76" fmla="*/ 50515682 w 306"/>
                <a:gd name="T77" fmla="*/ 34959773 h 293"/>
                <a:gd name="T78" fmla="*/ 53174402 w 306"/>
                <a:gd name="T79" fmla="*/ 38060654 h 293"/>
                <a:gd name="T80" fmla="*/ 56782696 w 306"/>
                <a:gd name="T81" fmla="*/ 42571798 h 293"/>
                <a:gd name="T82" fmla="*/ 58111838 w 306"/>
                <a:gd name="T83" fmla="*/ 45391263 h 293"/>
                <a:gd name="T84" fmla="*/ 57731834 w 306"/>
                <a:gd name="T85" fmla="*/ 46800464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59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210693" y="1791892"/>
              <a:ext cx="285221" cy="103522"/>
            </a:xfrm>
            <a:custGeom>
              <a:avLst/>
              <a:gdLst>
                <a:gd name="T0" fmla="*/ 13888101 w 546"/>
                <a:gd name="T1" fmla="*/ 5381864 h 173"/>
                <a:gd name="T2" fmla="*/ 17641501 w 546"/>
                <a:gd name="T3" fmla="*/ 9631151 h 173"/>
                <a:gd name="T4" fmla="*/ 20644568 w 546"/>
                <a:gd name="T5" fmla="*/ 7648079 h 173"/>
                <a:gd name="T6" fmla="*/ 24773568 w 546"/>
                <a:gd name="T7" fmla="*/ 7648079 h 173"/>
                <a:gd name="T8" fmla="*/ 30216085 w 546"/>
                <a:gd name="T9" fmla="*/ 12463655 h 173"/>
                <a:gd name="T10" fmla="*/ 39224853 w 546"/>
                <a:gd name="T11" fmla="*/ 5381864 h 173"/>
                <a:gd name="T12" fmla="*/ 45605720 w 546"/>
                <a:gd name="T13" fmla="*/ 5381864 h 173"/>
                <a:gd name="T14" fmla="*/ 48796370 w 546"/>
                <a:gd name="T15" fmla="*/ 4532432 h 173"/>
                <a:gd name="T16" fmla="*/ 50485487 w 546"/>
                <a:gd name="T17" fmla="*/ 3965612 h 173"/>
                <a:gd name="T18" fmla="*/ 52362187 w 546"/>
                <a:gd name="T19" fmla="*/ 3115648 h 173"/>
                <a:gd name="T20" fmla="*/ 53675704 w 546"/>
                <a:gd name="T21" fmla="*/ 849964 h 173"/>
                <a:gd name="T22" fmla="*/ 60244588 w 546"/>
                <a:gd name="T23" fmla="*/ 1416252 h 173"/>
                <a:gd name="T24" fmla="*/ 62496888 w 546"/>
                <a:gd name="T25" fmla="*/ 3399324 h 173"/>
                <a:gd name="T26" fmla="*/ 65311938 w 546"/>
                <a:gd name="T27" fmla="*/ 1983072 h 173"/>
                <a:gd name="T28" fmla="*/ 66250288 w 546"/>
                <a:gd name="T29" fmla="*/ 0 h 173"/>
                <a:gd name="T30" fmla="*/ 68877755 w 546"/>
                <a:gd name="T31" fmla="*/ 1983072 h 173"/>
                <a:gd name="T32" fmla="*/ 73006755 w 546"/>
                <a:gd name="T33" fmla="*/ 1983072 h 173"/>
                <a:gd name="T34" fmla="*/ 81827506 w 546"/>
                <a:gd name="T35" fmla="*/ 283144 h 173"/>
                <a:gd name="T36" fmla="*/ 90460673 w 546"/>
                <a:gd name="T37" fmla="*/ 1699396 h 173"/>
                <a:gd name="T38" fmla="*/ 99093840 w 546"/>
                <a:gd name="T39" fmla="*/ 3399324 h 173"/>
                <a:gd name="T40" fmla="*/ 102284491 w 546"/>
                <a:gd name="T41" fmla="*/ 13879907 h 173"/>
                <a:gd name="T42" fmla="*/ 100782957 w 546"/>
                <a:gd name="T43" fmla="*/ 16996087 h 173"/>
                <a:gd name="T44" fmla="*/ 96278790 w 546"/>
                <a:gd name="T45" fmla="*/ 17562375 h 173"/>
                <a:gd name="T46" fmla="*/ 90648256 w 546"/>
                <a:gd name="T47" fmla="*/ 15296159 h 173"/>
                <a:gd name="T48" fmla="*/ 77510922 w 546"/>
                <a:gd name="T49" fmla="*/ 12463655 h 173"/>
                <a:gd name="T50" fmla="*/ 82202673 w 546"/>
                <a:gd name="T51" fmla="*/ 22944238 h 173"/>
                <a:gd name="T52" fmla="*/ 88396390 w 546"/>
                <a:gd name="T53" fmla="*/ 28892922 h 173"/>
                <a:gd name="T54" fmla="*/ 92524957 w 546"/>
                <a:gd name="T55" fmla="*/ 33708498 h 173"/>
                <a:gd name="T56" fmla="*/ 89147156 w 546"/>
                <a:gd name="T57" fmla="*/ 38524074 h 173"/>
                <a:gd name="T58" fmla="*/ 84267389 w 546"/>
                <a:gd name="T59" fmla="*/ 40223469 h 173"/>
                <a:gd name="T60" fmla="*/ 79950806 w 546"/>
                <a:gd name="T61" fmla="*/ 39940325 h 173"/>
                <a:gd name="T62" fmla="*/ 77323339 w 546"/>
                <a:gd name="T63" fmla="*/ 37957253 h 173"/>
                <a:gd name="T64" fmla="*/ 74883455 w 546"/>
                <a:gd name="T65" fmla="*/ 36824146 h 173"/>
                <a:gd name="T66" fmla="*/ 72255988 w 546"/>
                <a:gd name="T67" fmla="*/ 34274786 h 173"/>
                <a:gd name="T68" fmla="*/ 70379288 w 546"/>
                <a:gd name="T69" fmla="*/ 29459210 h 173"/>
                <a:gd name="T70" fmla="*/ 68502588 w 546"/>
                <a:gd name="T71" fmla="*/ 26060418 h 173"/>
                <a:gd name="T72" fmla="*/ 64561171 w 546"/>
                <a:gd name="T73" fmla="*/ 23794202 h 173"/>
                <a:gd name="T74" fmla="*/ 60995354 w 546"/>
                <a:gd name="T75" fmla="*/ 21527987 h 173"/>
                <a:gd name="T76" fmla="*/ 56866354 w 546"/>
                <a:gd name="T77" fmla="*/ 24644166 h 173"/>
                <a:gd name="T78" fmla="*/ 48420770 w 546"/>
                <a:gd name="T79" fmla="*/ 37957253 h 173"/>
                <a:gd name="T80" fmla="*/ 44291770 w 546"/>
                <a:gd name="T81" fmla="*/ 46172153 h 173"/>
                <a:gd name="T82" fmla="*/ 41289136 w 546"/>
                <a:gd name="T83" fmla="*/ 48721513 h 173"/>
                <a:gd name="T84" fmla="*/ 35283436 w 546"/>
                <a:gd name="T85" fmla="*/ 47305261 h 173"/>
                <a:gd name="T86" fmla="*/ 30966852 w 546"/>
                <a:gd name="T87" fmla="*/ 43905937 h 173"/>
                <a:gd name="T88" fmla="*/ 21207751 w 546"/>
                <a:gd name="T89" fmla="*/ 29742886 h 173"/>
                <a:gd name="T90" fmla="*/ 17829518 w 546"/>
                <a:gd name="T91" fmla="*/ 25777274 h 173"/>
                <a:gd name="T92" fmla="*/ 11260634 w 546"/>
                <a:gd name="T93" fmla="*/ 21527987 h 173"/>
                <a:gd name="T94" fmla="*/ 3002634 w 546"/>
                <a:gd name="T95" fmla="*/ 16429267 h 173"/>
                <a:gd name="T96" fmla="*/ 2064284 w 546"/>
                <a:gd name="T97" fmla="*/ 9631151 h 173"/>
                <a:gd name="T98" fmla="*/ 5254934 w 546"/>
                <a:gd name="T99" fmla="*/ 5381864 h 173"/>
                <a:gd name="T100" fmla="*/ 8820751 w 546"/>
                <a:gd name="T101" fmla="*/ 3399324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0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22637" y="2050697"/>
              <a:ext cx="541730" cy="406948"/>
            </a:xfrm>
            <a:custGeom>
              <a:avLst/>
              <a:gdLst>
                <a:gd name="T0" fmla="*/ 45045772 w 1037"/>
                <a:gd name="T1" fmla="*/ 171155139 h 690"/>
                <a:gd name="T2" fmla="*/ 29091989 w 1037"/>
                <a:gd name="T3" fmla="*/ 187940177 h 690"/>
                <a:gd name="T4" fmla="*/ 6005901 w 1037"/>
                <a:gd name="T5" fmla="*/ 179960491 h 690"/>
                <a:gd name="T6" fmla="*/ 12575437 w 1037"/>
                <a:gd name="T7" fmla="*/ 174456753 h 690"/>
                <a:gd name="T8" fmla="*/ 3378346 w 1037"/>
                <a:gd name="T9" fmla="*/ 164000594 h 690"/>
                <a:gd name="T10" fmla="*/ 8258276 w 1037"/>
                <a:gd name="T11" fmla="*/ 163725197 h 690"/>
                <a:gd name="T12" fmla="*/ 12575437 w 1037"/>
                <a:gd name="T13" fmla="*/ 156020383 h 690"/>
                <a:gd name="T14" fmla="*/ 1501584 w 1037"/>
                <a:gd name="T15" fmla="*/ 150242298 h 690"/>
                <a:gd name="T16" fmla="*/ 13888998 w 1037"/>
                <a:gd name="T17" fmla="*/ 143913418 h 690"/>
                <a:gd name="T18" fmla="*/ 0 w 1037"/>
                <a:gd name="T19" fmla="*/ 137309142 h 690"/>
                <a:gd name="T20" fmla="*/ 3753959 w 1037"/>
                <a:gd name="T21" fmla="*/ 125477049 h 690"/>
                <a:gd name="T22" fmla="*/ 6944715 w 1037"/>
                <a:gd name="T23" fmla="*/ 126852984 h 690"/>
                <a:gd name="T24" fmla="*/ 14452200 w 1037"/>
                <a:gd name="T25" fmla="*/ 123550846 h 690"/>
                <a:gd name="T26" fmla="*/ 17267344 w 1037"/>
                <a:gd name="T27" fmla="*/ 116671697 h 690"/>
                <a:gd name="T28" fmla="*/ 24399649 w 1037"/>
                <a:gd name="T29" fmla="*/ 112543894 h 690"/>
                <a:gd name="T30" fmla="*/ 41291813 w 1037"/>
                <a:gd name="T31" fmla="*/ 105114477 h 690"/>
                <a:gd name="T32" fmla="*/ 42605807 w 1037"/>
                <a:gd name="T33" fmla="*/ 93282383 h 690"/>
                <a:gd name="T34" fmla="*/ 53116459 w 1037"/>
                <a:gd name="T35" fmla="*/ 89429977 h 690"/>
                <a:gd name="T36" fmla="*/ 52928869 w 1037"/>
                <a:gd name="T37" fmla="*/ 85302173 h 690"/>
                <a:gd name="T38" fmla="*/ 55931603 w 1037"/>
                <a:gd name="T39" fmla="*/ 78423025 h 690"/>
                <a:gd name="T40" fmla="*/ 62876318 w 1037"/>
                <a:gd name="T41" fmla="*/ 66865804 h 690"/>
                <a:gd name="T42" fmla="*/ 64377902 w 1037"/>
                <a:gd name="T43" fmla="*/ 62188256 h 690"/>
                <a:gd name="T44" fmla="*/ 73199380 w 1037"/>
                <a:gd name="T45" fmla="*/ 55033711 h 690"/>
                <a:gd name="T46" fmla="*/ 72636178 w 1037"/>
                <a:gd name="T47" fmla="*/ 43201618 h 690"/>
                <a:gd name="T48" fmla="*/ 70008623 w 1037"/>
                <a:gd name="T49" fmla="*/ 39073814 h 690"/>
                <a:gd name="T50" fmla="*/ 62688728 w 1037"/>
                <a:gd name="T51" fmla="*/ 42375952 h 690"/>
                <a:gd name="T52" fmla="*/ 73199380 w 1037"/>
                <a:gd name="T53" fmla="*/ 28342259 h 690"/>
                <a:gd name="T54" fmla="*/ 77140928 w 1037"/>
                <a:gd name="T55" fmla="*/ 26416055 h 690"/>
                <a:gd name="T56" fmla="*/ 86900788 w 1037"/>
                <a:gd name="T57" fmla="*/ 31369000 h 690"/>
                <a:gd name="T58" fmla="*/ 87463557 w 1037"/>
                <a:gd name="T59" fmla="*/ 25040121 h 690"/>
                <a:gd name="T60" fmla="*/ 104731334 w 1037"/>
                <a:gd name="T61" fmla="*/ 16785038 h 690"/>
                <a:gd name="T62" fmla="*/ 110924824 w 1037"/>
                <a:gd name="T63" fmla="*/ 17335831 h 690"/>
                <a:gd name="T64" fmla="*/ 121060296 w 1037"/>
                <a:gd name="T65" fmla="*/ 15134231 h 690"/>
                <a:gd name="T66" fmla="*/ 121060296 w 1037"/>
                <a:gd name="T67" fmla="*/ 9080748 h 690"/>
                <a:gd name="T68" fmla="*/ 131195335 w 1037"/>
                <a:gd name="T69" fmla="*/ 3577010 h 690"/>
                <a:gd name="T70" fmla="*/ 132321739 w 1037"/>
                <a:gd name="T71" fmla="*/ 7979686 h 690"/>
                <a:gd name="T72" fmla="*/ 133635300 w 1037"/>
                <a:gd name="T73" fmla="*/ 11006952 h 690"/>
                <a:gd name="T74" fmla="*/ 142269188 w 1037"/>
                <a:gd name="T75" fmla="*/ 3302138 h 690"/>
                <a:gd name="T76" fmla="*/ 153343042 w 1037"/>
                <a:gd name="T77" fmla="*/ 1650807 h 690"/>
                <a:gd name="T78" fmla="*/ 158410561 w 1037"/>
                <a:gd name="T79" fmla="*/ 2201600 h 690"/>
                <a:gd name="T80" fmla="*/ 161788907 w 1037"/>
                <a:gd name="T81" fmla="*/ 3026741 h 690"/>
                <a:gd name="T82" fmla="*/ 173425963 w 1037"/>
                <a:gd name="T83" fmla="*/ 1650807 h 690"/>
                <a:gd name="T84" fmla="*/ 194634855 w 1037"/>
                <a:gd name="T85" fmla="*/ 11832093 h 690"/>
                <a:gd name="T86" fmla="*/ 188628954 w 1037"/>
                <a:gd name="T87" fmla="*/ 21738507 h 690"/>
                <a:gd name="T88" fmla="*/ 174551934 w 1037"/>
                <a:gd name="T89" fmla="*/ 15134231 h 690"/>
                <a:gd name="T90" fmla="*/ 163853693 w 1037"/>
                <a:gd name="T91" fmla="*/ 20362573 h 690"/>
                <a:gd name="T92" fmla="*/ 159161353 w 1037"/>
                <a:gd name="T93" fmla="*/ 31919793 h 690"/>
                <a:gd name="T94" fmla="*/ 152216637 w 1037"/>
                <a:gd name="T95" fmla="*/ 30543859 h 690"/>
                <a:gd name="T96" fmla="*/ 139829223 w 1037"/>
                <a:gd name="T97" fmla="*/ 35221407 h 690"/>
                <a:gd name="T98" fmla="*/ 130256953 w 1037"/>
                <a:gd name="T99" fmla="*/ 25315517 h 690"/>
                <a:gd name="T100" fmla="*/ 116367956 w 1037"/>
                <a:gd name="T101" fmla="*/ 30818731 h 690"/>
                <a:gd name="T102" fmla="*/ 100226583 w 1037"/>
                <a:gd name="T103" fmla="*/ 36872738 h 690"/>
                <a:gd name="T104" fmla="*/ 91217515 w 1037"/>
                <a:gd name="T105" fmla="*/ 57785580 h 690"/>
                <a:gd name="T106" fmla="*/ 80706864 w 1037"/>
                <a:gd name="T107" fmla="*/ 76772218 h 690"/>
                <a:gd name="T108" fmla="*/ 74888553 w 1037"/>
                <a:gd name="T109" fmla="*/ 100161532 h 690"/>
                <a:gd name="T110" fmla="*/ 62500706 w 1037"/>
                <a:gd name="T111" fmla="*/ 116946570 h 690"/>
                <a:gd name="T112" fmla="*/ 66630277 w 1037"/>
                <a:gd name="T113" fmla="*/ 136758873 h 690"/>
                <a:gd name="T114" fmla="*/ 66442254 w 1037"/>
                <a:gd name="T115" fmla="*/ 153543911 h 690"/>
                <a:gd name="T116" fmla="*/ 62125526 w 1037"/>
                <a:gd name="T117" fmla="*/ 169228936 h 690"/>
                <a:gd name="T118" fmla="*/ 55368834 w 1037"/>
                <a:gd name="T119" fmla="*/ 177484018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1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532285" y="2996673"/>
              <a:ext cx="59341" cy="101737"/>
            </a:xfrm>
            <a:custGeom>
              <a:avLst/>
              <a:gdLst>
                <a:gd name="T0" fmla="*/ 20181841 w 120"/>
                <a:gd name="T1" fmla="*/ 27084381 h 173"/>
                <a:gd name="T2" fmla="*/ 15472663 w 120"/>
                <a:gd name="T3" fmla="*/ 16414760 h 173"/>
                <a:gd name="T4" fmla="*/ 11772741 w 120"/>
                <a:gd name="T5" fmla="*/ 7660012 h 173"/>
                <a:gd name="T6" fmla="*/ 10090921 w 120"/>
                <a:gd name="T7" fmla="*/ 4377374 h 173"/>
                <a:gd name="T8" fmla="*/ 8913524 w 120"/>
                <a:gd name="T9" fmla="*/ 2188425 h 173"/>
                <a:gd name="T10" fmla="*/ 8072819 w 120"/>
                <a:gd name="T11" fmla="*/ 1094213 h 173"/>
                <a:gd name="T12" fmla="*/ 7568396 w 120"/>
                <a:gd name="T13" fmla="*/ 547106 h 173"/>
                <a:gd name="T14" fmla="*/ 7231703 w 120"/>
                <a:gd name="T15" fmla="*/ 273553 h 173"/>
                <a:gd name="T16" fmla="*/ 6559139 w 120"/>
                <a:gd name="T17" fmla="*/ 0 h 173"/>
                <a:gd name="T18" fmla="*/ 5549883 w 120"/>
                <a:gd name="T19" fmla="*/ 0 h 173"/>
                <a:gd name="T20" fmla="*/ 4541037 w 120"/>
                <a:gd name="T21" fmla="*/ 273553 h 173"/>
                <a:gd name="T22" fmla="*/ 4036204 w 120"/>
                <a:gd name="T23" fmla="*/ 820660 h 173"/>
                <a:gd name="T24" fmla="*/ 3531781 w 120"/>
                <a:gd name="T25" fmla="*/ 1367766 h 173"/>
                <a:gd name="T26" fmla="*/ 3195499 w 120"/>
                <a:gd name="T27" fmla="*/ 2188425 h 173"/>
                <a:gd name="T28" fmla="*/ 2691076 w 120"/>
                <a:gd name="T29" fmla="*/ 3283161 h 173"/>
                <a:gd name="T30" fmla="*/ 2522935 w 120"/>
                <a:gd name="T31" fmla="*/ 4103821 h 173"/>
                <a:gd name="T32" fmla="*/ 2522935 w 120"/>
                <a:gd name="T33" fmla="*/ 5471587 h 173"/>
                <a:gd name="T34" fmla="*/ 2354384 w 120"/>
                <a:gd name="T35" fmla="*/ 8207119 h 173"/>
                <a:gd name="T36" fmla="*/ 2018102 w 120"/>
                <a:gd name="T37" fmla="*/ 11490280 h 173"/>
                <a:gd name="T38" fmla="*/ 1681820 w 120"/>
                <a:gd name="T39" fmla="*/ 13131599 h 173"/>
                <a:gd name="T40" fmla="*/ 1345538 w 120"/>
                <a:gd name="T41" fmla="*/ 14772918 h 173"/>
                <a:gd name="T42" fmla="*/ 672564 w 120"/>
                <a:gd name="T43" fmla="*/ 16688313 h 173"/>
                <a:gd name="T44" fmla="*/ 0 w 120"/>
                <a:gd name="T45" fmla="*/ 18603186 h 173"/>
                <a:gd name="T46" fmla="*/ 841115 w 120"/>
                <a:gd name="T47" fmla="*/ 22433453 h 173"/>
                <a:gd name="T48" fmla="*/ 1681820 w 120"/>
                <a:gd name="T49" fmla="*/ 27084381 h 173"/>
                <a:gd name="T50" fmla="*/ 2522935 w 120"/>
                <a:gd name="T51" fmla="*/ 31461232 h 173"/>
                <a:gd name="T52" fmla="*/ 3363640 w 120"/>
                <a:gd name="T53" fmla="*/ 35291499 h 173"/>
                <a:gd name="T54" fmla="*/ 4036204 w 120"/>
                <a:gd name="T55" fmla="*/ 36659265 h 173"/>
                <a:gd name="T56" fmla="*/ 5045460 w 120"/>
                <a:gd name="T57" fmla="*/ 38027031 h 173"/>
                <a:gd name="T58" fmla="*/ 6222857 w 120"/>
                <a:gd name="T59" fmla="*/ 39668873 h 173"/>
                <a:gd name="T60" fmla="*/ 7736537 w 120"/>
                <a:gd name="T61" fmla="*/ 41310192 h 173"/>
                <a:gd name="T62" fmla="*/ 9081665 w 120"/>
                <a:gd name="T63" fmla="*/ 42951511 h 173"/>
                <a:gd name="T64" fmla="*/ 10090921 w 120"/>
                <a:gd name="T65" fmla="*/ 44593354 h 173"/>
                <a:gd name="T66" fmla="*/ 10427203 w 120"/>
                <a:gd name="T67" fmla="*/ 45140460 h 173"/>
                <a:gd name="T68" fmla="*/ 10932036 w 120"/>
                <a:gd name="T69" fmla="*/ 45961119 h 173"/>
                <a:gd name="T70" fmla="*/ 11100177 w 120"/>
                <a:gd name="T71" fmla="*/ 46508226 h 173"/>
                <a:gd name="T72" fmla="*/ 11268318 w 120"/>
                <a:gd name="T73" fmla="*/ 47328885 h 173"/>
                <a:gd name="T74" fmla="*/ 12781997 w 120"/>
                <a:gd name="T75" fmla="*/ 45687566 h 173"/>
                <a:gd name="T76" fmla="*/ 14463817 w 120"/>
                <a:gd name="T77" fmla="*/ 43772171 h 173"/>
                <a:gd name="T78" fmla="*/ 15640804 w 120"/>
                <a:gd name="T79" fmla="*/ 41583745 h 173"/>
                <a:gd name="T80" fmla="*/ 16986342 w 120"/>
                <a:gd name="T81" fmla="*/ 38848214 h 173"/>
                <a:gd name="T82" fmla="*/ 17827457 w 120"/>
                <a:gd name="T83" fmla="*/ 36112159 h 173"/>
                <a:gd name="T84" fmla="*/ 18836303 w 120"/>
                <a:gd name="T85" fmla="*/ 33103074 h 173"/>
                <a:gd name="T86" fmla="*/ 19509277 w 120"/>
                <a:gd name="T87" fmla="*/ 30093466 h 173"/>
                <a:gd name="T88" fmla="*/ 20181841 w 120"/>
                <a:gd name="T89" fmla="*/ 27084381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2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80065" y="2816402"/>
              <a:ext cx="101454" cy="66040"/>
            </a:xfrm>
            <a:custGeom>
              <a:avLst/>
              <a:gdLst>
                <a:gd name="T0" fmla="*/ 35395174 w 200"/>
                <a:gd name="T1" fmla="*/ 19758145 h 98"/>
                <a:gd name="T2" fmla="*/ 34510473 w 200"/>
                <a:gd name="T3" fmla="*/ 20117765 h 98"/>
                <a:gd name="T4" fmla="*/ 32917339 w 200"/>
                <a:gd name="T5" fmla="*/ 21554449 h 98"/>
                <a:gd name="T6" fmla="*/ 31324626 w 200"/>
                <a:gd name="T7" fmla="*/ 23350752 h 98"/>
                <a:gd name="T8" fmla="*/ 29378116 w 200"/>
                <a:gd name="T9" fmla="*/ 26224719 h 98"/>
                <a:gd name="T10" fmla="*/ 27431186 w 200"/>
                <a:gd name="T11" fmla="*/ 28739065 h 98"/>
                <a:gd name="T12" fmla="*/ 25661364 w 200"/>
                <a:gd name="T13" fmla="*/ 31254010 h 98"/>
                <a:gd name="T14" fmla="*/ 24245759 w 200"/>
                <a:gd name="T15" fmla="*/ 33409335 h 98"/>
                <a:gd name="T16" fmla="*/ 23537746 w 200"/>
                <a:gd name="T17" fmla="*/ 35205639 h 98"/>
                <a:gd name="T18" fmla="*/ 22475937 w 200"/>
                <a:gd name="T19" fmla="*/ 35205639 h 98"/>
                <a:gd name="T20" fmla="*/ 21591237 w 200"/>
                <a:gd name="T21" fmla="*/ 35205639 h 98"/>
                <a:gd name="T22" fmla="*/ 20529007 w 200"/>
                <a:gd name="T23" fmla="*/ 34846618 h 98"/>
                <a:gd name="T24" fmla="*/ 19644307 w 200"/>
                <a:gd name="T25" fmla="*/ 34127977 h 98"/>
                <a:gd name="T26" fmla="*/ 18759606 w 200"/>
                <a:gd name="T27" fmla="*/ 33409335 h 98"/>
                <a:gd name="T28" fmla="*/ 18228702 w 200"/>
                <a:gd name="T29" fmla="*/ 31613031 h 98"/>
                <a:gd name="T30" fmla="*/ 17874485 w 200"/>
                <a:gd name="T31" fmla="*/ 29457706 h 98"/>
                <a:gd name="T32" fmla="*/ 17697797 w 200"/>
                <a:gd name="T33" fmla="*/ 26583740 h 98"/>
                <a:gd name="T34" fmla="*/ 16104663 w 200"/>
                <a:gd name="T35" fmla="*/ 28739065 h 98"/>
                <a:gd name="T36" fmla="*/ 14511950 w 200"/>
                <a:gd name="T37" fmla="*/ 30894989 h 98"/>
                <a:gd name="T38" fmla="*/ 13803937 w 200"/>
                <a:gd name="T39" fmla="*/ 32331673 h 98"/>
                <a:gd name="T40" fmla="*/ 12742128 w 200"/>
                <a:gd name="T41" fmla="*/ 33409335 h 98"/>
                <a:gd name="T42" fmla="*/ 11857427 w 200"/>
                <a:gd name="T43" fmla="*/ 34486998 h 98"/>
                <a:gd name="T44" fmla="*/ 10618510 w 200"/>
                <a:gd name="T45" fmla="*/ 35205639 h 98"/>
                <a:gd name="T46" fmla="*/ 6902179 w 200"/>
                <a:gd name="T47" fmla="*/ 35205639 h 98"/>
                <a:gd name="T48" fmla="*/ 6017058 w 200"/>
                <a:gd name="T49" fmla="*/ 35205639 h 98"/>
                <a:gd name="T50" fmla="*/ 4955249 w 200"/>
                <a:gd name="T51" fmla="*/ 34127977 h 98"/>
                <a:gd name="T52" fmla="*/ 3893440 w 200"/>
                <a:gd name="T53" fmla="*/ 33050314 h 98"/>
                <a:gd name="T54" fmla="*/ 2654522 w 200"/>
                <a:gd name="T55" fmla="*/ 31972652 h 98"/>
                <a:gd name="T56" fmla="*/ 1592713 w 200"/>
                <a:gd name="T57" fmla="*/ 30535369 h 98"/>
                <a:gd name="T58" fmla="*/ 708013 w 200"/>
                <a:gd name="T59" fmla="*/ 29098685 h 98"/>
                <a:gd name="T60" fmla="*/ 177108 w 200"/>
                <a:gd name="T61" fmla="*/ 27661402 h 98"/>
                <a:gd name="T62" fmla="*/ 0 w 200"/>
                <a:gd name="T63" fmla="*/ 26583740 h 98"/>
                <a:gd name="T64" fmla="*/ 884701 w 200"/>
                <a:gd name="T65" fmla="*/ 25506077 h 98"/>
                <a:gd name="T66" fmla="*/ 1769822 w 200"/>
                <a:gd name="T67" fmla="*/ 24069394 h 98"/>
                <a:gd name="T68" fmla="*/ 2477835 w 200"/>
                <a:gd name="T69" fmla="*/ 21554449 h 98"/>
                <a:gd name="T70" fmla="*/ 3539644 w 200"/>
                <a:gd name="T71" fmla="*/ 19039503 h 98"/>
                <a:gd name="T72" fmla="*/ 4070548 w 200"/>
                <a:gd name="T73" fmla="*/ 16166136 h 98"/>
                <a:gd name="T74" fmla="*/ 4778140 w 200"/>
                <a:gd name="T75" fmla="*/ 13292170 h 98"/>
                <a:gd name="T76" fmla="*/ 5309465 w 200"/>
                <a:gd name="T77" fmla="*/ 10058583 h 98"/>
                <a:gd name="T78" fmla="*/ 5840370 w 200"/>
                <a:gd name="T79" fmla="*/ 6825595 h 98"/>
                <a:gd name="T80" fmla="*/ 11680319 w 200"/>
                <a:gd name="T81" fmla="*/ 5029291 h 98"/>
                <a:gd name="T82" fmla="*/ 18228702 w 200"/>
                <a:gd name="T83" fmla="*/ 3232987 h 98"/>
                <a:gd name="T84" fmla="*/ 25661364 w 200"/>
                <a:gd name="T85" fmla="*/ 1436684 h 98"/>
                <a:gd name="T86" fmla="*/ 34156257 w 200"/>
                <a:gd name="T87" fmla="*/ 0 h 98"/>
                <a:gd name="T88" fmla="*/ 29378116 w 200"/>
                <a:gd name="T89" fmla="*/ 11136245 h 98"/>
                <a:gd name="T90" fmla="*/ 29378116 w 200"/>
                <a:gd name="T91" fmla="*/ 12213908 h 98"/>
                <a:gd name="T92" fmla="*/ 29023900 w 200"/>
                <a:gd name="T93" fmla="*/ 13292170 h 98"/>
                <a:gd name="T94" fmla="*/ 28670103 w 200"/>
                <a:gd name="T95" fmla="*/ 14010212 h 98"/>
                <a:gd name="T96" fmla="*/ 28492995 w 200"/>
                <a:gd name="T97" fmla="*/ 14728853 h 98"/>
                <a:gd name="T98" fmla="*/ 27785403 w 200"/>
                <a:gd name="T99" fmla="*/ 16166136 h 98"/>
                <a:gd name="T100" fmla="*/ 27608294 w 200"/>
                <a:gd name="T101" fmla="*/ 16884178 h 98"/>
                <a:gd name="T102" fmla="*/ 27608294 w 200"/>
                <a:gd name="T103" fmla="*/ 17602820 h 98"/>
                <a:gd name="T104" fmla="*/ 27785403 w 200"/>
                <a:gd name="T105" fmla="*/ 17961841 h 98"/>
                <a:gd name="T106" fmla="*/ 28139199 w 200"/>
                <a:gd name="T107" fmla="*/ 17961841 h 98"/>
                <a:gd name="T108" fmla="*/ 28847212 w 200"/>
                <a:gd name="T109" fmla="*/ 18321461 h 98"/>
                <a:gd name="T110" fmla="*/ 31324626 w 200"/>
                <a:gd name="T111" fmla="*/ 19039503 h 98"/>
                <a:gd name="T112" fmla="*/ 35395174 w 200"/>
                <a:gd name="T113" fmla="*/ 1975814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3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105409" y="2612928"/>
              <a:ext cx="101455" cy="82104"/>
            </a:xfrm>
            <a:custGeom>
              <a:avLst/>
              <a:gdLst>
                <a:gd name="T0" fmla="*/ 0 w 186"/>
                <a:gd name="T1" fmla="*/ 29619866 h 142"/>
                <a:gd name="T2" fmla="*/ 409381 w 186"/>
                <a:gd name="T3" fmla="*/ 30677700 h 142"/>
                <a:gd name="T4" fmla="*/ 613846 w 186"/>
                <a:gd name="T5" fmla="*/ 28297702 h 142"/>
                <a:gd name="T6" fmla="*/ 613846 w 186"/>
                <a:gd name="T7" fmla="*/ 24595026 h 142"/>
                <a:gd name="T8" fmla="*/ 1841537 w 186"/>
                <a:gd name="T9" fmla="*/ 21685854 h 142"/>
                <a:gd name="T10" fmla="*/ 3478609 w 186"/>
                <a:gd name="T11" fmla="*/ 18248022 h 142"/>
                <a:gd name="T12" fmla="*/ 4092454 w 186"/>
                <a:gd name="T13" fmla="*/ 14810190 h 142"/>
                <a:gd name="T14" fmla="*/ 4706300 w 186"/>
                <a:gd name="T15" fmla="*/ 12165348 h 142"/>
                <a:gd name="T16" fmla="*/ 5729526 w 186"/>
                <a:gd name="T17" fmla="*/ 9785350 h 142"/>
                <a:gd name="T18" fmla="*/ 7161682 w 186"/>
                <a:gd name="T19" fmla="*/ 8462672 h 142"/>
                <a:gd name="T20" fmla="*/ 8389825 w 186"/>
                <a:gd name="T21" fmla="*/ 10049680 h 142"/>
                <a:gd name="T22" fmla="*/ 8798754 w 186"/>
                <a:gd name="T23" fmla="*/ 12958852 h 142"/>
                <a:gd name="T24" fmla="*/ 9617516 w 186"/>
                <a:gd name="T25" fmla="*/ 15338850 h 142"/>
                <a:gd name="T26" fmla="*/ 11254588 w 186"/>
                <a:gd name="T27" fmla="*/ 17190188 h 142"/>
                <a:gd name="T28" fmla="*/ 17802425 w 186"/>
                <a:gd name="T29" fmla="*/ 17718848 h 142"/>
                <a:gd name="T30" fmla="*/ 16165353 w 186"/>
                <a:gd name="T31" fmla="*/ 10843184 h 142"/>
                <a:gd name="T32" fmla="*/ 14118899 w 186"/>
                <a:gd name="T33" fmla="*/ 9520506 h 142"/>
                <a:gd name="T34" fmla="*/ 12891208 w 186"/>
                <a:gd name="T35" fmla="*/ 7934012 h 142"/>
                <a:gd name="T36" fmla="*/ 12482279 w 186"/>
                <a:gd name="T37" fmla="*/ 6082674 h 142"/>
                <a:gd name="T38" fmla="*/ 14323816 w 186"/>
                <a:gd name="T39" fmla="*/ 4495666 h 142"/>
                <a:gd name="T40" fmla="*/ 17802425 w 186"/>
                <a:gd name="T41" fmla="*/ 3702676 h 142"/>
                <a:gd name="T42" fmla="*/ 20053342 w 186"/>
                <a:gd name="T43" fmla="*/ 2644842 h 142"/>
                <a:gd name="T44" fmla="*/ 22713189 w 186"/>
                <a:gd name="T45" fmla="*/ 1587008 h 142"/>
                <a:gd name="T46" fmla="*/ 26601179 w 186"/>
                <a:gd name="T47" fmla="*/ 793504 h 142"/>
                <a:gd name="T48" fmla="*/ 30079787 w 186"/>
                <a:gd name="T49" fmla="*/ 264330 h 142"/>
                <a:gd name="T50" fmla="*/ 32535169 w 186"/>
                <a:gd name="T51" fmla="*/ 529174 h 142"/>
                <a:gd name="T52" fmla="*/ 36013778 w 186"/>
                <a:gd name="T53" fmla="*/ 264330 h 142"/>
                <a:gd name="T54" fmla="*/ 37446386 w 186"/>
                <a:gd name="T55" fmla="*/ 2644842 h 142"/>
                <a:gd name="T56" fmla="*/ 36423159 w 186"/>
                <a:gd name="T57" fmla="*/ 6876178 h 142"/>
                <a:gd name="T58" fmla="*/ 34581623 w 186"/>
                <a:gd name="T59" fmla="*/ 10578340 h 142"/>
                <a:gd name="T60" fmla="*/ 32535169 w 186"/>
                <a:gd name="T61" fmla="*/ 13487512 h 142"/>
                <a:gd name="T62" fmla="*/ 31716860 w 186"/>
                <a:gd name="T63" fmla="*/ 16661014 h 142"/>
                <a:gd name="T64" fmla="*/ 31307478 w 186"/>
                <a:gd name="T65" fmla="*/ 20099360 h 142"/>
                <a:gd name="T66" fmla="*/ 24555178 w 186"/>
                <a:gd name="T67" fmla="*/ 37553878 h 142"/>
                <a:gd name="T68" fmla="*/ 16369817 w 186"/>
                <a:gd name="T69" fmla="*/ 32264708 h 142"/>
                <a:gd name="T70" fmla="*/ 7161682 w 186"/>
                <a:gd name="T71" fmla="*/ 30942030 h 142"/>
                <a:gd name="T72" fmla="*/ 1637072 w 186"/>
                <a:gd name="T73" fmla="*/ 29884196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4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82438" y="2684322"/>
              <a:ext cx="101455" cy="64255"/>
            </a:xfrm>
            <a:custGeom>
              <a:avLst/>
              <a:gdLst>
                <a:gd name="T0" fmla="*/ 36870849 w 192"/>
                <a:gd name="T1" fmla="*/ 18070830 h 105"/>
                <a:gd name="T2" fmla="*/ 36294592 w 192"/>
                <a:gd name="T3" fmla="*/ 18367466 h 105"/>
                <a:gd name="T4" fmla="*/ 35334454 w 192"/>
                <a:gd name="T5" fmla="*/ 18663557 h 105"/>
                <a:gd name="T6" fmla="*/ 34566257 w 192"/>
                <a:gd name="T7" fmla="*/ 18959649 h 105"/>
                <a:gd name="T8" fmla="*/ 33990437 w 192"/>
                <a:gd name="T9" fmla="*/ 19848467 h 105"/>
                <a:gd name="T10" fmla="*/ 32262103 w 192"/>
                <a:gd name="T11" fmla="*/ 21330013 h 105"/>
                <a:gd name="T12" fmla="*/ 30725708 w 192"/>
                <a:gd name="T13" fmla="*/ 23403741 h 105"/>
                <a:gd name="T14" fmla="*/ 29573631 w 192"/>
                <a:gd name="T15" fmla="*/ 25477470 h 105"/>
                <a:gd name="T16" fmla="*/ 28229175 w 192"/>
                <a:gd name="T17" fmla="*/ 27551199 h 105"/>
                <a:gd name="T18" fmla="*/ 27460978 w 192"/>
                <a:gd name="T19" fmla="*/ 29328291 h 105"/>
                <a:gd name="T20" fmla="*/ 26692781 w 192"/>
                <a:gd name="T21" fmla="*/ 31105929 h 105"/>
                <a:gd name="T22" fmla="*/ 23044171 w 192"/>
                <a:gd name="T23" fmla="*/ 28736109 h 105"/>
                <a:gd name="T24" fmla="*/ 19587502 w 192"/>
                <a:gd name="T25" fmla="*/ 26365744 h 105"/>
                <a:gd name="T26" fmla="*/ 16515150 w 192"/>
                <a:gd name="T27" fmla="*/ 23699833 h 105"/>
                <a:gd name="T28" fmla="*/ 13250420 w 192"/>
                <a:gd name="T29" fmla="*/ 21033377 h 105"/>
                <a:gd name="T30" fmla="*/ 10178069 w 192"/>
                <a:gd name="T31" fmla="*/ 18070830 h 105"/>
                <a:gd name="T32" fmla="*/ 6913339 w 192"/>
                <a:gd name="T33" fmla="*/ 15701010 h 105"/>
                <a:gd name="T34" fmla="*/ 3648609 w 192"/>
                <a:gd name="T35" fmla="*/ 13035099 h 105"/>
                <a:gd name="T36" fmla="*/ 0 w 192"/>
                <a:gd name="T37" fmla="*/ 10961370 h 105"/>
                <a:gd name="T38" fmla="*/ 0 w 192"/>
                <a:gd name="T39" fmla="*/ 3851366 h 105"/>
                <a:gd name="T40" fmla="*/ 1344455 w 192"/>
                <a:gd name="T41" fmla="*/ 2073729 h 105"/>
                <a:gd name="T42" fmla="*/ 3072790 w 192"/>
                <a:gd name="T43" fmla="*/ 1184910 h 105"/>
                <a:gd name="T44" fmla="*/ 5568884 w 192"/>
                <a:gd name="T45" fmla="*/ 296091 h 105"/>
                <a:gd name="T46" fmla="*/ 7681536 w 192"/>
                <a:gd name="T47" fmla="*/ 0 h 105"/>
                <a:gd name="T48" fmla="*/ 11522086 w 192"/>
                <a:gd name="T49" fmla="*/ 592727 h 105"/>
                <a:gd name="T50" fmla="*/ 17859167 w 192"/>
                <a:gd name="T51" fmla="*/ 1481001 h 105"/>
                <a:gd name="T52" fmla="*/ 21315836 w 192"/>
                <a:gd name="T53" fmla="*/ 2073729 h 105"/>
                <a:gd name="T54" fmla="*/ 24580566 w 192"/>
                <a:gd name="T55" fmla="*/ 2073729 h 105"/>
                <a:gd name="T56" fmla="*/ 27460978 w 192"/>
                <a:gd name="T57" fmla="*/ 2073729 h 105"/>
                <a:gd name="T58" fmla="*/ 29381253 w 192"/>
                <a:gd name="T59" fmla="*/ 1777637 h 105"/>
                <a:gd name="T60" fmla="*/ 29765570 w 192"/>
                <a:gd name="T61" fmla="*/ 3258639 h 105"/>
                <a:gd name="T62" fmla="*/ 30533768 w 192"/>
                <a:gd name="T63" fmla="*/ 5036276 h 105"/>
                <a:gd name="T64" fmla="*/ 30917647 w 192"/>
                <a:gd name="T65" fmla="*/ 5925094 h 105"/>
                <a:gd name="T66" fmla="*/ 31493905 w 192"/>
                <a:gd name="T67" fmla="*/ 6813913 h 105"/>
                <a:gd name="T68" fmla="*/ 31685845 w 192"/>
                <a:gd name="T69" fmla="*/ 7998823 h 105"/>
                <a:gd name="T70" fmla="*/ 31877785 w 192"/>
                <a:gd name="T71" fmla="*/ 9183733 h 105"/>
                <a:gd name="T72" fmla="*/ 32645982 w 192"/>
                <a:gd name="T73" fmla="*/ 9479824 h 105"/>
                <a:gd name="T74" fmla="*/ 33990437 w 192"/>
                <a:gd name="T75" fmla="*/ 9775916 h 105"/>
                <a:gd name="T76" fmla="*/ 34566257 w 192"/>
                <a:gd name="T77" fmla="*/ 10072551 h 105"/>
                <a:gd name="T78" fmla="*/ 35142514 w 192"/>
                <a:gd name="T79" fmla="*/ 10072551 h 105"/>
                <a:gd name="T80" fmla="*/ 36102652 w 192"/>
                <a:gd name="T81" fmla="*/ 9775916 h 105"/>
                <a:gd name="T82" fmla="*/ 36870849 w 192"/>
                <a:gd name="T83" fmla="*/ 9183733 h 105"/>
                <a:gd name="T84" fmla="*/ 36870849 w 192"/>
                <a:gd name="T85" fmla="*/ 18070830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5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999360" y="3307239"/>
              <a:ext cx="40198" cy="148143"/>
            </a:xfrm>
            <a:custGeom>
              <a:avLst/>
              <a:gdLst>
                <a:gd name="T0" fmla="*/ 5730630 w 80"/>
                <a:gd name="T1" fmla="*/ 0 h 254"/>
                <a:gd name="T2" fmla="*/ 6424873 w 80"/>
                <a:gd name="T3" fmla="*/ 537942 h 254"/>
                <a:gd name="T4" fmla="*/ 6946181 w 80"/>
                <a:gd name="T5" fmla="*/ 1076402 h 254"/>
                <a:gd name="T6" fmla="*/ 7467071 w 80"/>
                <a:gd name="T7" fmla="*/ 1883574 h 254"/>
                <a:gd name="T8" fmla="*/ 7987962 w 80"/>
                <a:gd name="T9" fmla="*/ 2690746 h 254"/>
                <a:gd name="T10" fmla="*/ 9029743 w 80"/>
                <a:gd name="T11" fmla="*/ 4843550 h 254"/>
                <a:gd name="T12" fmla="*/ 9724403 w 80"/>
                <a:gd name="T13" fmla="*/ 6727643 h 254"/>
                <a:gd name="T14" fmla="*/ 10766184 w 80"/>
                <a:gd name="T15" fmla="*/ 8611217 h 254"/>
                <a:gd name="T16" fmla="*/ 11634613 w 80"/>
                <a:gd name="T17" fmla="*/ 10225561 h 254"/>
                <a:gd name="T18" fmla="*/ 12155504 w 80"/>
                <a:gd name="T19" fmla="*/ 10764022 h 254"/>
                <a:gd name="T20" fmla="*/ 12676394 w 80"/>
                <a:gd name="T21" fmla="*/ 11301963 h 254"/>
                <a:gd name="T22" fmla="*/ 13197285 w 80"/>
                <a:gd name="T23" fmla="*/ 11571194 h 254"/>
                <a:gd name="T24" fmla="*/ 13891945 w 80"/>
                <a:gd name="T25" fmla="*/ 11840424 h 254"/>
                <a:gd name="T26" fmla="*/ 13891945 w 80"/>
                <a:gd name="T27" fmla="*/ 14262458 h 254"/>
                <a:gd name="T28" fmla="*/ 13891945 w 80"/>
                <a:gd name="T29" fmla="*/ 16683974 h 254"/>
                <a:gd name="T30" fmla="*/ 9203512 w 80"/>
                <a:gd name="T31" fmla="*/ 68351278 h 254"/>
                <a:gd name="T32" fmla="*/ 0 w 80"/>
                <a:gd name="T33" fmla="*/ 25026480 h 254"/>
                <a:gd name="T34" fmla="*/ 694660 w 80"/>
                <a:gd name="T35" fmla="*/ 23680848 h 254"/>
                <a:gd name="T36" fmla="*/ 1910210 w 80"/>
                <a:gd name="T37" fmla="*/ 19106009 h 254"/>
                <a:gd name="T38" fmla="*/ 2951991 w 80"/>
                <a:gd name="T39" fmla="*/ 15338861 h 254"/>
                <a:gd name="T40" fmla="*/ 3820420 w 80"/>
                <a:gd name="T41" fmla="*/ 11033252 h 254"/>
                <a:gd name="T42" fmla="*/ 4862201 w 80"/>
                <a:gd name="T43" fmla="*/ 6189183 h 254"/>
                <a:gd name="T44" fmla="*/ 5730630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6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938104" y="3366139"/>
              <a:ext cx="84227" cy="146359"/>
            </a:xfrm>
            <a:custGeom>
              <a:avLst/>
              <a:gdLst>
                <a:gd name="T0" fmla="*/ 19943639 w 167"/>
                <a:gd name="T1" fmla="*/ 0 h 259"/>
                <a:gd name="T2" fmla="*/ 29215704 w 167"/>
                <a:gd name="T3" fmla="*/ 39155032 h 259"/>
                <a:gd name="T4" fmla="*/ 21168314 w 167"/>
                <a:gd name="T5" fmla="*/ 65426759 h 259"/>
                <a:gd name="T6" fmla="*/ 19768805 w 167"/>
                <a:gd name="T7" fmla="*/ 65426759 h 259"/>
                <a:gd name="T8" fmla="*/ 18718963 w 167"/>
                <a:gd name="T9" fmla="*/ 64921640 h 259"/>
                <a:gd name="T10" fmla="*/ 17494288 w 167"/>
                <a:gd name="T11" fmla="*/ 64163710 h 259"/>
                <a:gd name="T12" fmla="*/ 16619699 w 167"/>
                <a:gd name="T13" fmla="*/ 63405780 h 259"/>
                <a:gd name="T14" fmla="*/ 15569858 w 167"/>
                <a:gd name="T15" fmla="*/ 61890422 h 259"/>
                <a:gd name="T16" fmla="*/ 14870103 w 167"/>
                <a:gd name="T17" fmla="*/ 60626870 h 259"/>
                <a:gd name="T18" fmla="*/ 13995514 w 167"/>
                <a:gd name="T19" fmla="*/ 59363821 h 259"/>
                <a:gd name="T20" fmla="*/ 13295759 w 167"/>
                <a:gd name="T21" fmla="*/ 57848463 h 259"/>
                <a:gd name="T22" fmla="*/ 12071084 w 167"/>
                <a:gd name="T23" fmla="*/ 54817245 h 259"/>
                <a:gd name="T24" fmla="*/ 11371329 w 167"/>
                <a:gd name="T25" fmla="*/ 51785525 h 259"/>
                <a:gd name="T26" fmla="*/ 10846408 w 167"/>
                <a:gd name="T27" fmla="*/ 49007118 h 259"/>
                <a:gd name="T28" fmla="*/ 10846408 w 167"/>
                <a:gd name="T29" fmla="*/ 46733328 h 259"/>
                <a:gd name="T30" fmla="*/ 9621733 w 167"/>
                <a:gd name="T31" fmla="*/ 46481019 h 259"/>
                <a:gd name="T32" fmla="*/ 8921978 w 167"/>
                <a:gd name="T33" fmla="*/ 46228208 h 259"/>
                <a:gd name="T34" fmla="*/ 7872555 w 167"/>
                <a:gd name="T35" fmla="*/ 45975397 h 259"/>
                <a:gd name="T36" fmla="*/ 7347634 w 167"/>
                <a:gd name="T37" fmla="*/ 45470278 h 259"/>
                <a:gd name="T38" fmla="*/ 6822714 w 167"/>
                <a:gd name="T39" fmla="*/ 44712348 h 259"/>
                <a:gd name="T40" fmla="*/ 6297793 w 167"/>
                <a:gd name="T41" fmla="*/ 43954418 h 259"/>
                <a:gd name="T42" fmla="*/ 5948125 w 167"/>
                <a:gd name="T43" fmla="*/ 42944180 h 259"/>
                <a:gd name="T44" fmla="*/ 5598038 w 167"/>
                <a:gd name="T45" fmla="*/ 42186250 h 259"/>
                <a:gd name="T46" fmla="*/ 5248370 w 167"/>
                <a:gd name="T47" fmla="*/ 39912962 h 259"/>
                <a:gd name="T48" fmla="*/ 5073536 w 167"/>
                <a:gd name="T49" fmla="*/ 37639171 h 259"/>
                <a:gd name="T50" fmla="*/ 4898284 w 167"/>
                <a:gd name="T51" fmla="*/ 35365884 h 259"/>
                <a:gd name="T52" fmla="*/ 4898284 w 167"/>
                <a:gd name="T53" fmla="*/ 32586974 h 259"/>
                <a:gd name="T54" fmla="*/ 3674026 w 167"/>
                <a:gd name="T55" fmla="*/ 32586974 h 259"/>
                <a:gd name="T56" fmla="*/ 2799019 w 167"/>
                <a:gd name="T57" fmla="*/ 32081855 h 259"/>
                <a:gd name="T58" fmla="*/ 1924430 w 167"/>
                <a:gd name="T59" fmla="*/ 31576736 h 259"/>
                <a:gd name="T60" fmla="*/ 1224675 w 167"/>
                <a:gd name="T61" fmla="*/ 30565995 h 259"/>
                <a:gd name="T62" fmla="*/ 874589 w 167"/>
                <a:gd name="T63" fmla="*/ 29555756 h 259"/>
                <a:gd name="T64" fmla="*/ 350087 w 167"/>
                <a:gd name="T65" fmla="*/ 28292707 h 259"/>
                <a:gd name="T66" fmla="*/ 0 w 167"/>
                <a:gd name="T67" fmla="*/ 27029658 h 259"/>
                <a:gd name="T68" fmla="*/ 0 w 167"/>
                <a:gd name="T69" fmla="*/ 25513797 h 259"/>
                <a:gd name="T70" fmla="*/ 0 w 167"/>
                <a:gd name="T71" fmla="*/ 18945740 h 259"/>
                <a:gd name="T72" fmla="*/ 174834 w 167"/>
                <a:gd name="T73" fmla="*/ 12630493 h 259"/>
                <a:gd name="T74" fmla="*/ 2099264 w 167"/>
                <a:gd name="T75" fmla="*/ 13136115 h 259"/>
                <a:gd name="T76" fmla="*/ 3848860 w 167"/>
                <a:gd name="T77" fmla="*/ 13388423 h 259"/>
                <a:gd name="T78" fmla="*/ 5598038 w 167"/>
                <a:gd name="T79" fmla="*/ 13388423 h 259"/>
                <a:gd name="T80" fmla="*/ 7347634 w 167"/>
                <a:gd name="T81" fmla="*/ 13136115 h 259"/>
                <a:gd name="T82" fmla="*/ 8747144 w 167"/>
                <a:gd name="T83" fmla="*/ 12883304 h 259"/>
                <a:gd name="T84" fmla="*/ 10146654 w 167"/>
                <a:gd name="T85" fmla="*/ 12378185 h 259"/>
                <a:gd name="T86" fmla="*/ 11546163 w 167"/>
                <a:gd name="T87" fmla="*/ 11872563 h 259"/>
                <a:gd name="T88" fmla="*/ 12770839 w 167"/>
                <a:gd name="T89" fmla="*/ 11115136 h 259"/>
                <a:gd name="T90" fmla="*/ 13820680 w 167"/>
                <a:gd name="T91" fmla="*/ 10104395 h 259"/>
                <a:gd name="T92" fmla="*/ 15045355 w 167"/>
                <a:gd name="T93" fmla="*/ 9094156 h 259"/>
                <a:gd name="T94" fmla="*/ 15919944 w 167"/>
                <a:gd name="T95" fmla="*/ 7831107 h 259"/>
                <a:gd name="T96" fmla="*/ 16969786 w 167"/>
                <a:gd name="T97" fmla="*/ 6568058 h 259"/>
                <a:gd name="T98" fmla="*/ 18718963 w 167"/>
                <a:gd name="T99" fmla="*/ 3284029 h 259"/>
                <a:gd name="T100" fmla="*/ 19943639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7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34046" y="2527254"/>
              <a:ext cx="116769" cy="162423"/>
            </a:xfrm>
            <a:custGeom>
              <a:avLst/>
              <a:gdLst>
                <a:gd name="T0" fmla="*/ 34268601 w 225"/>
                <a:gd name="T1" fmla="*/ 18761140 h 273"/>
                <a:gd name="T2" fmla="*/ 32046061 w 225"/>
                <a:gd name="T3" fmla="*/ 21841430 h 273"/>
                <a:gd name="T4" fmla="*/ 29452525 w 225"/>
                <a:gd name="T5" fmla="*/ 22961679 h 273"/>
                <a:gd name="T6" fmla="*/ 30193658 w 225"/>
                <a:gd name="T7" fmla="*/ 26041969 h 273"/>
                <a:gd name="T8" fmla="*/ 32231130 w 225"/>
                <a:gd name="T9" fmla="*/ 28281940 h 273"/>
                <a:gd name="T10" fmla="*/ 36121004 w 225"/>
                <a:gd name="T11" fmla="*/ 29402189 h 273"/>
                <a:gd name="T12" fmla="*/ 41678214 w 225"/>
                <a:gd name="T13" fmla="*/ 29682119 h 273"/>
                <a:gd name="T14" fmla="*/ 41678214 w 225"/>
                <a:gd name="T15" fmla="*/ 42563139 h 273"/>
                <a:gd name="T16" fmla="*/ 41493146 w 225"/>
                <a:gd name="T17" fmla="*/ 49283579 h 273"/>
                <a:gd name="T18" fmla="*/ 39825811 w 225"/>
                <a:gd name="T19" fmla="*/ 52363869 h 273"/>
                <a:gd name="T20" fmla="*/ 36491571 w 225"/>
                <a:gd name="T21" fmla="*/ 57404199 h 273"/>
                <a:gd name="T22" fmla="*/ 35565369 w 225"/>
                <a:gd name="T23" fmla="*/ 59924099 h 273"/>
                <a:gd name="T24" fmla="*/ 33157331 w 225"/>
                <a:gd name="T25" fmla="*/ 61044349 h 273"/>
                <a:gd name="T26" fmla="*/ 30378726 w 225"/>
                <a:gd name="T27" fmla="*/ 63004389 h 273"/>
                <a:gd name="T28" fmla="*/ 29452525 w 225"/>
                <a:gd name="T29" fmla="*/ 66084679 h 273"/>
                <a:gd name="T30" fmla="*/ 25933216 w 225"/>
                <a:gd name="T31" fmla="*/ 67764789 h 273"/>
                <a:gd name="T32" fmla="*/ 23710246 w 225"/>
                <a:gd name="T33" fmla="*/ 70564619 h 273"/>
                <a:gd name="T34" fmla="*/ 18709102 w 225"/>
                <a:gd name="T35" fmla="*/ 71404939 h 273"/>
                <a:gd name="T36" fmla="*/ 11113990 w 225"/>
                <a:gd name="T37" fmla="*/ 73085049 h 273"/>
                <a:gd name="T38" fmla="*/ 3519308 w 225"/>
                <a:gd name="T39" fmla="*/ 73085049 h 273"/>
                <a:gd name="T40" fmla="*/ 0 w 225"/>
                <a:gd name="T41" fmla="*/ 60764419 h 273"/>
                <a:gd name="T42" fmla="*/ 3889875 w 225"/>
                <a:gd name="T43" fmla="*/ 59364239 h 273"/>
                <a:gd name="T44" fmla="*/ 4816077 w 225"/>
                <a:gd name="T45" fmla="*/ 57404199 h 273"/>
                <a:gd name="T46" fmla="*/ 11113990 w 225"/>
                <a:gd name="T47" fmla="*/ 56563879 h 273"/>
                <a:gd name="T48" fmla="*/ 13336960 w 225"/>
                <a:gd name="T49" fmla="*/ 54043979 h 273"/>
                <a:gd name="T50" fmla="*/ 8891450 w 225"/>
                <a:gd name="T51" fmla="*/ 55443629 h 273"/>
                <a:gd name="T52" fmla="*/ 7409613 w 225"/>
                <a:gd name="T53" fmla="*/ 55163699 h 273"/>
                <a:gd name="T54" fmla="*/ 7224115 w 225"/>
                <a:gd name="T55" fmla="*/ 52643799 h 273"/>
                <a:gd name="T56" fmla="*/ 8520883 w 225"/>
                <a:gd name="T57" fmla="*/ 48443259 h 273"/>
                <a:gd name="T58" fmla="*/ 7224115 w 225"/>
                <a:gd name="T59" fmla="*/ 44803109 h 273"/>
                <a:gd name="T60" fmla="*/ 2593106 w 225"/>
                <a:gd name="T61" fmla="*/ 42002750 h 273"/>
                <a:gd name="T62" fmla="*/ 1111270 w 225"/>
                <a:gd name="T63" fmla="*/ 36402559 h 273"/>
                <a:gd name="T64" fmla="*/ 4075373 w 225"/>
                <a:gd name="T65" fmla="*/ 32202020 h 273"/>
                <a:gd name="T66" fmla="*/ 6483412 w 225"/>
                <a:gd name="T67" fmla="*/ 28561870 h 273"/>
                <a:gd name="T68" fmla="*/ 12596257 w 225"/>
                <a:gd name="T69" fmla="*/ 26321899 h 273"/>
                <a:gd name="T70" fmla="*/ 16671200 w 225"/>
                <a:gd name="T71" fmla="*/ 26321899 h 273"/>
                <a:gd name="T72" fmla="*/ 18523603 w 225"/>
                <a:gd name="T73" fmla="*/ 24641789 h 273"/>
                <a:gd name="T74" fmla="*/ 20005440 w 225"/>
                <a:gd name="T75" fmla="*/ 14561130 h 273"/>
                <a:gd name="T76" fmla="*/ 22228410 w 225"/>
                <a:gd name="T77" fmla="*/ 8680480 h 273"/>
                <a:gd name="T78" fmla="*/ 24080813 w 225"/>
                <a:gd name="T79" fmla="*/ 5600190 h 273"/>
                <a:gd name="T80" fmla="*/ 26118285 w 225"/>
                <a:gd name="T81" fmla="*/ 1960040 h 273"/>
                <a:gd name="T82" fmla="*/ 28711821 w 225"/>
                <a:gd name="T83" fmla="*/ 279930 h 273"/>
                <a:gd name="T84" fmla="*/ 33157331 w 225"/>
                <a:gd name="T85" fmla="*/ 840320 h 273"/>
                <a:gd name="T86" fmla="*/ 36121004 w 225"/>
                <a:gd name="T87" fmla="*/ 10640520 h 273"/>
                <a:gd name="T88" fmla="*/ 36306503 w 225"/>
                <a:gd name="T89" fmla="*/ 13160950 h 273"/>
                <a:gd name="T90" fmla="*/ 35194803 w 225"/>
                <a:gd name="T91" fmla="*/ 15680850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8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08165" y="3551765"/>
              <a:ext cx="369449" cy="439076"/>
            </a:xfrm>
            <a:custGeom>
              <a:avLst/>
              <a:gdLst>
                <a:gd name="T0" fmla="*/ 163943993 w 232"/>
                <a:gd name="T1" fmla="*/ 610000050 h 248"/>
                <a:gd name="T2" fmla="*/ 167431798 w 232"/>
                <a:gd name="T3" fmla="*/ 602561179 h 248"/>
                <a:gd name="T4" fmla="*/ 170920923 w 232"/>
                <a:gd name="T5" fmla="*/ 590162010 h 248"/>
                <a:gd name="T6" fmla="*/ 174408728 w 232"/>
                <a:gd name="T7" fmla="*/ 575284267 h 248"/>
                <a:gd name="T8" fmla="*/ 179641095 w 232"/>
                <a:gd name="T9" fmla="*/ 572804118 h 248"/>
                <a:gd name="T10" fmla="*/ 181384337 w 232"/>
                <a:gd name="T11" fmla="*/ 590162010 h 248"/>
                <a:gd name="T12" fmla="*/ 184873463 w 232"/>
                <a:gd name="T13" fmla="*/ 597600881 h 248"/>
                <a:gd name="T14" fmla="*/ 188361267 w 232"/>
                <a:gd name="T15" fmla="*/ 600081030 h 248"/>
                <a:gd name="T16" fmla="*/ 191849072 w 232"/>
                <a:gd name="T17" fmla="*/ 600081030 h 248"/>
                <a:gd name="T18" fmla="*/ 197081440 w 232"/>
                <a:gd name="T19" fmla="*/ 597600881 h 248"/>
                <a:gd name="T20" fmla="*/ 202313807 w 232"/>
                <a:gd name="T21" fmla="*/ 590162010 h 248"/>
                <a:gd name="T22" fmla="*/ 376722535 w 232"/>
                <a:gd name="T23" fmla="*/ 580242990 h 248"/>
                <a:gd name="T24" fmla="*/ 371490167 w 232"/>
                <a:gd name="T25" fmla="*/ 505852701 h 248"/>
                <a:gd name="T26" fmla="*/ 361025432 w 232"/>
                <a:gd name="T27" fmla="*/ 342194382 h 248"/>
                <a:gd name="T28" fmla="*/ 350560698 w 232"/>
                <a:gd name="T29" fmla="*/ 181016211 h 248"/>
                <a:gd name="T30" fmla="*/ 345328330 w 232"/>
                <a:gd name="T31" fmla="*/ 106625923 h 248"/>
                <a:gd name="T32" fmla="*/ 374977972 w 232"/>
                <a:gd name="T33" fmla="*/ 109106071 h 248"/>
                <a:gd name="T34" fmla="*/ 404627614 w 232"/>
                <a:gd name="T35" fmla="*/ 114064794 h 248"/>
                <a:gd name="T36" fmla="*/ 280797999 w 232"/>
                <a:gd name="T37" fmla="*/ 4958723 h 248"/>
                <a:gd name="T38" fmla="*/ 279053436 w 232"/>
                <a:gd name="T39" fmla="*/ 19838040 h 248"/>
                <a:gd name="T40" fmla="*/ 280797999 w 232"/>
                <a:gd name="T41" fmla="*/ 44634803 h 248"/>
                <a:gd name="T42" fmla="*/ 170920923 w 232"/>
                <a:gd name="T43" fmla="*/ 59512546 h 248"/>
                <a:gd name="T44" fmla="*/ 170920923 w 232"/>
                <a:gd name="T45" fmla="*/ 183496360 h 248"/>
                <a:gd name="T46" fmla="*/ 165688555 w 232"/>
                <a:gd name="T47" fmla="*/ 188455082 h 248"/>
                <a:gd name="T48" fmla="*/ 151736016 w 232"/>
                <a:gd name="T49" fmla="*/ 193413805 h 248"/>
                <a:gd name="T50" fmla="*/ 125574178 w 232"/>
                <a:gd name="T51" fmla="*/ 203332825 h 248"/>
                <a:gd name="T52" fmla="*/ 129061983 w 232"/>
                <a:gd name="T53" fmla="*/ 218210568 h 248"/>
                <a:gd name="T54" fmla="*/ 136038913 w 232"/>
                <a:gd name="T55" fmla="*/ 238048608 h 248"/>
                <a:gd name="T56" fmla="*/ 139526718 w 232"/>
                <a:gd name="T57" fmla="*/ 260365222 h 248"/>
                <a:gd name="T58" fmla="*/ 141271281 w 232"/>
                <a:gd name="T59" fmla="*/ 285161985 h 248"/>
                <a:gd name="T60" fmla="*/ 15697102 w 232"/>
                <a:gd name="T61" fmla="*/ 295081005 h 248"/>
                <a:gd name="T62" fmla="*/ 8720172 w 232"/>
                <a:gd name="T63" fmla="*/ 322357916 h 248"/>
                <a:gd name="T64" fmla="*/ 10464735 w 232"/>
                <a:gd name="T65" fmla="*/ 354593551 h 248"/>
                <a:gd name="T66" fmla="*/ 13952540 w 232"/>
                <a:gd name="T67" fmla="*/ 384349036 h 248"/>
                <a:gd name="T68" fmla="*/ 15697102 w 232"/>
                <a:gd name="T69" fmla="*/ 416584670 h 248"/>
                <a:gd name="T70" fmla="*/ 15697102 w 232"/>
                <a:gd name="T71" fmla="*/ 451300453 h 248"/>
                <a:gd name="T72" fmla="*/ 13952540 w 232"/>
                <a:gd name="T73" fmla="*/ 481055939 h 248"/>
                <a:gd name="T74" fmla="*/ 10464735 w 232"/>
                <a:gd name="T75" fmla="*/ 510812999 h 248"/>
                <a:gd name="T76" fmla="*/ 3487805 w 232"/>
                <a:gd name="T77" fmla="*/ 535609762 h 248"/>
                <a:gd name="T78" fmla="*/ 3487805 w 232"/>
                <a:gd name="T79" fmla="*/ 543048633 h 248"/>
                <a:gd name="T80" fmla="*/ 5232367 w 232"/>
                <a:gd name="T81" fmla="*/ 545527207 h 248"/>
                <a:gd name="T82" fmla="*/ 5232367 w 232"/>
                <a:gd name="T83" fmla="*/ 550487504 h 248"/>
                <a:gd name="T84" fmla="*/ 12207977 w 232"/>
                <a:gd name="T85" fmla="*/ 538088336 h 248"/>
                <a:gd name="T86" fmla="*/ 31392884 w 232"/>
                <a:gd name="T87" fmla="*/ 528170890 h 248"/>
                <a:gd name="T88" fmla="*/ 62787089 w 232"/>
                <a:gd name="T89" fmla="*/ 513291573 h 248"/>
                <a:gd name="T90" fmla="*/ 78484192 w 232"/>
                <a:gd name="T91" fmla="*/ 515771721 h 248"/>
                <a:gd name="T92" fmla="*/ 88948927 w 232"/>
                <a:gd name="T93" fmla="*/ 525690742 h 248"/>
                <a:gd name="T94" fmla="*/ 97669099 w 232"/>
                <a:gd name="T95" fmla="*/ 530649464 h 248"/>
                <a:gd name="T96" fmla="*/ 108133834 w 232"/>
                <a:gd name="T97" fmla="*/ 533129613 h 248"/>
                <a:gd name="T98" fmla="*/ 115109443 w 232"/>
                <a:gd name="T99" fmla="*/ 543048633 h 248"/>
                <a:gd name="T100" fmla="*/ 116854006 w 232"/>
                <a:gd name="T101" fmla="*/ 557926376 h 248"/>
                <a:gd name="T102" fmla="*/ 122086374 w 232"/>
                <a:gd name="T103" fmla="*/ 572804118 h 248"/>
                <a:gd name="T104" fmla="*/ 129061983 w 232"/>
                <a:gd name="T105" fmla="*/ 582723139 h 248"/>
                <a:gd name="T106" fmla="*/ 148246890 w 232"/>
                <a:gd name="T107" fmla="*/ 602561179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9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647905" y="3619589"/>
              <a:ext cx="499616" cy="526535"/>
            </a:xfrm>
            <a:custGeom>
              <a:avLst/>
              <a:gdLst>
                <a:gd name="T0" fmla="*/ 17192363 w 948"/>
                <a:gd name="T1" fmla="*/ 216718265 h 893"/>
                <a:gd name="T2" fmla="*/ 23114148 w 948"/>
                <a:gd name="T3" fmla="*/ 216718265 h 893"/>
                <a:gd name="T4" fmla="*/ 27889513 w 948"/>
                <a:gd name="T5" fmla="*/ 215343218 h 893"/>
                <a:gd name="T6" fmla="*/ 35530709 w 948"/>
                <a:gd name="T7" fmla="*/ 213418048 h 893"/>
                <a:gd name="T8" fmla="*/ 37632114 w 948"/>
                <a:gd name="T9" fmla="*/ 223594023 h 893"/>
                <a:gd name="T10" fmla="*/ 40497508 w 948"/>
                <a:gd name="T11" fmla="*/ 229644333 h 893"/>
                <a:gd name="T12" fmla="*/ 43171905 w 948"/>
                <a:gd name="T13" fmla="*/ 232669750 h 893"/>
                <a:gd name="T14" fmla="*/ 46992284 w 948"/>
                <a:gd name="T15" fmla="*/ 233769998 h 893"/>
                <a:gd name="T16" fmla="*/ 46992284 w 948"/>
                <a:gd name="T17" fmla="*/ 242295602 h 893"/>
                <a:gd name="T18" fmla="*/ 62274239 w 948"/>
                <a:gd name="T19" fmla="*/ 244495571 h 893"/>
                <a:gd name="T20" fmla="*/ 63802216 w 948"/>
                <a:gd name="T21" fmla="*/ 240920555 h 893"/>
                <a:gd name="T22" fmla="*/ 66285616 w 948"/>
                <a:gd name="T23" fmla="*/ 239545508 h 893"/>
                <a:gd name="T24" fmla="*/ 66476613 w 948"/>
                <a:gd name="T25" fmla="*/ 244220772 h 893"/>
                <a:gd name="T26" fmla="*/ 68387021 w 948"/>
                <a:gd name="T27" fmla="*/ 245595819 h 893"/>
                <a:gd name="T28" fmla="*/ 73544818 w 948"/>
                <a:gd name="T29" fmla="*/ 245595819 h 893"/>
                <a:gd name="T30" fmla="*/ 76601208 w 948"/>
                <a:gd name="T31" fmla="*/ 234869720 h 893"/>
                <a:gd name="T32" fmla="*/ 78702614 w 948"/>
                <a:gd name="T33" fmla="*/ 216718265 h 893"/>
                <a:gd name="T34" fmla="*/ 80994579 w 948"/>
                <a:gd name="T35" fmla="*/ 212043001 h 893"/>
                <a:gd name="T36" fmla="*/ 86343373 w 948"/>
                <a:gd name="T37" fmla="*/ 207367738 h 893"/>
                <a:gd name="T38" fmla="*/ 92647152 w 948"/>
                <a:gd name="T39" fmla="*/ 204342320 h 893"/>
                <a:gd name="T40" fmla="*/ 95703543 w 948"/>
                <a:gd name="T41" fmla="*/ 200491980 h 893"/>
                <a:gd name="T42" fmla="*/ 98377940 w 948"/>
                <a:gd name="T43" fmla="*/ 193066623 h 893"/>
                <a:gd name="T44" fmla="*/ 102198319 w 948"/>
                <a:gd name="T45" fmla="*/ 183715571 h 893"/>
                <a:gd name="T46" fmla="*/ 104490721 w 948"/>
                <a:gd name="T47" fmla="*/ 181515602 h 893"/>
                <a:gd name="T48" fmla="*/ 109266524 w 948"/>
                <a:gd name="T49" fmla="*/ 181240278 h 893"/>
                <a:gd name="T50" fmla="*/ 115570303 w 948"/>
                <a:gd name="T51" fmla="*/ 177115138 h 893"/>
                <a:gd name="T52" fmla="*/ 122065079 w 948"/>
                <a:gd name="T53" fmla="*/ 171614426 h 893"/>
                <a:gd name="T54" fmla="*/ 128750852 w 948"/>
                <a:gd name="T55" fmla="*/ 168589533 h 893"/>
                <a:gd name="T56" fmla="*/ 138302456 w 948"/>
                <a:gd name="T57" fmla="*/ 167764086 h 893"/>
                <a:gd name="T58" fmla="*/ 150528020 w 948"/>
                <a:gd name="T59" fmla="*/ 165564116 h 893"/>
                <a:gd name="T60" fmla="*/ 155685379 w 948"/>
                <a:gd name="T61" fmla="*/ 163363622 h 893"/>
                <a:gd name="T62" fmla="*/ 164854989 w 948"/>
                <a:gd name="T63" fmla="*/ 162263899 h 893"/>
                <a:gd name="T64" fmla="*/ 172113754 w 948"/>
                <a:gd name="T65" fmla="*/ 160338729 h 893"/>
                <a:gd name="T66" fmla="*/ 174406157 w 948"/>
                <a:gd name="T67" fmla="*/ 157863435 h 893"/>
                <a:gd name="T68" fmla="*/ 177844542 w 948"/>
                <a:gd name="T69" fmla="*/ 149612631 h 893"/>
                <a:gd name="T70" fmla="*/ 180136944 w 948"/>
                <a:gd name="T71" fmla="*/ 138611733 h 893"/>
                <a:gd name="T72" fmla="*/ 181091930 w 948"/>
                <a:gd name="T73" fmla="*/ 126785912 h 893"/>
                <a:gd name="T74" fmla="*/ 180900933 w 948"/>
                <a:gd name="T75" fmla="*/ 115785014 h 893"/>
                <a:gd name="T76" fmla="*/ 180136944 w 948"/>
                <a:gd name="T77" fmla="*/ 99833528 h 893"/>
                <a:gd name="T78" fmla="*/ 176125131 w 948"/>
                <a:gd name="T79" fmla="*/ 97908358 h 893"/>
                <a:gd name="T80" fmla="*/ 164663555 w 948"/>
                <a:gd name="T81" fmla="*/ 88557307 h 893"/>
                <a:gd name="T82" fmla="*/ 151674003 w 948"/>
                <a:gd name="T83" fmla="*/ 76456686 h 893"/>
                <a:gd name="T84" fmla="*/ 140976416 w 948"/>
                <a:gd name="T85" fmla="*/ 59404953 h 893"/>
                <a:gd name="T86" fmla="*/ 78702614 w 948"/>
                <a:gd name="T87" fmla="*/ 3300217 h 893"/>
                <a:gd name="T88" fmla="*/ 66476613 w 948"/>
                <a:gd name="T89" fmla="*/ 28052630 h 893"/>
                <a:gd name="T90" fmla="*/ 72398398 w 948"/>
                <a:gd name="T91" fmla="*/ 111384550 h 893"/>
                <a:gd name="T92" fmla="*/ 74881797 w 948"/>
                <a:gd name="T93" fmla="*/ 155388141 h 893"/>
                <a:gd name="T94" fmla="*/ 17765354 w 948"/>
                <a:gd name="T95" fmla="*/ 162538699 h 893"/>
                <a:gd name="T96" fmla="*/ 15090958 w 948"/>
                <a:gd name="T97" fmla="*/ 166664363 h 893"/>
                <a:gd name="T98" fmla="*/ 12798555 w 948"/>
                <a:gd name="T99" fmla="*/ 167764086 h 893"/>
                <a:gd name="T100" fmla="*/ 10888584 w 948"/>
                <a:gd name="T101" fmla="*/ 166939163 h 893"/>
                <a:gd name="T102" fmla="*/ 9360170 w 948"/>
                <a:gd name="T103" fmla="*/ 162538699 h 893"/>
                <a:gd name="T104" fmla="*/ 7641196 w 948"/>
                <a:gd name="T105" fmla="*/ 159788605 h 893"/>
                <a:gd name="T106" fmla="*/ 5539791 w 948"/>
                <a:gd name="T107" fmla="*/ 166389039 h 893"/>
                <a:gd name="T108" fmla="*/ 2865394 w 948"/>
                <a:gd name="T109" fmla="*/ 171339627 h 893"/>
                <a:gd name="T110" fmla="*/ 12798555 w 948"/>
                <a:gd name="T111" fmla="*/ 201592227 h 893"/>
                <a:gd name="T112" fmla="*/ 11652573 w 948"/>
                <a:gd name="T113" fmla="*/ 205717367 h 893"/>
                <a:gd name="T114" fmla="*/ 11843570 w 948"/>
                <a:gd name="T115" fmla="*/ 209017584 h 893"/>
                <a:gd name="T116" fmla="*/ 10315156 w 948"/>
                <a:gd name="T117" fmla="*/ 216718265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0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766588" y="3176944"/>
              <a:ext cx="595329" cy="651475"/>
            </a:xfrm>
            <a:custGeom>
              <a:avLst/>
              <a:gdLst>
                <a:gd name="T0" fmla="*/ 416972213 w 373"/>
                <a:gd name="T1" fmla="*/ 900070800 h 370"/>
                <a:gd name="T2" fmla="*/ 427483116 w 373"/>
                <a:gd name="T3" fmla="*/ 895165936 h 370"/>
                <a:gd name="T4" fmla="*/ 446755091 w 373"/>
                <a:gd name="T5" fmla="*/ 902523233 h 370"/>
                <a:gd name="T6" fmla="*/ 651736901 w 373"/>
                <a:gd name="T7" fmla="*/ 679344074 h 370"/>
                <a:gd name="T8" fmla="*/ 646482112 w 373"/>
                <a:gd name="T9" fmla="*/ 662177048 h 370"/>
                <a:gd name="T10" fmla="*/ 632466250 w 373"/>
                <a:gd name="T11" fmla="*/ 647462455 h 370"/>
                <a:gd name="T12" fmla="*/ 607938161 w 373"/>
                <a:gd name="T13" fmla="*/ 635200294 h 370"/>
                <a:gd name="T14" fmla="*/ 593922300 w 373"/>
                <a:gd name="T15" fmla="*/ 622936567 h 370"/>
                <a:gd name="T16" fmla="*/ 588666186 w 373"/>
                <a:gd name="T17" fmla="*/ 605769542 h 370"/>
                <a:gd name="T18" fmla="*/ 590418665 w 373"/>
                <a:gd name="T19" fmla="*/ 559171764 h 370"/>
                <a:gd name="T20" fmla="*/ 590418665 w 373"/>
                <a:gd name="T21" fmla="*/ 480692369 h 370"/>
                <a:gd name="T22" fmla="*/ 585162552 w 373"/>
                <a:gd name="T23" fmla="*/ 412021135 h 370"/>
                <a:gd name="T24" fmla="*/ 576402804 w 373"/>
                <a:gd name="T25" fmla="*/ 380139517 h 370"/>
                <a:gd name="T26" fmla="*/ 565890577 w 373"/>
                <a:gd name="T27" fmla="*/ 348256332 h 370"/>
                <a:gd name="T28" fmla="*/ 551874715 w 373"/>
                <a:gd name="T29" fmla="*/ 267322938 h 370"/>
                <a:gd name="T30" fmla="*/ 536106374 w 373"/>
                <a:gd name="T31" fmla="*/ 220725161 h 370"/>
                <a:gd name="T32" fmla="*/ 520339357 w 373"/>
                <a:gd name="T33" fmla="*/ 191295975 h 370"/>
                <a:gd name="T34" fmla="*/ 525594147 w 373"/>
                <a:gd name="T35" fmla="*/ 154507926 h 370"/>
                <a:gd name="T36" fmla="*/ 527346626 w 373"/>
                <a:gd name="T37" fmla="*/ 105457716 h 370"/>
                <a:gd name="T38" fmla="*/ 529099105 w 373"/>
                <a:gd name="T39" fmla="*/ 56407506 h 370"/>
                <a:gd name="T40" fmla="*/ 543114967 w 373"/>
                <a:gd name="T41" fmla="*/ 17167025 h 370"/>
                <a:gd name="T42" fmla="*/ 529099105 w 373"/>
                <a:gd name="T43" fmla="*/ 14714593 h 370"/>
                <a:gd name="T44" fmla="*/ 487051521 w 373"/>
                <a:gd name="T45" fmla="*/ 29430752 h 370"/>
                <a:gd name="T46" fmla="*/ 429235595 w 373"/>
                <a:gd name="T47" fmla="*/ 29430752 h 370"/>
                <a:gd name="T48" fmla="*/ 360908766 w 373"/>
                <a:gd name="T49" fmla="*/ 34335617 h 370"/>
                <a:gd name="T50" fmla="*/ 294333093 w 373"/>
                <a:gd name="T51" fmla="*/ 58859938 h 370"/>
                <a:gd name="T52" fmla="*/ 254037987 w 373"/>
                <a:gd name="T53" fmla="*/ 78480962 h 370"/>
                <a:gd name="T54" fmla="*/ 217245193 w 373"/>
                <a:gd name="T55" fmla="*/ 107910148 h 370"/>
                <a:gd name="T56" fmla="*/ 215494037 w 373"/>
                <a:gd name="T57" fmla="*/ 127531172 h 370"/>
                <a:gd name="T58" fmla="*/ 229509899 w 373"/>
                <a:gd name="T59" fmla="*/ 218272729 h 370"/>
                <a:gd name="T60" fmla="*/ 234766012 w 373"/>
                <a:gd name="T61" fmla="*/ 228084023 h 370"/>
                <a:gd name="T62" fmla="*/ 247029395 w 373"/>
                <a:gd name="T63" fmla="*/ 240346184 h 370"/>
                <a:gd name="T64" fmla="*/ 248781874 w 373"/>
                <a:gd name="T65" fmla="*/ 250155913 h 370"/>
                <a:gd name="T66" fmla="*/ 243525760 w 373"/>
                <a:gd name="T67" fmla="*/ 262418074 h 370"/>
                <a:gd name="T68" fmla="*/ 224253785 w 373"/>
                <a:gd name="T69" fmla="*/ 262418074 h 370"/>
                <a:gd name="T70" fmla="*/ 185709835 w 373"/>
                <a:gd name="T71" fmla="*/ 277132667 h 370"/>
                <a:gd name="T72" fmla="*/ 166437860 w 373"/>
                <a:gd name="T73" fmla="*/ 299206123 h 370"/>
                <a:gd name="T74" fmla="*/ 157678112 w 373"/>
                <a:gd name="T75" fmla="*/ 321278012 h 370"/>
                <a:gd name="T76" fmla="*/ 143662250 w 373"/>
                <a:gd name="T77" fmla="*/ 335994172 h 370"/>
                <a:gd name="T78" fmla="*/ 115630527 w 373"/>
                <a:gd name="T79" fmla="*/ 367875790 h 370"/>
                <a:gd name="T80" fmla="*/ 89351283 w 373"/>
                <a:gd name="T81" fmla="*/ 387496813 h 370"/>
                <a:gd name="T82" fmla="*/ 54310967 w 373"/>
                <a:gd name="T83" fmla="*/ 392401678 h 370"/>
                <a:gd name="T84" fmla="*/ 35038992 w 373"/>
                <a:gd name="T85" fmla="*/ 402211407 h 370"/>
                <a:gd name="T86" fmla="*/ 14015862 w 373"/>
                <a:gd name="T87" fmla="*/ 426735728 h 370"/>
                <a:gd name="T88" fmla="*/ 0 w 373"/>
                <a:gd name="T89" fmla="*/ 490502097 h 370"/>
                <a:gd name="T90" fmla="*/ 313605068 w 373"/>
                <a:gd name="T91" fmla="*/ 811780110 h 370"/>
                <a:gd name="T92" fmla="*/ 352149018 w 373"/>
                <a:gd name="T93" fmla="*/ 863282752 h 370"/>
                <a:gd name="T94" fmla="*/ 401203872 w 373"/>
                <a:gd name="T95" fmla="*/ 902523233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1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93004" y="3328657"/>
              <a:ext cx="463246" cy="490836"/>
            </a:xfrm>
            <a:custGeom>
              <a:avLst/>
              <a:gdLst>
                <a:gd name="T0" fmla="*/ 6908141 w 877"/>
                <a:gd name="T1" fmla="*/ 39386772 h 826"/>
                <a:gd name="T2" fmla="*/ 8827264 w 877"/>
                <a:gd name="T3" fmla="*/ 30447821 h 826"/>
                <a:gd name="T4" fmla="*/ 8827264 w 877"/>
                <a:gd name="T5" fmla="*/ 19553855 h 826"/>
                <a:gd name="T6" fmla="*/ 11705291 w 877"/>
                <a:gd name="T7" fmla="*/ 17877901 h 826"/>
                <a:gd name="T8" fmla="*/ 17078484 w 877"/>
                <a:gd name="T9" fmla="*/ 15363706 h 826"/>
                <a:gd name="T10" fmla="*/ 18997607 w 877"/>
                <a:gd name="T11" fmla="*/ 5587042 h 826"/>
                <a:gd name="T12" fmla="*/ 32237846 w 877"/>
                <a:gd name="T13" fmla="*/ 1675954 h 826"/>
                <a:gd name="T14" fmla="*/ 46438303 w 877"/>
                <a:gd name="T15" fmla="*/ 6704345 h 826"/>
                <a:gd name="T16" fmla="*/ 52386664 w 877"/>
                <a:gd name="T17" fmla="*/ 12011797 h 826"/>
                <a:gd name="T18" fmla="*/ 54689523 w 877"/>
                <a:gd name="T19" fmla="*/ 21788461 h 826"/>
                <a:gd name="T20" fmla="*/ 56608208 w 877"/>
                <a:gd name="T21" fmla="*/ 28213216 h 826"/>
                <a:gd name="T22" fmla="*/ 62365138 w 877"/>
                <a:gd name="T23" fmla="*/ 30727411 h 826"/>
                <a:gd name="T24" fmla="*/ 69657016 w 877"/>
                <a:gd name="T25" fmla="*/ 30447821 h 826"/>
                <a:gd name="T26" fmla="*/ 80787140 w 877"/>
                <a:gd name="T27" fmla="*/ 37152166 h 826"/>
                <a:gd name="T28" fmla="*/ 91724957 w 877"/>
                <a:gd name="T29" fmla="*/ 45252875 h 826"/>
                <a:gd name="T30" fmla="*/ 98441230 w 877"/>
                <a:gd name="T31" fmla="*/ 46370178 h 826"/>
                <a:gd name="T32" fmla="*/ 103238380 w 877"/>
                <a:gd name="T33" fmla="*/ 44135573 h 826"/>
                <a:gd name="T34" fmla="*/ 105349371 w 877"/>
                <a:gd name="T35" fmla="*/ 35196622 h 826"/>
                <a:gd name="T36" fmla="*/ 104389590 w 877"/>
                <a:gd name="T37" fmla="*/ 28771867 h 826"/>
                <a:gd name="T38" fmla="*/ 101895300 w 877"/>
                <a:gd name="T39" fmla="*/ 22626702 h 826"/>
                <a:gd name="T40" fmla="*/ 103430248 w 877"/>
                <a:gd name="T41" fmla="*/ 13687751 h 826"/>
                <a:gd name="T42" fmla="*/ 110146521 w 877"/>
                <a:gd name="T43" fmla="*/ 9497602 h 826"/>
                <a:gd name="T44" fmla="*/ 118397741 w 877"/>
                <a:gd name="T45" fmla="*/ 1117303 h 826"/>
                <a:gd name="T46" fmla="*/ 124730277 w 877"/>
                <a:gd name="T47" fmla="*/ 0 h 826"/>
                <a:gd name="T48" fmla="*/ 130679076 w 877"/>
                <a:gd name="T49" fmla="*/ 1675954 h 826"/>
                <a:gd name="T50" fmla="*/ 133365672 w 877"/>
                <a:gd name="T51" fmla="*/ 6704345 h 826"/>
                <a:gd name="T52" fmla="*/ 135476225 w 877"/>
                <a:gd name="T53" fmla="*/ 13966813 h 826"/>
                <a:gd name="T54" fmla="*/ 139698208 w 877"/>
                <a:gd name="T55" fmla="*/ 17598311 h 826"/>
                <a:gd name="T56" fmla="*/ 153130753 w 877"/>
                <a:gd name="T57" fmla="*/ 19832917 h 826"/>
                <a:gd name="T58" fmla="*/ 159270982 w 877"/>
                <a:gd name="T59" fmla="*/ 27095913 h 826"/>
                <a:gd name="T60" fmla="*/ 160038894 w 877"/>
                <a:gd name="T61" fmla="*/ 32682427 h 826"/>
                <a:gd name="T62" fmla="*/ 161765711 w 877"/>
                <a:gd name="T63" fmla="*/ 39107710 h 826"/>
                <a:gd name="T64" fmla="*/ 160422631 w 877"/>
                <a:gd name="T65" fmla="*/ 44415163 h 826"/>
                <a:gd name="T66" fmla="*/ 158119772 w 877"/>
                <a:gd name="T67" fmla="*/ 47487481 h 826"/>
                <a:gd name="T68" fmla="*/ 159079114 w 877"/>
                <a:gd name="T69" fmla="*/ 57823324 h 826"/>
                <a:gd name="T70" fmla="*/ 164644176 w 877"/>
                <a:gd name="T71" fmla="*/ 68438229 h 826"/>
                <a:gd name="T72" fmla="*/ 168098246 w 877"/>
                <a:gd name="T73" fmla="*/ 191905996 h 826"/>
                <a:gd name="T74" fmla="*/ 168290115 w 877"/>
                <a:gd name="T75" fmla="*/ 206990111 h 826"/>
                <a:gd name="T76" fmla="*/ 166947035 w 877"/>
                <a:gd name="T77" fmla="*/ 216487713 h 826"/>
                <a:gd name="T78" fmla="*/ 162725053 w 877"/>
                <a:gd name="T79" fmla="*/ 218722319 h 826"/>
                <a:gd name="T80" fmla="*/ 159270982 w 877"/>
                <a:gd name="T81" fmla="*/ 224588422 h 826"/>
                <a:gd name="T82" fmla="*/ 70232622 w 877"/>
                <a:gd name="T83" fmla="*/ 165648324 h 826"/>
                <a:gd name="T84" fmla="*/ 63516349 w 877"/>
                <a:gd name="T85" fmla="*/ 169558884 h 826"/>
                <a:gd name="T86" fmla="*/ 56032603 w 877"/>
                <a:gd name="T87" fmla="*/ 174866336 h 826"/>
                <a:gd name="T88" fmla="*/ 50467979 w 877"/>
                <a:gd name="T89" fmla="*/ 175145398 h 826"/>
                <a:gd name="T90" fmla="*/ 44135443 w 877"/>
                <a:gd name="T91" fmla="*/ 170117535 h 826"/>
                <a:gd name="T92" fmla="*/ 37035434 w 877"/>
                <a:gd name="T93" fmla="*/ 163692780 h 826"/>
                <a:gd name="T94" fmla="*/ 29167512 w 877"/>
                <a:gd name="T95" fmla="*/ 161458175 h 826"/>
                <a:gd name="T96" fmla="*/ 26481354 w 877"/>
                <a:gd name="T97" fmla="*/ 161178585 h 826"/>
                <a:gd name="T98" fmla="*/ 24945968 w 877"/>
                <a:gd name="T99" fmla="*/ 154474768 h 826"/>
                <a:gd name="T100" fmla="*/ 20916292 w 877"/>
                <a:gd name="T101" fmla="*/ 149446377 h 826"/>
                <a:gd name="T102" fmla="*/ 12089466 w 877"/>
                <a:gd name="T103" fmla="*/ 144418515 h 826"/>
                <a:gd name="T104" fmla="*/ 5373193 w 877"/>
                <a:gd name="T105" fmla="*/ 139390124 h 826"/>
                <a:gd name="T106" fmla="*/ 3070334 w 877"/>
                <a:gd name="T107" fmla="*/ 134641323 h 826"/>
                <a:gd name="T108" fmla="*/ 2686597 w 877"/>
                <a:gd name="T109" fmla="*/ 122630054 h 826"/>
                <a:gd name="T110" fmla="*/ 3645939 w 877"/>
                <a:gd name="T111" fmla="*/ 98327398 h 826"/>
                <a:gd name="T112" fmla="*/ 3262202 w 877"/>
                <a:gd name="T113" fmla="*/ 72069727 h 826"/>
                <a:gd name="T114" fmla="*/ 767474 w 877"/>
                <a:gd name="T115" fmla="*/ 56426431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2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235577" y="3176944"/>
              <a:ext cx="112941" cy="265945"/>
            </a:xfrm>
            <a:custGeom>
              <a:avLst/>
              <a:gdLst>
                <a:gd name="T0" fmla="*/ 21293328 w 206"/>
                <a:gd name="T1" fmla="*/ 119183960 h 455"/>
                <a:gd name="T2" fmla="*/ 25840985 w 206"/>
                <a:gd name="T3" fmla="*/ 113508608 h 455"/>
                <a:gd name="T4" fmla="*/ 28941867 w 206"/>
                <a:gd name="T5" fmla="*/ 109184381 h 455"/>
                <a:gd name="T6" fmla="*/ 30389097 w 206"/>
                <a:gd name="T7" fmla="*/ 105400813 h 455"/>
                <a:gd name="T8" fmla="*/ 31423027 w 206"/>
                <a:gd name="T9" fmla="*/ 100806257 h 455"/>
                <a:gd name="T10" fmla="*/ 31836327 w 206"/>
                <a:gd name="T11" fmla="*/ 95130905 h 455"/>
                <a:gd name="T12" fmla="*/ 31629449 w 206"/>
                <a:gd name="T13" fmla="*/ 90536349 h 455"/>
                <a:gd name="T14" fmla="*/ 32249626 w 206"/>
                <a:gd name="T15" fmla="*/ 89455552 h 455"/>
                <a:gd name="T16" fmla="*/ 34730331 w 206"/>
                <a:gd name="T17" fmla="*/ 88914894 h 455"/>
                <a:gd name="T18" fmla="*/ 38244967 w 206"/>
                <a:gd name="T19" fmla="*/ 87834097 h 455"/>
                <a:gd name="T20" fmla="*/ 40518796 w 206"/>
                <a:gd name="T21" fmla="*/ 85942313 h 455"/>
                <a:gd name="T22" fmla="*/ 41966025 w 206"/>
                <a:gd name="T23" fmla="*/ 82158745 h 455"/>
                <a:gd name="T24" fmla="*/ 42586202 w 206"/>
                <a:gd name="T25" fmla="*/ 75672405 h 455"/>
                <a:gd name="T26" fmla="*/ 41759148 w 206"/>
                <a:gd name="T27" fmla="*/ 71618508 h 455"/>
                <a:gd name="T28" fmla="*/ 39898619 w 206"/>
                <a:gd name="T29" fmla="*/ 71348179 h 455"/>
                <a:gd name="T30" fmla="*/ 36590860 w 206"/>
                <a:gd name="T31" fmla="*/ 69186065 h 455"/>
                <a:gd name="T32" fmla="*/ 32043204 w 206"/>
                <a:gd name="T33" fmla="*/ 65402497 h 455"/>
                <a:gd name="T34" fmla="*/ 28941867 w 206"/>
                <a:gd name="T35" fmla="*/ 62429916 h 455"/>
                <a:gd name="T36" fmla="*/ 26874916 w 206"/>
                <a:gd name="T37" fmla="*/ 61618929 h 455"/>
                <a:gd name="T38" fmla="*/ 24600632 w 206"/>
                <a:gd name="T39" fmla="*/ 59997474 h 455"/>
                <a:gd name="T40" fmla="*/ 20879574 w 206"/>
                <a:gd name="T41" fmla="*/ 57294702 h 455"/>
                <a:gd name="T42" fmla="*/ 19639221 w 206"/>
                <a:gd name="T43" fmla="*/ 55673247 h 455"/>
                <a:gd name="T44" fmla="*/ 19639221 w 206"/>
                <a:gd name="T45" fmla="*/ 53781463 h 455"/>
                <a:gd name="T46" fmla="*/ 21499751 w 206"/>
                <a:gd name="T47" fmla="*/ 48916578 h 455"/>
                <a:gd name="T48" fmla="*/ 24600632 w 206"/>
                <a:gd name="T49" fmla="*/ 42700568 h 455"/>
                <a:gd name="T50" fmla="*/ 27701514 w 206"/>
                <a:gd name="T51" fmla="*/ 37836203 h 455"/>
                <a:gd name="T52" fmla="*/ 28115268 w 206"/>
                <a:gd name="T53" fmla="*/ 34863102 h 455"/>
                <a:gd name="T54" fmla="*/ 26047862 w 206"/>
                <a:gd name="T55" fmla="*/ 31349863 h 455"/>
                <a:gd name="T56" fmla="*/ 23774034 w 206"/>
                <a:gd name="T57" fmla="*/ 28377282 h 455"/>
                <a:gd name="T58" fmla="*/ 22326804 w 206"/>
                <a:gd name="T59" fmla="*/ 25133852 h 455"/>
                <a:gd name="T60" fmla="*/ 22119927 w 206"/>
                <a:gd name="T61" fmla="*/ 22701929 h 455"/>
                <a:gd name="T62" fmla="*/ 22946980 w 206"/>
                <a:gd name="T63" fmla="*/ 21079955 h 455"/>
                <a:gd name="T64" fmla="*/ 23980456 w 206"/>
                <a:gd name="T65" fmla="*/ 19458500 h 455"/>
                <a:gd name="T66" fmla="*/ 25427686 w 206"/>
                <a:gd name="T67" fmla="*/ 18648032 h 455"/>
                <a:gd name="T68" fmla="*/ 26047862 w 206"/>
                <a:gd name="T69" fmla="*/ 9999579 h 455"/>
                <a:gd name="T70" fmla="*/ 22740103 w 206"/>
                <a:gd name="T71" fmla="*/ 8648453 h 455"/>
                <a:gd name="T72" fmla="*/ 17985569 w 206"/>
                <a:gd name="T73" fmla="*/ 5675352 h 455"/>
                <a:gd name="T74" fmla="*/ 10956752 w 206"/>
                <a:gd name="T75" fmla="*/ 0 h 455"/>
                <a:gd name="T76" fmla="*/ 9716400 w 206"/>
                <a:gd name="T77" fmla="*/ 2973101 h 455"/>
                <a:gd name="T78" fmla="*/ 7028817 w 206"/>
                <a:gd name="T79" fmla="*/ 11891363 h 455"/>
                <a:gd name="T80" fmla="*/ 5788464 w 206"/>
                <a:gd name="T81" fmla="*/ 18917841 h 455"/>
                <a:gd name="T82" fmla="*/ 4548112 w 206"/>
                <a:gd name="T83" fmla="*/ 26755827 h 455"/>
                <a:gd name="T84" fmla="*/ 4134358 w 206"/>
                <a:gd name="T85" fmla="*/ 35944418 h 455"/>
                <a:gd name="T86" fmla="*/ 4134358 w 206"/>
                <a:gd name="T87" fmla="*/ 46484656 h 455"/>
                <a:gd name="T88" fmla="*/ 2480705 w 206"/>
                <a:gd name="T89" fmla="*/ 50808362 h 455"/>
                <a:gd name="T90" fmla="*/ 1653652 w 206"/>
                <a:gd name="T91" fmla="*/ 55673247 h 455"/>
                <a:gd name="T92" fmla="*/ 0 w 206"/>
                <a:gd name="T93" fmla="*/ 63510713 h 455"/>
                <a:gd name="T94" fmla="*/ 4548112 w 206"/>
                <a:gd name="T95" fmla="*/ 69997053 h 455"/>
                <a:gd name="T96" fmla="*/ 8476047 w 206"/>
                <a:gd name="T97" fmla="*/ 75942734 h 455"/>
                <a:gd name="T98" fmla="*/ 11370052 w 206"/>
                <a:gd name="T99" fmla="*/ 82428554 h 455"/>
                <a:gd name="T100" fmla="*/ 13644335 w 206"/>
                <a:gd name="T101" fmla="*/ 88914894 h 455"/>
                <a:gd name="T102" fmla="*/ 15504864 w 206"/>
                <a:gd name="T103" fmla="*/ 95941892 h 455"/>
                <a:gd name="T104" fmla="*/ 16951639 w 206"/>
                <a:gd name="T105" fmla="*/ 103779358 h 455"/>
                <a:gd name="T106" fmla="*/ 19225922 w 206"/>
                <a:gd name="T107" fmla="*/ 12296752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B050"/>
                </a:solidFill>
              </a:endParaRPr>
            </a:p>
          </p:txBody>
        </p:sp>
        <p:sp>
          <p:nvSpPr>
            <p:cNvPr id="173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490938" y="3526776"/>
              <a:ext cx="279479" cy="242741"/>
            </a:xfrm>
            <a:custGeom>
              <a:avLst/>
              <a:gdLst>
                <a:gd name="T0" fmla="*/ 65266587 w 518"/>
                <a:gd name="T1" fmla="*/ 31106085 h 406"/>
                <a:gd name="T2" fmla="*/ 65266587 w 518"/>
                <a:gd name="T3" fmla="*/ 73240618 h 406"/>
                <a:gd name="T4" fmla="*/ 63064277 w 518"/>
                <a:gd name="T5" fmla="*/ 74654604 h 406"/>
                <a:gd name="T6" fmla="*/ 58259644 w 518"/>
                <a:gd name="T7" fmla="*/ 76634396 h 406"/>
                <a:gd name="T8" fmla="*/ 49250398 w 518"/>
                <a:gd name="T9" fmla="*/ 80027642 h 406"/>
                <a:gd name="T10" fmla="*/ 50651786 w 518"/>
                <a:gd name="T11" fmla="*/ 85400681 h 406"/>
                <a:gd name="T12" fmla="*/ 53054103 w 518"/>
                <a:gd name="T13" fmla="*/ 92187173 h 406"/>
                <a:gd name="T14" fmla="*/ 53855024 w 518"/>
                <a:gd name="T15" fmla="*/ 99822375 h 406"/>
                <a:gd name="T16" fmla="*/ 54455492 w 518"/>
                <a:gd name="T17" fmla="*/ 108022853 h 406"/>
                <a:gd name="T18" fmla="*/ 10410635 w 518"/>
                <a:gd name="T19" fmla="*/ 111416631 h 406"/>
                <a:gd name="T20" fmla="*/ 4404620 w 518"/>
                <a:gd name="T21" fmla="*/ 114809877 h 406"/>
                <a:gd name="T22" fmla="*/ 1000928 w 518"/>
                <a:gd name="T23" fmla="*/ 113961698 h 406"/>
                <a:gd name="T24" fmla="*/ 200007 w 518"/>
                <a:gd name="T25" fmla="*/ 112547713 h 406"/>
                <a:gd name="T26" fmla="*/ 200007 w 518"/>
                <a:gd name="T27" fmla="*/ 108871563 h 406"/>
                <a:gd name="T28" fmla="*/ 800921 w 518"/>
                <a:gd name="T29" fmla="*/ 104912510 h 406"/>
                <a:gd name="T30" fmla="*/ 2202310 w 518"/>
                <a:gd name="T31" fmla="*/ 100105279 h 406"/>
                <a:gd name="T32" fmla="*/ 4004159 w 518"/>
                <a:gd name="T33" fmla="*/ 96429129 h 406"/>
                <a:gd name="T34" fmla="*/ 6006015 w 518"/>
                <a:gd name="T35" fmla="*/ 94449337 h 406"/>
                <a:gd name="T36" fmla="*/ 7607858 w 518"/>
                <a:gd name="T37" fmla="*/ 92187173 h 406"/>
                <a:gd name="T38" fmla="*/ 8808792 w 518"/>
                <a:gd name="T39" fmla="*/ 89642105 h 406"/>
                <a:gd name="T40" fmla="*/ 9810168 w 518"/>
                <a:gd name="T41" fmla="*/ 82572710 h 406"/>
                <a:gd name="T42" fmla="*/ 11211556 w 518"/>
                <a:gd name="T43" fmla="*/ 74937507 h 406"/>
                <a:gd name="T44" fmla="*/ 12412491 w 518"/>
                <a:gd name="T45" fmla="*/ 72675343 h 406"/>
                <a:gd name="T46" fmla="*/ 14815255 w 518"/>
                <a:gd name="T47" fmla="*/ 69564469 h 406"/>
                <a:gd name="T48" fmla="*/ 18418953 w 518"/>
                <a:gd name="T49" fmla="*/ 67302305 h 406"/>
                <a:gd name="T50" fmla="*/ 21421737 w 518"/>
                <a:gd name="T51" fmla="*/ 65323044 h 406"/>
                <a:gd name="T52" fmla="*/ 24424969 w 518"/>
                <a:gd name="T53" fmla="*/ 61646895 h 406"/>
                <a:gd name="T54" fmla="*/ 27227746 w 518"/>
                <a:gd name="T55" fmla="*/ 55142774 h 406"/>
                <a:gd name="T56" fmla="*/ 30030523 w 518"/>
                <a:gd name="T57" fmla="*/ 44114326 h 406"/>
                <a:gd name="T58" fmla="*/ 32433287 w 518"/>
                <a:gd name="T59" fmla="*/ 33085346 h 406"/>
                <a:gd name="T60" fmla="*/ 34435143 w 518"/>
                <a:gd name="T61" fmla="*/ 26581757 h 406"/>
                <a:gd name="T62" fmla="*/ 37237920 w 518"/>
                <a:gd name="T63" fmla="*/ 20642912 h 406"/>
                <a:gd name="T64" fmla="*/ 40241151 w 518"/>
                <a:gd name="T65" fmla="*/ 17532569 h 406"/>
                <a:gd name="T66" fmla="*/ 42643468 w 518"/>
                <a:gd name="T67" fmla="*/ 16118583 h 406"/>
                <a:gd name="T68" fmla="*/ 43844850 w 518"/>
                <a:gd name="T69" fmla="*/ 12442434 h 406"/>
                <a:gd name="T70" fmla="*/ 44645771 w 518"/>
                <a:gd name="T71" fmla="*/ 7918106 h 406"/>
                <a:gd name="T72" fmla="*/ 45646699 w 518"/>
                <a:gd name="T73" fmla="*/ 4524328 h 406"/>
                <a:gd name="T74" fmla="*/ 47849009 w 518"/>
                <a:gd name="T75" fmla="*/ 2262164 h 406"/>
                <a:gd name="T76" fmla="*/ 102304501 w 518"/>
                <a:gd name="T77" fmla="*/ 0 h 406"/>
                <a:gd name="T78" fmla="*/ 103105422 w 518"/>
                <a:gd name="T79" fmla="*/ 13008241 h 406"/>
                <a:gd name="T80" fmla="*/ 103705889 w 518"/>
                <a:gd name="T81" fmla="*/ 3110608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4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452653" y="2186346"/>
              <a:ext cx="229709" cy="105306"/>
            </a:xfrm>
            <a:custGeom>
              <a:avLst/>
              <a:gdLst>
                <a:gd name="T0" fmla="*/ 6202783 w 446"/>
                <a:gd name="T1" fmla="*/ 16889679 h 178"/>
                <a:gd name="T2" fmla="*/ 7479901 w 446"/>
                <a:gd name="T3" fmla="*/ 11628821 h 178"/>
                <a:gd name="T4" fmla="*/ 12405992 w 446"/>
                <a:gd name="T5" fmla="*/ 10244413 h 178"/>
                <a:gd name="T6" fmla="*/ 14595034 w 446"/>
                <a:gd name="T7" fmla="*/ 4983555 h 178"/>
                <a:gd name="T8" fmla="*/ 13135530 w 446"/>
                <a:gd name="T9" fmla="*/ 3876449 h 178"/>
                <a:gd name="T10" fmla="*/ 10946489 w 446"/>
                <a:gd name="T11" fmla="*/ 0 h 178"/>
                <a:gd name="T12" fmla="*/ 15507383 w 446"/>
                <a:gd name="T13" fmla="*/ 2768817 h 178"/>
                <a:gd name="T14" fmla="*/ 19703509 w 446"/>
                <a:gd name="T15" fmla="*/ 10797966 h 178"/>
                <a:gd name="T16" fmla="*/ 22804900 w 446"/>
                <a:gd name="T17" fmla="*/ 17166456 h 178"/>
                <a:gd name="T18" fmla="*/ 25359138 w 446"/>
                <a:gd name="T19" fmla="*/ 18550864 h 178"/>
                <a:gd name="T20" fmla="*/ 28642914 w 446"/>
                <a:gd name="T21" fmla="*/ 17443232 h 178"/>
                <a:gd name="T22" fmla="*/ 33021851 w 446"/>
                <a:gd name="T23" fmla="*/ 12459677 h 178"/>
                <a:gd name="T24" fmla="*/ 37400361 w 446"/>
                <a:gd name="T25" fmla="*/ 6367964 h 178"/>
                <a:gd name="T26" fmla="*/ 40136983 w 446"/>
                <a:gd name="T27" fmla="*/ 8583228 h 178"/>
                <a:gd name="T28" fmla="*/ 65496121 w 446"/>
                <a:gd name="T29" fmla="*/ 3045594 h 178"/>
                <a:gd name="T30" fmla="*/ 68597512 w 446"/>
                <a:gd name="T31" fmla="*/ 6367964 h 178"/>
                <a:gd name="T32" fmla="*/ 72246057 w 446"/>
                <a:gd name="T33" fmla="*/ 6091187 h 178"/>
                <a:gd name="T34" fmla="*/ 75347876 w 446"/>
                <a:gd name="T35" fmla="*/ 10244413 h 178"/>
                <a:gd name="T36" fmla="*/ 75712645 w 446"/>
                <a:gd name="T37" fmla="*/ 11905598 h 178"/>
                <a:gd name="T38" fmla="*/ 78266882 w 446"/>
                <a:gd name="T39" fmla="*/ 14951191 h 178"/>
                <a:gd name="T40" fmla="*/ 80821120 w 446"/>
                <a:gd name="T41" fmla="*/ 18827641 h 178"/>
                <a:gd name="T42" fmla="*/ 81368274 w 446"/>
                <a:gd name="T43" fmla="*/ 22150011 h 178"/>
                <a:gd name="T44" fmla="*/ 79908770 w 446"/>
                <a:gd name="T45" fmla="*/ 26580013 h 178"/>
                <a:gd name="T46" fmla="*/ 75347876 w 446"/>
                <a:gd name="T47" fmla="*/ 30733238 h 178"/>
                <a:gd name="T48" fmla="*/ 72428869 w 446"/>
                <a:gd name="T49" fmla="*/ 33225279 h 178"/>
                <a:gd name="T50" fmla="*/ 66773240 w 446"/>
                <a:gd name="T51" fmla="*/ 34055608 h 178"/>
                <a:gd name="T52" fmla="*/ 54732017 w 446"/>
                <a:gd name="T53" fmla="*/ 40424098 h 178"/>
                <a:gd name="T54" fmla="*/ 42690794 w 446"/>
                <a:gd name="T55" fmla="*/ 47346141 h 178"/>
                <a:gd name="T56" fmla="*/ 36305627 w 446"/>
                <a:gd name="T57" fmla="*/ 49284102 h 178"/>
                <a:gd name="T58" fmla="*/ 32291886 w 446"/>
                <a:gd name="T59" fmla="*/ 48176470 h 178"/>
                <a:gd name="T60" fmla="*/ 31379536 w 446"/>
                <a:gd name="T61" fmla="*/ 45407653 h 178"/>
                <a:gd name="T62" fmla="*/ 31014767 w 446"/>
                <a:gd name="T63" fmla="*/ 44577324 h 178"/>
                <a:gd name="T64" fmla="*/ 28460529 w 446"/>
                <a:gd name="T65" fmla="*/ 44577324 h 178"/>
                <a:gd name="T66" fmla="*/ 25359138 w 446"/>
                <a:gd name="T67" fmla="*/ 44300547 h 178"/>
                <a:gd name="T68" fmla="*/ 18244006 w 446"/>
                <a:gd name="T69" fmla="*/ 40700875 h 178"/>
                <a:gd name="T70" fmla="*/ 15507383 w 446"/>
                <a:gd name="T71" fmla="*/ 37932058 h 178"/>
                <a:gd name="T72" fmla="*/ 14777845 w 446"/>
                <a:gd name="T73" fmla="*/ 34609688 h 178"/>
                <a:gd name="T74" fmla="*/ 15872152 w 446"/>
                <a:gd name="T75" fmla="*/ 30733238 h 178"/>
                <a:gd name="T76" fmla="*/ 4926091 w 446"/>
                <a:gd name="T77" fmla="*/ 28518500 h 178"/>
                <a:gd name="T78" fmla="*/ 1641888 w 446"/>
                <a:gd name="T79" fmla="*/ 29072053 h 178"/>
                <a:gd name="T80" fmla="*/ 0 w 446"/>
                <a:gd name="T81" fmla="*/ 22150011 h 178"/>
                <a:gd name="T82" fmla="*/ 10946489 w 446"/>
                <a:gd name="T83" fmla="*/ 23811196 h 178"/>
                <a:gd name="T84" fmla="*/ 15872152 w 446"/>
                <a:gd name="T85" fmla="*/ 22150011 h 178"/>
                <a:gd name="T86" fmla="*/ 4196126 w 446"/>
                <a:gd name="T87" fmla="*/ 18827641 h 178"/>
                <a:gd name="T88" fmla="*/ 2919007 w 446"/>
                <a:gd name="T89" fmla="*/ 15228494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5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407859" y="2482633"/>
              <a:ext cx="17229" cy="64255"/>
            </a:xfrm>
            <a:custGeom>
              <a:avLst/>
              <a:gdLst>
                <a:gd name="T0" fmla="*/ 0 w 28"/>
                <a:gd name="T1" fmla="*/ 44741404 h 73"/>
                <a:gd name="T2" fmla="*/ 521002 w 28"/>
                <a:gd name="T3" fmla="*/ 28805949 h 73"/>
                <a:gd name="T4" fmla="*/ 1562495 w 28"/>
                <a:gd name="T5" fmla="*/ 17161440 h 73"/>
                <a:gd name="T6" fmla="*/ 1822741 w 28"/>
                <a:gd name="T7" fmla="*/ 12258284 h 73"/>
                <a:gd name="T8" fmla="*/ 1562495 w 28"/>
                <a:gd name="T9" fmla="*/ 7967336 h 73"/>
                <a:gd name="T10" fmla="*/ 1041493 w 28"/>
                <a:gd name="T11" fmla="*/ 4290164 h 73"/>
                <a:gd name="T12" fmla="*/ 0 w 28"/>
                <a:gd name="T13" fmla="*/ 0 h 73"/>
                <a:gd name="T14" fmla="*/ 7290962 w 28"/>
                <a:gd name="T15" fmla="*/ 0 h 73"/>
                <a:gd name="T16" fmla="*/ 5728467 w 28"/>
                <a:gd name="T17" fmla="*/ 9806314 h 73"/>
                <a:gd name="T18" fmla="*/ 4426729 w 28"/>
                <a:gd name="T19" fmla="*/ 18386642 h 73"/>
                <a:gd name="T20" fmla="*/ 3124479 w 28"/>
                <a:gd name="T21" fmla="*/ 26354762 h 73"/>
                <a:gd name="T22" fmla="*/ 1822741 w 28"/>
                <a:gd name="T23" fmla="*/ 33709105 h 73"/>
                <a:gd name="T24" fmla="*/ 0 w 28"/>
                <a:gd name="T25" fmla="*/ 44741404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6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71948" y="2104243"/>
              <a:ext cx="283308" cy="444430"/>
            </a:xfrm>
            <a:custGeom>
              <a:avLst/>
              <a:gdLst>
                <a:gd name="T0" fmla="*/ 82030735 w 531"/>
                <a:gd name="T1" fmla="*/ 55351668 h 757"/>
                <a:gd name="T2" fmla="*/ 79485665 w 531"/>
                <a:gd name="T3" fmla="*/ 60259597 h 757"/>
                <a:gd name="T4" fmla="*/ 79094081 w 531"/>
                <a:gd name="T5" fmla="*/ 64622375 h 757"/>
                <a:gd name="T6" fmla="*/ 74786665 w 531"/>
                <a:gd name="T7" fmla="*/ 74983385 h 757"/>
                <a:gd name="T8" fmla="*/ 63627646 w 531"/>
                <a:gd name="T9" fmla="*/ 83436365 h 757"/>
                <a:gd name="T10" fmla="*/ 49335960 w 531"/>
                <a:gd name="T11" fmla="*/ 96524177 h 757"/>
                <a:gd name="T12" fmla="*/ 46399306 w 531"/>
                <a:gd name="T13" fmla="*/ 100614379 h 757"/>
                <a:gd name="T14" fmla="*/ 47965197 w 531"/>
                <a:gd name="T15" fmla="*/ 103886332 h 757"/>
                <a:gd name="T16" fmla="*/ 46986460 w 531"/>
                <a:gd name="T17" fmla="*/ 115610743 h 757"/>
                <a:gd name="T18" fmla="*/ 46790890 w 531"/>
                <a:gd name="T19" fmla="*/ 122427747 h 757"/>
                <a:gd name="T20" fmla="*/ 51293434 w 531"/>
                <a:gd name="T21" fmla="*/ 127608252 h 757"/>
                <a:gd name="T22" fmla="*/ 62648466 w 531"/>
                <a:gd name="T23" fmla="*/ 132243605 h 757"/>
                <a:gd name="T24" fmla="*/ 64997966 w 531"/>
                <a:gd name="T25" fmla="*/ 137697208 h 757"/>
                <a:gd name="T26" fmla="*/ 60690992 w 531"/>
                <a:gd name="T27" fmla="*/ 144786265 h 757"/>
                <a:gd name="T28" fmla="*/ 53251351 w 531"/>
                <a:gd name="T29" fmla="*/ 149149043 h 757"/>
                <a:gd name="T30" fmla="*/ 51881031 w 531"/>
                <a:gd name="T31" fmla="*/ 152693572 h 757"/>
                <a:gd name="T32" fmla="*/ 49335960 w 531"/>
                <a:gd name="T33" fmla="*/ 172053236 h 757"/>
                <a:gd name="T34" fmla="*/ 46790890 w 531"/>
                <a:gd name="T35" fmla="*/ 196593405 h 757"/>
                <a:gd name="T36" fmla="*/ 33869525 w 531"/>
                <a:gd name="T37" fmla="*/ 198229381 h 757"/>
                <a:gd name="T38" fmla="*/ 29758121 w 531"/>
                <a:gd name="T39" fmla="*/ 201228758 h 757"/>
                <a:gd name="T40" fmla="*/ 29953691 w 531"/>
                <a:gd name="T41" fmla="*/ 206409263 h 757"/>
                <a:gd name="T42" fmla="*/ 20752589 w 531"/>
                <a:gd name="T43" fmla="*/ 206409263 h 757"/>
                <a:gd name="T44" fmla="*/ 18598660 w 531"/>
                <a:gd name="T45" fmla="*/ 205045863 h 757"/>
                <a:gd name="T46" fmla="*/ 13900102 w 531"/>
                <a:gd name="T47" fmla="*/ 195775155 h 757"/>
                <a:gd name="T48" fmla="*/ 8026795 w 531"/>
                <a:gd name="T49" fmla="*/ 174506939 h 757"/>
                <a:gd name="T50" fmla="*/ 6656474 w 531"/>
                <a:gd name="T51" fmla="*/ 162782529 h 757"/>
                <a:gd name="T52" fmla="*/ 2741083 w 531"/>
                <a:gd name="T53" fmla="*/ 159783151 h 757"/>
                <a:gd name="T54" fmla="*/ 3719820 w 531"/>
                <a:gd name="T55" fmla="*/ 152966670 h 757"/>
                <a:gd name="T56" fmla="*/ 7048058 w 531"/>
                <a:gd name="T57" fmla="*/ 146695340 h 757"/>
                <a:gd name="T58" fmla="*/ 10376295 w 531"/>
                <a:gd name="T59" fmla="*/ 137424632 h 757"/>
                <a:gd name="T60" fmla="*/ 11942185 w 531"/>
                <a:gd name="T61" fmla="*/ 128426501 h 757"/>
                <a:gd name="T62" fmla="*/ 12529782 w 531"/>
                <a:gd name="T63" fmla="*/ 120246097 h 757"/>
                <a:gd name="T64" fmla="*/ 11355032 w 531"/>
                <a:gd name="T65" fmla="*/ 111248487 h 757"/>
                <a:gd name="T66" fmla="*/ 8418378 w 531"/>
                <a:gd name="T67" fmla="*/ 102795507 h 757"/>
                <a:gd name="T68" fmla="*/ 14487698 w 531"/>
                <a:gd name="T69" fmla="*/ 75255961 h 757"/>
                <a:gd name="T70" fmla="*/ 20164993 w 531"/>
                <a:gd name="T71" fmla="*/ 74983385 h 757"/>
                <a:gd name="T72" fmla="*/ 22122910 w 531"/>
                <a:gd name="T73" fmla="*/ 63804126 h 757"/>
                <a:gd name="T74" fmla="*/ 26821467 w 531"/>
                <a:gd name="T75" fmla="*/ 52352291 h 757"/>
                <a:gd name="T76" fmla="*/ 35239845 w 531"/>
                <a:gd name="T77" fmla="*/ 39536533 h 757"/>
                <a:gd name="T78" fmla="*/ 38763653 w 531"/>
                <a:gd name="T79" fmla="*/ 30266348 h 757"/>
                <a:gd name="T80" fmla="*/ 44636960 w 531"/>
                <a:gd name="T81" fmla="*/ 16360287 h 757"/>
                <a:gd name="T82" fmla="*/ 48748364 w 531"/>
                <a:gd name="T83" fmla="*/ 11724933 h 757"/>
                <a:gd name="T84" fmla="*/ 60494979 w 531"/>
                <a:gd name="T85" fmla="*/ 7907307 h 757"/>
                <a:gd name="T86" fmla="*/ 72046024 w 531"/>
                <a:gd name="T87" fmla="*/ 3544529 h 757"/>
                <a:gd name="T88" fmla="*/ 78506485 w 531"/>
                <a:gd name="T89" fmla="*/ 1363401 h 757"/>
                <a:gd name="T90" fmla="*/ 84379793 w 531"/>
                <a:gd name="T91" fmla="*/ 8725556 h 757"/>
                <a:gd name="T92" fmla="*/ 89469933 w 531"/>
                <a:gd name="T93" fmla="*/ 11451835 h 757"/>
                <a:gd name="T94" fmla="*/ 100433824 w 531"/>
                <a:gd name="T95" fmla="*/ 30266348 h 757"/>
                <a:gd name="T96" fmla="*/ 103370478 w 531"/>
                <a:gd name="T97" fmla="*/ 40899933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7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438487" y="2457645"/>
              <a:ext cx="32543" cy="64255"/>
            </a:xfrm>
            <a:custGeom>
              <a:avLst/>
              <a:gdLst>
                <a:gd name="T0" fmla="*/ 0 w 60"/>
                <a:gd name="T1" fmla="*/ 46461829 h 51"/>
                <a:gd name="T2" fmla="*/ 1214010 w 60"/>
                <a:gd name="T3" fmla="*/ 37671935 h 51"/>
                <a:gd name="T4" fmla="*/ 3034801 w 60"/>
                <a:gd name="T5" fmla="*/ 23858444 h 51"/>
                <a:gd name="T6" fmla="*/ 4046401 w 60"/>
                <a:gd name="T7" fmla="*/ 16324729 h 51"/>
                <a:gd name="T8" fmla="*/ 5462821 w 60"/>
                <a:gd name="T9" fmla="*/ 10046074 h 51"/>
                <a:gd name="T10" fmla="*/ 6676381 w 60"/>
                <a:gd name="T11" fmla="*/ 5022476 h 51"/>
                <a:gd name="T12" fmla="*/ 8092802 w 60"/>
                <a:gd name="T13" fmla="*/ 0 h 51"/>
                <a:gd name="T14" fmla="*/ 10116002 w 60"/>
                <a:gd name="T15" fmla="*/ 8789894 h 51"/>
                <a:gd name="T16" fmla="*/ 12139202 w 60"/>
                <a:gd name="T17" fmla="*/ 16324729 h 51"/>
                <a:gd name="T18" fmla="*/ 11936792 w 60"/>
                <a:gd name="T19" fmla="*/ 25114624 h 51"/>
                <a:gd name="T20" fmla="*/ 11330012 w 60"/>
                <a:gd name="T21" fmla="*/ 36415756 h 51"/>
                <a:gd name="T22" fmla="*/ 10925192 w 60"/>
                <a:gd name="T23" fmla="*/ 42694412 h 51"/>
                <a:gd name="T24" fmla="*/ 10520822 w 60"/>
                <a:gd name="T25" fmla="*/ 47716888 h 51"/>
                <a:gd name="T26" fmla="*/ 9913592 w 60"/>
                <a:gd name="T27" fmla="*/ 52740485 h 51"/>
                <a:gd name="T28" fmla="*/ 9104402 w 60"/>
                <a:gd name="T29" fmla="*/ 56506782 h 51"/>
                <a:gd name="T30" fmla="*/ 8295212 w 60"/>
                <a:gd name="T31" fmla="*/ 60274200 h 51"/>
                <a:gd name="T32" fmla="*/ 7486021 w 60"/>
                <a:gd name="T33" fmla="*/ 62785438 h 51"/>
                <a:gd name="T34" fmla="*/ 6272011 w 60"/>
                <a:gd name="T35" fmla="*/ 64041618 h 51"/>
                <a:gd name="T36" fmla="*/ 5462821 w 60"/>
                <a:gd name="T37" fmla="*/ 64041618 h 51"/>
                <a:gd name="T38" fmla="*/ 4046401 w 60"/>
                <a:gd name="T39" fmla="*/ 62785438 h 51"/>
                <a:gd name="T40" fmla="*/ 3034801 w 60"/>
                <a:gd name="T41" fmla="*/ 59019141 h 51"/>
                <a:gd name="T42" fmla="*/ 1416420 w 60"/>
                <a:gd name="T43" fmla="*/ 53995544 h 51"/>
                <a:gd name="T44" fmla="*/ 0 w 60"/>
                <a:gd name="T45" fmla="*/ 46461829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8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768502" y="2639701"/>
              <a:ext cx="34456" cy="64255"/>
            </a:xfrm>
            <a:custGeom>
              <a:avLst/>
              <a:gdLst>
                <a:gd name="T0" fmla="*/ 11059391 w 66"/>
                <a:gd name="T1" fmla="*/ 60274200 h 51"/>
                <a:gd name="T2" fmla="*/ 7872845 w 66"/>
                <a:gd name="T3" fmla="*/ 62785438 h 51"/>
                <a:gd name="T4" fmla="*/ 4123892 w 66"/>
                <a:gd name="T5" fmla="*/ 64041618 h 51"/>
                <a:gd name="T6" fmla="*/ 3186545 w 66"/>
                <a:gd name="T7" fmla="*/ 62785438 h 51"/>
                <a:gd name="T8" fmla="*/ 2436668 w 66"/>
                <a:gd name="T9" fmla="*/ 61530379 h 51"/>
                <a:gd name="T10" fmla="*/ 1874693 w 66"/>
                <a:gd name="T11" fmla="*/ 60274200 h 51"/>
                <a:gd name="T12" fmla="*/ 1312285 w 66"/>
                <a:gd name="T13" fmla="*/ 57762962 h 51"/>
                <a:gd name="T14" fmla="*/ 562408 w 66"/>
                <a:gd name="T15" fmla="*/ 53995544 h 51"/>
                <a:gd name="T16" fmla="*/ 187469 w 66"/>
                <a:gd name="T17" fmla="*/ 50229247 h 51"/>
                <a:gd name="T18" fmla="*/ 0 w 66"/>
                <a:gd name="T19" fmla="*/ 43950591 h 51"/>
                <a:gd name="T20" fmla="*/ 0 w 66"/>
                <a:gd name="T21" fmla="*/ 37671935 h 51"/>
                <a:gd name="T22" fmla="*/ 749877 w 66"/>
                <a:gd name="T23" fmla="*/ 36415756 h 51"/>
                <a:gd name="T24" fmla="*/ 1874693 w 66"/>
                <a:gd name="T25" fmla="*/ 33904518 h 51"/>
                <a:gd name="T26" fmla="*/ 2624138 w 66"/>
                <a:gd name="T27" fmla="*/ 30137100 h 51"/>
                <a:gd name="T28" fmla="*/ 3561484 w 66"/>
                <a:gd name="T29" fmla="*/ 25114624 h 51"/>
                <a:gd name="T30" fmla="*/ 4873769 w 66"/>
                <a:gd name="T31" fmla="*/ 12557312 h 51"/>
                <a:gd name="T32" fmla="*/ 6186055 w 66"/>
                <a:gd name="T33" fmla="*/ 0 h 51"/>
                <a:gd name="T34" fmla="*/ 8622723 w 66"/>
                <a:gd name="T35" fmla="*/ 1256179 h 51"/>
                <a:gd name="T36" fmla="*/ 9747539 w 66"/>
                <a:gd name="T37" fmla="*/ 2511238 h 51"/>
                <a:gd name="T38" fmla="*/ 10496983 w 66"/>
                <a:gd name="T39" fmla="*/ 3767418 h 51"/>
                <a:gd name="T40" fmla="*/ 12371676 w 66"/>
                <a:gd name="T41" fmla="*/ 0 h 51"/>
                <a:gd name="T42" fmla="*/ 12184207 w 66"/>
                <a:gd name="T43" fmla="*/ 16324729 h 51"/>
                <a:gd name="T44" fmla="*/ 11809268 w 66"/>
                <a:gd name="T45" fmla="*/ 30137100 h 51"/>
                <a:gd name="T46" fmla="*/ 11246860 w 66"/>
                <a:gd name="T47" fmla="*/ 45205650 h 51"/>
                <a:gd name="T48" fmla="*/ 11059391 w 66"/>
                <a:gd name="T49" fmla="*/ 60274200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9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917047" y="3234059"/>
              <a:ext cx="61256" cy="64255"/>
            </a:xfrm>
            <a:custGeom>
              <a:avLst/>
              <a:gdLst>
                <a:gd name="T0" fmla="*/ 0 w 113"/>
                <a:gd name="T1" fmla="*/ 26243434 h 74"/>
                <a:gd name="T2" fmla="*/ 4041972 w 113"/>
                <a:gd name="T3" fmla="*/ 44136791 h 74"/>
                <a:gd name="T4" fmla="*/ 7477940 w 113"/>
                <a:gd name="T5" fmla="*/ 41154951 h 74"/>
                <a:gd name="T6" fmla="*/ 10307005 w 113"/>
                <a:gd name="T7" fmla="*/ 38768552 h 74"/>
                <a:gd name="T8" fmla="*/ 12934669 w 113"/>
                <a:gd name="T9" fmla="*/ 35190499 h 74"/>
                <a:gd name="T10" fmla="*/ 14955430 w 113"/>
                <a:gd name="T11" fmla="*/ 31611673 h 74"/>
                <a:gd name="T12" fmla="*/ 15763735 w 113"/>
                <a:gd name="T13" fmla="*/ 29226047 h 74"/>
                <a:gd name="T14" fmla="*/ 16774340 w 113"/>
                <a:gd name="T15" fmla="*/ 26839648 h 74"/>
                <a:gd name="T16" fmla="*/ 17380793 w 113"/>
                <a:gd name="T17" fmla="*/ 24454022 h 74"/>
                <a:gd name="T18" fmla="*/ 17784945 w 113"/>
                <a:gd name="T19" fmla="*/ 22068395 h 74"/>
                <a:gd name="T20" fmla="*/ 18189097 w 113"/>
                <a:gd name="T21" fmla="*/ 19086555 h 74"/>
                <a:gd name="T22" fmla="*/ 18391398 w 113"/>
                <a:gd name="T23" fmla="*/ 15507730 h 74"/>
                <a:gd name="T24" fmla="*/ 18795550 w 113"/>
                <a:gd name="T25" fmla="*/ 11332691 h 74"/>
                <a:gd name="T26" fmla="*/ 18997402 w 113"/>
                <a:gd name="T27" fmla="*/ 7753865 h 74"/>
                <a:gd name="T28" fmla="*/ 20008007 w 113"/>
                <a:gd name="T29" fmla="*/ 7157651 h 74"/>
                <a:gd name="T30" fmla="*/ 21422765 w 113"/>
                <a:gd name="T31" fmla="*/ 5368239 h 74"/>
                <a:gd name="T32" fmla="*/ 21826917 w 113"/>
                <a:gd name="T33" fmla="*/ 4175039 h 74"/>
                <a:gd name="T34" fmla="*/ 22433370 w 113"/>
                <a:gd name="T35" fmla="*/ 2981840 h 74"/>
                <a:gd name="T36" fmla="*/ 22635221 w 113"/>
                <a:gd name="T37" fmla="*/ 1789413 h 74"/>
                <a:gd name="T38" fmla="*/ 22837522 w 113"/>
                <a:gd name="T39" fmla="*/ 0 h 74"/>
                <a:gd name="T40" fmla="*/ 19806156 w 113"/>
                <a:gd name="T41" fmla="*/ 2385626 h 74"/>
                <a:gd name="T42" fmla="*/ 16572488 w 113"/>
                <a:gd name="T43" fmla="*/ 4771253 h 74"/>
                <a:gd name="T44" fmla="*/ 13136520 w 113"/>
                <a:gd name="T45" fmla="*/ 7753865 h 74"/>
                <a:gd name="T46" fmla="*/ 9902853 w 113"/>
                <a:gd name="T47" fmla="*/ 11332691 h 74"/>
                <a:gd name="T48" fmla="*/ 4041972 w 113"/>
                <a:gd name="T49" fmla="*/ 19682769 h 74"/>
                <a:gd name="T50" fmla="*/ 0 w 113"/>
                <a:gd name="T51" fmla="*/ 26243434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0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444230" y="4124705"/>
              <a:ext cx="392419" cy="274869"/>
            </a:xfrm>
            <a:custGeom>
              <a:avLst/>
              <a:gdLst>
                <a:gd name="T0" fmla="*/ 18650245 w 746"/>
                <a:gd name="T1" fmla="*/ 122817672 h 469"/>
                <a:gd name="T2" fmla="*/ 10276568 w 746"/>
                <a:gd name="T3" fmla="*/ 119557137 h 469"/>
                <a:gd name="T4" fmla="*/ 3996419 w 746"/>
                <a:gd name="T5" fmla="*/ 116568182 h 469"/>
                <a:gd name="T6" fmla="*/ 951445 w 746"/>
                <a:gd name="T7" fmla="*/ 112220801 h 469"/>
                <a:gd name="T8" fmla="*/ 0 w 746"/>
                <a:gd name="T9" fmla="*/ 98634976 h 469"/>
                <a:gd name="T10" fmla="*/ 951445 w 746"/>
                <a:gd name="T11" fmla="*/ 83961785 h 469"/>
                <a:gd name="T12" fmla="*/ 4377259 w 746"/>
                <a:gd name="T13" fmla="*/ 74179657 h 469"/>
                <a:gd name="T14" fmla="*/ 10657407 w 746"/>
                <a:gd name="T15" fmla="*/ 61952259 h 469"/>
                <a:gd name="T16" fmla="*/ 23027067 w 746"/>
                <a:gd name="T17" fmla="*/ 55431188 h 469"/>
                <a:gd name="T18" fmla="*/ 31590946 w 746"/>
                <a:gd name="T19" fmla="*/ 51083807 h 469"/>
                <a:gd name="T20" fmla="*/ 44722285 w 746"/>
                <a:gd name="T21" fmla="*/ 47007486 h 469"/>
                <a:gd name="T22" fmla="*/ 49860787 w 746"/>
                <a:gd name="T23" fmla="*/ 41573260 h 469"/>
                <a:gd name="T24" fmla="*/ 50812233 w 746"/>
                <a:gd name="T25" fmla="*/ 36954299 h 469"/>
                <a:gd name="T26" fmla="*/ 55569895 w 746"/>
                <a:gd name="T27" fmla="*/ 32606397 h 469"/>
                <a:gd name="T28" fmla="*/ 63182328 w 746"/>
                <a:gd name="T29" fmla="*/ 31247971 h 469"/>
                <a:gd name="T30" fmla="*/ 68320394 w 746"/>
                <a:gd name="T31" fmla="*/ 27443752 h 469"/>
                <a:gd name="T32" fmla="*/ 74029501 w 746"/>
                <a:gd name="T33" fmla="*/ 18205308 h 469"/>
                <a:gd name="T34" fmla="*/ 80880692 w 746"/>
                <a:gd name="T35" fmla="*/ 5977909 h 469"/>
                <a:gd name="T36" fmla="*/ 85638354 w 746"/>
                <a:gd name="T37" fmla="*/ 1630528 h 469"/>
                <a:gd name="T38" fmla="*/ 92489544 w 746"/>
                <a:gd name="T39" fmla="*/ 0 h 469"/>
                <a:gd name="T40" fmla="*/ 96485963 w 746"/>
                <a:gd name="T41" fmla="*/ 7880018 h 469"/>
                <a:gd name="T42" fmla="*/ 101243625 w 746"/>
                <a:gd name="T43" fmla="*/ 14401089 h 469"/>
                <a:gd name="T44" fmla="*/ 105240044 w 746"/>
                <a:gd name="T45" fmla="*/ 29074281 h 469"/>
                <a:gd name="T46" fmla="*/ 110187908 w 746"/>
                <a:gd name="T47" fmla="*/ 43203789 h 469"/>
                <a:gd name="T48" fmla="*/ 116658695 w 746"/>
                <a:gd name="T49" fmla="*/ 46735905 h 469"/>
                <a:gd name="T50" fmla="*/ 119513030 w 746"/>
                <a:gd name="T51" fmla="*/ 52442233 h 469"/>
                <a:gd name="T52" fmla="*/ 123700087 w 746"/>
                <a:gd name="T53" fmla="*/ 63311206 h 469"/>
                <a:gd name="T54" fmla="*/ 133595815 w 746"/>
                <a:gd name="T55" fmla="*/ 75810186 h 469"/>
                <a:gd name="T56" fmla="*/ 141018047 w 746"/>
                <a:gd name="T57" fmla="*/ 85592313 h 469"/>
                <a:gd name="T58" fmla="*/ 135308939 w 746"/>
                <a:gd name="T59" fmla="*/ 93743913 h 469"/>
                <a:gd name="T60" fmla="*/ 131502723 w 746"/>
                <a:gd name="T61" fmla="*/ 92928649 h 469"/>
                <a:gd name="T62" fmla="*/ 129218992 w 746"/>
                <a:gd name="T63" fmla="*/ 87222321 h 469"/>
                <a:gd name="T64" fmla="*/ 123890289 w 746"/>
                <a:gd name="T65" fmla="*/ 89668113 h 469"/>
                <a:gd name="T66" fmla="*/ 121606559 w 746"/>
                <a:gd name="T67" fmla="*/ 95646022 h 469"/>
                <a:gd name="T68" fmla="*/ 114946006 w 746"/>
                <a:gd name="T69" fmla="*/ 96732867 h 469"/>
                <a:gd name="T70" fmla="*/ 105240044 w 746"/>
                <a:gd name="T71" fmla="*/ 96732867 h 469"/>
                <a:gd name="T72" fmla="*/ 99340735 w 746"/>
                <a:gd name="T73" fmla="*/ 99178138 h 469"/>
                <a:gd name="T74" fmla="*/ 94392435 w 746"/>
                <a:gd name="T75" fmla="*/ 105156047 h 469"/>
                <a:gd name="T76" fmla="*/ 92489544 w 746"/>
                <a:gd name="T77" fmla="*/ 107058157 h 469"/>
                <a:gd name="T78" fmla="*/ 81070894 w 746"/>
                <a:gd name="T79" fmla="*/ 108688164 h 469"/>
                <a:gd name="T80" fmla="*/ 75361786 w 746"/>
                <a:gd name="T81" fmla="*/ 106514474 h 469"/>
                <a:gd name="T82" fmla="*/ 66417504 w 746"/>
                <a:gd name="T83" fmla="*/ 96189184 h 469"/>
                <a:gd name="T84" fmla="*/ 60707960 w 746"/>
                <a:gd name="T85" fmla="*/ 93743913 h 469"/>
                <a:gd name="T86" fmla="*/ 55379693 w 746"/>
                <a:gd name="T87" fmla="*/ 96460765 h 469"/>
                <a:gd name="T88" fmla="*/ 50622031 w 746"/>
                <a:gd name="T89" fmla="*/ 102438674 h 469"/>
                <a:gd name="T90" fmla="*/ 43199799 w 746"/>
                <a:gd name="T91" fmla="*/ 118741872 h 469"/>
                <a:gd name="T92" fmla="*/ 28545973 w 746"/>
                <a:gd name="T93" fmla="*/ 119285556 h 469"/>
                <a:gd name="T94" fmla="*/ 25691637 w 746"/>
                <a:gd name="T95" fmla="*/ 12173082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1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67660" y="4313901"/>
              <a:ext cx="602986" cy="621132"/>
            </a:xfrm>
            <a:custGeom>
              <a:avLst/>
              <a:gdLst>
                <a:gd name="T0" fmla="*/ 172045348 w 1145"/>
                <a:gd name="T1" fmla="*/ 15689475 h 1053"/>
                <a:gd name="T2" fmla="*/ 189402522 w 1145"/>
                <a:gd name="T3" fmla="*/ 18166319 h 1053"/>
                <a:gd name="T4" fmla="*/ 205996719 w 1145"/>
                <a:gd name="T5" fmla="*/ 22295266 h 1053"/>
                <a:gd name="T6" fmla="*/ 214770733 w 1145"/>
                <a:gd name="T7" fmla="*/ 48169128 h 1053"/>
                <a:gd name="T8" fmla="*/ 216105833 w 1145"/>
                <a:gd name="T9" fmla="*/ 58078077 h 1053"/>
                <a:gd name="T10" fmla="*/ 201800566 w 1145"/>
                <a:gd name="T11" fmla="*/ 74868255 h 1053"/>
                <a:gd name="T12" fmla="*/ 199320783 w 1145"/>
                <a:gd name="T13" fmla="*/ 99090538 h 1053"/>
                <a:gd name="T14" fmla="*/ 191310182 w 1145"/>
                <a:gd name="T15" fmla="*/ 121110366 h 1053"/>
                <a:gd name="T16" fmla="*/ 188830399 w 1145"/>
                <a:gd name="T17" fmla="*/ 131019315 h 1053"/>
                <a:gd name="T18" fmla="*/ 194361652 w 1145"/>
                <a:gd name="T19" fmla="*/ 158544756 h 1053"/>
                <a:gd name="T20" fmla="*/ 195696752 w 1145"/>
                <a:gd name="T21" fmla="*/ 182767039 h 1053"/>
                <a:gd name="T22" fmla="*/ 199702489 w 1145"/>
                <a:gd name="T23" fmla="*/ 201208796 h 1053"/>
                <a:gd name="T24" fmla="*/ 205805866 w 1145"/>
                <a:gd name="T25" fmla="*/ 210567393 h 1053"/>
                <a:gd name="T26" fmla="*/ 208285650 w 1145"/>
                <a:gd name="T27" fmla="*/ 227082133 h 1053"/>
                <a:gd name="T28" fmla="*/ 198367389 w 1145"/>
                <a:gd name="T29" fmla="*/ 232311783 h 1053"/>
                <a:gd name="T30" fmla="*/ 190165499 w 1145"/>
                <a:gd name="T31" fmla="*/ 235614941 h 1053"/>
                <a:gd name="T32" fmla="*/ 183108292 w 1145"/>
                <a:gd name="T33" fmla="*/ 273049331 h 1053"/>
                <a:gd name="T34" fmla="*/ 177386185 w 1145"/>
                <a:gd name="T35" fmla="*/ 282407928 h 1053"/>
                <a:gd name="T36" fmla="*/ 172045348 w 1145"/>
                <a:gd name="T37" fmla="*/ 283784069 h 1053"/>
                <a:gd name="T38" fmla="*/ 160219865 w 1145"/>
                <a:gd name="T39" fmla="*/ 289839509 h 1053"/>
                <a:gd name="T40" fmla="*/ 149156921 w 1145"/>
                <a:gd name="T41" fmla="*/ 285435648 h 1053"/>
                <a:gd name="T42" fmla="*/ 141718008 w 1145"/>
                <a:gd name="T43" fmla="*/ 279104770 h 1053"/>
                <a:gd name="T44" fmla="*/ 134851654 w 1145"/>
                <a:gd name="T45" fmla="*/ 274425472 h 1053"/>
                <a:gd name="T46" fmla="*/ 128557424 w 1145"/>
                <a:gd name="T47" fmla="*/ 271397752 h 1053"/>
                <a:gd name="T48" fmla="*/ 115968527 w 1145"/>
                <a:gd name="T49" fmla="*/ 271673190 h 1053"/>
                <a:gd name="T50" fmla="*/ 113298327 w 1145"/>
                <a:gd name="T51" fmla="*/ 259286873 h 1053"/>
                <a:gd name="T52" fmla="*/ 109674297 w 1145"/>
                <a:gd name="T53" fmla="*/ 243321959 h 1053"/>
                <a:gd name="T54" fmla="*/ 112535350 w 1145"/>
                <a:gd name="T55" fmla="*/ 232862659 h 1053"/>
                <a:gd name="T56" fmla="*/ 112535350 w 1145"/>
                <a:gd name="T57" fmla="*/ 214420902 h 1053"/>
                <a:gd name="T58" fmla="*/ 86595016 w 1145"/>
                <a:gd name="T59" fmla="*/ 207814587 h 1053"/>
                <a:gd name="T60" fmla="*/ 84496939 w 1145"/>
                <a:gd name="T61" fmla="*/ 216071957 h 1053"/>
                <a:gd name="T62" fmla="*/ 75532072 w 1145"/>
                <a:gd name="T63" fmla="*/ 224880203 h 1053"/>
                <a:gd name="T64" fmla="*/ 64278712 w 1145"/>
                <a:gd name="T65" fmla="*/ 219375114 h 1053"/>
                <a:gd name="T66" fmla="*/ 56648945 w 1145"/>
                <a:gd name="T67" fmla="*/ 194877918 h 1053"/>
                <a:gd name="T68" fmla="*/ 572123 w 1145"/>
                <a:gd name="T69" fmla="*/ 184693531 h 1053"/>
                <a:gd name="T70" fmla="*/ 8583160 w 1145"/>
                <a:gd name="T71" fmla="*/ 183592304 h 1053"/>
                <a:gd name="T72" fmla="*/ 4959130 w 1145"/>
                <a:gd name="T73" fmla="*/ 173683355 h 1053"/>
                <a:gd name="T74" fmla="*/ 14305267 w 1145"/>
                <a:gd name="T75" fmla="*/ 169279494 h 1053"/>
                <a:gd name="T76" fmla="*/ 27657141 w 1145"/>
                <a:gd name="T77" fmla="*/ 169004056 h 1053"/>
                <a:gd name="T78" fmla="*/ 34905201 w 1145"/>
                <a:gd name="T79" fmla="*/ 170655635 h 1053"/>
                <a:gd name="T80" fmla="*/ 41962408 w 1145"/>
                <a:gd name="T81" fmla="*/ 157994404 h 1053"/>
                <a:gd name="T82" fmla="*/ 49591738 w 1145"/>
                <a:gd name="T83" fmla="*/ 152764229 h 1053"/>
                <a:gd name="T84" fmla="*/ 53597475 w 1145"/>
                <a:gd name="T85" fmla="*/ 121110366 h 1053"/>
                <a:gd name="T86" fmla="*/ 65995082 w 1145"/>
                <a:gd name="T87" fmla="*/ 101842820 h 1053"/>
                <a:gd name="T88" fmla="*/ 70572942 w 1145"/>
                <a:gd name="T89" fmla="*/ 75969482 h 1053"/>
                <a:gd name="T90" fmla="*/ 70954649 w 1145"/>
                <a:gd name="T91" fmla="*/ 49545269 h 1053"/>
                <a:gd name="T92" fmla="*/ 73052726 w 1145"/>
                <a:gd name="T93" fmla="*/ 33580880 h 1053"/>
                <a:gd name="T94" fmla="*/ 83924816 w 1145"/>
                <a:gd name="T95" fmla="*/ 9634035 h 1053"/>
                <a:gd name="T96" fmla="*/ 93652223 w 1145"/>
                <a:gd name="T97" fmla="*/ 8257370 h 1053"/>
                <a:gd name="T98" fmla="*/ 106431536 w 1145"/>
                <a:gd name="T99" fmla="*/ 21194563 h 1053"/>
                <a:gd name="T100" fmla="*/ 121499780 w 1145"/>
                <a:gd name="T101" fmla="*/ 20093336 h 1053"/>
                <a:gd name="T102" fmla="*/ 127794447 w 1145"/>
                <a:gd name="T103" fmla="*/ 12110879 h 1053"/>
                <a:gd name="T104" fmla="*/ 140001638 w 1145"/>
                <a:gd name="T105" fmla="*/ 9358597 h 1053"/>
                <a:gd name="T106" fmla="*/ 151636705 w 1145"/>
                <a:gd name="T107" fmla="*/ 4679299 h 1053"/>
                <a:gd name="T108" fmla="*/ 157930935 w 1145"/>
                <a:gd name="T109" fmla="*/ 2201930 h 1053"/>
                <a:gd name="T110" fmla="*/ 163843895 w 1145"/>
                <a:gd name="T111" fmla="*/ 66057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2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91091" y="4426346"/>
              <a:ext cx="66998" cy="62471"/>
            </a:xfrm>
            <a:custGeom>
              <a:avLst/>
              <a:gdLst>
                <a:gd name="T0" fmla="*/ 23709417 w 125"/>
                <a:gd name="T1" fmla="*/ 0 h 81"/>
                <a:gd name="T2" fmla="*/ 23906773 w 125"/>
                <a:gd name="T3" fmla="*/ 12704720 h 81"/>
                <a:gd name="T4" fmla="*/ 24499731 w 125"/>
                <a:gd name="T5" fmla="*/ 21644875 h 81"/>
                <a:gd name="T6" fmla="*/ 24697087 w 125"/>
                <a:gd name="T7" fmla="*/ 24938869 h 81"/>
                <a:gd name="T8" fmla="*/ 24697087 w 125"/>
                <a:gd name="T9" fmla="*/ 27762293 h 81"/>
                <a:gd name="T10" fmla="*/ 24697087 w 125"/>
                <a:gd name="T11" fmla="*/ 30585717 h 81"/>
                <a:gd name="T12" fmla="*/ 24301930 w 125"/>
                <a:gd name="T13" fmla="*/ 32467313 h 81"/>
                <a:gd name="T14" fmla="*/ 23511616 w 125"/>
                <a:gd name="T15" fmla="*/ 33879025 h 81"/>
                <a:gd name="T16" fmla="*/ 22128789 w 125"/>
                <a:gd name="T17" fmla="*/ 34820166 h 81"/>
                <a:gd name="T18" fmla="*/ 20350360 w 125"/>
                <a:gd name="T19" fmla="*/ 35761307 h 81"/>
                <a:gd name="T20" fmla="*/ 17979419 w 125"/>
                <a:gd name="T21" fmla="*/ 36231878 h 81"/>
                <a:gd name="T22" fmla="*/ 11261751 w 125"/>
                <a:gd name="T23" fmla="*/ 37173019 h 81"/>
                <a:gd name="T24" fmla="*/ 1382827 w 125"/>
                <a:gd name="T25" fmla="*/ 38114160 h 81"/>
                <a:gd name="T26" fmla="*/ 987670 w 125"/>
                <a:gd name="T27" fmla="*/ 37173019 h 81"/>
                <a:gd name="T28" fmla="*/ 592513 w 125"/>
                <a:gd name="T29" fmla="*/ 33879025 h 81"/>
                <a:gd name="T30" fmla="*/ 197356 w 125"/>
                <a:gd name="T31" fmla="*/ 27762293 h 81"/>
                <a:gd name="T32" fmla="*/ 0 w 125"/>
                <a:gd name="T33" fmla="*/ 20233164 h 81"/>
                <a:gd name="T34" fmla="*/ 0 w 125"/>
                <a:gd name="T35" fmla="*/ 17410426 h 81"/>
                <a:gd name="T36" fmla="*/ 197356 w 125"/>
                <a:gd name="T37" fmla="*/ 14587002 h 81"/>
                <a:gd name="T38" fmla="*/ 395157 w 125"/>
                <a:gd name="T39" fmla="*/ 11763579 h 81"/>
                <a:gd name="T40" fmla="*/ 790314 w 125"/>
                <a:gd name="T41" fmla="*/ 9410726 h 81"/>
                <a:gd name="T42" fmla="*/ 1580628 w 125"/>
                <a:gd name="T43" fmla="*/ 7057873 h 81"/>
                <a:gd name="T44" fmla="*/ 2173141 w 125"/>
                <a:gd name="T45" fmla="*/ 4705706 h 81"/>
                <a:gd name="T46" fmla="*/ 2766099 w 125"/>
                <a:gd name="T47" fmla="*/ 2352853 h 81"/>
                <a:gd name="T48" fmla="*/ 3951569 w 125"/>
                <a:gd name="T49" fmla="*/ 0 h 81"/>
                <a:gd name="T50" fmla="*/ 2370941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3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70033" y="4426346"/>
              <a:ext cx="183767" cy="226678"/>
            </a:xfrm>
            <a:custGeom>
              <a:avLst/>
              <a:gdLst>
                <a:gd name="T0" fmla="*/ 48285042 w 355"/>
                <a:gd name="T1" fmla="*/ 4049927 h 388"/>
                <a:gd name="T2" fmla="*/ 47363774 w 355"/>
                <a:gd name="T3" fmla="*/ 9990236 h 388"/>
                <a:gd name="T4" fmla="*/ 48653807 w 355"/>
                <a:gd name="T5" fmla="*/ 13770480 h 388"/>
                <a:gd name="T6" fmla="*/ 52155573 w 355"/>
                <a:gd name="T7" fmla="*/ 16200228 h 388"/>
                <a:gd name="T8" fmla="*/ 58789910 w 355"/>
                <a:gd name="T9" fmla="*/ 14850252 h 388"/>
                <a:gd name="T10" fmla="*/ 61185810 w 355"/>
                <a:gd name="T11" fmla="*/ 15390139 h 388"/>
                <a:gd name="T12" fmla="*/ 62660441 w 355"/>
                <a:gd name="T13" fmla="*/ 18360293 h 388"/>
                <a:gd name="T14" fmla="*/ 63581709 w 355"/>
                <a:gd name="T15" fmla="*/ 22410740 h 388"/>
                <a:gd name="T16" fmla="*/ 64687575 w 355"/>
                <a:gd name="T17" fmla="*/ 25380375 h 388"/>
                <a:gd name="T18" fmla="*/ 63581709 w 355"/>
                <a:gd name="T19" fmla="*/ 29160618 h 388"/>
                <a:gd name="T20" fmla="*/ 58974507 w 355"/>
                <a:gd name="T21" fmla="*/ 36720586 h 388"/>
                <a:gd name="T22" fmla="*/ 64134642 w 355"/>
                <a:gd name="T23" fmla="*/ 47251228 h 388"/>
                <a:gd name="T24" fmla="*/ 65424676 w 355"/>
                <a:gd name="T25" fmla="*/ 54540993 h 388"/>
                <a:gd name="T26" fmla="*/ 65055911 w 355"/>
                <a:gd name="T27" fmla="*/ 59131326 h 388"/>
                <a:gd name="T28" fmla="*/ 63581709 w 355"/>
                <a:gd name="T29" fmla="*/ 68581676 h 388"/>
                <a:gd name="T30" fmla="*/ 61369977 w 355"/>
                <a:gd name="T31" fmla="*/ 73171489 h 388"/>
                <a:gd name="T32" fmla="*/ 57499876 w 355"/>
                <a:gd name="T33" fmla="*/ 75601757 h 388"/>
                <a:gd name="T34" fmla="*/ 52708506 w 355"/>
                <a:gd name="T35" fmla="*/ 76141644 h 388"/>
                <a:gd name="T36" fmla="*/ 49759673 w 355"/>
                <a:gd name="T37" fmla="*/ 76141644 h 388"/>
                <a:gd name="T38" fmla="*/ 46442505 w 355"/>
                <a:gd name="T39" fmla="*/ 71551830 h 388"/>
                <a:gd name="T40" fmla="*/ 44230773 w 355"/>
                <a:gd name="T41" fmla="*/ 69931651 h 388"/>
                <a:gd name="T42" fmla="*/ 40729007 w 355"/>
                <a:gd name="T43" fmla="*/ 72631603 h 388"/>
                <a:gd name="T44" fmla="*/ 37780604 w 355"/>
                <a:gd name="T45" fmla="*/ 75331554 h 388"/>
                <a:gd name="T46" fmla="*/ 35753040 w 355"/>
                <a:gd name="T47" fmla="*/ 76951733 h 388"/>
                <a:gd name="T48" fmla="*/ 34094670 w 355"/>
                <a:gd name="T49" fmla="*/ 80461774 h 388"/>
                <a:gd name="T50" fmla="*/ 34463006 w 355"/>
                <a:gd name="T51" fmla="*/ 86671766 h 388"/>
                <a:gd name="T52" fmla="*/ 38148940 w 355"/>
                <a:gd name="T53" fmla="*/ 96662002 h 388"/>
                <a:gd name="T54" fmla="*/ 35937637 w 355"/>
                <a:gd name="T55" fmla="*/ 95312026 h 388"/>
                <a:gd name="T56" fmla="*/ 32620039 w 355"/>
                <a:gd name="T57" fmla="*/ 95852432 h 388"/>
                <a:gd name="T58" fmla="*/ 29855804 w 355"/>
                <a:gd name="T59" fmla="*/ 98552384 h 388"/>
                <a:gd name="T60" fmla="*/ 26906971 w 355"/>
                <a:gd name="T61" fmla="*/ 104762376 h 388"/>
                <a:gd name="T62" fmla="*/ 22668105 w 355"/>
                <a:gd name="T63" fmla="*/ 99902359 h 388"/>
                <a:gd name="T64" fmla="*/ 20825138 w 355"/>
                <a:gd name="T65" fmla="*/ 96662002 h 388"/>
                <a:gd name="T66" fmla="*/ 17692137 w 355"/>
                <a:gd name="T67" fmla="*/ 87481855 h 388"/>
                <a:gd name="T68" fmla="*/ 9214834 w 355"/>
                <a:gd name="T69" fmla="*/ 75601757 h 388"/>
                <a:gd name="T70" fmla="*/ 4054699 w 355"/>
                <a:gd name="T71" fmla="*/ 68581676 h 388"/>
                <a:gd name="T72" fmla="*/ 921269 w 355"/>
                <a:gd name="T73" fmla="*/ 60211619 h 388"/>
                <a:gd name="T74" fmla="*/ 184168 w 355"/>
                <a:gd name="T75" fmla="*/ 50491066 h 388"/>
                <a:gd name="T76" fmla="*/ 2027135 w 355"/>
                <a:gd name="T77" fmla="*/ 43741187 h 388"/>
                <a:gd name="T78" fmla="*/ 7556035 w 355"/>
                <a:gd name="T79" fmla="*/ 36180700 h 388"/>
                <a:gd name="T80" fmla="*/ 9951935 w 355"/>
                <a:gd name="T81" fmla="*/ 31320683 h 388"/>
                <a:gd name="T82" fmla="*/ 10320700 w 355"/>
                <a:gd name="T83" fmla="*/ 24570805 h 388"/>
                <a:gd name="T84" fmla="*/ 19903869 w 355"/>
                <a:gd name="T85" fmla="*/ 22410740 h 388"/>
                <a:gd name="T86" fmla="*/ 28749938 w 355"/>
                <a:gd name="T87" fmla="*/ 21600651 h 388"/>
                <a:gd name="T88" fmla="*/ 31698771 w 355"/>
                <a:gd name="T89" fmla="*/ 19710269 h 388"/>
                <a:gd name="T90" fmla="*/ 32620039 w 355"/>
                <a:gd name="T91" fmla="*/ 17010317 h 388"/>
                <a:gd name="T92" fmla="*/ 32067106 w 355"/>
                <a:gd name="T93" fmla="*/ 11070009 h 388"/>
                <a:gd name="T94" fmla="*/ 30777073 w 355"/>
                <a:gd name="T95" fmla="*/ 3239838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4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913219" y="4881487"/>
              <a:ext cx="313936" cy="585434"/>
            </a:xfrm>
            <a:custGeom>
              <a:avLst/>
              <a:gdLst>
                <a:gd name="T0" fmla="*/ 0 w 599"/>
                <a:gd name="T1" fmla="*/ 71215819 h 993"/>
                <a:gd name="T2" fmla="*/ 34382282 w 599"/>
                <a:gd name="T3" fmla="*/ 61592046 h 993"/>
                <a:gd name="T4" fmla="*/ 43449764 w 599"/>
                <a:gd name="T5" fmla="*/ 65991515 h 993"/>
                <a:gd name="T6" fmla="*/ 48739345 w 599"/>
                <a:gd name="T7" fmla="*/ 70941049 h 993"/>
                <a:gd name="T8" fmla="*/ 47606236 w 599"/>
                <a:gd name="T9" fmla="*/ 81389657 h 993"/>
                <a:gd name="T10" fmla="*/ 44205605 w 599"/>
                <a:gd name="T11" fmla="*/ 89913301 h 993"/>
                <a:gd name="T12" fmla="*/ 47228098 w 599"/>
                <a:gd name="T13" fmla="*/ 98162175 h 993"/>
                <a:gd name="T14" fmla="*/ 55540174 w 599"/>
                <a:gd name="T15" fmla="*/ 100361910 h 993"/>
                <a:gd name="T16" fmla="*/ 60263419 w 599"/>
                <a:gd name="T17" fmla="*/ 93487936 h 993"/>
                <a:gd name="T18" fmla="*/ 63852685 w 599"/>
                <a:gd name="T19" fmla="*/ 87163502 h 993"/>
                <a:gd name="T20" fmla="*/ 62719141 w 599"/>
                <a:gd name="T21" fmla="*/ 71765884 h 993"/>
                <a:gd name="T22" fmla="*/ 59318509 w 599"/>
                <a:gd name="T23" fmla="*/ 56092971 h 993"/>
                <a:gd name="T24" fmla="*/ 51195502 w 599"/>
                <a:gd name="T25" fmla="*/ 43169334 h 993"/>
                <a:gd name="T26" fmla="*/ 47983939 w 599"/>
                <a:gd name="T27" fmla="*/ 34370395 h 993"/>
                <a:gd name="T28" fmla="*/ 51006433 w 599"/>
                <a:gd name="T29" fmla="*/ 17047812 h 993"/>
                <a:gd name="T30" fmla="*/ 60452053 w 599"/>
                <a:gd name="T31" fmla="*/ 15122848 h 993"/>
                <a:gd name="T32" fmla="*/ 78965589 w 599"/>
                <a:gd name="T33" fmla="*/ 16497748 h 993"/>
                <a:gd name="T34" fmla="*/ 98423601 w 599"/>
                <a:gd name="T35" fmla="*/ 9898544 h 993"/>
                <a:gd name="T36" fmla="*/ 112781099 w 599"/>
                <a:gd name="T37" fmla="*/ 824835 h 993"/>
                <a:gd name="T38" fmla="*/ 112781099 w 599"/>
                <a:gd name="T39" fmla="*/ 8248874 h 993"/>
                <a:gd name="T40" fmla="*/ 112781099 w 599"/>
                <a:gd name="T41" fmla="*/ 34645690 h 993"/>
                <a:gd name="T42" fmla="*/ 111836624 w 599"/>
                <a:gd name="T43" fmla="*/ 62691651 h 993"/>
                <a:gd name="T44" fmla="*/ 110514011 w 599"/>
                <a:gd name="T45" fmla="*/ 75890059 h 993"/>
                <a:gd name="T46" fmla="*/ 103902251 w 599"/>
                <a:gd name="T47" fmla="*/ 92663101 h 993"/>
                <a:gd name="T48" fmla="*/ 88411209 w 599"/>
                <a:gd name="T49" fmla="*/ 110535748 h 993"/>
                <a:gd name="T50" fmla="*/ 70653514 w 599"/>
                <a:gd name="T51" fmla="*/ 117134952 h 993"/>
                <a:gd name="T52" fmla="*/ 66686110 w 599"/>
                <a:gd name="T53" fmla="*/ 127583561 h 993"/>
                <a:gd name="T54" fmla="*/ 55351540 w 599"/>
                <a:gd name="T55" fmla="*/ 139407069 h 993"/>
                <a:gd name="T56" fmla="*/ 45905920 w 599"/>
                <a:gd name="T57" fmla="*/ 150955282 h 993"/>
                <a:gd name="T58" fmla="*/ 43261129 w 599"/>
                <a:gd name="T59" fmla="*/ 160029515 h 993"/>
                <a:gd name="T60" fmla="*/ 44772376 w 599"/>
                <a:gd name="T61" fmla="*/ 170202829 h 993"/>
                <a:gd name="T62" fmla="*/ 50439661 w 599"/>
                <a:gd name="T63" fmla="*/ 179826603 h 993"/>
                <a:gd name="T64" fmla="*/ 47983939 w 599"/>
                <a:gd name="T65" fmla="*/ 190825276 h 993"/>
                <a:gd name="T66" fmla="*/ 50061958 w 599"/>
                <a:gd name="T67" fmla="*/ 200449050 h 993"/>
                <a:gd name="T68" fmla="*/ 50439661 w 599"/>
                <a:gd name="T69" fmla="*/ 217222092 h 993"/>
                <a:gd name="T70" fmla="*/ 48361642 w 599"/>
                <a:gd name="T71" fmla="*/ 223821296 h 993"/>
                <a:gd name="T72" fmla="*/ 36460301 w 599"/>
                <a:gd name="T73" fmla="*/ 240044273 h 993"/>
                <a:gd name="T74" fmla="*/ 27770087 w 599"/>
                <a:gd name="T75" fmla="*/ 243893678 h 993"/>
                <a:gd name="T76" fmla="*/ 19268942 w 599"/>
                <a:gd name="T77" fmla="*/ 245818118 h 993"/>
                <a:gd name="T78" fmla="*/ 16435517 w 599"/>
                <a:gd name="T79" fmla="*/ 251042422 h 993"/>
                <a:gd name="T80" fmla="*/ 17946764 w 599"/>
                <a:gd name="T81" fmla="*/ 258191691 h 993"/>
                <a:gd name="T82" fmla="*/ 17190924 w 599"/>
                <a:gd name="T83" fmla="*/ 272764998 h 993"/>
                <a:gd name="T84" fmla="*/ 13979361 w 599"/>
                <a:gd name="T85" fmla="*/ 222721166 h 993"/>
                <a:gd name="T86" fmla="*/ 10956867 w 599"/>
                <a:gd name="T87" fmla="*/ 210348118 h 993"/>
                <a:gd name="T88" fmla="*/ 7745304 w 599"/>
                <a:gd name="T89" fmla="*/ 197974545 h 993"/>
                <a:gd name="T90" fmla="*/ 20402486 w 599"/>
                <a:gd name="T91" fmla="*/ 183126467 h 993"/>
                <a:gd name="T92" fmla="*/ 20591555 w 599"/>
                <a:gd name="T93" fmla="*/ 168828454 h 993"/>
                <a:gd name="T94" fmla="*/ 28148225 w 599"/>
                <a:gd name="T95" fmla="*/ 157004946 h 993"/>
                <a:gd name="T96" fmla="*/ 32871035 w 599"/>
                <a:gd name="T97" fmla="*/ 144631373 h 993"/>
                <a:gd name="T98" fmla="*/ 31737491 w 599"/>
                <a:gd name="T99" fmla="*/ 121259127 h 993"/>
                <a:gd name="T100" fmla="*/ 28714562 w 599"/>
                <a:gd name="T101" fmla="*/ 100087140 h 993"/>
                <a:gd name="T102" fmla="*/ 15301973 w 599"/>
                <a:gd name="T103" fmla="*/ 93762706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5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593541" y="5151000"/>
              <a:ext cx="287136" cy="323060"/>
            </a:xfrm>
            <a:custGeom>
              <a:avLst/>
              <a:gdLst>
                <a:gd name="T0" fmla="*/ 5727234 w 545"/>
                <a:gd name="T1" fmla="*/ 117242278 h 549"/>
                <a:gd name="T2" fmla="*/ 8781788 w 545"/>
                <a:gd name="T3" fmla="*/ 124364492 h 549"/>
                <a:gd name="T4" fmla="*/ 8781788 w 545"/>
                <a:gd name="T5" fmla="*/ 140252870 h 549"/>
                <a:gd name="T6" fmla="*/ 9163225 w 545"/>
                <a:gd name="T7" fmla="*/ 144361961 h 549"/>
                <a:gd name="T8" fmla="*/ 10499783 w 545"/>
                <a:gd name="T9" fmla="*/ 147100831 h 549"/>
                <a:gd name="T10" fmla="*/ 12981526 w 545"/>
                <a:gd name="T11" fmla="*/ 149292241 h 549"/>
                <a:gd name="T12" fmla="*/ 19090634 w 545"/>
                <a:gd name="T13" fmla="*/ 150388208 h 549"/>
                <a:gd name="T14" fmla="*/ 21572377 w 545"/>
                <a:gd name="T15" fmla="*/ 149566495 h 549"/>
                <a:gd name="T16" fmla="*/ 24817431 w 545"/>
                <a:gd name="T17" fmla="*/ 146005388 h 549"/>
                <a:gd name="T18" fmla="*/ 27299611 w 545"/>
                <a:gd name="T19" fmla="*/ 138883174 h 549"/>
                <a:gd name="T20" fmla="*/ 29399481 w 545"/>
                <a:gd name="T21" fmla="*/ 130664993 h 549"/>
                <a:gd name="T22" fmla="*/ 32263097 w 545"/>
                <a:gd name="T23" fmla="*/ 124364492 h 549"/>
                <a:gd name="T24" fmla="*/ 34935778 w 545"/>
                <a:gd name="T25" fmla="*/ 121899352 h 549"/>
                <a:gd name="T26" fmla="*/ 38371768 w 545"/>
                <a:gd name="T27" fmla="*/ 121625622 h 549"/>
                <a:gd name="T28" fmla="*/ 42381007 w 545"/>
                <a:gd name="T29" fmla="*/ 122721065 h 549"/>
                <a:gd name="T30" fmla="*/ 48108241 w 545"/>
                <a:gd name="T31" fmla="*/ 126282172 h 549"/>
                <a:gd name="T32" fmla="*/ 51926106 w 545"/>
                <a:gd name="T33" fmla="*/ 128199853 h 549"/>
                <a:gd name="T34" fmla="*/ 56698655 w 545"/>
                <a:gd name="T35" fmla="*/ 128473583 h 549"/>
                <a:gd name="T36" fmla="*/ 60898830 w 545"/>
                <a:gd name="T37" fmla="*/ 127103886 h 549"/>
                <a:gd name="T38" fmla="*/ 63380573 w 545"/>
                <a:gd name="T39" fmla="*/ 124090762 h 549"/>
                <a:gd name="T40" fmla="*/ 68534997 w 545"/>
                <a:gd name="T41" fmla="*/ 106285227 h 549"/>
                <a:gd name="T42" fmla="*/ 72925672 w 545"/>
                <a:gd name="T43" fmla="*/ 99437266 h 549"/>
                <a:gd name="T44" fmla="*/ 85334388 w 545"/>
                <a:gd name="T45" fmla="*/ 86014552 h 549"/>
                <a:gd name="T46" fmla="*/ 100606720 w 545"/>
                <a:gd name="T47" fmla="*/ 72317584 h 549"/>
                <a:gd name="T48" fmla="*/ 100797657 w 545"/>
                <a:gd name="T49" fmla="*/ 63551943 h 549"/>
                <a:gd name="T50" fmla="*/ 96025108 w 545"/>
                <a:gd name="T51" fmla="*/ 59717106 h 549"/>
                <a:gd name="T52" fmla="*/ 92588680 w 545"/>
                <a:gd name="T53" fmla="*/ 54512049 h 549"/>
                <a:gd name="T54" fmla="*/ 87816131 w 545"/>
                <a:gd name="T55" fmla="*/ 43007014 h 549"/>
                <a:gd name="T56" fmla="*/ 83998266 w 545"/>
                <a:gd name="T57" fmla="*/ 36159054 h 549"/>
                <a:gd name="T58" fmla="*/ 71970987 w 545"/>
                <a:gd name="T59" fmla="*/ 20818659 h 549"/>
                <a:gd name="T60" fmla="*/ 68534997 w 545"/>
                <a:gd name="T61" fmla="*/ 14518158 h 549"/>
                <a:gd name="T62" fmla="*/ 66434690 w 545"/>
                <a:gd name="T63" fmla="*/ 6574231 h 549"/>
                <a:gd name="T64" fmla="*/ 60898830 w 545"/>
                <a:gd name="T65" fmla="*/ 0 h 549"/>
                <a:gd name="T66" fmla="*/ 46580745 w 545"/>
                <a:gd name="T67" fmla="*/ 547983 h 549"/>
                <a:gd name="T68" fmla="*/ 33599219 w 545"/>
                <a:gd name="T69" fmla="*/ 3561107 h 549"/>
                <a:gd name="T70" fmla="*/ 18135950 w 545"/>
                <a:gd name="T71" fmla="*/ 6026247 h 549"/>
                <a:gd name="T72" fmla="*/ 13554337 w 545"/>
                <a:gd name="T73" fmla="*/ 7395944 h 549"/>
                <a:gd name="T74" fmla="*/ 12790589 w 545"/>
                <a:gd name="T75" fmla="*/ 10409591 h 549"/>
                <a:gd name="T76" fmla="*/ 13936211 w 545"/>
                <a:gd name="T77" fmla="*/ 15340395 h 549"/>
                <a:gd name="T78" fmla="*/ 16036080 w 545"/>
                <a:gd name="T79" fmla="*/ 20270675 h 549"/>
                <a:gd name="T80" fmla="*/ 16417954 w 545"/>
                <a:gd name="T81" fmla="*/ 29310570 h 549"/>
                <a:gd name="T82" fmla="*/ 14127148 w 545"/>
                <a:gd name="T83" fmla="*/ 46842375 h 549"/>
                <a:gd name="T84" fmla="*/ 11835905 w 545"/>
                <a:gd name="T85" fmla="*/ 64921640 h 549"/>
                <a:gd name="T86" fmla="*/ 8972725 w 545"/>
                <a:gd name="T87" fmla="*/ 72043854 h 549"/>
                <a:gd name="T88" fmla="*/ 4963486 w 545"/>
                <a:gd name="T89" fmla="*/ 75878691 h 549"/>
                <a:gd name="T90" fmla="*/ 954685 w 545"/>
                <a:gd name="T91" fmla="*/ 84096872 h 549"/>
                <a:gd name="T92" fmla="*/ 190937 w 545"/>
                <a:gd name="T93" fmla="*/ 92862512 h 549"/>
                <a:gd name="T94" fmla="*/ 1527058 w 545"/>
                <a:gd name="T95" fmla="*/ 100532710 h 549"/>
                <a:gd name="T96" fmla="*/ 1527058 w 545"/>
                <a:gd name="T97" fmla="*/ 107106940 h 549"/>
                <a:gd name="T98" fmla="*/ 0 w 545"/>
                <a:gd name="T99" fmla="*/ 111764014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6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284581" y="4927893"/>
              <a:ext cx="237366" cy="489052"/>
            </a:xfrm>
            <a:custGeom>
              <a:avLst/>
              <a:gdLst>
                <a:gd name="T0" fmla="*/ 21242815 w 452"/>
                <a:gd name="T1" fmla="*/ 71337991 h 832"/>
                <a:gd name="T2" fmla="*/ 26174082 w 452"/>
                <a:gd name="T3" fmla="*/ 67784998 h 832"/>
                <a:gd name="T4" fmla="*/ 31295230 w 452"/>
                <a:gd name="T5" fmla="*/ 65598622 h 832"/>
                <a:gd name="T6" fmla="*/ 36416379 w 452"/>
                <a:gd name="T7" fmla="*/ 63411722 h 832"/>
                <a:gd name="T8" fmla="*/ 40778436 w 452"/>
                <a:gd name="T9" fmla="*/ 59311874 h 832"/>
                <a:gd name="T10" fmla="*/ 44002943 w 452"/>
                <a:gd name="T11" fmla="*/ 54665169 h 832"/>
                <a:gd name="T12" fmla="*/ 44002943 w 452"/>
                <a:gd name="T13" fmla="*/ 48925277 h 832"/>
                <a:gd name="T14" fmla="*/ 50262076 w 452"/>
                <a:gd name="T15" fmla="*/ 48652372 h 832"/>
                <a:gd name="T16" fmla="*/ 53486148 w 452"/>
                <a:gd name="T17" fmla="*/ 47285756 h 832"/>
                <a:gd name="T18" fmla="*/ 56521210 w 452"/>
                <a:gd name="T19" fmla="*/ 44279096 h 832"/>
                <a:gd name="T20" fmla="*/ 60693820 w 452"/>
                <a:gd name="T21" fmla="*/ 36352304 h 832"/>
                <a:gd name="T22" fmla="*/ 66383743 w 452"/>
                <a:gd name="T23" fmla="*/ 20499242 h 832"/>
                <a:gd name="T24" fmla="*/ 71694338 w 452"/>
                <a:gd name="T25" fmla="*/ 0 h 832"/>
                <a:gd name="T26" fmla="*/ 73022204 w 452"/>
                <a:gd name="T27" fmla="*/ 5193037 h 832"/>
                <a:gd name="T28" fmla="*/ 77194815 w 452"/>
                <a:gd name="T29" fmla="*/ 12846401 h 832"/>
                <a:gd name="T30" fmla="*/ 84971261 w 452"/>
                <a:gd name="T31" fmla="*/ 23232998 h 832"/>
                <a:gd name="T32" fmla="*/ 83453948 w 452"/>
                <a:gd name="T33" fmla="*/ 28152607 h 832"/>
                <a:gd name="T34" fmla="*/ 84212604 w 452"/>
                <a:gd name="T35" fmla="*/ 37718920 h 832"/>
                <a:gd name="T36" fmla="*/ 85729917 w 452"/>
                <a:gd name="T37" fmla="*/ 50565321 h 832"/>
                <a:gd name="T38" fmla="*/ 84971261 w 452"/>
                <a:gd name="T39" fmla="*/ 56305213 h 832"/>
                <a:gd name="T40" fmla="*/ 81177979 w 452"/>
                <a:gd name="T41" fmla="*/ 63958578 h 832"/>
                <a:gd name="T42" fmla="*/ 77574143 w 452"/>
                <a:gd name="T43" fmla="*/ 71337991 h 832"/>
                <a:gd name="T44" fmla="*/ 76815486 w 452"/>
                <a:gd name="T45" fmla="*/ 77351311 h 832"/>
                <a:gd name="T46" fmla="*/ 74539517 w 452"/>
                <a:gd name="T47" fmla="*/ 84184392 h 832"/>
                <a:gd name="T48" fmla="*/ 72642876 w 452"/>
                <a:gd name="T49" fmla="*/ 86917625 h 832"/>
                <a:gd name="T50" fmla="*/ 71504891 w 452"/>
                <a:gd name="T51" fmla="*/ 90744568 h 832"/>
                <a:gd name="T52" fmla="*/ 69797697 w 452"/>
                <a:gd name="T53" fmla="*/ 99491121 h 832"/>
                <a:gd name="T54" fmla="*/ 64107774 w 452"/>
                <a:gd name="T55" fmla="*/ 116710275 h 832"/>
                <a:gd name="T56" fmla="*/ 60883266 w 452"/>
                <a:gd name="T57" fmla="*/ 128463488 h 832"/>
                <a:gd name="T58" fmla="*/ 60314492 w 452"/>
                <a:gd name="T59" fmla="*/ 136663185 h 832"/>
                <a:gd name="T60" fmla="*/ 58797179 w 452"/>
                <a:gd name="T61" fmla="*/ 145136310 h 832"/>
                <a:gd name="T62" fmla="*/ 53296702 w 452"/>
                <a:gd name="T63" fmla="*/ 164542887 h 832"/>
                <a:gd name="T64" fmla="*/ 49313538 w 452"/>
                <a:gd name="T65" fmla="*/ 174109200 h 832"/>
                <a:gd name="T66" fmla="*/ 45899584 w 452"/>
                <a:gd name="T67" fmla="*/ 179028809 h 832"/>
                <a:gd name="T68" fmla="*/ 44002943 w 452"/>
                <a:gd name="T69" fmla="*/ 180395425 h 832"/>
                <a:gd name="T70" fmla="*/ 43244287 w 452"/>
                <a:gd name="T71" fmla="*/ 195155298 h 832"/>
                <a:gd name="T72" fmla="*/ 40778436 w 452"/>
                <a:gd name="T73" fmla="*/ 207454843 h 832"/>
                <a:gd name="T74" fmla="*/ 36226497 w 452"/>
                <a:gd name="T75" fmla="*/ 217294584 h 832"/>
                <a:gd name="T76" fmla="*/ 29777918 w 452"/>
                <a:gd name="T77" fmla="*/ 223854760 h 832"/>
                <a:gd name="T78" fmla="*/ 20863487 w 452"/>
                <a:gd name="T79" fmla="*/ 227134325 h 832"/>
                <a:gd name="T80" fmla="*/ 15173564 w 452"/>
                <a:gd name="T81" fmla="*/ 226041137 h 832"/>
                <a:gd name="T82" fmla="*/ 13845697 w 452"/>
                <a:gd name="T83" fmla="*/ 223307905 h 832"/>
                <a:gd name="T84" fmla="*/ 9483205 w 452"/>
                <a:gd name="T85" fmla="*/ 221394433 h 832"/>
                <a:gd name="T86" fmla="*/ 4931267 w 452"/>
                <a:gd name="T87" fmla="*/ 218114868 h 832"/>
                <a:gd name="T88" fmla="*/ 2275969 w 452"/>
                <a:gd name="T89" fmla="*/ 212374975 h 832"/>
                <a:gd name="T90" fmla="*/ 569210 w 452"/>
                <a:gd name="T91" fmla="*/ 205541372 h 832"/>
                <a:gd name="T92" fmla="*/ 0 w 452"/>
                <a:gd name="T93" fmla="*/ 193515254 h 832"/>
                <a:gd name="T94" fmla="*/ 758656 w 452"/>
                <a:gd name="T95" fmla="*/ 189688833 h 832"/>
                <a:gd name="T96" fmla="*/ 3603836 w 452"/>
                <a:gd name="T97" fmla="*/ 185315557 h 832"/>
                <a:gd name="T98" fmla="*/ 2086523 w 452"/>
                <a:gd name="T99" fmla="*/ 183675513 h 832"/>
                <a:gd name="T100" fmla="*/ 0 w 452"/>
                <a:gd name="T101" fmla="*/ 178209048 h 832"/>
                <a:gd name="T102" fmla="*/ 948538 w 452"/>
                <a:gd name="T103" fmla="*/ 171648873 h 832"/>
                <a:gd name="T104" fmla="*/ 1517313 w 452"/>
                <a:gd name="T105" fmla="*/ 166729263 h 832"/>
                <a:gd name="T106" fmla="*/ 948538 w 452"/>
                <a:gd name="T107" fmla="*/ 161536227 h 832"/>
                <a:gd name="T108" fmla="*/ 3413954 w 452"/>
                <a:gd name="T109" fmla="*/ 160442515 h 832"/>
                <a:gd name="T110" fmla="*/ 8155774 w 452"/>
                <a:gd name="T111" fmla="*/ 155249479 h 832"/>
                <a:gd name="T112" fmla="*/ 11949056 w 452"/>
                <a:gd name="T113" fmla="*/ 147049782 h 832"/>
                <a:gd name="T114" fmla="*/ 14414907 w 452"/>
                <a:gd name="T115" fmla="*/ 138303229 h 832"/>
                <a:gd name="T116" fmla="*/ 16311548 w 452"/>
                <a:gd name="T117" fmla="*/ 126277111 h 832"/>
                <a:gd name="T118" fmla="*/ 15742338 w 452"/>
                <a:gd name="T119" fmla="*/ 119716935 h 832"/>
                <a:gd name="T120" fmla="*/ 13276923 w 452"/>
                <a:gd name="T121" fmla="*/ 111517238 h 832"/>
                <a:gd name="T122" fmla="*/ 10621190 w 452"/>
                <a:gd name="T123" fmla="*/ 104410730 h 832"/>
                <a:gd name="T124" fmla="*/ 10052415 w 452"/>
                <a:gd name="T125" fmla="*/ 99217693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7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894076" y="4588769"/>
              <a:ext cx="44028" cy="74964"/>
            </a:xfrm>
            <a:custGeom>
              <a:avLst/>
              <a:gdLst>
                <a:gd name="T0" fmla="*/ 16664990 w 80"/>
                <a:gd name="T1" fmla="*/ 559858 h 126"/>
                <a:gd name="T2" fmla="*/ 16664990 w 80"/>
                <a:gd name="T3" fmla="*/ 28281842 h 126"/>
                <a:gd name="T4" fmla="*/ 16248285 w 80"/>
                <a:gd name="T5" fmla="*/ 29121629 h 126"/>
                <a:gd name="T6" fmla="*/ 15623456 w 80"/>
                <a:gd name="T7" fmla="*/ 29961946 h 126"/>
                <a:gd name="T8" fmla="*/ 14581923 w 80"/>
                <a:gd name="T9" fmla="*/ 30521804 h 126"/>
                <a:gd name="T10" fmla="*/ 13957094 w 80"/>
                <a:gd name="T11" fmla="*/ 31081662 h 126"/>
                <a:gd name="T12" fmla="*/ 12082152 w 80"/>
                <a:gd name="T13" fmla="*/ 31921979 h 126"/>
                <a:gd name="T14" fmla="*/ 9999085 w 80"/>
                <a:gd name="T15" fmla="*/ 32481837 h 126"/>
                <a:gd name="T16" fmla="*/ 7499314 w 80"/>
                <a:gd name="T17" fmla="*/ 32761767 h 126"/>
                <a:gd name="T18" fmla="*/ 5207667 w 80"/>
                <a:gd name="T19" fmla="*/ 33322154 h 126"/>
                <a:gd name="T20" fmla="*/ 2707895 w 80"/>
                <a:gd name="T21" fmla="*/ 34441871 h 126"/>
                <a:gd name="T22" fmla="*/ 0 w 80"/>
                <a:gd name="T23" fmla="*/ 35282188 h 126"/>
                <a:gd name="T24" fmla="*/ 1458238 w 80"/>
                <a:gd name="T25" fmla="*/ 11200871 h 126"/>
                <a:gd name="T26" fmla="*/ 4790962 w 80"/>
                <a:gd name="T27" fmla="*/ 7560204 h 126"/>
                <a:gd name="T28" fmla="*/ 8540847 w 80"/>
                <a:gd name="T29" fmla="*/ 3360208 h 126"/>
                <a:gd name="T30" fmla="*/ 10623914 w 80"/>
                <a:gd name="T31" fmla="*/ 1400175 h 126"/>
                <a:gd name="T32" fmla="*/ 12498856 w 80"/>
                <a:gd name="T33" fmla="*/ 279929 h 126"/>
                <a:gd name="T34" fmla="*/ 13540390 w 80"/>
                <a:gd name="T35" fmla="*/ 0 h 126"/>
                <a:gd name="T36" fmla="*/ 14581923 w 80"/>
                <a:gd name="T37" fmla="*/ 0 h 126"/>
                <a:gd name="T38" fmla="*/ 15623456 w 80"/>
                <a:gd name="T39" fmla="*/ 279929 h 126"/>
                <a:gd name="T40" fmla="*/ 16664990 w 80"/>
                <a:gd name="T41" fmla="*/ 5598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8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880677" y="4544147"/>
              <a:ext cx="66998" cy="67825"/>
            </a:xfrm>
            <a:custGeom>
              <a:avLst/>
              <a:gdLst>
                <a:gd name="T0" fmla="*/ 22687667 w 124"/>
                <a:gd name="T1" fmla="*/ 0 h 117"/>
                <a:gd name="T2" fmla="*/ 23289888 w 124"/>
                <a:gd name="T3" fmla="*/ 3987637 h 117"/>
                <a:gd name="T4" fmla="*/ 24494777 w 124"/>
                <a:gd name="T5" fmla="*/ 9304487 h 117"/>
                <a:gd name="T6" fmla="*/ 24896257 w 124"/>
                <a:gd name="T7" fmla="*/ 11962912 h 117"/>
                <a:gd name="T8" fmla="*/ 24896257 w 124"/>
                <a:gd name="T9" fmla="*/ 14355288 h 117"/>
                <a:gd name="T10" fmla="*/ 24896257 w 124"/>
                <a:gd name="T11" fmla="*/ 15684500 h 117"/>
                <a:gd name="T12" fmla="*/ 24695517 w 124"/>
                <a:gd name="T13" fmla="*/ 17013712 h 117"/>
                <a:gd name="T14" fmla="*/ 24494777 w 124"/>
                <a:gd name="T15" fmla="*/ 18342925 h 117"/>
                <a:gd name="T16" fmla="*/ 23892556 w 124"/>
                <a:gd name="T17" fmla="*/ 19406604 h 117"/>
                <a:gd name="T18" fmla="*/ 22888407 w 124"/>
                <a:gd name="T19" fmla="*/ 19140555 h 117"/>
                <a:gd name="T20" fmla="*/ 21683967 w 124"/>
                <a:gd name="T21" fmla="*/ 18874507 h 117"/>
                <a:gd name="T22" fmla="*/ 20679818 w 124"/>
                <a:gd name="T23" fmla="*/ 19140555 h 117"/>
                <a:gd name="T24" fmla="*/ 19274637 w 124"/>
                <a:gd name="T25" fmla="*/ 19406604 h 117"/>
                <a:gd name="T26" fmla="*/ 16664567 w 124"/>
                <a:gd name="T27" fmla="*/ 20735816 h 117"/>
                <a:gd name="T28" fmla="*/ 14255238 w 124"/>
                <a:gd name="T29" fmla="*/ 22596611 h 117"/>
                <a:gd name="T30" fmla="*/ 9235838 w 124"/>
                <a:gd name="T31" fmla="*/ 27381878 h 117"/>
                <a:gd name="T32" fmla="*/ 5220140 w 124"/>
                <a:gd name="T33" fmla="*/ 31103467 h 117"/>
                <a:gd name="T34" fmla="*/ 4617919 w 124"/>
                <a:gd name="T35" fmla="*/ 29774254 h 117"/>
                <a:gd name="T36" fmla="*/ 2610070 w 124"/>
                <a:gd name="T37" fmla="*/ 26849781 h 117"/>
                <a:gd name="T38" fmla="*/ 802961 w 124"/>
                <a:gd name="T39" fmla="*/ 23659774 h 117"/>
                <a:gd name="T40" fmla="*/ 0 w 124"/>
                <a:gd name="T41" fmla="*/ 21001350 h 117"/>
                <a:gd name="T42" fmla="*/ 200740 w 124"/>
                <a:gd name="T43" fmla="*/ 20203719 h 117"/>
                <a:gd name="T44" fmla="*/ 401480 w 124"/>
                <a:gd name="T45" fmla="*/ 19140555 h 117"/>
                <a:gd name="T46" fmla="*/ 1003701 w 124"/>
                <a:gd name="T47" fmla="*/ 17811343 h 117"/>
                <a:gd name="T48" fmla="*/ 1807109 w 124"/>
                <a:gd name="T49" fmla="*/ 16482131 h 117"/>
                <a:gd name="T50" fmla="*/ 3413030 w 124"/>
                <a:gd name="T51" fmla="*/ 13823706 h 117"/>
                <a:gd name="T52" fmla="*/ 5420880 w 124"/>
                <a:gd name="T53" fmla="*/ 11165281 h 117"/>
                <a:gd name="T54" fmla="*/ 9637319 w 124"/>
                <a:gd name="T55" fmla="*/ 5848431 h 117"/>
                <a:gd name="T56" fmla="*/ 12046648 w 124"/>
                <a:gd name="T57" fmla="*/ 3190007 h 117"/>
                <a:gd name="T58" fmla="*/ 14656718 w 124"/>
                <a:gd name="T59" fmla="*/ 3190007 h 117"/>
                <a:gd name="T60" fmla="*/ 17266788 w 124"/>
                <a:gd name="T61" fmla="*/ 3190007 h 117"/>
                <a:gd name="T62" fmla="*/ 20077598 w 124"/>
                <a:gd name="T63" fmla="*/ 1595261 h 117"/>
                <a:gd name="T64" fmla="*/ 2268766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9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253954" y="3082347"/>
              <a:ext cx="606815" cy="531889"/>
            </a:xfrm>
            <a:custGeom>
              <a:avLst/>
              <a:gdLst>
                <a:gd name="T0" fmla="*/ 175864703 w 1156"/>
                <a:gd name="T1" fmla="*/ 52772568 h 900"/>
                <a:gd name="T2" fmla="*/ 162788786 w 1156"/>
                <a:gd name="T3" fmla="*/ 44760254 h 900"/>
                <a:gd name="T4" fmla="*/ 146491015 w 1156"/>
                <a:gd name="T5" fmla="*/ 30668927 h 900"/>
                <a:gd name="T6" fmla="*/ 116927523 w 1156"/>
                <a:gd name="T7" fmla="*/ 28734576 h 900"/>
                <a:gd name="T8" fmla="*/ 104419708 w 1156"/>
                <a:gd name="T9" fmla="*/ 42549417 h 900"/>
                <a:gd name="T10" fmla="*/ 95512918 w 1156"/>
                <a:gd name="T11" fmla="*/ 49456837 h 900"/>
                <a:gd name="T12" fmla="*/ 80730955 w 1156"/>
                <a:gd name="T13" fmla="*/ 54430433 h 900"/>
                <a:gd name="T14" fmla="*/ 72582069 w 1156"/>
                <a:gd name="T15" fmla="*/ 54982879 h 900"/>
                <a:gd name="T16" fmla="*/ 67275868 w 1156"/>
                <a:gd name="T17" fmla="*/ 47799498 h 900"/>
                <a:gd name="T18" fmla="*/ 49272485 w 1156"/>
                <a:gd name="T19" fmla="*/ 37576347 h 900"/>
                <a:gd name="T20" fmla="*/ 43208380 w 1156"/>
                <a:gd name="T21" fmla="*/ 23761506 h 900"/>
                <a:gd name="T22" fmla="*/ 41692136 w 1156"/>
                <a:gd name="T23" fmla="*/ 6354974 h 900"/>
                <a:gd name="T24" fmla="*/ 35627596 w 1156"/>
                <a:gd name="T25" fmla="*/ 276486 h 900"/>
                <a:gd name="T26" fmla="*/ 29374124 w 1156"/>
                <a:gd name="T27" fmla="*/ 5802002 h 900"/>
                <a:gd name="T28" fmla="*/ 25773099 w 1156"/>
                <a:gd name="T29" fmla="*/ 18511950 h 900"/>
                <a:gd name="T30" fmla="*/ 14971331 w 1156"/>
                <a:gd name="T31" fmla="*/ 14920260 h 900"/>
                <a:gd name="T32" fmla="*/ 757904 w 1156"/>
                <a:gd name="T33" fmla="*/ 4420623 h 900"/>
                <a:gd name="T34" fmla="*/ 947707 w 1156"/>
                <a:gd name="T35" fmla="*/ 19893329 h 900"/>
                <a:gd name="T36" fmla="*/ 8528056 w 1156"/>
                <a:gd name="T37" fmla="*/ 40339105 h 900"/>
                <a:gd name="T38" fmla="*/ 13834256 w 1156"/>
                <a:gd name="T39" fmla="*/ 56640744 h 900"/>
                <a:gd name="T40" fmla="*/ 25583732 w 1156"/>
                <a:gd name="T41" fmla="*/ 78467899 h 900"/>
                <a:gd name="T42" fmla="*/ 23120216 w 1156"/>
                <a:gd name="T43" fmla="*/ 87309671 h 900"/>
                <a:gd name="T44" fmla="*/ 25204562 w 1156"/>
                <a:gd name="T45" fmla="*/ 102229405 h 900"/>
                <a:gd name="T46" fmla="*/ 35627596 w 1156"/>
                <a:gd name="T47" fmla="*/ 118254558 h 900"/>
                <a:gd name="T48" fmla="*/ 49083118 w 1156"/>
                <a:gd name="T49" fmla="*/ 125990911 h 900"/>
                <a:gd name="T50" fmla="*/ 49083118 w 1156"/>
                <a:gd name="T51" fmla="*/ 144779347 h 900"/>
                <a:gd name="T52" fmla="*/ 63485912 w 1156"/>
                <a:gd name="T53" fmla="*/ 160528014 h 900"/>
                <a:gd name="T54" fmla="*/ 80162418 w 1156"/>
                <a:gd name="T55" fmla="*/ 183460588 h 900"/>
                <a:gd name="T56" fmla="*/ 89259011 w 1156"/>
                <a:gd name="T57" fmla="*/ 198933294 h 900"/>
                <a:gd name="T58" fmla="*/ 95512918 w 1156"/>
                <a:gd name="T59" fmla="*/ 202524984 h 900"/>
                <a:gd name="T60" fmla="*/ 102714097 w 1156"/>
                <a:gd name="T61" fmla="*/ 208603473 h 900"/>
                <a:gd name="T62" fmla="*/ 113326934 w 1156"/>
                <a:gd name="T63" fmla="*/ 217445244 h 900"/>
                <a:gd name="T64" fmla="*/ 129814073 w 1156"/>
                <a:gd name="T65" fmla="*/ 219655556 h 900"/>
                <a:gd name="T66" fmla="*/ 138720863 w 1156"/>
                <a:gd name="T67" fmla="*/ 215510893 h 900"/>
                <a:gd name="T68" fmla="*/ 147628089 w 1156"/>
                <a:gd name="T69" fmla="*/ 211090270 h 900"/>
                <a:gd name="T70" fmla="*/ 151797215 w 1156"/>
                <a:gd name="T71" fmla="*/ 219932042 h 900"/>
                <a:gd name="T72" fmla="*/ 154071363 w 1156"/>
                <a:gd name="T73" fmla="*/ 236786127 h 900"/>
                <a:gd name="T74" fmla="*/ 165631472 w 1156"/>
                <a:gd name="T75" fmla="*/ 241482711 h 900"/>
                <a:gd name="T76" fmla="*/ 191594373 w 1156"/>
                <a:gd name="T77" fmla="*/ 246456306 h 900"/>
                <a:gd name="T78" fmla="*/ 206755071 w 1156"/>
                <a:gd name="T79" fmla="*/ 242864615 h 900"/>
                <a:gd name="T80" fmla="*/ 208270880 w 1156"/>
                <a:gd name="T81" fmla="*/ 229602221 h 900"/>
                <a:gd name="T82" fmla="*/ 219073084 w 1156"/>
                <a:gd name="T83" fmla="*/ 212748135 h 900"/>
                <a:gd name="T84" fmla="*/ 214524787 w 1156"/>
                <a:gd name="T85" fmla="*/ 207222094 h 900"/>
                <a:gd name="T86" fmla="*/ 207702343 w 1156"/>
                <a:gd name="T87" fmla="*/ 195617564 h 900"/>
                <a:gd name="T88" fmla="*/ 195384330 w 1156"/>
                <a:gd name="T89" fmla="*/ 177658586 h 900"/>
                <a:gd name="T90" fmla="*/ 192920815 w 1156"/>
                <a:gd name="T91" fmla="*/ 166606502 h 900"/>
                <a:gd name="T92" fmla="*/ 197847846 w 1156"/>
                <a:gd name="T93" fmla="*/ 154449526 h 900"/>
                <a:gd name="T94" fmla="*/ 198606185 w 1156"/>
                <a:gd name="T95" fmla="*/ 145331794 h 900"/>
                <a:gd name="T96" fmla="*/ 195194963 w 1156"/>
                <a:gd name="T97" fmla="*/ 141463617 h 900"/>
                <a:gd name="T98" fmla="*/ 186287737 w 1156"/>
                <a:gd name="T99" fmla="*/ 140082238 h 900"/>
                <a:gd name="T100" fmla="*/ 180792169 w 1156"/>
                <a:gd name="T101" fmla="*/ 125161978 h 900"/>
                <a:gd name="T102" fmla="*/ 177570314 w 1156"/>
                <a:gd name="T103" fmla="*/ 103058337 h 900"/>
                <a:gd name="T104" fmla="*/ 175106799 w 1156"/>
                <a:gd name="T105" fmla="*/ 98637714 h 900"/>
                <a:gd name="T106" fmla="*/ 178138851 w 1156"/>
                <a:gd name="T107" fmla="*/ 92282740 h 900"/>
                <a:gd name="T108" fmla="*/ 181929244 w 1156"/>
                <a:gd name="T109" fmla="*/ 8095469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0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282668" y="3821279"/>
              <a:ext cx="298622" cy="257020"/>
            </a:xfrm>
            <a:custGeom>
              <a:avLst/>
              <a:gdLst>
                <a:gd name="T0" fmla="*/ 4890979 w 571"/>
                <a:gd name="T1" fmla="*/ 50593876 h 443"/>
                <a:gd name="T2" fmla="*/ 6959789 w 571"/>
                <a:gd name="T3" fmla="*/ 47132366 h 443"/>
                <a:gd name="T4" fmla="*/ 7712281 w 571"/>
                <a:gd name="T5" fmla="*/ 43670340 h 443"/>
                <a:gd name="T6" fmla="*/ 7336252 w 571"/>
                <a:gd name="T7" fmla="*/ 34350375 h 443"/>
                <a:gd name="T8" fmla="*/ 8276541 w 571"/>
                <a:gd name="T9" fmla="*/ 31953945 h 443"/>
                <a:gd name="T10" fmla="*/ 10345785 w 571"/>
                <a:gd name="T11" fmla="*/ 29823786 h 443"/>
                <a:gd name="T12" fmla="*/ 12791057 w 571"/>
                <a:gd name="T13" fmla="*/ 28492436 h 443"/>
                <a:gd name="T14" fmla="*/ 15048532 w 571"/>
                <a:gd name="T15" fmla="*/ 27693626 h 443"/>
                <a:gd name="T16" fmla="*/ 19374818 w 571"/>
                <a:gd name="T17" fmla="*/ 28226166 h 443"/>
                <a:gd name="T18" fmla="*/ 23325074 w 571"/>
                <a:gd name="T19" fmla="*/ 29024976 h 443"/>
                <a:gd name="T20" fmla="*/ 29721036 w 571"/>
                <a:gd name="T21" fmla="*/ 31953945 h 443"/>
                <a:gd name="T22" fmla="*/ 34611581 w 571"/>
                <a:gd name="T23" fmla="*/ 35948511 h 443"/>
                <a:gd name="T24" fmla="*/ 38750069 w 571"/>
                <a:gd name="T25" fmla="*/ 41007641 h 443"/>
                <a:gd name="T26" fmla="*/ 47779101 w 571"/>
                <a:gd name="T27" fmla="*/ 24497870 h 443"/>
                <a:gd name="T28" fmla="*/ 53610370 w 571"/>
                <a:gd name="T29" fmla="*/ 13047745 h 443"/>
                <a:gd name="T30" fmla="*/ 101201240 w 571"/>
                <a:gd name="T31" fmla="*/ 11450125 h 443"/>
                <a:gd name="T32" fmla="*/ 104775467 w 571"/>
                <a:gd name="T33" fmla="*/ 20770090 h 443"/>
                <a:gd name="T34" fmla="*/ 105716190 w 571"/>
                <a:gd name="T35" fmla="*/ 26096006 h 443"/>
                <a:gd name="T36" fmla="*/ 106092219 w 571"/>
                <a:gd name="T37" fmla="*/ 32752755 h 443"/>
                <a:gd name="T38" fmla="*/ 106844711 w 571"/>
                <a:gd name="T39" fmla="*/ 40208831 h 443"/>
                <a:gd name="T40" fmla="*/ 107408971 w 571"/>
                <a:gd name="T41" fmla="*/ 47398636 h 443"/>
                <a:gd name="T42" fmla="*/ 106092219 w 571"/>
                <a:gd name="T43" fmla="*/ 47931176 h 443"/>
                <a:gd name="T44" fmla="*/ 105716190 w 571"/>
                <a:gd name="T45" fmla="*/ 47664906 h 443"/>
                <a:gd name="T46" fmla="*/ 104963698 w 571"/>
                <a:gd name="T47" fmla="*/ 48996256 h 443"/>
                <a:gd name="T48" fmla="*/ 103082686 w 571"/>
                <a:gd name="T49" fmla="*/ 55120981 h 443"/>
                <a:gd name="T50" fmla="*/ 100449182 w 571"/>
                <a:gd name="T51" fmla="*/ 59913841 h 443"/>
                <a:gd name="T52" fmla="*/ 96874955 w 571"/>
                <a:gd name="T53" fmla="*/ 63641621 h 443"/>
                <a:gd name="T54" fmla="*/ 92924699 w 571"/>
                <a:gd name="T55" fmla="*/ 66304837 h 443"/>
                <a:gd name="T56" fmla="*/ 76183385 w 571"/>
                <a:gd name="T57" fmla="*/ 75358532 h 443"/>
                <a:gd name="T58" fmla="*/ 65272907 w 571"/>
                <a:gd name="T59" fmla="*/ 81749011 h 443"/>
                <a:gd name="T60" fmla="*/ 55491382 w 571"/>
                <a:gd name="T61" fmla="*/ 87341197 h 443"/>
                <a:gd name="T62" fmla="*/ 46086320 w 571"/>
                <a:gd name="T63" fmla="*/ 91867786 h 443"/>
                <a:gd name="T64" fmla="*/ 34988044 w 571"/>
                <a:gd name="T65" fmla="*/ 96661162 h 443"/>
                <a:gd name="T66" fmla="*/ 31413817 w 571"/>
                <a:gd name="T67" fmla="*/ 98791322 h 443"/>
                <a:gd name="T68" fmla="*/ 28027821 w 571"/>
                <a:gd name="T69" fmla="*/ 101454022 h 443"/>
                <a:gd name="T70" fmla="*/ 22384784 w 571"/>
                <a:gd name="T71" fmla="*/ 107312477 h 443"/>
                <a:gd name="T72" fmla="*/ 17306008 w 571"/>
                <a:gd name="T73" fmla="*/ 113437203 h 443"/>
                <a:gd name="T74" fmla="*/ 12603260 w 571"/>
                <a:gd name="T75" fmla="*/ 117963792 h 443"/>
                <a:gd name="T76" fmla="*/ 9405495 w 571"/>
                <a:gd name="T77" fmla="*/ 100655212 h 443"/>
                <a:gd name="T78" fmla="*/ 6207731 w 571"/>
                <a:gd name="T79" fmla="*/ 83346631 h 443"/>
                <a:gd name="T80" fmla="*/ 3009533 w 571"/>
                <a:gd name="T81" fmla="*/ 66837377 h 443"/>
                <a:gd name="T82" fmla="*/ 0 w 571"/>
                <a:gd name="T83" fmla="*/ 52191496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1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518119" y="3567829"/>
              <a:ext cx="145482" cy="135649"/>
            </a:xfrm>
            <a:custGeom>
              <a:avLst/>
              <a:gdLst>
                <a:gd name="T0" fmla="*/ 0 w 286"/>
                <a:gd name="T1" fmla="*/ 31081662 h 228"/>
                <a:gd name="T2" fmla="*/ 711666 w 286"/>
                <a:gd name="T3" fmla="*/ 30521804 h 228"/>
                <a:gd name="T4" fmla="*/ 1245732 w 286"/>
                <a:gd name="T5" fmla="*/ 30521804 h 228"/>
                <a:gd name="T6" fmla="*/ 1779798 w 286"/>
                <a:gd name="T7" fmla="*/ 30801733 h 228"/>
                <a:gd name="T8" fmla="*/ 1957399 w 286"/>
                <a:gd name="T9" fmla="*/ 31081662 h 228"/>
                <a:gd name="T10" fmla="*/ 2135421 w 286"/>
                <a:gd name="T11" fmla="*/ 32761767 h 228"/>
                <a:gd name="T12" fmla="*/ 2313443 w 286"/>
                <a:gd name="T13" fmla="*/ 34441871 h 228"/>
                <a:gd name="T14" fmla="*/ 2491465 w 286"/>
                <a:gd name="T15" fmla="*/ 35842046 h 228"/>
                <a:gd name="T16" fmla="*/ 2847509 w 286"/>
                <a:gd name="T17" fmla="*/ 36682363 h 228"/>
                <a:gd name="T18" fmla="*/ 3381153 w 286"/>
                <a:gd name="T19" fmla="*/ 37522150 h 228"/>
                <a:gd name="T20" fmla="*/ 4270841 w 286"/>
                <a:gd name="T21" fmla="*/ 38082538 h 228"/>
                <a:gd name="T22" fmla="*/ 5160951 w 286"/>
                <a:gd name="T23" fmla="*/ 38362467 h 228"/>
                <a:gd name="T24" fmla="*/ 6584706 w 286"/>
                <a:gd name="T25" fmla="*/ 38642396 h 228"/>
                <a:gd name="T26" fmla="*/ 8542104 w 286"/>
                <a:gd name="T27" fmla="*/ 38642396 h 228"/>
                <a:gd name="T28" fmla="*/ 10677525 w 286"/>
                <a:gd name="T29" fmla="*/ 38082538 h 228"/>
                <a:gd name="T30" fmla="*/ 17440253 w 286"/>
                <a:gd name="T31" fmla="*/ 36402433 h 228"/>
                <a:gd name="T32" fmla="*/ 22956826 w 286"/>
                <a:gd name="T33" fmla="*/ 34161942 h 228"/>
                <a:gd name="T34" fmla="*/ 25448291 w 286"/>
                <a:gd name="T35" fmla="*/ 33042225 h 228"/>
                <a:gd name="T36" fmla="*/ 27761734 w 286"/>
                <a:gd name="T37" fmla="*/ 31921979 h 228"/>
                <a:gd name="T38" fmla="*/ 29719132 w 286"/>
                <a:gd name="T39" fmla="*/ 30521804 h 228"/>
                <a:gd name="T40" fmla="*/ 31676953 w 286"/>
                <a:gd name="T41" fmla="*/ 28841700 h 228"/>
                <a:gd name="T42" fmla="*/ 33456329 w 286"/>
                <a:gd name="T43" fmla="*/ 26881667 h 228"/>
                <a:gd name="T44" fmla="*/ 35236128 w 286"/>
                <a:gd name="T45" fmla="*/ 24361775 h 228"/>
                <a:gd name="T46" fmla="*/ 37015504 w 286"/>
                <a:gd name="T47" fmla="*/ 21841354 h 228"/>
                <a:gd name="T48" fmla="*/ 38973325 w 286"/>
                <a:gd name="T49" fmla="*/ 18201217 h 228"/>
                <a:gd name="T50" fmla="*/ 40752701 w 286"/>
                <a:gd name="T51" fmla="*/ 14561079 h 228"/>
                <a:gd name="T52" fmla="*/ 42888544 w 286"/>
                <a:gd name="T53" fmla="*/ 10360554 h 228"/>
                <a:gd name="T54" fmla="*/ 45023965 w 286"/>
                <a:gd name="T55" fmla="*/ 5600171 h 228"/>
                <a:gd name="T56" fmla="*/ 47337407 w 286"/>
                <a:gd name="T57" fmla="*/ 0 h 228"/>
                <a:gd name="T58" fmla="*/ 48049073 w 286"/>
                <a:gd name="T59" fmla="*/ 1960033 h 228"/>
                <a:gd name="T60" fmla="*/ 48761162 w 286"/>
                <a:gd name="T61" fmla="*/ 3640137 h 228"/>
                <a:gd name="T62" fmla="*/ 49116784 w 286"/>
                <a:gd name="T63" fmla="*/ 5600171 h 228"/>
                <a:gd name="T64" fmla="*/ 49650850 w 286"/>
                <a:gd name="T65" fmla="*/ 7560204 h 228"/>
                <a:gd name="T66" fmla="*/ 50184916 w 286"/>
                <a:gd name="T67" fmla="*/ 11760729 h 228"/>
                <a:gd name="T68" fmla="*/ 50896582 w 286"/>
                <a:gd name="T69" fmla="*/ 17360900 h 228"/>
                <a:gd name="T70" fmla="*/ 43778232 w 286"/>
                <a:gd name="T71" fmla="*/ 55443437 h 228"/>
                <a:gd name="T72" fmla="*/ 40219057 w 286"/>
                <a:gd name="T73" fmla="*/ 63843958 h 228"/>
                <a:gd name="T74" fmla="*/ 9431793 w 286"/>
                <a:gd name="T75" fmla="*/ 58803646 h 228"/>
                <a:gd name="T76" fmla="*/ 0 w 286"/>
                <a:gd name="T77" fmla="*/ 31081662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2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141014" y="3176944"/>
              <a:ext cx="267994" cy="296287"/>
            </a:xfrm>
            <a:custGeom>
              <a:avLst/>
              <a:gdLst>
                <a:gd name="T0" fmla="*/ 85990391 w 524"/>
                <a:gd name="T1" fmla="*/ 100754218 h 505"/>
                <a:gd name="T2" fmla="*/ 87069406 w 524"/>
                <a:gd name="T3" fmla="*/ 94218798 h 505"/>
                <a:gd name="T4" fmla="*/ 86889571 w 524"/>
                <a:gd name="T5" fmla="*/ 89589629 h 505"/>
                <a:gd name="T6" fmla="*/ 85990391 w 524"/>
                <a:gd name="T7" fmla="*/ 82237020 h 505"/>
                <a:gd name="T8" fmla="*/ 81852469 w 524"/>
                <a:gd name="T9" fmla="*/ 81420354 h 505"/>
                <a:gd name="T10" fmla="*/ 77535136 w 524"/>
                <a:gd name="T11" fmla="*/ 78425040 h 505"/>
                <a:gd name="T12" fmla="*/ 73217378 w 524"/>
                <a:gd name="T13" fmla="*/ 74612538 h 505"/>
                <a:gd name="T14" fmla="*/ 69439977 w 524"/>
                <a:gd name="T15" fmla="*/ 69710973 h 505"/>
                <a:gd name="T16" fmla="*/ 65841987 w 524"/>
                <a:gd name="T17" fmla="*/ 64537012 h 505"/>
                <a:gd name="T18" fmla="*/ 63323436 w 524"/>
                <a:gd name="T19" fmla="*/ 58818780 h 505"/>
                <a:gd name="T20" fmla="*/ 61524229 w 524"/>
                <a:gd name="T21" fmla="*/ 53372423 h 505"/>
                <a:gd name="T22" fmla="*/ 60984721 w 524"/>
                <a:gd name="T23" fmla="*/ 48470858 h 505"/>
                <a:gd name="T24" fmla="*/ 61344393 w 524"/>
                <a:gd name="T25" fmla="*/ 44114085 h 505"/>
                <a:gd name="T26" fmla="*/ 62783504 w 524"/>
                <a:gd name="T27" fmla="*/ 40846375 h 505"/>
                <a:gd name="T28" fmla="*/ 65662151 w 524"/>
                <a:gd name="T29" fmla="*/ 37033873 h 505"/>
                <a:gd name="T30" fmla="*/ 63683108 w 524"/>
                <a:gd name="T31" fmla="*/ 35400018 h 505"/>
                <a:gd name="T32" fmla="*/ 61344393 w 524"/>
                <a:gd name="T33" fmla="*/ 32404704 h 505"/>
                <a:gd name="T34" fmla="*/ 56666964 w 524"/>
                <a:gd name="T35" fmla="*/ 23690637 h 505"/>
                <a:gd name="T36" fmla="*/ 52529466 w 524"/>
                <a:gd name="T37" fmla="*/ 13887507 h 505"/>
                <a:gd name="T38" fmla="*/ 50190751 w 524"/>
                <a:gd name="T39" fmla="*/ 6807816 h 505"/>
                <a:gd name="T40" fmla="*/ 46773021 w 524"/>
                <a:gd name="T41" fmla="*/ 6535420 h 505"/>
                <a:gd name="T42" fmla="*/ 42995196 w 524"/>
                <a:gd name="T43" fmla="*/ 5173961 h 505"/>
                <a:gd name="T44" fmla="*/ 39397206 w 524"/>
                <a:gd name="T45" fmla="*/ 2995314 h 505"/>
                <a:gd name="T46" fmla="*/ 35439544 w 524"/>
                <a:gd name="T47" fmla="*/ 1633855 h 505"/>
                <a:gd name="T48" fmla="*/ 30582279 w 524"/>
                <a:gd name="T49" fmla="*/ 816667 h 505"/>
                <a:gd name="T50" fmla="*/ 26804453 w 524"/>
                <a:gd name="T51" fmla="*/ 2178647 h 505"/>
                <a:gd name="T52" fmla="*/ 20508076 w 524"/>
                <a:gd name="T53" fmla="*/ 11164589 h 505"/>
                <a:gd name="T54" fmla="*/ 17629854 w 524"/>
                <a:gd name="T55" fmla="*/ 15521362 h 505"/>
                <a:gd name="T56" fmla="*/ 16730250 w 524"/>
                <a:gd name="T57" fmla="*/ 17427613 h 505"/>
                <a:gd name="T58" fmla="*/ 16910086 w 524"/>
                <a:gd name="T59" fmla="*/ 25596888 h 505"/>
                <a:gd name="T60" fmla="*/ 17089922 w 524"/>
                <a:gd name="T61" fmla="*/ 38122935 h 505"/>
                <a:gd name="T62" fmla="*/ 16910086 w 524"/>
                <a:gd name="T63" fmla="*/ 44658355 h 505"/>
                <a:gd name="T64" fmla="*/ 15470975 w 524"/>
                <a:gd name="T65" fmla="*/ 49015650 h 505"/>
                <a:gd name="T66" fmla="*/ 12052821 w 524"/>
                <a:gd name="T67" fmla="*/ 53644819 h 505"/>
                <a:gd name="T68" fmla="*/ 7195980 w 524"/>
                <a:gd name="T69" fmla="*/ 58273988 h 505"/>
                <a:gd name="T70" fmla="*/ 2338715 w 524"/>
                <a:gd name="T71" fmla="*/ 62086490 h 505"/>
                <a:gd name="T72" fmla="*/ 359672 w 524"/>
                <a:gd name="T73" fmla="*/ 66988055 h 505"/>
                <a:gd name="T74" fmla="*/ 359672 w 524"/>
                <a:gd name="T75" fmla="*/ 71889620 h 505"/>
                <a:gd name="T76" fmla="*/ 0 w 524"/>
                <a:gd name="T77" fmla="*/ 75701600 h 505"/>
                <a:gd name="T78" fmla="*/ 0 w 524"/>
                <a:gd name="T79" fmla="*/ 78696914 h 505"/>
                <a:gd name="T80" fmla="*/ 1259275 w 524"/>
                <a:gd name="T81" fmla="*/ 81964624 h 505"/>
                <a:gd name="T82" fmla="*/ 4677429 w 524"/>
                <a:gd name="T83" fmla="*/ 85504730 h 505"/>
                <a:gd name="T84" fmla="*/ 11153642 w 524"/>
                <a:gd name="T85" fmla="*/ 90133899 h 505"/>
                <a:gd name="T86" fmla="*/ 21587516 w 524"/>
                <a:gd name="T87" fmla="*/ 96669319 h 505"/>
                <a:gd name="T88" fmla="*/ 32381062 w 524"/>
                <a:gd name="T89" fmla="*/ 101843280 h 505"/>
                <a:gd name="T90" fmla="*/ 38497602 w 524"/>
                <a:gd name="T91" fmla="*/ 104838594 h 505"/>
                <a:gd name="T92" fmla="*/ 42635100 w 524"/>
                <a:gd name="T93" fmla="*/ 108923493 h 505"/>
                <a:gd name="T94" fmla="*/ 45333910 w 524"/>
                <a:gd name="T95" fmla="*/ 113825058 h 505"/>
                <a:gd name="T96" fmla="*/ 47132693 w 524"/>
                <a:gd name="T97" fmla="*/ 118454227 h 505"/>
                <a:gd name="T98" fmla="*/ 47852461 w 524"/>
                <a:gd name="T99" fmla="*/ 122810999 h 505"/>
                <a:gd name="T100" fmla="*/ 48571804 w 524"/>
                <a:gd name="T101" fmla="*/ 127712564 h 505"/>
                <a:gd name="T102" fmla="*/ 49831080 w 524"/>
                <a:gd name="T103" fmla="*/ 130980274 h 505"/>
                <a:gd name="T104" fmla="*/ 51630287 w 524"/>
                <a:gd name="T105" fmla="*/ 133158922 h 505"/>
                <a:gd name="T106" fmla="*/ 55227853 w 524"/>
                <a:gd name="T107" fmla="*/ 135337047 h 505"/>
                <a:gd name="T108" fmla="*/ 59005678 w 524"/>
                <a:gd name="T109" fmla="*/ 136970902 h 505"/>
                <a:gd name="T110" fmla="*/ 60264954 w 524"/>
                <a:gd name="T111" fmla="*/ 136154235 h 505"/>
                <a:gd name="T112" fmla="*/ 62243997 w 524"/>
                <a:gd name="T113" fmla="*/ 135881839 h 505"/>
                <a:gd name="T114" fmla="*/ 65841987 w 524"/>
                <a:gd name="T115" fmla="*/ 136970902 h 505"/>
                <a:gd name="T116" fmla="*/ 68900045 w 524"/>
                <a:gd name="T117" fmla="*/ 137515694 h 505"/>
                <a:gd name="T118" fmla="*/ 78614575 w 524"/>
                <a:gd name="T119" fmla="*/ 137515694 h 505"/>
                <a:gd name="T120" fmla="*/ 83651677 w 524"/>
                <a:gd name="T121" fmla="*/ 122266207 h 505"/>
                <a:gd name="T122" fmla="*/ 88508518 w 524"/>
                <a:gd name="T123" fmla="*/ 11899849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3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743999" y="3132323"/>
              <a:ext cx="400077" cy="326629"/>
            </a:xfrm>
            <a:custGeom>
              <a:avLst/>
              <a:gdLst>
                <a:gd name="T0" fmla="*/ 11692921 w 764"/>
                <a:gd name="T1" fmla="*/ 53702844 h 555"/>
                <a:gd name="T2" fmla="*/ 17539599 w 764"/>
                <a:gd name="T3" fmla="*/ 52059227 h 555"/>
                <a:gd name="T4" fmla="*/ 24140617 w 764"/>
                <a:gd name="T5" fmla="*/ 49867039 h 555"/>
                <a:gd name="T6" fmla="*/ 33004655 w 764"/>
                <a:gd name="T7" fmla="*/ 41373096 h 555"/>
                <a:gd name="T8" fmla="*/ 36587878 w 764"/>
                <a:gd name="T9" fmla="*/ 34523295 h 555"/>
                <a:gd name="T10" fmla="*/ 37530695 w 764"/>
                <a:gd name="T11" fmla="*/ 24111449 h 555"/>
                <a:gd name="T12" fmla="*/ 39228285 w 764"/>
                <a:gd name="T13" fmla="*/ 18905788 h 555"/>
                <a:gd name="T14" fmla="*/ 45263440 w 764"/>
                <a:gd name="T15" fmla="*/ 16439839 h 555"/>
                <a:gd name="T16" fmla="*/ 55447681 w 764"/>
                <a:gd name="T17" fmla="*/ 16987885 h 555"/>
                <a:gd name="T18" fmla="*/ 62048264 w 764"/>
                <a:gd name="T19" fmla="*/ 19453835 h 555"/>
                <a:gd name="T20" fmla="*/ 68271895 w 764"/>
                <a:gd name="T21" fmla="*/ 24659496 h 555"/>
                <a:gd name="T22" fmla="*/ 72798369 w 764"/>
                <a:gd name="T23" fmla="*/ 25481305 h 555"/>
                <a:gd name="T24" fmla="*/ 79022000 w 764"/>
                <a:gd name="T25" fmla="*/ 23015355 h 555"/>
                <a:gd name="T26" fmla="*/ 86754745 w 764"/>
                <a:gd name="T27" fmla="*/ 16713600 h 555"/>
                <a:gd name="T28" fmla="*/ 90337969 w 764"/>
                <a:gd name="T29" fmla="*/ 9041990 h 555"/>
                <a:gd name="T30" fmla="*/ 95807259 w 764"/>
                <a:gd name="T31" fmla="*/ 1096094 h 555"/>
                <a:gd name="T32" fmla="*/ 99956346 w 764"/>
                <a:gd name="T33" fmla="*/ 5205661 h 555"/>
                <a:gd name="T34" fmla="*/ 103728481 w 764"/>
                <a:gd name="T35" fmla="*/ 12329748 h 555"/>
                <a:gd name="T36" fmla="*/ 105803024 w 764"/>
                <a:gd name="T37" fmla="*/ 23837687 h 555"/>
                <a:gd name="T38" fmla="*/ 107500181 w 764"/>
                <a:gd name="T39" fmla="*/ 27673493 h 555"/>
                <a:gd name="T40" fmla="*/ 111083404 w 764"/>
                <a:gd name="T41" fmla="*/ 28495301 h 555"/>
                <a:gd name="T42" fmla="*/ 117307469 w 764"/>
                <a:gd name="T43" fmla="*/ 20001359 h 555"/>
                <a:gd name="T44" fmla="*/ 140127448 w 764"/>
                <a:gd name="T45" fmla="*/ 18083456 h 555"/>
                <a:gd name="T46" fmla="*/ 143145242 w 764"/>
                <a:gd name="T47" fmla="*/ 23837687 h 555"/>
                <a:gd name="T48" fmla="*/ 128057140 w 764"/>
                <a:gd name="T49" fmla="*/ 27399731 h 555"/>
                <a:gd name="T50" fmla="*/ 114101198 w 764"/>
                <a:gd name="T51" fmla="*/ 30687489 h 555"/>
                <a:gd name="T52" fmla="*/ 108254521 w 764"/>
                <a:gd name="T53" fmla="*/ 35619388 h 555"/>
                <a:gd name="T54" fmla="*/ 107688657 w 764"/>
                <a:gd name="T55" fmla="*/ 40277002 h 555"/>
                <a:gd name="T56" fmla="*/ 109763201 w 764"/>
                <a:gd name="T57" fmla="*/ 44935140 h 555"/>
                <a:gd name="T58" fmla="*/ 113346858 w 764"/>
                <a:gd name="T59" fmla="*/ 49318992 h 555"/>
                <a:gd name="T60" fmla="*/ 113912722 w 764"/>
                <a:gd name="T61" fmla="*/ 53429083 h 555"/>
                <a:gd name="T62" fmla="*/ 112026655 w 764"/>
                <a:gd name="T63" fmla="*/ 58360982 h 555"/>
                <a:gd name="T64" fmla="*/ 108254521 w 764"/>
                <a:gd name="T65" fmla="*/ 64936499 h 555"/>
                <a:gd name="T66" fmla="*/ 106557364 w 764"/>
                <a:gd name="T67" fmla="*/ 69868398 h 555"/>
                <a:gd name="T68" fmla="*/ 102219366 w 764"/>
                <a:gd name="T69" fmla="*/ 73704726 h 555"/>
                <a:gd name="T70" fmla="*/ 97881803 w 764"/>
                <a:gd name="T71" fmla="*/ 84938381 h 555"/>
                <a:gd name="T72" fmla="*/ 95807259 w 764"/>
                <a:gd name="T73" fmla="*/ 99460316 h 555"/>
                <a:gd name="T74" fmla="*/ 93732716 w 764"/>
                <a:gd name="T75" fmla="*/ 116447679 h 555"/>
                <a:gd name="T76" fmla="*/ 89960581 w 764"/>
                <a:gd name="T77" fmla="*/ 112885635 h 555"/>
                <a:gd name="T78" fmla="*/ 86754745 w 764"/>
                <a:gd name="T79" fmla="*/ 111515779 h 555"/>
                <a:gd name="T80" fmla="*/ 82794134 w 764"/>
                <a:gd name="T81" fmla="*/ 114529776 h 555"/>
                <a:gd name="T82" fmla="*/ 77513320 w 764"/>
                <a:gd name="T83" fmla="*/ 120557769 h 555"/>
                <a:gd name="T84" fmla="*/ 74118573 w 764"/>
                <a:gd name="T85" fmla="*/ 121653863 h 555"/>
                <a:gd name="T86" fmla="*/ 70723826 w 764"/>
                <a:gd name="T87" fmla="*/ 126859524 h 555"/>
                <a:gd name="T88" fmla="*/ 68837759 w 764"/>
                <a:gd name="T89" fmla="*/ 140011081 h 555"/>
                <a:gd name="T90" fmla="*/ 66008875 w 764"/>
                <a:gd name="T91" fmla="*/ 143847409 h 555"/>
                <a:gd name="T92" fmla="*/ 50921207 w 764"/>
                <a:gd name="T93" fmla="*/ 149601117 h 555"/>
                <a:gd name="T94" fmla="*/ 36587878 w 764"/>
                <a:gd name="T95" fmla="*/ 151793305 h 555"/>
                <a:gd name="T96" fmla="*/ 21311299 w 764"/>
                <a:gd name="T97" fmla="*/ 148505023 h 555"/>
                <a:gd name="T98" fmla="*/ 17916552 w 764"/>
                <a:gd name="T99" fmla="*/ 141929507 h 555"/>
                <a:gd name="T100" fmla="*/ 21688686 w 764"/>
                <a:gd name="T101" fmla="*/ 133709326 h 555"/>
                <a:gd name="T102" fmla="*/ 23574753 w 764"/>
                <a:gd name="T103" fmla="*/ 126585762 h 555"/>
                <a:gd name="T104" fmla="*/ 23197366 w 764"/>
                <a:gd name="T105" fmla="*/ 121105816 h 555"/>
                <a:gd name="T106" fmla="*/ 20934346 w 764"/>
                <a:gd name="T107" fmla="*/ 118639866 h 555"/>
                <a:gd name="T108" fmla="*/ 13013125 w 764"/>
                <a:gd name="T109" fmla="*/ 118091819 h 555"/>
                <a:gd name="T110" fmla="*/ 9806854 w 764"/>
                <a:gd name="T111" fmla="*/ 115351585 h 555"/>
                <a:gd name="T112" fmla="*/ 6412107 w 764"/>
                <a:gd name="T113" fmla="*/ 105214024 h 555"/>
                <a:gd name="T114" fmla="*/ 3583224 w 764"/>
                <a:gd name="T115" fmla="*/ 84664619 h 555"/>
                <a:gd name="T116" fmla="*/ 1886067 w 764"/>
                <a:gd name="T117" fmla="*/ 79732720 h 555"/>
                <a:gd name="T118" fmla="*/ 0 w 764"/>
                <a:gd name="T119" fmla="*/ 76718723 h 555"/>
                <a:gd name="T120" fmla="*/ 377387 w 764"/>
                <a:gd name="T121" fmla="*/ 73430441 h 555"/>
                <a:gd name="T122" fmla="*/ 4149087 w 764"/>
                <a:gd name="T123" fmla="*/ 67950495 h 555"/>
                <a:gd name="T124" fmla="*/ 6412107 w 764"/>
                <a:gd name="T125" fmla="*/ 60552646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4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782284" y="3187653"/>
              <a:ext cx="440276" cy="476558"/>
            </a:xfrm>
            <a:custGeom>
              <a:avLst/>
              <a:gdLst>
                <a:gd name="T0" fmla="*/ 150389759 w 831"/>
                <a:gd name="T1" fmla="*/ 22343635 h 812"/>
                <a:gd name="T2" fmla="*/ 136489964 w 831"/>
                <a:gd name="T3" fmla="*/ 7902017 h 812"/>
                <a:gd name="T4" fmla="*/ 108497048 w 831"/>
                <a:gd name="T5" fmla="*/ 2724834 h 812"/>
                <a:gd name="T6" fmla="*/ 96334562 w 831"/>
                <a:gd name="T7" fmla="*/ 7902017 h 812"/>
                <a:gd name="T8" fmla="*/ 93824822 w 831"/>
                <a:gd name="T9" fmla="*/ 13351684 h 812"/>
                <a:gd name="T10" fmla="*/ 95948347 w 831"/>
                <a:gd name="T11" fmla="*/ 19346318 h 812"/>
                <a:gd name="T12" fmla="*/ 99809621 w 831"/>
                <a:gd name="T13" fmla="*/ 24523502 h 812"/>
                <a:gd name="T14" fmla="*/ 99616294 w 831"/>
                <a:gd name="T15" fmla="*/ 30245653 h 812"/>
                <a:gd name="T16" fmla="*/ 94790141 w 831"/>
                <a:gd name="T17" fmla="*/ 38147670 h 812"/>
                <a:gd name="T18" fmla="*/ 92666616 w 831"/>
                <a:gd name="T19" fmla="*/ 44142304 h 812"/>
                <a:gd name="T20" fmla="*/ 86874705 w 831"/>
                <a:gd name="T21" fmla="*/ 50136938 h 812"/>
                <a:gd name="T22" fmla="*/ 82434328 w 831"/>
                <a:gd name="T23" fmla="*/ 66213456 h 812"/>
                <a:gd name="T24" fmla="*/ 81083234 w 831"/>
                <a:gd name="T25" fmla="*/ 90464475 h 812"/>
                <a:gd name="T26" fmla="*/ 75677539 w 831"/>
                <a:gd name="T27" fmla="*/ 86922191 h 812"/>
                <a:gd name="T28" fmla="*/ 71430489 w 831"/>
                <a:gd name="T29" fmla="*/ 85832258 h 812"/>
                <a:gd name="T30" fmla="*/ 65252802 w 831"/>
                <a:gd name="T31" fmla="*/ 92371858 h 812"/>
                <a:gd name="T32" fmla="*/ 60426210 w 831"/>
                <a:gd name="T33" fmla="*/ 95641658 h 812"/>
                <a:gd name="T34" fmla="*/ 55985833 w 831"/>
                <a:gd name="T35" fmla="*/ 100818842 h 812"/>
                <a:gd name="T36" fmla="*/ 54055196 w 831"/>
                <a:gd name="T37" fmla="*/ 115532421 h 812"/>
                <a:gd name="T38" fmla="*/ 45367770 w 831"/>
                <a:gd name="T39" fmla="*/ 120437122 h 812"/>
                <a:gd name="T40" fmla="*/ 24517858 w 831"/>
                <a:gd name="T41" fmla="*/ 125886789 h 812"/>
                <a:gd name="T42" fmla="*/ 5019480 w 831"/>
                <a:gd name="T43" fmla="*/ 122344505 h 812"/>
                <a:gd name="T44" fmla="*/ 9845633 w 831"/>
                <a:gd name="T45" fmla="*/ 137603573 h 812"/>
                <a:gd name="T46" fmla="*/ 18533499 w 831"/>
                <a:gd name="T47" fmla="*/ 147140491 h 812"/>
                <a:gd name="T48" fmla="*/ 23745867 w 831"/>
                <a:gd name="T49" fmla="*/ 157222375 h 812"/>
                <a:gd name="T50" fmla="*/ 27413813 w 831"/>
                <a:gd name="T51" fmla="*/ 162399559 h 812"/>
                <a:gd name="T52" fmla="*/ 19112602 w 831"/>
                <a:gd name="T53" fmla="*/ 176296210 h 812"/>
                <a:gd name="T54" fmla="*/ 16795750 w 831"/>
                <a:gd name="T55" fmla="*/ 182835811 h 812"/>
                <a:gd name="T56" fmla="*/ 21042800 w 831"/>
                <a:gd name="T57" fmla="*/ 196187495 h 812"/>
                <a:gd name="T58" fmla="*/ 42858030 w 831"/>
                <a:gd name="T59" fmla="*/ 193462662 h 812"/>
                <a:gd name="T60" fmla="*/ 58302685 w 831"/>
                <a:gd name="T61" fmla="*/ 192100245 h 812"/>
                <a:gd name="T62" fmla="*/ 63707941 w 831"/>
                <a:gd name="T63" fmla="*/ 196459979 h 812"/>
                <a:gd name="T64" fmla="*/ 69306964 w 831"/>
                <a:gd name="T65" fmla="*/ 205996896 h 812"/>
                <a:gd name="T66" fmla="*/ 78766382 w 831"/>
                <a:gd name="T67" fmla="*/ 213898913 h 812"/>
                <a:gd name="T68" fmla="*/ 86681817 w 831"/>
                <a:gd name="T69" fmla="*/ 218803614 h 812"/>
                <a:gd name="T70" fmla="*/ 88805342 w 831"/>
                <a:gd name="T71" fmla="*/ 215533814 h 812"/>
                <a:gd name="T72" fmla="*/ 94017710 w 831"/>
                <a:gd name="T73" fmla="*/ 210901596 h 812"/>
                <a:gd name="T74" fmla="*/ 106952626 w 831"/>
                <a:gd name="T75" fmla="*/ 208176763 h 812"/>
                <a:gd name="T76" fmla="*/ 115253837 w 831"/>
                <a:gd name="T77" fmla="*/ 204361996 h 812"/>
                <a:gd name="T78" fmla="*/ 119307999 w 831"/>
                <a:gd name="T79" fmla="*/ 198094879 h 812"/>
                <a:gd name="T80" fmla="*/ 112744097 w 831"/>
                <a:gd name="T81" fmla="*/ 190737828 h 812"/>
                <a:gd name="T82" fmla="*/ 104635774 w 831"/>
                <a:gd name="T83" fmla="*/ 174661310 h 812"/>
                <a:gd name="T84" fmla="*/ 101546931 w 831"/>
                <a:gd name="T85" fmla="*/ 170029093 h 812"/>
                <a:gd name="T86" fmla="*/ 101546931 w 831"/>
                <a:gd name="T87" fmla="*/ 157494858 h 812"/>
                <a:gd name="T88" fmla="*/ 112357882 w 831"/>
                <a:gd name="T89" fmla="*/ 153407608 h 812"/>
                <a:gd name="T90" fmla="*/ 120080429 w 831"/>
                <a:gd name="T91" fmla="*/ 144688141 h 812"/>
                <a:gd name="T92" fmla="*/ 132822018 w 831"/>
                <a:gd name="T93" fmla="*/ 113625038 h 812"/>
                <a:gd name="T94" fmla="*/ 140930341 w 831"/>
                <a:gd name="T95" fmla="*/ 100273875 h 812"/>
                <a:gd name="T96" fmla="*/ 139965023 w 831"/>
                <a:gd name="T97" fmla="*/ 89919508 h 812"/>
                <a:gd name="T98" fmla="*/ 140737014 w 831"/>
                <a:gd name="T99" fmla="*/ 83107424 h 812"/>
                <a:gd name="T100" fmla="*/ 144984503 w 831"/>
                <a:gd name="T101" fmla="*/ 78747690 h 812"/>
                <a:gd name="T102" fmla="*/ 129346959 w 831"/>
                <a:gd name="T103" fmla="*/ 56404055 h 812"/>
                <a:gd name="T104" fmla="*/ 146335597 w 831"/>
                <a:gd name="T105" fmla="*/ 38147670 h 812"/>
                <a:gd name="T106" fmla="*/ 155409239 w 831"/>
                <a:gd name="T107" fmla="*/ 33515453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5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735577" y="3489295"/>
              <a:ext cx="266080" cy="658613"/>
            </a:xfrm>
            <a:custGeom>
              <a:avLst/>
              <a:gdLst>
                <a:gd name="T0" fmla="*/ 83627781 w 505"/>
                <a:gd name="T1" fmla="*/ 291361884 h 1121"/>
                <a:gd name="T2" fmla="*/ 84582531 w 505"/>
                <a:gd name="T3" fmla="*/ 280712161 h 1121"/>
                <a:gd name="T4" fmla="*/ 76181607 w 505"/>
                <a:gd name="T5" fmla="*/ 279073943 h 1121"/>
                <a:gd name="T6" fmla="*/ 77326870 w 505"/>
                <a:gd name="T7" fmla="*/ 261324754 h 1121"/>
                <a:gd name="T8" fmla="*/ 80000169 w 505"/>
                <a:gd name="T9" fmla="*/ 254224765 h 1121"/>
                <a:gd name="T10" fmla="*/ 78854469 w 505"/>
                <a:gd name="T11" fmla="*/ 245486558 h 1121"/>
                <a:gd name="T12" fmla="*/ 75990657 w 505"/>
                <a:gd name="T13" fmla="*/ 243848340 h 1121"/>
                <a:gd name="T14" fmla="*/ 72935457 w 505"/>
                <a:gd name="T15" fmla="*/ 228829514 h 1121"/>
                <a:gd name="T16" fmla="*/ 61861670 w 505"/>
                <a:gd name="T17" fmla="*/ 196334796 h 1121"/>
                <a:gd name="T18" fmla="*/ 56515508 w 505"/>
                <a:gd name="T19" fmla="*/ 191965692 h 1121"/>
                <a:gd name="T20" fmla="*/ 53842646 w 505"/>
                <a:gd name="T21" fmla="*/ 196061498 h 1121"/>
                <a:gd name="T22" fmla="*/ 43150322 w 505"/>
                <a:gd name="T23" fmla="*/ 202615415 h 1121"/>
                <a:gd name="T24" fmla="*/ 32267485 w 505"/>
                <a:gd name="T25" fmla="*/ 200976674 h 1121"/>
                <a:gd name="T26" fmla="*/ 25393723 w 505"/>
                <a:gd name="T27" fmla="*/ 154828573 h 1121"/>
                <a:gd name="T28" fmla="*/ 19284198 w 505"/>
                <a:gd name="T29" fmla="*/ 141994560 h 1121"/>
                <a:gd name="T30" fmla="*/ 9737574 w 505"/>
                <a:gd name="T31" fmla="*/ 137079384 h 1121"/>
                <a:gd name="T32" fmla="*/ 1527600 w 505"/>
                <a:gd name="T33" fmla="*/ 128614474 h 1121"/>
                <a:gd name="T34" fmla="*/ 4391412 w 505"/>
                <a:gd name="T35" fmla="*/ 121514485 h 1121"/>
                <a:gd name="T36" fmla="*/ 11073787 w 505"/>
                <a:gd name="T37" fmla="*/ 98576822 h 1121"/>
                <a:gd name="T38" fmla="*/ 12792337 w 505"/>
                <a:gd name="T39" fmla="*/ 75639158 h 1121"/>
                <a:gd name="T40" fmla="*/ 15274686 w 505"/>
                <a:gd name="T41" fmla="*/ 72362723 h 1121"/>
                <a:gd name="T42" fmla="*/ 21575161 w 505"/>
                <a:gd name="T43" fmla="*/ 70451207 h 1121"/>
                <a:gd name="T44" fmla="*/ 25584673 w 505"/>
                <a:gd name="T45" fmla="*/ 60620855 h 1121"/>
                <a:gd name="T46" fmla="*/ 26730373 w 505"/>
                <a:gd name="T47" fmla="*/ 31948645 h 1121"/>
                <a:gd name="T48" fmla="*/ 30357985 w 505"/>
                <a:gd name="T49" fmla="*/ 26760694 h 1121"/>
                <a:gd name="T50" fmla="*/ 40668409 w 505"/>
                <a:gd name="T51" fmla="*/ 20206777 h 1121"/>
                <a:gd name="T52" fmla="*/ 44677922 w 505"/>
                <a:gd name="T53" fmla="*/ 5734546 h 1121"/>
                <a:gd name="T54" fmla="*/ 52887896 w 505"/>
                <a:gd name="T55" fmla="*/ 8464910 h 1121"/>
                <a:gd name="T56" fmla="*/ 59570271 w 505"/>
                <a:gd name="T57" fmla="*/ 13380086 h 1121"/>
                <a:gd name="T58" fmla="*/ 64343583 w 505"/>
                <a:gd name="T59" fmla="*/ 33314088 h 1121"/>
                <a:gd name="T60" fmla="*/ 63961683 w 505"/>
                <a:gd name="T61" fmla="*/ 45602029 h 1121"/>
                <a:gd name="T62" fmla="*/ 57279308 w 505"/>
                <a:gd name="T63" fmla="*/ 58982114 h 1121"/>
                <a:gd name="T64" fmla="*/ 55942659 w 505"/>
                <a:gd name="T65" fmla="*/ 66901474 h 1121"/>
                <a:gd name="T66" fmla="*/ 58997858 w 505"/>
                <a:gd name="T67" fmla="*/ 71270577 h 1121"/>
                <a:gd name="T68" fmla="*/ 66062133 w 505"/>
                <a:gd name="T69" fmla="*/ 73728166 h 1121"/>
                <a:gd name="T70" fmla="*/ 70835445 w 505"/>
                <a:gd name="T71" fmla="*/ 79462189 h 1121"/>
                <a:gd name="T72" fmla="*/ 75990657 w 505"/>
                <a:gd name="T73" fmla="*/ 94207718 h 1121"/>
                <a:gd name="T74" fmla="*/ 82100182 w 505"/>
                <a:gd name="T75" fmla="*/ 109226544 h 1121"/>
                <a:gd name="T76" fmla="*/ 88592043 w 505"/>
                <a:gd name="T77" fmla="*/ 114141720 h 1121"/>
                <a:gd name="T78" fmla="*/ 96420118 w 505"/>
                <a:gd name="T79" fmla="*/ 114141720 h 1121"/>
                <a:gd name="T80" fmla="*/ 90883006 w 505"/>
                <a:gd name="T81" fmla="*/ 134894571 h 1121"/>
                <a:gd name="T82" fmla="*/ 81527332 w 505"/>
                <a:gd name="T83" fmla="*/ 139263674 h 1121"/>
                <a:gd name="T84" fmla="*/ 73126407 w 505"/>
                <a:gd name="T85" fmla="*/ 144178850 h 1121"/>
                <a:gd name="T86" fmla="*/ 68734995 w 505"/>
                <a:gd name="T87" fmla="*/ 156194016 h 1121"/>
                <a:gd name="T88" fmla="*/ 70644495 w 505"/>
                <a:gd name="T89" fmla="*/ 173943205 h 1121"/>
                <a:gd name="T90" fmla="*/ 76754020 w 505"/>
                <a:gd name="T91" fmla="*/ 186504443 h 1121"/>
                <a:gd name="T92" fmla="*/ 82100182 w 505"/>
                <a:gd name="T93" fmla="*/ 200703899 h 1121"/>
                <a:gd name="T94" fmla="*/ 81718282 w 505"/>
                <a:gd name="T95" fmla="*/ 211899694 h 1121"/>
                <a:gd name="T96" fmla="*/ 80000169 w 505"/>
                <a:gd name="T97" fmla="*/ 218726386 h 1121"/>
                <a:gd name="T98" fmla="*/ 83054931 w 505"/>
                <a:gd name="T99" fmla="*/ 232379247 h 1121"/>
                <a:gd name="T100" fmla="*/ 92219656 w 505"/>
                <a:gd name="T101" fmla="*/ 263509045 h 1121"/>
                <a:gd name="T102" fmla="*/ 87446344 w 505"/>
                <a:gd name="T103" fmla="*/ 295457690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6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08165" y="4062235"/>
              <a:ext cx="97627" cy="66040"/>
            </a:xfrm>
            <a:custGeom>
              <a:avLst/>
              <a:gdLst>
                <a:gd name="T0" fmla="*/ 36416708 w 180"/>
                <a:gd name="T1" fmla="*/ 1925243 h 112"/>
                <a:gd name="T2" fmla="*/ 34595940 w 180"/>
                <a:gd name="T3" fmla="*/ 6601207 h 112"/>
                <a:gd name="T4" fmla="*/ 32977129 w 180"/>
                <a:gd name="T5" fmla="*/ 10726503 h 112"/>
                <a:gd name="T6" fmla="*/ 30751996 w 180"/>
                <a:gd name="T7" fmla="*/ 14577513 h 112"/>
                <a:gd name="T8" fmla="*/ 28526413 w 180"/>
                <a:gd name="T9" fmla="*/ 18152664 h 112"/>
                <a:gd name="T10" fmla="*/ 26098423 w 180"/>
                <a:gd name="T11" fmla="*/ 22003674 h 112"/>
                <a:gd name="T12" fmla="*/ 23266067 w 180"/>
                <a:gd name="T13" fmla="*/ 25304016 h 112"/>
                <a:gd name="T14" fmla="*/ 20433712 w 180"/>
                <a:gd name="T15" fmla="*/ 28054737 h 112"/>
                <a:gd name="T16" fmla="*/ 17601356 w 180"/>
                <a:gd name="T17" fmla="*/ 30804934 h 112"/>
                <a:gd name="T18" fmla="*/ 16589768 w 180"/>
                <a:gd name="T19" fmla="*/ 29429836 h 112"/>
                <a:gd name="T20" fmla="*/ 15982996 w 180"/>
                <a:gd name="T21" fmla="*/ 27779403 h 112"/>
                <a:gd name="T22" fmla="*/ 15375773 w 180"/>
                <a:gd name="T23" fmla="*/ 26128970 h 112"/>
                <a:gd name="T24" fmla="*/ 14971408 w 180"/>
                <a:gd name="T25" fmla="*/ 24203727 h 112"/>
                <a:gd name="T26" fmla="*/ 14162228 w 180"/>
                <a:gd name="T27" fmla="*/ 22278484 h 112"/>
                <a:gd name="T28" fmla="*/ 13757413 w 180"/>
                <a:gd name="T29" fmla="*/ 20353241 h 112"/>
                <a:gd name="T30" fmla="*/ 13150640 w 180"/>
                <a:gd name="T31" fmla="*/ 18978143 h 112"/>
                <a:gd name="T32" fmla="*/ 12139052 w 180"/>
                <a:gd name="T33" fmla="*/ 17327710 h 112"/>
                <a:gd name="T34" fmla="*/ 9104289 w 180"/>
                <a:gd name="T35" fmla="*/ 13201890 h 112"/>
                <a:gd name="T36" fmla="*/ 7283521 w 180"/>
                <a:gd name="T37" fmla="*/ 10451693 h 112"/>
                <a:gd name="T38" fmla="*/ 6069526 w 180"/>
                <a:gd name="T39" fmla="*/ 9076594 h 112"/>
                <a:gd name="T40" fmla="*/ 5057939 w 180"/>
                <a:gd name="T41" fmla="*/ 8526450 h 112"/>
                <a:gd name="T42" fmla="*/ 3641536 w 180"/>
                <a:gd name="T43" fmla="*/ 8251116 h 112"/>
                <a:gd name="T44" fmla="*/ 0 w 180"/>
                <a:gd name="T45" fmla="*/ 7151352 h 112"/>
                <a:gd name="T46" fmla="*/ 5260346 w 180"/>
                <a:gd name="T47" fmla="*/ 3850486 h 112"/>
                <a:gd name="T48" fmla="*/ 8295109 w 180"/>
                <a:gd name="T49" fmla="*/ 2475387 h 112"/>
                <a:gd name="T50" fmla="*/ 11329422 w 180"/>
                <a:gd name="T51" fmla="*/ 1375099 h 112"/>
                <a:gd name="T52" fmla="*/ 14971408 w 180"/>
                <a:gd name="T53" fmla="*/ 824954 h 112"/>
                <a:gd name="T54" fmla="*/ 18815351 w 180"/>
                <a:gd name="T55" fmla="*/ 274810 h 112"/>
                <a:gd name="T56" fmla="*/ 23064110 w 180"/>
                <a:gd name="T57" fmla="*/ 0 h 112"/>
                <a:gd name="T58" fmla="*/ 27312418 w 180"/>
                <a:gd name="T59" fmla="*/ 274810 h 112"/>
                <a:gd name="T60" fmla="*/ 31763584 w 180"/>
                <a:gd name="T61" fmla="*/ 824954 h 112"/>
                <a:gd name="T62" fmla="*/ 36416708 w 180"/>
                <a:gd name="T63" fmla="*/ 1925243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7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09621" y="4155048"/>
              <a:ext cx="89969" cy="112447"/>
            </a:xfrm>
            <a:custGeom>
              <a:avLst/>
              <a:gdLst>
                <a:gd name="T0" fmla="*/ 0 w 173"/>
                <a:gd name="T1" fmla="*/ 18450836 h 192"/>
                <a:gd name="T2" fmla="*/ 5022293 w 173"/>
                <a:gd name="T3" fmla="*/ 11396273 h 192"/>
                <a:gd name="T4" fmla="*/ 9486075 w 173"/>
                <a:gd name="T5" fmla="*/ 5698136 h 192"/>
                <a:gd name="T6" fmla="*/ 10416353 w 173"/>
                <a:gd name="T7" fmla="*/ 4341189 h 192"/>
                <a:gd name="T8" fmla="*/ 11718397 w 173"/>
                <a:gd name="T9" fmla="*/ 3256152 h 192"/>
                <a:gd name="T10" fmla="*/ 13020441 w 173"/>
                <a:gd name="T11" fmla="*/ 2170595 h 192"/>
                <a:gd name="T12" fmla="*/ 14136602 w 173"/>
                <a:gd name="T13" fmla="*/ 1627816 h 192"/>
                <a:gd name="T14" fmla="*/ 15438646 w 173"/>
                <a:gd name="T15" fmla="*/ 814168 h 192"/>
                <a:gd name="T16" fmla="*/ 16740259 w 173"/>
                <a:gd name="T17" fmla="*/ 542779 h 192"/>
                <a:gd name="T18" fmla="*/ 18228617 w 173"/>
                <a:gd name="T19" fmla="*/ 271389 h 192"/>
                <a:gd name="T20" fmla="*/ 19902428 w 173"/>
                <a:gd name="T21" fmla="*/ 0 h 192"/>
                <a:gd name="T22" fmla="*/ 21576669 w 173"/>
                <a:gd name="T23" fmla="*/ 271389 h 192"/>
                <a:gd name="T24" fmla="*/ 23064596 w 173"/>
                <a:gd name="T25" fmla="*/ 542779 h 192"/>
                <a:gd name="T26" fmla="*/ 24552523 w 173"/>
                <a:gd name="T27" fmla="*/ 1356947 h 192"/>
                <a:gd name="T28" fmla="*/ 25854567 w 173"/>
                <a:gd name="T29" fmla="*/ 2170595 h 192"/>
                <a:gd name="T30" fmla="*/ 26970729 w 173"/>
                <a:gd name="T31" fmla="*/ 3527542 h 192"/>
                <a:gd name="T32" fmla="*/ 28086890 w 173"/>
                <a:gd name="T33" fmla="*/ 5155358 h 192"/>
                <a:gd name="T34" fmla="*/ 28830853 w 173"/>
                <a:gd name="T35" fmla="*/ 6512305 h 192"/>
                <a:gd name="T36" fmla="*/ 29760700 w 173"/>
                <a:gd name="T37" fmla="*/ 8140121 h 192"/>
                <a:gd name="T38" fmla="*/ 30318780 w 173"/>
                <a:gd name="T39" fmla="*/ 10039326 h 192"/>
                <a:gd name="T40" fmla="*/ 30876861 w 173"/>
                <a:gd name="T41" fmla="*/ 11667662 h 192"/>
                <a:gd name="T42" fmla="*/ 31249058 w 173"/>
                <a:gd name="T43" fmla="*/ 13566868 h 192"/>
                <a:gd name="T44" fmla="*/ 31434941 w 173"/>
                <a:gd name="T45" fmla="*/ 15466073 h 192"/>
                <a:gd name="T46" fmla="*/ 31993022 w 173"/>
                <a:gd name="T47" fmla="*/ 19536394 h 192"/>
                <a:gd name="T48" fmla="*/ 32178905 w 173"/>
                <a:gd name="T49" fmla="*/ 23606193 h 192"/>
                <a:gd name="T50" fmla="*/ 29202619 w 173"/>
                <a:gd name="T51" fmla="*/ 30932667 h 192"/>
                <a:gd name="T52" fmla="*/ 27156612 w 173"/>
                <a:gd name="T53" fmla="*/ 37173061 h 192"/>
                <a:gd name="T54" fmla="*/ 25854567 w 173"/>
                <a:gd name="T55" fmla="*/ 40157824 h 192"/>
                <a:gd name="T56" fmla="*/ 24180757 w 173"/>
                <a:gd name="T57" fmla="*/ 43413976 h 192"/>
                <a:gd name="T58" fmla="*/ 21762552 w 173"/>
                <a:gd name="T59" fmla="*/ 47212908 h 192"/>
                <a:gd name="T60" fmla="*/ 18414500 w 173"/>
                <a:gd name="T61" fmla="*/ 52096876 h 192"/>
                <a:gd name="T62" fmla="*/ 15996295 w 173"/>
                <a:gd name="T63" fmla="*/ 49654892 h 192"/>
                <a:gd name="T64" fmla="*/ 13764405 w 173"/>
                <a:gd name="T65" fmla="*/ 47755687 h 192"/>
                <a:gd name="T66" fmla="*/ 11718397 w 173"/>
                <a:gd name="T67" fmla="*/ 45855961 h 192"/>
                <a:gd name="T68" fmla="*/ 10044155 w 173"/>
                <a:gd name="T69" fmla="*/ 44228145 h 192"/>
                <a:gd name="T70" fmla="*/ 8556228 w 173"/>
                <a:gd name="T71" fmla="*/ 42328940 h 192"/>
                <a:gd name="T72" fmla="*/ 7440067 w 173"/>
                <a:gd name="T73" fmla="*/ 40700603 h 192"/>
                <a:gd name="T74" fmla="*/ 6324337 w 173"/>
                <a:gd name="T75" fmla="*/ 39072787 h 192"/>
                <a:gd name="T76" fmla="*/ 5579943 w 173"/>
                <a:gd name="T77" fmla="*/ 37173061 h 192"/>
                <a:gd name="T78" fmla="*/ 4092015 w 173"/>
                <a:gd name="T79" fmla="*/ 33374651 h 192"/>
                <a:gd name="T80" fmla="*/ 2976286 w 173"/>
                <a:gd name="T81" fmla="*/ 29032940 h 192"/>
                <a:gd name="T82" fmla="*/ 1674242 w 173"/>
                <a:gd name="T83" fmla="*/ 24420362 h 192"/>
                <a:gd name="T84" fmla="*/ 0 w 173"/>
                <a:gd name="T85" fmla="*/ 18450836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8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661305" y="4212163"/>
              <a:ext cx="126340" cy="148144"/>
            </a:xfrm>
            <a:custGeom>
              <a:avLst/>
              <a:gdLst>
                <a:gd name="T0" fmla="*/ 14963489 w 233"/>
                <a:gd name="T1" fmla="*/ 0 h 252"/>
                <a:gd name="T2" fmla="*/ 16783336 w 233"/>
                <a:gd name="T3" fmla="*/ 546921 h 252"/>
                <a:gd name="T4" fmla="*/ 17996568 w 233"/>
                <a:gd name="T5" fmla="*/ 820382 h 252"/>
                <a:gd name="T6" fmla="*/ 19209799 w 233"/>
                <a:gd name="T7" fmla="*/ 820382 h 252"/>
                <a:gd name="T8" fmla="*/ 20018770 w 233"/>
                <a:gd name="T9" fmla="*/ 546921 h 252"/>
                <a:gd name="T10" fmla="*/ 21434357 w 233"/>
                <a:gd name="T11" fmla="*/ 273461 h 252"/>
                <a:gd name="T12" fmla="*/ 22849944 w 233"/>
                <a:gd name="T13" fmla="*/ 0 h 252"/>
                <a:gd name="T14" fmla="*/ 25276407 w 233"/>
                <a:gd name="T15" fmla="*/ 4647783 h 252"/>
                <a:gd name="T16" fmla="*/ 28309486 w 233"/>
                <a:gd name="T17" fmla="*/ 10115425 h 252"/>
                <a:gd name="T18" fmla="*/ 29118456 w 233"/>
                <a:gd name="T19" fmla="*/ 11482727 h 252"/>
                <a:gd name="T20" fmla="*/ 29926978 w 233"/>
                <a:gd name="T21" fmla="*/ 12576046 h 252"/>
                <a:gd name="T22" fmla="*/ 30938304 w 233"/>
                <a:gd name="T23" fmla="*/ 13396428 h 252"/>
                <a:gd name="T24" fmla="*/ 31746825 w 233"/>
                <a:gd name="T25" fmla="*/ 14216287 h 252"/>
                <a:gd name="T26" fmla="*/ 32960506 w 233"/>
                <a:gd name="T27" fmla="*/ 14763208 h 252"/>
                <a:gd name="T28" fmla="*/ 33971383 w 233"/>
                <a:gd name="T29" fmla="*/ 15310129 h 252"/>
                <a:gd name="T30" fmla="*/ 35184614 w 233"/>
                <a:gd name="T31" fmla="*/ 15310129 h 252"/>
                <a:gd name="T32" fmla="*/ 36397846 w 233"/>
                <a:gd name="T33" fmla="*/ 15310129 h 252"/>
                <a:gd name="T34" fmla="*/ 36397846 w 233"/>
                <a:gd name="T35" fmla="*/ 21871612 h 252"/>
                <a:gd name="T36" fmla="*/ 39026664 w 233"/>
                <a:gd name="T37" fmla="*/ 28159635 h 252"/>
                <a:gd name="T38" fmla="*/ 42868714 w 233"/>
                <a:gd name="T39" fmla="*/ 34994057 h 252"/>
                <a:gd name="T40" fmla="*/ 43475330 w 233"/>
                <a:gd name="T41" fmla="*/ 36907757 h 252"/>
                <a:gd name="T42" fmla="*/ 44486206 w 233"/>
                <a:gd name="T43" fmla="*/ 38821458 h 252"/>
                <a:gd name="T44" fmla="*/ 45092822 w 233"/>
                <a:gd name="T45" fmla="*/ 41282080 h 252"/>
                <a:gd name="T46" fmla="*/ 45699437 w 233"/>
                <a:gd name="T47" fmla="*/ 43742702 h 252"/>
                <a:gd name="T48" fmla="*/ 46508408 w 233"/>
                <a:gd name="T49" fmla="*/ 46476784 h 252"/>
                <a:gd name="T50" fmla="*/ 46912669 w 233"/>
                <a:gd name="T51" fmla="*/ 49210343 h 252"/>
                <a:gd name="T52" fmla="*/ 47115024 w 233"/>
                <a:gd name="T53" fmla="*/ 52217886 h 252"/>
                <a:gd name="T54" fmla="*/ 47115024 w 233"/>
                <a:gd name="T55" fmla="*/ 55771827 h 252"/>
                <a:gd name="T56" fmla="*/ 46912669 w 233"/>
                <a:gd name="T57" fmla="*/ 59052830 h 252"/>
                <a:gd name="T58" fmla="*/ 46508408 w 233"/>
                <a:gd name="T59" fmla="*/ 62333311 h 252"/>
                <a:gd name="T60" fmla="*/ 45901793 w 233"/>
                <a:gd name="T61" fmla="*/ 65614314 h 252"/>
                <a:gd name="T62" fmla="*/ 45699437 w 233"/>
                <a:gd name="T63" fmla="*/ 68894794 h 252"/>
                <a:gd name="T64" fmla="*/ 44890916 w 233"/>
                <a:gd name="T65" fmla="*/ 68894794 h 252"/>
                <a:gd name="T66" fmla="*/ 43475330 w 233"/>
                <a:gd name="T67" fmla="*/ 68347873 h 252"/>
                <a:gd name="T68" fmla="*/ 42059743 w 233"/>
                <a:gd name="T69" fmla="*/ 67254554 h 252"/>
                <a:gd name="T70" fmla="*/ 40037540 w 233"/>
                <a:gd name="T71" fmla="*/ 65887252 h 252"/>
                <a:gd name="T72" fmla="*/ 35588875 w 233"/>
                <a:gd name="T73" fmla="*/ 61786390 h 252"/>
                <a:gd name="T74" fmla="*/ 30533593 w 233"/>
                <a:gd name="T75" fmla="*/ 56865669 h 252"/>
                <a:gd name="T76" fmla="*/ 25276407 w 233"/>
                <a:gd name="T77" fmla="*/ 50851106 h 252"/>
                <a:gd name="T78" fmla="*/ 20221125 w 233"/>
                <a:gd name="T79" fmla="*/ 45109481 h 252"/>
                <a:gd name="T80" fmla="*/ 15772460 w 233"/>
                <a:gd name="T81" fmla="*/ 39641840 h 252"/>
                <a:gd name="T82" fmla="*/ 12334671 w 233"/>
                <a:gd name="T83" fmla="*/ 35267517 h 252"/>
                <a:gd name="T84" fmla="*/ 11121439 w 233"/>
                <a:gd name="T85" fmla="*/ 34174198 h 252"/>
                <a:gd name="T86" fmla="*/ 9706302 w 233"/>
                <a:gd name="T87" fmla="*/ 32806896 h 252"/>
                <a:gd name="T88" fmla="*/ 8290715 w 233"/>
                <a:gd name="T89" fmla="*/ 31713576 h 252"/>
                <a:gd name="T90" fmla="*/ 6672773 w 233"/>
                <a:gd name="T91" fmla="*/ 30619734 h 252"/>
                <a:gd name="T92" fmla="*/ 3437789 w 233"/>
                <a:gd name="T93" fmla="*/ 28432573 h 252"/>
                <a:gd name="T94" fmla="*/ 0 w 233"/>
                <a:gd name="T95" fmla="*/ 27065793 h 252"/>
                <a:gd name="T96" fmla="*/ 8088360 w 233"/>
                <a:gd name="T97" fmla="*/ 17223829 h 252"/>
                <a:gd name="T98" fmla="*/ 11930410 w 233"/>
                <a:gd name="T99" fmla="*/ 11755665 h 252"/>
                <a:gd name="T100" fmla="*/ 13143642 w 233"/>
                <a:gd name="T101" fmla="*/ 9022105 h 252"/>
                <a:gd name="T102" fmla="*/ 13952612 w 233"/>
                <a:gd name="T103" fmla="*/ 6834944 h 252"/>
                <a:gd name="T104" fmla="*/ 14559228 w 233"/>
                <a:gd name="T105" fmla="*/ 3827401 h 252"/>
                <a:gd name="T106" fmla="*/ 14963489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99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19728" y="4121136"/>
              <a:ext cx="126340" cy="226677"/>
            </a:xfrm>
            <a:custGeom>
              <a:avLst/>
              <a:gdLst>
                <a:gd name="T0" fmla="*/ 2358289 w 246"/>
                <a:gd name="T1" fmla="*/ 105840994 h 380"/>
                <a:gd name="T2" fmla="*/ 2539729 w 246"/>
                <a:gd name="T3" fmla="*/ 103307580 h 380"/>
                <a:gd name="T4" fmla="*/ 2721169 w 246"/>
                <a:gd name="T5" fmla="*/ 101055362 h 380"/>
                <a:gd name="T6" fmla="*/ 3265062 w 246"/>
                <a:gd name="T7" fmla="*/ 98803675 h 380"/>
                <a:gd name="T8" fmla="*/ 3627941 w 246"/>
                <a:gd name="T9" fmla="*/ 96833182 h 380"/>
                <a:gd name="T10" fmla="*/ 4535139 w 246"/>
                <a:gd name="T11" fmla="*/ 93736847 h 380"/>
                <a:gd name="T12" fmla="*/ 4716579 w 246"/>
                <a:gd name="T13" fmla="*/ 92047550 h 380"/>
                <a:gd name="T14" fmla="*/ 4535139 w 246"/>
                <a:gd name="T15" fmla="*/ 90358784 h 380"/>
                <a:gd name="T16" fmla="*/ 4172260 w 246"/>
                <a:gd name="T17" fmla="*/ 88388292 h 380"/>
                <a:gd name="T18" fmla="*/ 3446501 w 246"/>
                <a:gd name="T19" fmla="*/ 85854879 h 380"/>
                <a:gd name="T20" fmla="*/ 2358289 w 246"/>
                <a:gd name="T21" fmla="*/ 83040269 h 380"/>
                <a:gd name="T22" fmla="*/ 1632531 w 246"/>
                <a:gd name="T23" fmla="*/ 80225129 h 380"/>
                <a:gd name="T24" fmla="*/ 725759 w 246"/>
                <a:gd name="T25" fmla="*/ 77409989 h 380"/>
                <a:gd name="T26" fmla="*/ 181440 w 246"/>
                <a:gd name="T27" fmla="*/ 75158301 h 380"/>
                <a:gd name="T28" fmla="*/ 0 w 246"/>
                <a:gd name="T29" fmla="*/ 72906083 h 380"/>
                <a:gd name="T30" fmla="*/ 181440 w 246"/>
                <a:gd name="T31" fmla="*/ 70654395 h 380"/>
                <a:gd name="T32" fmla="*/ 362879 w 246"/>
                <a:gd name="T33" fmla="*/ 68402707 h 380"/>
                <a:gd name="T34" fmla="*/ 544319 w 246"/>
                <a:gd name="T35" fmla="*/ 66432215 h 380"/>
                <a:gd name="T36" fmla="*/ 1088212 w 246"/>
                <a:gd name="T37" fmla="*/ 64742919 h 380"/>
                <a:gd name="T38" fmla="*/ 1995410 w 246"/>
                <a:gd name="T39" fmla="*/ 61365387 h 380"/>
                <a:gd name="T40" fmla="*/ 3446501 w 246"/>
                <a:gd name="T41" fmla="*/ 58268521 h 380"/>
                <a:gd name="T42" fmla="*/ 4716579 w 246"/>
                <a:gd name="T43" fmla="*/ 55453911 h 380"/>
                <a:gd name="T44" fmla="*/ 6167670 w 246"/>
                <a:gd name="T45" fmla="*/ 52075849 h 380"/>
                <a:gd name="T46" fmla="*/ 7437747 w 246"/>
                <a:gd name="T47" fmla="*/ 48698317 h 380"/>
                <a:gd name="T48" fmla="*/ 8525959 w 246"/>
                <a:gd name="T49" fmla="*/ 45038529 h 380"/>
                <a:gd name="T50" fmla="*/ 4716579 w 246"/>
                <a:gd name="T51" fmla="*/ 20549038 h 380"/>
                <a:gd name="T52" fmla="*/ 4716579 w 246"/>
                <a:gd name="T53" fmla="*/ 14074640 h 380"/>
                <a:gd name="T54" fmla="*/ 4353699 w 246"/>
                <a:gd name="T55" fmla="*/ 9289008 h 380"/>
                <a:gd name="T56" fmla="*/ 4353699 w 246"/>
                <a:gd name="T57" fmla="*/ 7037320 h 380"/>
                <a:gd name="T58" fmla="*/ 4353699 w 246"/>
                <a:gd name="T59" fmla="*/ 4503906 h 380"/>
                <a:gd name="T60" fmla="*/ 4535139 w 246"/>
                <a:gd name="T61" fmla="*/ 2251688 h 380"/>
                <a:gd name="T62" fmla="*/ 4716579 w 246"/>
                <a:gd name="T63" fmla="*/ 0 h 380"/>
                <a:gd name="T64" fmla="*/ 32652745 w 246"/>
                <a:gd name="T65" fmla="*/ 0 h 380"/>
                <a:gd name="T66" fmla="*/ 39908627 w 246"/>
                <a:gd name="T67" fmla="*/ 36312443 h 380"/>
                <a:gd name="T68" fmla="*/ 39908627 w 246"/>
                <a:gd name="T69" fmla="*/ 59113169 h 380"/>
                <a:gd name="T70" fmla="*/ 39908627 w 246"/>
                <a:gd name="T71" fmla="*/ 61928309 h 380"/>
                <a:gd name="T72" fmla="*/ 40090067 w 246"/>
                <a:gd name="T73" fmla="*/ 64742919 h 380"/>
                <a:gd name="T74" fmla="*/ 40452946 w 246"/>
                <a:gd name="T75" fmla="*/ 67558059 h 380"/>
                <a:gd name="T76" fmla="*/ 40815825 w 246"/>
                <a:gd name="T77" fmla="*/ 70372669 h 380"/>
                <a:gd name="T78" fmla="*/ 41360144 w 246"/>
                <a:gd name="T79" fmla="*/ 72906083 h 380"/>
                <a:gd name="T80" fmla="*/ 42448356 w 246"/>
                <a:gd name="T81" fmla="*/ 75440027 h 380"/>
                <a:gd name="T82" fmla="*/ 43355554 w 246"/>
                <a:gd name="T83" fmla="*/ 78254637 h 380"/>
                <a:gd name="T84" fmla="*/ 44625206 w 246"/>
                <a:gd name="T85" fmla="*/ 81350973 h 380"/>
                <a:gd name="T86" fmla="*/ 40634386 w 246"/>
                <a:gd name="T87" fmla="*/ 83040269 h 380"/>
                <a:gd name="T88" fmla="*/ 36643566 w 246"/>
                <a:gd name="T89" fmla="*/ 85010230 h 380"/>
                <a:gd name="T90" fmla="*/ 32834185 w 246"/>
                <a:gd name="T91" fmla="*/ 87262449 h 380"/>
                <a:gd name="T92" fmla="*/ 29024379 w 246"/>
                <a:gd name="T93" fmla="*/ 89795863 h 380"/>
                <a:gd name="T94" fmla="*/ 25577877 w 246"/>
                <a:gd name="T95" fmla="*/ 92329277 h 380"/>
                <a:gd name="T96" fmla="*/ 21768497 w 246"/>
                <a:gd name="T97" fmla="*/ 95144417 h 380"/>
                <a:gd name="T98" fmla="*/ 18140130 w 246"/>
                <a:gd name="T99" fmla="*/ 97677831 h 380"/>
                <a:gd name="T100" fmla="*/ 14512189 w 246"/>
                <a:gd name="T101" fmla="*/ 100774167 h 380"/>
                <a:gd name="T102" fmla="*/ 13605417 w 246"/>
                <a:gd name="T103" fmla="*/ 102181737 h 380"/>
                <a:gd name="T104" fmla="*/ 12516779 w 246"/>
                <a:gd name="T105" fmla="*/ 103307580 h 380"/>
                <a:gd name="T106" fmla="*/ 11247128 w 246"/>
                <a:gd name="T107" fmla="*/ 104715151 h 380"/>
                <a:gd name="T108" fmla="*/ 9795611 w 246"/>
                <a:gd name="T109" fmla="*/ 105840994 h 380"/>
                <a:gd name="T110" fmla="*/ 8344520 w 246"/>
                <a:gd name="T111" fmla="*/ 106685112 h 380"/>
                <a:gd name="T112" fmla="*/ 6530549 w 246"/>
                <a:gd name="T113" fmla="*/ 106966838 h 380"/>
                <a:gd name="T114" fmla="*/ 5623351 w 246"/>
                <a:gd name="T115" fmla="*/ 106966838 h 380"/>
                <a:gd name="T116" fmla="*/ 4535139 w 246"/>
                <a:gd name="T117" fmla="*/ 106685112 h 380"/>
                <a:gd name="T118" fmla="*/ 3627941 w 246"/>
                <a:gd name="T119" fmla="*/ 106403916 h 380"/>
                <a:gd name="T120" fmla="*/ 2358289 w 246"/>
                <a:gd name="T121" fmla="*/ 105840994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0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00508" y="4026538"/>
              <a:ext cx="105284" cy="66040"/>
            </a:xfrm>
            <a:custGeom>
              <a:avLst/>
              <a:gdLst>
                <a:gd name="T0" fmla="*/ 1432748 w 193"/>
                <a:gd name="T1" fmla="*/ 47786454 h 38"/>
                <a:gd name="T2" fmla="*/ 7777191 w 193"/>
                <a:gd name="T3" fmla="*/ 26282164 h 38"/>
                <a:gd name="T4" fmla="*/ 13712665 w 193"/>
                <a:gd name="T5" fmla="*/ 11947000 h 38"/>
                <a:gd name="T6" fmla="*/ 16373223 w 193"/>
                <a:gd name="T7" fmla="*/ 7167582 h 38"/>
                <a:gd name="T8" fmla="*/ 19238718 w 193"/>
                <a:gd name="T9" fmla="*/ 4777873 h 38"/>
                <a:gd name="T10" fmla="*/ 22513182 w 193"/>
                <a:gd name="T11" fmla="*/ 2389709 h 38"/>
                <a:gd name="T12" fmla="*/ 25787646 w 193"/>
                <a:gd name="T13" fmla="*/ 0 h 38"/>
                <a:gd name="T14" fmla="*/ 28243720 w 193"/>
                <a:gd name="T15" fmla="*/ 2389709 h 38"/>
                <a:gd name="T16" fmla="*/ 30494857 w 193"/>
                <a:gd name="T17" fmla="*/ 2389709 h 38"/>
                <a:gd name="T18" fmla="*/ 32746447 w 193"/>
                <a:gd name="T19" fmla="*/ 4777873 h 38"/>
                <a:gd name="T20" fmla="*/ 34588163 w 193"/>
                <a:gd name="T21" fmla="*/ 9557291 h 38"/>
                <a:gd name="T22" fmla="*/ 36430331 w 193"/>
                <a:gd name="T23" fmla="*/ 14335163 h 38"/>
                <a:gd name="T24" fmla="*/ 37658142 w 193"/>
                <a:gd name="T25" fmla="*/ 26282164 h 38"/>
                <a:gd name="T26" fmla="*/ 38272500 w 193"/>
                <a:gd name="T27" fmla="*/ 31061582 h 38"/>
                <a:gd name="T28" fmla="*/ 38681469 w 193"/>
                <a:gd name="T29" fmla="*/ 43007036 h 38"/>
                <a:gd name="T30" fmla="*/ 39090890 w 193"/>
                <a:gd name="T31" fmla="*/ 50174618 h 38"/>
                <a:gd name="T32" fmla="*/ 39500311 w 193"/>
                <a:gd name="T33" fmla="*/ 62121618 h 38"/>
                <a:gd name="T34" fmla="*/ 37453658 w 193"/>
                <a:gd name="T35" fmla="*/ 64511327 h 38"/>
                <a:gd name="T36" fmla="*/ 35407005 w 193"/>
                <a:gd name="T37" fmla="*/ 66901036 h 38"/>
                <a:gd name="T38" fmla="*/ 33769773 w 193"/>
                <a:gd name="T39" fmla="*/ 66901036 h 38"/>
                <a:gd name="T40" fmla="*/ 31927604 w 193"/>
                <a:gd name="T41" fmla="*/ 66901036 h 38"/>
                <a:gd name="T42" fmla="*/ 28243720 w 193"/>
                <a:gd name="T43" fmla="*/ 64511327 h 38"/>
                <a:gd name="T44" fmla="*/ 24559835 w 193"/>
                <a:gd name="T45" fmla="*/ 62121618 h 38"/>
                <a:gd name="T46" fmla="*/ 21080435 w 193"/>
                <a:gd name="T47" fmla="*/ 62121618 h 38"/>
                <a:gd name="T48" fmla="*/ 18215392 w 193"/>
                <a:gd name="T49" fmla="*/ 66901036 h 38"/>
                <a:gd name="T50" fmla="*/ 15554381 w 193"/>
                <a:gd name="T51" fmla="*/ 71678909 h 38"/>
                <a:gd name="T52" fmla="*/ 12893823 w 193"/>
                <a:gd name="T53" fmla="*/ 76458327 h 38"/>
                <a:gd name="T54" fmla="*/ 10028780 w 193"/>
                <a:gd name="T55" fmla="*/ 81236200 h 38"/>
                <a:gd name="T56" fmla="*/ 7163285 w 193"/>
                <a:gd name="T57" fmla="*/ 86015618 h 38"/>
                <a:gd name="T58" fmla="*/ 3888821 w 193"/>
                <a:gd name="T59" fmla="*/ 88403781 h 38"/>
                <a:gd name="T60" fmla="*/ 0 w 193"/>
                <a:gd name="T61" fmla="*/ 90793491 h 38"/>
                <a:gd name="T62" fmla="*/ 0 w 193"/>
                <a:gd name="T63" fmla="*/ 78846491 h 38"/>
                <a:gd name="T64" fmla="*/ 204484 w 193"/>
                <a:gd name="T65" fmla="*/ 69289200 h 38"/>
                <a:gd name="T66" fmla="*/ 613905 w 193"/>
                <a:gd name="T67" fmla="*/ 57343745 h 38"/>
                <a:gd name="T68" fmla="*/ 1432748 w 193"/>
                <a:gd name="T69" fmla="*/ 47786454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1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525" y="4113996"/>
              <a:ext cx="51685" cy="174916"/>
            </a:xfrm>
            <a:custGeom>
              <a:avLst/>
              <a:gdLst>
                <a:gd name="T0" fmla="*/ 9935124 w 99"/>
                <a:gd name="T1" fmla="*/ 3205569 h 301"/>
                <a:gd name="T2" fmla="*/ 11059953 w 99"/>
                <a:gd name="T3" fmla="*/ 3205569 h 301"/>
                <a:gd name="T4" fmla="*/ 11059953 w 99"/>
                <a:gd name="T5" fmla="*/ 5075570 h 301"/>
                <a:gd name="T6" fmla="*/ 11621934 w 99"/>
                <a:gd name="T7" fmla="*/ 6945571 h 301"/>
                <a:gd name="T8" fmla="*/ 11809406 w 99"/>
                <a:gd name="T9" fmla="*/ 8815572 h 301"/>
                <a:gd name="T10" fmla="*/ 12371820 w 99"/>
                <a:gd name="T11" fmla="*/ 11220007 h 301"/>
                <a:gd name="T12" fmla="*/ 13496649 w 99"/>
                <a:gd name="T13" fmla="*/ 15494443 h 301"/>
                <a:gd name="T14" fmla="*/ 14808950 w 99"/>
                <a:gd name="T15" fmla="*/ 20036096 h 301"/>
                <a:gd name="T16" fmla="*/ 16308289 w 99"/>
                <a:gd name="T17" fmla="*/ 24844449 h 301"/>
                <a:gd name="T18" fmla="*/ 17433118 w 99"/>
                <a:gd name="T19" fmla="*/ 29653319 h 301"/>
                <a:gd name="T20" fmla="*/ 17995533 w 99"/>
                <a:gd name="T21" fmla="*/ 32057237 h 301"/>
                <a:gd name="T22" fmla="*/ 18370476 w 99"/>
                <a:gd name="T23" fmla="*/ 34461672 h 301"/>
                <a:gd name="T24" fmla="*/ 18557947 w 99"/>
                <a:gd name="T25" fmla="*/ 36866106 h 301"/>
                <a:gd name="T26" fmla="*/ 18557947 w 99"/>
                <a:gd name="T27" fmla="*/ 39537241 h 301"/>
                <a:gd name="T28" fmla="*/ 18557947 w 99"/>
                <a:gd name="T29" fmla="*/ 77204998 h 301"/>
                <a:gd name="T30" fmla="*/ 16683232 w 99"/>
                <a:gd name="T31" fmla="*/ 77472215 h 301"/>
                <a:gd name="T32" fmla="*/ 14996422 w 99"/>
                <a:gd name="T33" fmla="*/ 78273349 h 301"/>
                <a:gd name="T34" fmla="*/ 13684121 w 99"/>
                <a:gd name="T35" fmla="*/ 79342216 h 301"/>
                <a:gd name="T36" fmla="*/ 12371820 w 99"/>
                <a:gd name="T37" fmla="*/ 80410567 h 301"/>
                <a:gd name="T38" fmla="*/ 11059953 w 99"/>
                <a:gd name="T39" fmla="*/ 77472215 h 301"/>
                <a:gd name="T40" fmla="*/ 10122595 w 99"/>
                <a:gd name="T41" fmla="*/ 74800563 h 301"/>
                <a:gd name="T42" fmla="*/ 8997766 w 99"/>
                <a:gd name="T43" fmla="*/ 72396128 h 301"/>
                <a:gd name="T44" fmla="*/ 8435352 w 99"/>
                <a:gd name="T45" fmla="*/ 69991694 h 301"/>
                <a:gd name="T46" fmla="*/ 8060409 w 99"/>
                <a:gd name="T47" fmla="*/ 67320559 h 301"/>
                <a:gd name="T48" fmla="*/ 7685466 w 99"/>
                <a:gd name="T49" fmla="*/ 64648907 h 301"/>
                <a:gd name="T50" fmla="*/ 7497994 w 99"/>
                <a:gd name="T51" fmla="*/ 61977772 h 301"/>
                <a:gd name="T52" fmla="*/ 7497994 w 99"/>
                <a:gd name="T53" fmla="*/ 59306120 h 301"/>
                <a:gd name="T54" fmla="*/ 7497994 w 99"/>
                <a:gd name="T55" fmla="*/ 37667240 h 301"/>
                <a:gd name="T56" fmla="*/ 0 w 99"/>
                <a:gd name="T57" fmla="*/ 1602784 h 301"/>
                <a:gd name="T58" fmla="*/ 937358 w 99"/>
                <a:gd name="T59" fmla="*/ 534434 h 301"/>
                <a:gd name="T60" fmla="*/ 1874715 w 99"/>
                <a:gd name="T61" fmla="*/ 0 h 301"/>
                <a:gd name="T62" fmla="*/ 2624168 w 99"/>
                <a:gd name="T63" fmla="*/ 0 h 301"/>
                <a:gd name="T64" fmla="*/ 3748997 w 99"/>
                <a:gd name="T65" fmla="*/ 0 h 301"/>
                <a:gd name="T66" fmla="*/ 4873826 w 99"/>
                <a:gd name="T67" fmla="*/ 0 h 301"/>
                <a:gd name="T68" fmla="*/ 5998655 w 99"/>
                <a:gd name="T69" fmla="*/ 534434 h 301"/>
                <a:gd name="T70" fmla="*/ 6936013 w 99"/>
                <a:gd name="T71" fmla="*/ 1068351 h 301"/>
                <a:gd name="T72" fmla="*/ 7685466 w 99"/>
                <a:gd name="T73" fmla="*/ 1602784 h 301"/>
                <a:gd name="T74" fmla="*/ 8810295 w 99"/>
                <a:gd name="T75" fmla="*/ 2671652 h 301"/>
                <a:gd name="T76" fmla="*/ 9935124 w 99"/>
                <a:gd name="T77" fmla="*/ 3205569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2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44153" y="4071160"/>
              <a:ext cx="91884" cy="212398"/>
            </a:xfrm>
            <a:custGeom>
              <a:avLst/>
              <a:gdLst>
                <a:gd name="T0" fmla="*/ 0 w 173"/>
                <a:gd name="T1" fmla="*/ 22401153 h 357"/>
                <a:gd name="T2" fmla="*/ 1745993 w 173"/>
                <a:gd name="T3" fmla="*/ 20161197 h 357"/>
                <a:gd name="T4" fmla="*/ 3298183 w 173"/>
                <a:gd name="T5" fmla="*/ 18201168 h 357"/>
                <a:gd name="T6" fmla="*/ 4850372 w 173"/>
                <a:gd name="T7" fmla="*/ 16800997 h 357"/>
                <a:gd name="T8" fmla="*/ 6402121 w 173"/>
                <a:gd name="T9" fmla="*/ 15680754 h 357"/>
                <a:gd name="T10" fmla="*/ 7760067 w 173"/>
                <a:gd name="T11" fmla="*/ 14000655 h 357"/>
                <a:gd name="T12" fmla="*/ 12998487 w 173"/>
                <a:gd name="T13" fmla="*/ 14000655 h 357"/>
                <a:gd name="T14" fmla="*/ 18236466 w 173"/>
                <a:gd name="T15" fmla="*/ 0 h 357"/>
                <a:gd name="T16" fmla="*/ 19594852 w 173"/>
                <a:gd name="T17" fmla="*/ 839785 h 357"/>
                <a:gd name="T18" fmla="*/ 20952798 w 173"/>
                <a:gd name="T19" fmla="*/ 1960028 h 357"/>
                <a:gd name="T20" fmla="*/ 22504987 w 173"/>
                <a:gd name="T21" fmla="*/ 3360199 h 357"/>
                <a:gd name="T22" fmla="*/ 23862933 w 173"/>
                <a:gd name="T23" fmla="*/ 5040299 h 357"/>
                <a:gd name="T24" fmla="*/ 25415123 w 173"/>
                <a:gd name="T25" fmla="*/ 6160542 h 357"/>
                <a:gd name="T26" fmla="*/ 26966872 w 173"/>
                <a:gd name="T27" fmla="*/ 7560184 h 357"/>
                <a:gd name="T28" fmla="*/ 28131014 w 173"/>
                <a:gd name="T29" fmla="*/ 8120570 h 357"/>
                <a:gd name="T30" fmla="*/ 29683203 w 173"/>
                <a:gd name="T31" fmla="*/ 8400499 h 357"/>
                <a:gd name="T32" fmla="*/ 31623000 w 173"/>
                <a:gd name="T33" fmla="*/ 10920384 h 357"/>
                <a:gd name="T34" fmla="*/ 33563237 w 173"/>
                <a:gd name="T35" fmla="*/ 14000655 h 357"/>
                <a:gd name="T36" fmla="*/ 33563237 w 173"/>
                <a:gd name="T37" fmla="*/ 17080926 h 357"/>
                <a:gd name="T38" fmla="*/ 33563237 w 173"/>
                <a:gd name="T39" fmla="*/ 19320882 h 357"/>
                <a:gd name="T40" fmla="*/ 33563237 w 173"/>
                <a:gd name="T41" fmla="*/ 22401153 h 357"/>
                <a:gd name="T42" fmla="*/ 33563237 w 173"/>
                <a:gd name="T43" fmla="*/ 27441452 h 357"/>
                <a:gd name="T44" fmla="*/ 33563237 w 173"/>
                <a:gd name="T45" fmla="*/ 30521723 h 357"/>
                <a:gd name="T46" fmla="*/ 33175190 w 173"/>
                <a:gd name="T47" fmla="*/ 33042138 h 357"/>
                <a:gd name="T48" fmla="*/ 32399095 w 173"/>
                <a:gd name="T49" fmla="*/ 35562023 h 357"/>
                <a:gd name="T50" fmla="*/ 31623000 w 173"/>
                <a:gd name="T51" fmla="*/ 37801979 h 357"/>
                <a:gd name="T52" fmla="*/ 29488960 w 173"/>
                <a:gd name="T53" fmla="*/ 42282421 h 357"/>
                <a:gd name="T54" fmla="*/ 27161116 w 173"/>
                <a:gd name="T55" fmla="*/ 46762864 h 357"/>
                <a:gd name="T56" fmla="*/ 24832831 w 173"/>
                <a:gd name="T57" fmla="*/ 51242777 h 357"/>
                <a:gd name="T58" fmla="*/ 22698791 w 173"/>
                <a:gd name="T59" fmla="*/ 56003148 h 357"/>
                <a:gd name="T60" fmla="*/ 21728892 w 173"/>
                <a:gd name="T61" fmla="*/ 58523562 h 357"/>
                <a:gd name="T62" fmla="*/ 21146601 w 173"/>
                <a:gd name="T63" fmla="*/ 61323375 h 357"/>
                <a:gd name="T64" fmla="*/ 20952798 w 173"/>
                <a:gd name="T65" fmla="*/ 64123718 h 357"/>
                <a:gd name="T66" fmla="*/ 20758554 w 173"/>
                <a:gd name="T67" fmla="*/ 67203989 h 357"/>
                <a:gd name="T68" fmla="*/ 20952798 w 173"/>
                <a:gd name="T69" fmla="*/ 76444273 h 357"/>
                <a:gd name="T70" fmla="*/ 21146601 w 173"/>
                <a:gd name="T71" fmla="*/ 82044429 h 357"/>
                <a:gd name="T72" fmla="*/ 21340845 w 173"/>
                <a:gd name="T73" fmla="*/ 84564843 h 357"/>
                <a:gd name="T74" fmla="*/ 21146601 w 173"/>
                <a:gd name="T75" fmla="*/ 87645114 h 357"/>
                <a:gd name="T76" fmla="*/ 21146601 w 173"/>
                <a:gd name="T77" fmla="*/ 91565170 h 357"/>
                <a:gd name="T78" fmla="*/ 20758554 w 173"/>
                <a:gd name="T79" fmla="*/ 96605469 h 357"/>
                <a:gd name="T80" fmla="*/ 18818757 w 173"/>
                <a:gd name="T81" fmla="*/ 96885398 h 357"/>
                <a:gd name="T82" fmla="*/ 17072764 w 173"/>
                <a:gd name="T83" fmla="*/ 97165326 h 357"/>
                <a:gd name="T84" fmla="*/ 15326771 w 173"/>
                <a:gd name="T85" fmla="*/ 97725712 h 357"/>
                <a:gd name="T86" fmla="*/ 13774582 w 173"/>
                <a:gd name="T87" fmla="*/ 98285569 h 357"/>
                <a:gd name="T88" fmla="*/ 12222392 w 173"/>
                <a:gd name="T89" fmla="*/ 98845426 h 357"/>
                <a:gd name="T90" fmla="*/ 10670202 w 173"/>
                <a:gd name="T91" fmla="*/ 99405812 h 357"/>
                <a:gd name="T92" fmla="*/ 9312257 w 173"/>
                <a:gd name="T93" fmla="*/ 99965669 h 357"/>
                <a:gd name="T94" fmla="*/ 7760067 w 173"/>
                <a:gd name="T95" fmla="*/ 99965669 h 357"/>
                <a:gd name="T96" fmla="*/ 7760067 w 173"/>
                <a:gd name="T97" fmla="*/ 60483590 h 357"/>
                <a:gd name="T98" fmla="*/ 7760067 w 173"/>
                <a:gd name="T99" fmla="*/ 57683247 h 357"/>
                <a:gd name="T100" fmla="*/ 7566264 w 173"/>
                <a:gd name="T101" fmla="*/ 55163362 h 357"/>
                <a:gd name="T102" fmla="*/ 7178216 w 173"/>
                <a:gd name="T103" fmla="*/ 52642948 h 357"/>
                <a:gd name="T104" fmla="*/ 6596365 w 173"/>
                <a:gd name="T105" fmla="*/ 50123063 h 357"/>
                <a:gd name="T106" fmla="*/ 5432223 w 173"/>
                <a:gd name="T107" fmla="*/ 45082764 h 357"/>
                <a:gd name="T108" fmla="*/ 3880034 w 173"/>
                <a:gd name="T109" fmla="*/ 40042465 h 357"/>
                <a:gd name="T110" fmla="*/ 2522088 w 173"/>
                <a:gd name="T111" fmla="*/ 35282094 h 357"/>
                <a:gd name="T112" fmla="*/ 1357946 w 173"/>
                <a:gd name="T113" fmla="*/ 30801652 h 357"/>
                <a:gd name="T114" fmla="*/ 776095 w 173"/>
                <a:gd name="T115" fmla="*/ 28281767 h 357"/>
                <a:gd name="T116" fmla="*/ 581851 w 173"/>
                <a:gd name="T117" fmla="*/ 26321739 h 357"/>
                <a:gd name="T118" fmla="*/ 0 w 173"/>
                <a:gd name="T119" fmla="*/ 24361181 h 357"/>
                <a:gd name="T120" fmla="*/ 0 w 173"/>
                <a:gd name="T121" fmla="*/ 2240115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3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922790" y="5425869"/>
              <a:ext cx="30628" cy="67825"/>
            </a:xfrm>
            <a:custGeom>
              <a:avLst/>
              <a:gdLst>
                <a:gd name="T0" fmla="*/ 2580640 w 50"/>
                <a:gd name="T1" fmla="*/ 0 h 74"/>
                <a:gd name="T2" fmla="*/ 1548384 w 50"/>
                <a:gd name="T3" fmla="*/ 9303908 h 74"/>
                <a:gd name="T4" fmla="*/ 516128 w 50"/>
                <a:gd name="T5" fmla="*/ 17278221 h 74"/>
                <a:gd name="T6" fmla="*/ 0 w 50"/>
                <a:gd name="T7" fmla="*/ 23923754 h 74"/>
                <a:gd name="T8" fmla="*/ 0 w 50"/>
                <a:gd name="T9" fmla="*/ 28576116 h 74"/>
                <a:gd name="T10" fmla="*/ 0 w 50"/>
                <a:gd name="T11" fmla="*/ 33227662 h 74"/>
                <a:gd name="T12" fmla="*/ 516128 w 50"/>
                <a:gd name="T13" fmla="*/ 37214819 h 74"/>
                <a:gd name="T14" fmla="*/ 1548384 w 50"/>
                <a:gd name="T15" fmla="*/ 40537585 h 74"/>
                <a:gd name="T16" fmla="*/ 2580640 w 50"/>
                <a:gd name="T17" fmla="*/ 45189947 h 74"/>
                <a:gd name="T18" fmla="*/ 12903200 w 50"/>
                <a:gd name="T19" fmla="*/ 49177103 h 74"/>
                <a:gd name="T20" fmla="*/ 12903200 w 50"/>
                <a:gd name="T21" fmla="*/ 33892052 h 74"/>
                <a:gd name="T22" fmla="*/ 12903200 w 50"/>
                <a:gd name="T23" fmla="*/ 22594973 h 74"/>
                <a:gd name="T24" fmla="*/ 12903200 w 50"/>
                <a:gd name="T25" fmla="*/ 12626675 h 74"/>
                <a:gd name="T26" fmla="*/ 12903200 w 50"/>
                <a:gd name="T27" fmla="*/ 0 h 74"/>
                <a:gd name="T28" fmla="*/ 9806432 w 50"/>
                <a:gd name="T29" fmla="*/ 0 h 74"/>
                <a:gd name="T30" fmla="*/ 6451600 w 50"/>
                <a:gd name="T31" fmla="*/ 0 h 74"/>
                <a:gd name="T32" fmla="*/ 3612896 w 50"/>
                <a:gd name="T33" fmla="*/ 0 h 74"/>
                <a:gd name="T34" fmla="*/ 258064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4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796450" y="5534746"/>
              <a:ext cx="74655" cy="64255"/>
            </a:xfrm>
            <a:custGeom>
              <a:avLst/>
              <a:gdLst>
                <a:gd name="T0" fmla="*/ 631044 w 135"/>
                <a:gd name="T1" fmla="*/ 18704379 h 98"/>
                <a:gd name="T2" fmla="*/ 2313674 w 135"/>
                <a:gd name="T3" fmla="*/ 18364394 h 98"/>
                <a:gd name="T4" fmla="*/ 3785804 w 135"/>
                <a:gd name="T5" fmla="*/ 18024410 h 98"/>
                <a:gd name="T6" fmla="*/ 5047892 w 135"/>
                <a:gd name="T7" fmla="*/ 17003874 h 98"/>
                <a:gd name="T8" fmla="*/ 6520022 w 135"/>
                <a:gd name="T9" fmla="*/ 15983922 h 98"/>
                <a:gd name="T10" fmla="*/ 8833696 w 135"/>
                <a:gd name="T11" fmla="*/ 12922898 h 98"/>
                <a:gd name="T12" fmla="*/ 10936869 w 135"/>
                <a:gd name="T13" fmla="*/ 9522473 h 98"/>
                <a:gd name="T14" fmla="*/ 12829542 w 135"/>
                <a:gd name="T15" fmla="*/ 6121465 h 98"/>
                <a:gd name="T16" fmla="*/ 14932716 w 135"/>
                <a:gd name="T17" fmla="*/ 2720457 h 98"/>
                <a:gd name="T18" fmla="*/ 15984303 w 135"/>
                <a:gd name="T19" fmla="*/ 1700504 h 98"/>
                <a:gd name="T20" fmla="*/ 17246390 w 135"/>
                <a:gd name="T21" fmla="*/ 679968 h 98"/>
                <a:gd name="T22" fmla="*/ 18508019 w 135"/>
                <a:gd name="T23" fmla="*/ 0 h 98"/>
                <a:gd name="T24" fmla="*/ 20190650 w 135"/>
                <a:gd name="T25" fmla="*/ 0 h 98"/>
                <a:gd name="T26" fmla="*/ 21452737 w 135"/>
                <a:gd name="T27" fmla="*/ 0 h 98"/>
                <a:gd name="T28" fmla="*/ 23135368 w 135"/>
                <a:gd name="T29" fmla="*/ 1019953 h 98"/>
                <a:gd name="T30" fmla="*/ 24607498 w 135"/>
                <a:gd name="T31" fmla="*/ 2040488 h 98"/>
                <a:gd name="T32" fmla="*/ 25869585 w 135"/>
                <a:gd name="T33" fmla="*/ 3740992 h 98"/>
                <a:gd name="T34" fmla="*/ 26921172 w 135"/>
                <a:gd name="T35" fmla="*/ 5441496 h 98"/>
                <a:gd name="T36" fmla="*/ 27762258 w 135"/>
                <a:gd name="T37" fmla="*/ 8161953 h 98"/>
                <a:gd name="T38" fmla="*/ 28182801 w 135"/>
                <a:gd name="T39" fmla="*/ 10202441 h 98"/>
                <a:gd name="T40" fmla="*/ 28393302 w 135"/>
                <a:gd name="T41" fmla="*/ 12582914 h 98"/>
                <a:gd name="T42" fmla="*/ 28182801 w 135"/>
                <a:gd name="T43" fmla="*/ 13603449 h 98"/>
                <a:gd name="T44" fmla="*/ 27762258 w 135"/>
                <a:gd name="T45" fmla="*/ 14623402 h 98"/>
                <a:gd name="T46" fmla="*/ 27131214 w 135"/>
                <a:gd name="T47" fmla="*/ 15983922 h 98"/>
                <a:gd name="T48" fmla="*/ 26079627 w 135"/>
                <a:gd name="T49" fmla="*/ 17343859 h 98"/>
                <a:gd name="T50" fmla="*/ 23766412 w 135"/>
                <a:gd name="T51" fmla="*/ 20744867 h 98"/>
                <a:gd name="T52" fmla="*/ 21032194 w 135"/>
                <a:gd name="T53" fmla="*/ 24485859 h 98"/>
                <a:gd name="T54" fmla="*/ 18297977 w 135"/>
                <a:gd name="T55" fmla="*/ 27886284 h 98"/>
                <a:gd name="T56" fmla="*/ 15563760 w 135"/>
                <a:gd name="T57" fmla="*/ 30947308 h 98"/>
                <a:gd name="T58" fmla="*/ 13250085 w 135"/>
                <a:gd name="T59" fmla="*/ 32647812 h 98"/>
                <a:gd name="T60" fmla="*/ 11567455 w 135"/>
                <a:gd name="T61" fmla="*/ 33327781 h 98"/>
                <a:gd name="T62" fmla="*/ 10726369 w 135"/>
                <a:gd name="T63" fmla="*/ 32987796 h 98"/>
                <a:gd name="T64" fmla="*/ 9043738 w 135"/>
                <a:gd name="T65" fmla="*/ 31287292 h 98"/>
                <a:gd name="T66" fmla="*/ 6730064 w 135"/>
                <a:gd name="T67" fmla="*/ 28906820 h 98"/>
                <a:gd name="T68" fmla="*/ 4416848 w 135"/>
                <a:gd name="T69" fmla="*/ 26186363 h 98"/>
                <a:gd name="T70" fmla="*/ 2313674 w 135"/>
                <a:gd name="T71" fmla="*/ 23125339 h 98"/>
                <a:gd name="T72" fmla="*/ 1051587 w 135"/>
                <a:gd name="T73" fmla="*/ 21084851 h 98"/>
                <a:gd name="T74" fmla="*/ 210501 w 135"/>
                <a:gd name="T75" fmla="*/ 20064898 h 98"/>
                <a:gd name="T76" fmla="*/ 0 w 135"/>
                <a:gd name="T77" fmla="*/ 19384347 h 98"/>
                <a:gd name="T78" fmla="*/ 0 w 135"/>
                <a:gd name="T79" fmla="*/ 19044363 h 98"/>
                <a:gd name="T80" fmla="*/ 631044 w 135"/>
                <a:gd name="T81" fmla="*/ 18704379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5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7470645" y="2964546"/>
              <a:ext cx="145482" cy="192765"/>
            </a:xfrm>
            <a:custGeom>
              <a:avLst/>
              <a:gdLst>
                <a:gd name="T0" fmla="*/ 49374425 w 266"/>
                <a:gd name="T1" fmla="*/ 2489181 h 326"/>
                <a:gd name="T2" fmla="*/ 49374425 w 266"/>
                <a:gd name="T3" fmla="*/ 7744702 h 326"/>
                <a:gd name="T4" fmla="*/ 51225904 w 266"/>
                <a:gd name="T5" fmla="*/ 11617052 h 326"/>
                <a:gd name="T6" fmla="*/ 50403125 w 266"/>
                <a:gd name="T7" fmla="*/ 15212769 h 326"/>
                <a:gd name="T8" fmla="*/ 46288779 w 266"/>
                <a:gd name="T9" fmla="*/ 13829599 h 326"/>
                <a:gd name="T10" fmla="*/ 43202679 w 266"/>
                <a:gd name="T11" fmla="*/ 14106233 h 326"/>
                <a:gd name="T12" fmla="*/ 40116579 w 266"/>
                <a:gd name="T13" fmla="*/ 17978584 h 326"/>
                <a:gd name="T14" fmla="*/ 39705189 w 266"/>
                <a:gd name="T15" fmla="*/ 21574300 h 326"/>
                <a:gd name="T16" fmla="*/ 40733889 w 266"/>
                <a:gd name="T17" fmla="*/ 24616749 h 326"/>
                <a:gd name="T18" fmla="*/ 44231379 w 266"/>
                <a:gd name="T19" fmla="*/ 30425012 h 326"/>
                <a:gd name="T20" fmla="*/ 46082857 w 266"/>
                <a:gd name="T21" fmla="*/ 33744095 h 326"/>
                <a:gd name="T22" fmla="*/ 46288779 w 266"/>
                <a:gd name="T23" fmla="*/ 36786543 h 326"/>
                <a:gd name="T24" fmla="*/ 45671468 w 266"/>
                <a:gd name="T25" fmla="*/ 39552884 h 326"/>
                <a:gd name="T26" fmla="*/ 42585368 w 266"/>
                <a:gd name="T27" fmla="*/ 42595333 h 326"/>
                <a:gd name="T28" fmla="*/ 41145279 w 266"/>
                <a:gd name="T29" fmla="*/ 44254611 h 326"/>
                <a:gd name="T30" fmla="*/ 37236400 w 266"/>
                <a:gd name="T31" fmla="*/ 45914415 h 326"/>
                <a:gd name="T32" fmla="*/ 33739364 w 266"/>
                <a:gd name="T33" fmla="*/ 49233498 h 326"/>
                <a:gd name="T34" fmla="*/ 32916132 w 266"/>
                <a:gd name="T35" fmla="*/ 52829215 h 326"/>
                <a:gd name="T36" fmla="*/ 35590843 w 266"/>
                <a:gd name="T37" fmla="*/ 57254308 h 326"/>
                <a:gd name="T38" fmla="*/ 38882411 w 266"/>
                <a:gd name="T39" fmla="*/ 59467380 h 326"/>
                <a:gd name="T40" fmla="*/ 44025457 w 266"/>
                <a:gd name="T41" fmla="*/ 62786463 h 326"/>
                <a:gd name="T42" fmla="*/ 50403125 w 266"/>
                <a:gd name="T43" fmla="*/ 71637174 h 326"/>
                <a:gd name="T44" fmla="*/ 51637293 w 266"/>
                <a:gd name="T45" fmla="*/ 78828608 h 326"/>
                <a:gd name="T46" fmla="*/ 45260079 w 266"/>
                <a:gd name="T47" fmla="*/ 80488412 h 326"/>
                <a:gd name="T48" fmla="*/ 42585368 w 266"/>
                <a:gd name="T49" fmla="*/ 82424325 h 326"/>
                <a:gd name="T50" fmla="*/ 40733889 w 266"/>
                <a:gd name="T51" fmla="*/ 86296675 h 326"/>
                <a:gd name="T52" fmla="*/ 38882411 w 266"/>
                <a:gd name="T53" fmla="*/ 90169026 h 326"/>
                <a:gd name="T54" fmla="*/ 34973532 w 266"/>
                <a:gd name="T55" fmla="*/ 88785856 h 326"/>
                <a:gd name="T56" fmla="*/ 34356221 w 266"/>
                <a:gd name="T57" fmla="*/ 87403212 h 326"/>
                <a:gd name="T58" fmla="*/ 31681964 w 266"/>
                <a:gd name="T59" fmla="*/ 85743407 h 326"/>
                <a:gd name="T60" fmla="*/ 28595864 w 266"/>
                <a:gd name="T61" fmla="*/ 83254227 h 326"/>
                <a:gd name="T62" fmla="*/ 25921607 w 266"/>
                <a:gd name="T63" fmla="*/ 81594422 h 326"/>
                <a:gd name="T64" fmla="*/ 20161250 w 266"/>
                <a:gd name="T65" fmla="*/ 80211778 h 326"/>
                <a:gd name="T66" fmla="*/ 12960804 w 266"/>
                <a:gd name="T67" fmla="*/ 76616061 h 326"/>
                <a:gd name="T68" fmla="*/ 11109325 w 266"/>
                <a:gd name="T69" fmla="*/ 74126881 h 326"/>
                <a:gd name="T70" fmla="*/ 11314793 w 266"/>
                <a:gd name="T71" fmla="*/ 70807798 h 326"/>
                <a:gd name="T72" fmla="*/ 14400893 w 266"/>
                <a:gd name="T73" fmla="*/ 67488715 h 326"/>
                <a:gd name="T74" fmla="*/ 12138025 w 266"/>
                <a:gd name="T75" fmla="*/ 61126658 h 326"/>
                <a:gd name="T76" fmla="*/ 6994525 w 266"/>
                <a:gd name="T77" fmla="*/ 53659117 h 326"/>
                <a:gd name="T78" fmla="*/ 2674257 w 266"/>
                <a:gd name="T79" fmla="*/ 50339508 h 326"/>
                <a:gd name="T80" fmla="*/ 822779 w 266"/>
                <a:gd name="T81" fmla="*/ 47297060 h 326"/>
                <a:gd name="T82" fmla="*/ 3908879 w 266"/>
                <a:gd name="T83" fmla="*/ 42042064 h 326"/>
                <a:gd name="T84" fmla="*/ 11109325 w 266"/>
                <a:gd name="T85" fmla="*/ 34297363 h 326"/>
                <a:gd name="T86" fmla="*/ 15018204 w 266"/>
                <a:gd name="T87" fmla="*/ 29042368 h 326"/>
                <a:gd name="T88" fmla="*/ 18103850 w 266"/>
                <a:gd name="T89" fmla="*/ 25446651 h 326"/>
                <a:gd name="T90" fmla="*/ 22630039 w 266"/>
                <a:gd name="T91" fmla="*/ 24340115 h 326"/>
                <a:gd name="T92" fmla="*/ 29624564 w 266"/>
                <a:gd name="T93" fmla="*/ 19361228 h 326"/>
                <a:gd name="T94" fmla="*/ 34562143 w 266"/>
                <a:gd name="T95" fmla="*/ 12723063 h 326"/>
                <a:gd name="T96" fmla="*/ 39293800 w 266"/>
                <a:gd name="T97" fmla="*/ 5808263 h 326"/>
                <a:gd name="T98" fmla="*/ 45260079 w 266"/>
                <a:gd name="T99" fmla="*/ 1106536 h 326"/>
                <a:gd name="T100" fmla="*/ 48963036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6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350815" y="3430394"/>
              <a:ext cx="248851" cy="139219"/>
            </a:xfrm>
            <a:custGeom>
              <a:avLst/>
              <a:gdLst>
                <a:gd name="T0" fmla="*/ 16510876 w 471"/>
                <a:gd name="T1" fmla="*/ 0 h 237"/>
                <a:gd name="T2" fmla="*/ 17662808 w 471"/>
                <a:gd name="T3" fmla="*/ 1910667 h 237"/>
                <a:gd name="T4" fmla="*/ 19582840 w 471"/>
                <a:gd name="T5" fmla="*/ 3548605 h 237"/>
                <a:gd name="T6" fmla="*/ 23998214 w 471"/>
                <a:gd name="T7" fmla="*/ 6278502 h 237"/>
                <a:gd name="T8" fmla="*/ 30525973 w 471"/>
                <a:gd name="T9" fmla="*/ 10099836 h 237"/>
                <a:gd name="T10" fmla="*/ 42812954 w 471"/>
                <a:gd name="T11" fmla="*/ 21018902 h 237"/>
                <a:gd name="T12" fmla="*/ 48572613 w 471"/>
                <a:gd name="T13" fmla="*/ 26478174 h 237"/>
                <a:gd name="T14" fmla="*/ 54332272 w 471"/>
                <a:gd name="T15" fmla="*/ 30846009 h 237"/>
                <a:gd name="T16" fmla="*/ 60668116 w 471"/>
                <a:gd name="T17" fmla="*/ 34667343 h 237"/>
                <a:gd name="T18" fmla="*/ 68155453 w 471"/>
                <a:gd name="T19" fmla="*/ 37943219 h 237"/>
                <a:gd name="T20" fmla="*/ 76602807 w 471"/>
                <a:gd name="T21" fmla="*/ 39853886 h 237"/>
                <a:gd name="T22" fmla="*/ 86586362 w 471"/>
                <a:gd name="T23" fmla="*/ 40399866 h 237"/>
                <a:gd name="T24" fmla="*/ 86778278 w 471"/>
                <a:gd name="T25" fmla="*/ 51046203 h 237"/>
                <a:gd name="T26" fmla="*/ 88122125 w 471"/>
                <a:gd name="T27" fmla="*/ 57597434 h 237"/>
                <a:gd name="T28" fmla="*/ 89657888 w 471"/>
                <a:gd name="T29" fmla="*/ 61964747 h 237"/>
                <a:gd name="T30" fmla="*/ 89657888 w 471"/>
                <a:gd name="T31" fmla="*/ 64421916 h 237"/>
                <a:gd name="T32" fmla="*/ 86586362 w 471"/>
                <a:gd name="T33" fmla="*/ 64421916 h 237"/>
                <a:gd name="T34" fmla="*/ 79866687 w 471"/>
                <a:gd name="T35" fmla="*/ 63056706 h 237"/>
                <a:gd name="T36" fmla="*/ 69499301 w 471"/>
                <a:gd name="T37" fmla="*/ 59781352 h 237"/>
                <a:gd name="T38" fmla="*/ 60475762 w 471"/>
                <a:gd name="T39" fmla="*/ 56505475 h 237"/>
                <a:gd name="T40" fmla="*/ 56444220 w 471"/>
                <a:gd name="T41" fmla="*/ 55413516 h 237"/>
                <a:gd name="T42" fmla="*/ 55100372 w 471"/>
                <a:gd name="T43" fmla="*/ 54321557 h 237"/>
                <a:gd name="T44" fmla="*/ 53180340 w 471"/>
                <a:gd name="T45" fmla="*/ 51864911 h 237"/>
                <a:gd name="T46" fmla="*/ 51260746 w 471"/>
                <a:gd name="T47" fmla="*/ 48589034 h 237"/>
                <a:gd name="T48" fmla="*/ 48956882 w 471"/>
                <a:gd name="T49" fmla="*/ 45313680 h 237"/>
                <a:gd name="T50" fmla="*/ 46076834 w 471"/>
                <a:gd name="T51" fmla="*/ 43402491 h 237"/>
                <a:gd name="T52" fmla="*/ 43581054 w 471"/>
                <a:gd name="T53" fmla="*/ 43402491 h 237"/>
                <a:gd name="T54" fmla="*/ 39357597 w 471"/>
                <a:gd name="T55" fmla="*/ 44494450 h 237"/>
                <a:gd name="T56" fmla="*/ 35133701 w 471"/>
                <a:gd name="T57" fmla="*/ 45586409 h 237"/>
                <a:gd name="T58" fmla="*/ 32446006 w 471"/>
                <a:gd name="T59" fmla="*/ 45859660 h 237"/>
                <a:gd name="T60" fmla="*/ 30334058 w 471"/>
                <a:gd name="T61" fmla="*/ 44767701 h 237"/>
                <a:gd name="T62" fmla="*/ 28414025 w 471"/>
                <a:gd name="T63" fmla="*/ 42311055 h 237"/>
                <a:gd name="T64" fmla="*/ 26686347 w 471"/>
                <a:gd name="T65" fmla="*/ 40399866 h 237"/>
                <a:gd name="T66" fmla="*/ 23422467 w 471"/>
                <a:gd name="T67" fmla="*/ 39581158 h 237"/>
                <a:gd name="T68" fmla="*/ 17662808 w 471"/>
                <a:gd name="T69" fmla="*/ 36851260 h 237"/>
                <a:gd name="T70" fmla="*/ 9215454 w 471"/>
                <a:gd name="T71" fmla="*/ 31937968 h 237"/>
                <a:gd name="T72" fmla="*/ 2303864 w 471"/>
                <a:gd name="T73" fmla="*/ 26205445 h 237"/>
                <a:gd name="T74" fmla="*/ 13438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7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611151" y="3492865"/>
              <a:ext cx="88055" cy="73179"/>
            </a:xfrm>
            <a:custGeom>
              <a:avLst/>
              <a:gdLst>
                <a:gd name="T0" fmla="*/ 31932040 w 167"/>
                <a:gd name="T1" fmla="*/ 12040566 h 123"/>
                <a:gd name="T2" fmla="*/ 31358334 w 167"/>
                <a:gd name="T3" fmla="*/ 15120821 h 123"/>
                <a:gd name="T4" fmla="*/ 30784629 w 167"/>
                <a:gd name="T5" fmla="*/ 18481004 h 123"/>
                <a:gd name="T6" fmla="*/ 29637655 w 167"/>
                <a:gd name="T7" fmla="*/ 22121113 h 123"/>
                <a:gd name="T8" fmla="*/ 28681334 w 167"/>
                <a:gd name="T9" fmla="*/ 26041150 h 123"/>
                <a:gd name="T10" fmla="*/ 27916539 w 167"/>
                <a:gd name="T11" fmla="*/ 27721241 h 123"/>
                <a:gd name="T12" fmla="*/ 27151744 w 167"/>
                <a:gd name="T13" fmla="*/ 29401332 h 123"/>
                <a:gd name="T14" fmla="*/ 26386950 w 167"/>
                <a:gd name="T15" fmla="*/ 30801497 h 123"/>
                <a:gd name="T16" fmla="*/ 25239539 w 167"/>
                <a:gd name="T17" fmla="*/ 31921734 h 123"/>
                <a:gd name="T18" fmla="*/ 24283655 w 167"/>
                <a:gd name="T19" fmla="*/ 33041442 h 123"/>
                <a:gd name="T20" fmla="*/ 23136244 w 167"/>
                <a:gd name="T21" fmla="*/ 33881752 h 123"/>
                <a:gd name="T22" fmla="*/ 21989271 w 167"/>
                <a:gd name="T23" fmla="*/ 34161679 h 123"/>
                <a:gd name="T24" fmla="*/ 20459244 w 167"/>
                <a:gd name="T25" fmla="*/ 34441606 h 123"/>
                <a:gd name="T26" fmla="*/ 19121181 w 167"/>
                <a:gd name="T27" fmla="*/ 34161679 h 123"/>
                <a:gd name="T28" fmla="*/ 17591154 w 167"/>
                <a:gd name="T29" fmla="*/ 33321369 h 123"/>
                <a:gd name="T30" fmla="*/ 16635270 w 167"/>
                <a:gd name="T31" fmla="*/ 32481588 h 123"/>
                <a:gd name="T32" fmla="*/ 16061565 w 167"/>
                <a:gd name="T33" fmla="*/ 31641278 h 123"/>
                <a:gd name="T34" fmla="*/ 15679386 w 167"/>
                <a:gd name="T35" fmla="*/ 30521570 h 123"/>
                <a:gd name="T36" fmla="*/ 15487859 w 167"/>
                <a:gd name="T37" fmla="*/ 29401332 h 123"/>
                <a:gd name="T38" fmla="*/ 13576091 w 167"/>
                <a:gd name="T39" fmla="*/ 29121405 h 123"/>
                <a:gd name="T40" fmla="*/ 11663885 w 167"/>
                <a:gd name="T41" fmla="*/ 28841478 h 123"/>
                <a:gd name="T42" fmla="*/ 9751680 w 167"/>
                <a:gd name="T43" fmla="*/ 28281095 h 123"/>
                <a:gd name="T44" fmla="*/ 7839474 w 167"/>
                <a:gd name="T45" fmla="*/ 27441314 h 123"/>
                <a:gd name="T46" fmla="*/ 4015500 w 167"/>
                <a:gd name="T47" fmla="*/ 25761223 h 123"/>
                <a:gd name="T48" fmla="*/ 0 w 167"/>
                <a:gd name="T49" fmla="*/ 24081132 h 123"/>
                <a:gd name="T50" fmla="*/ 382616 w 167"/>
                <a:gd name="T51" fmla="*/ 21561259 h 123"/>
                <a:gd name="T52" fmla="*/ 955884 w 167"/>
                <a:gd name="T53" fmla="*/ 18760931 h 123"/>
                <a:gd name="T54" fmla="*/ 1720679 w 167"/>
                <a:gd name="T55" fmla="*/ 15680675 h 123"/>
                <a:gd name="T56" fmla="*/ 2868090 w 167"/>
                <a:gd name="T57" fmla="*/ 12040566 h 123"/>
                <a:gd name="T58" fmla="*/ 3824411 w 167"/>
                <a:gd name="T59" fmla="*/ 12040566 h 123"/>
                <a:gd name="T60" fmla="*/ 4971385 w 167"/>
                <a:gd name="T61" fmla="*/ 11760639 h 123"/>
                <a:gd name="T62" fmla="*/ 5736179 w 167"/>
                <a:gd name="T63" fmla="*/ 11480712 h 123"/>
                <a:gd name="T64" fmla="*/ 6309885 w 167"/>
                <a:gd name="T65" fmla="*/ 10640402 h 123"/>
                <a:gd name="T66" fmla="*/ 7648385 w 167"/>
                <a:gd name="T67" fmla="*/ 9240237 h 123"/>
                <a:gd name="T68" fmla="*/ 8604269 w 167"/>
                <a:gd name="T69" fmla="*/ 7280219 h 123"/>
                <a:gd name="T70" fmla="*/ 9942769 w 167"/>
                <a:gd name="T71" fmla="*/ 3360183 h 123"/>
                <a:gd name="T72" fmla="*/ 11663885 w 167"/>
                <a:gd name="T73" fmla="*/ 0 h 123"/>
                <a:gd name="T74" fmla="*/ 12237591 w 167"/>
                <a:gd name="T75" fmla="*/ 1120237 h 123"/>
                <a:gd name="T76" fmla="*/ 12810859 w 167"/>
                <a:gd name="T77" fmla="*/ 1960018 h 123"/>
                <a:gd name="T78" fmla="*/ 13958270 w 167"/>
                <a:gd name="T79" fmla="*/ 3080256 h 123"/>
                <a:gd name="T80" fmla="*/ 14914154 w 167"/>
                <a:gd name="T81" fmla="*/ 3920037 h 123"/>
                <a:gd name="T82" fmla="*/ 17591154 w 167"/>
                <a:gd name="T83" fmla="*/ 5880055 h 123"/>
                <a:gd name="T84" fmla="*/ 20459244 w 167"/>
                <a:gd name="T85" fmla="*/ 7840602 h 123"/>
                <a:gd name="T86" fmla="*/ 23327771 w 167"/>
                <a:gd name="T87" fmla="*/ 9800621 h 123"/>
                <a:gd name="T88" fmla="*/ 26578039 w 167"/>
                <a:gd name="T89" fmla="*/ 10920329 h 123"/>
                <a:gd name="T90" fmla="*/ 29255039 w 167"/>
                <a:gd name="T91" fmla="*/ 11760639 h 123"/>
                <a:gd name="T92" fmla="*/ 31932040 w 167"/>
                <a:gd name="T93" fmla="*/ 12040566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8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599666" y="3573183"/>
              <a:ext cx="160796" cy="187411"/>
            </a:xfrm>
            <a:custGeom>
              <a:avLst/>
              <a:gdLst>
                <a:gd name="T0" fmla="*/ 49186104 w 306"/>
                <a:gd name="T1" fmla="*/ 43143632 h 321"/>
                <a:gd name="T2" fmla="*/ 47856962 w 306"/>
                <a:gd name="T3" fmla="*/ 46649273 h 321"/>
                <a:gd name="T4" fmla="*/ 46147816 w 306"/>
                <a:gd name="T5" fmla="*/ 49075855 h 321"/>
                <a:gd name="T6" fmla="*/ 44248668 w 306"/>
                <a:gd name="T7" fmla="*/ 50154913 h 321"/>
                <a:gd name="T8" fmla="*/ 42349520 w 306"/>
                <a:gd name="T9" fmla="*/ 49615384 h 321"/>
                <a:gd name="T10" fmla="*/ 40640374 w 306"/>
                <a:gd name="T11" fmla="*/ 47997316 h 321"/>
                <a:gd name="T12" fmla="*/ 39690800 w 306"/>
                <a:gd name="T13" fmla="*/ 45570734 h 321"/>
                <a:gd name="T14" fmla="*/ 39121229 w 306"/>
                <a:gd name="T15" fmla="*/ 43143632 h 321"/>
                <a:gd name="T16" fmla="*/ 39690800 w 306"/>
                <a:gd name="T17" fmla="*/ 39908015 h 321"/>
                <a:gd name="T18" fmla="*/ 40450372 w 306"/>
                <a:gd name="T19" fmla="*/ 36672399 h 321"/>
                <a:gd name="T20" fmla="*/ 43678662 w 306"/>
                <a:gd name="T21" fmla="*/ 30740175 h 321"/>
                <a:gd name="T22" fmla="*/ 46717386 w 306"/>
                <a:gd name="T23" fmla="*/ 25077457 h 321"/>
                <a:gd name="T24" fmla="*/ 47476958 w 306"/>
                <a:gd name="T25" fmla="*/ 22111345 h 321"/>
                <a:gd name="T26" fmla="*/ 48046528 w 306"/>
                <a:gd name="T27" fmla="*/ 18605704 h 321"/>
                <a:gd name="T28" fmla="*/ 24498051 w 306"/>
                <a:gd name="T29" fmla="*/ 18336199 h 321"/>
                <a:gd name="T30" fmla="*/ 22598903 w 306"/>
                <a:gd name="T31" fmla="*/ 15909097 h 321"/>
                <a:gd name="T32" fmla="*/ 21269761 w 306"/>
                <a:gd name="T33" fmla="*/ 12133952 h 321"/>
                <a:gd name="T34" fmla="*/ 20510189 w 306"/>
                <a:gd name="T35" fmla="*/ 7550291 h 321"/>
                <a:gd name="T36" fmla="*/ 19180611 w 306"/>
                <a:gd name="T37" fmla="*/ 5123189 h 321"/>
                <a:gd name="T38" fmla="*/ 17091897 w 306"/>
                <a:gd name="T39" fmla="*/ 4584180 h 321"/>
                <a:gd name="T40" fmla="*/ 15192749 w 306"/>
                <a:gd name="T41" fmla="*/ 3235617 h 321"/>
                <a:gd name="T42" fmla="*/ 14243175 w 306"/>
                <a:gd name="T43" fmla="*/ 1078539 h 321"/>
                <a:gd name="T44" fmla="*/ 12344026 w 306"/>
                <a:gd name="T45" fmla="*/ 0 h 321"/>
                <a:gd name="T46" fmla="*/ 9305302 w 306"/>
                <a:gd name="T47" fmla="*/ 0 h 321"/>
                <a:gd name="T48" fmla="*/ 6457016 w 306"/>
                <a:gd name="T49" fmla="*/ 269505 h 321"/>
                <a:gd name="T50" fmla="*/ 4177864 w 306"/>
                <a:gd name="T51" fmla="*/ 1348044 h 321"/>
                <a:gd name="T52" fmla="*/ 1899148 w 306"/>
                <a:gd name="T53" fmla="*/ 3775146 h 321"/>
                <a:gd name="T54" fmla="*/ 190002 w 306"/>
                <a:gd name="T55" fmla="*/ 6741257 h 321"/>
                <a:gd name="T56" fmla="*/ 380004 w 306"/>
                <a:gd name="T57" fmla="*/ 9437864 h 321"/>
                <a:gd name="T58" fmla="*/ 2848722 w 306"/>
                <a:gd name="T59" fmla="*/ 12403976 h 321"/>
                <a:gd name="T60" fmla="*/ 6646582 w 306"/>
                <a:gd name="T61" fmla="*/ 15639592 h 321"/>
                <a:gd name="T62" fmla="*/ 10254876 w 306"/>
                <a:gd name="T63" fmla="*/ 18066694 h 321"/>
                <a:gd name="T64" fmla="*/ 8925734 w 306"/>
                <a:gd name="T65" fmla="*/ 21302311 h 321"/>
                <a:gd name="T66" fmla="*/ 4747870 w 306"/>
                <a:gd name="T67" fmla="*/ 26155996 h 321"/>
                <a:gd name="T68" fmla="*/ 3228290 w 306"/>
                <a:gd name="T69" fmla="*/ 28852602 h 321"/>
                <a:gd name="T70" fmla="*/ 2658720 w 306"/>
                <a:gd name="T71" fmla="*/ 30740175 h 321"/>
                <a:gd name="T72" fmla="*/ 2658720 w 306"/>
                <a:gd name="T73" fmla="*/ 32897253 h 321"/>
                <a:gd name="T74" fmla="*/ 3418292 w 306"/>
                <a:gd name="T75" fmla="*/ 34784826 h 321"/>
                <a:gd name="T76" fmla="*/ 5317440 w 306"/>
                <a:gd name="T77" fmla="*/ 38020442 h 321"/>
                <a:gd name="T78" fmla="*/ 8925734 w 306"/>
                <a:gd name="T79" fmla="*/ 42065093 h 321"/>
                <a:gd name="T80" fmla="*/ 12154025 w 306"/>
                <a:gd name="T81" fmla="*/ 44222171 h 321"/>
                <a:gd name="T82" fmla="*/ 14243175 w 306"/>
                <a:gd name="T83" fmla="*/ 44761700 h 321"/>
                <a:gd name="T84" fmla="*/ 20320187 w 306"/>
                <a:gd name="T85" fmla="*/ 73074773 h 321"/>
                <a:gd name="T86" fmla="*/ 20510189 w 306"/>
                <a:gd name="T87" fmla="*/ 70917695 h 321"/>
                <a:gd name="T88" fmla="*/ 21269761 w 306"/>
                <a:gd name="T89" fmla="*/ 69030122 h 321"/>
                <a:gd name="T90" fmla="*/ 24118483 w 306"/>
                <a:gd name="T91" fmla="*/ 66333516 h 321"/>
                <a:gd name="T92" fmla="*/ 28106345 w 306"/>
                <a:gd name="T93" fmla="*/ 64715967 h 321"/>
                <a:gd name="T94" fmla="*/ 33043781 w 306"/>
                <a:gd name="T95" fmla="*/ 63367404 h 321"/>
                <a:gd name="T96" fmla="*/ 33043781 w 306"/>
                <a:gd name="T97" fmla="*/ 56626146 h 321"/>
                <a:gd name="T98" fmla="*/ 34753363 w 306"/>
                <a:gd name="T99" fmla="*/ 57165676 h 321"/>
                <a:gd name="T100" fmla="*/ 36652075 w 306"/>
                <a:gd name="T101" fmla="*/ 57165676 h 321"/>
                <a:gd name="T102" fmla="*/ 40450372 w 306"/>
                <a:gd name="T103" fmla="*/ 56626146 h 321"/>
                <a:gd name="T104" fmla="*/ 44058666 w 306"/>
                <a:gd name="T105" fmla="*/ 70378166 h 321"/>
                <a:gd name="T106" fmla="*/ 49186104 w 306"/>
                <a:gd name="T107" fmla="*/ 86557288 h 321"/>
                <a:gd name="T108" fmla="*/ 51654822 w 306"/>
                <a:gd name="T109" fmla="*/ 83860681 h 321"/>
                <a:gd name="T110" fmla="*/ 53553970 w 306"/>
                <a:gd name="T111" fmla="*/ 81434098 h 321"/>
                <a:gd name="T112" fmla="*/ 56022688 w 306"/>
                <a:gd name="T113" fmla="*/ 75501875 h 321"/>
                <a:gd name="T114" fmla="*/ 58111838 w 306"/>
                <a:gd name="T115" fmla="*/ 63367404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09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982514" y="3703478"/>
              <a:ext cx="243108" cy="303426"/>
            </a:xfrm>
            <a:custGeom>
              <a:avLst/>
              <a:gdLst>
                <a:gd name="T0" fmla="*/ 17223486 w 471"/>
                <a:gd name="T1" fmla="*/ 3257256 h 518"/>
                <a:gd name="T2" fmla="*/ 12276073 w 471"/>
                <a:gd name="T3" fmla="*/ 8686015 h 518"/>
                <a:gd name="T4" fmla="*/ 7329088 w 471"/>
                <a:gd name="T5" fmla="*/ 13300461 h 518"/>
                <a:gd name="T6" fmla="*/ 4946985 w 471"/>
                <a:gd name="T7" fmla="*/ 22257915 h 518"/>
                <a:gd name="T8" fmla="*/ 1465646 w 471"/>
                <a:gd name="T9" fmla="*/ 32029161 h 518"/>
                <a:gd name="T10" fmla="*/ 1282441 w 471"/>
                <a:gd name="T11" fmla="*/ 36915045 h 518"/>
                <a:gd name="T12" fmla="*/ 5497030 w 471"/>
                <a:gd name="T13" fmla="*/ 41529490 h 518"/>
                <a:gd name="T14" fmla="*/ 9161575 w 471"/>
                <a:gd name="T15" fmla="*/ 45601060 h 518"/>
                <a:gd name="T16" fmla="*/ 11360044 w 471"/>
                <a:gd name="T17" fmla="*/ 46686812 h 518"/>
                <a:gd name="T18" fmla="*/ 13742148 w 471"/>
                <a:gd name="T19" fmla="*/ 57272893 h 518"/>
                <a:gd name="T20" fmla="*/ 15391000 w 471"/>
                <a:gd name="T21" fmla="*/ 73830089 h 518"/>
                <a:gd name="T22" fmla="*/ 17223486 w 471"/>
                <a:gd name="T23" fmla="*/ 81158915 h 518"/>
                <a:gd name="T24" fmla="*/ 19055544 w 471"/>
                <a:gd name="T25" fmla="*/ 81973229 h 518"/>
                <a:gd name="T26" fmla="*/ 20521619 w 471"/>
                <a:gd name="T27" fmla="*/ 80616039 h 518"/>
                <a:gd name="T28" fmla="*/ 23453340 w 471"/>
                <a:gd name="T29" fmla="*/ 72744337 h 518"/>
                <a:gd name="T30" fmla="*/ 26567839 w 471"/>
                <a:gd name="T31" fmla="*/ 71115709 h 518"/>
                <a:gd name="T32" fmla="*/ 29316354 w 471"/>
                <a:gd name="T33" fmla="*/ 73830089 h 518"/>
                <a:gd name="T34" fmla="*/ 31698457 w 471"/>
                <a:gd name="T35" fmla="*/ 75187279 h 518"/>
                <a:gd name="T36" fmla="*/ 33530515 w 471"/>
                <a:gd name="T37" fmla="*/ 74372965 h 518"/>
                <a:gd name="T38" fmla="*/ 35179796 w 471"/>
                <a:gd name="T39" fmla="*/ 70301917 h 518"/>
                <a:gd name="T40" fmla="*/ 37195060 w 471"/>
                <a:gd name="T41" fmla="*/ 66230347 h 518"/>
                <a:gd name="T42" fmla="*/ 38844340 w 471"/>
                <a:gd name="T43" fmla="*/ 65416033 h 518"/>
                <a:gd name="T44" fmla="*/ 44157737 w 471"/>
                <a:gd name="T45" fmla="*/ 67044661 h 518"/>
                <a:gd name="T46" fmla="*/ 47455869 w 471"/>
                <a:gd name="T47" fmla="*/ 73558651 h 518"/>
                <a:gd name="T48" fmla="*/ 56434238 w 471"/>
                <a:gd name="T49" fmla="*/ 91202120 h 518"/>
                <a:gd name="T50" fmla="*/ 62480458 w 471"/>
                <a:gd name="T51" fmla="*/ 103688267 h 518"/>
                <a:gd name="T52" fmla="*/ 65595385 w 471"/>
                <a:gd name="T53" fmla="*/ 113731473 h 518"/>
                <a:gd name="T54" fmla="*/ 67061459 w 471"/>
                <a:gd name="T55" fmla="*/ 124045595 h 518"/>
                <a:gd name="T56" fmla="*/ 65778590 w 471"/>
                <a:gd name="T57" fmla="*/ 127574289 h 518"/>
                <a:gd name="T58" fmla="*/ 62114046 w 471"/>
                <a:gd name="T59" fmla="*/ 132188735 h 518"/>
                <a:gd name="T60" fmla="*/ 66511414 w 471"/>
                <a:gd name="T61" fmla="*/ 134631676 h 518"/>
                <a:gd name="T62" fmla="*/ 71825238 w 471"/>
                <a:gd name="T63" fmla="*/ 140603312 h 518"/>
                <a:gd name="T64" fmla="*/ 73474090 w 471"/>
                <a:gd name="T65" fmla="*/ 135445990 h 518"/>
                <a:gd name="T66" fmla="*/ 75672988 w 471"/>
                <a:gd name="T67" fmla="*/ 132731611 h 518"/>
                <a:gd name="T68" fmla="*/ 81353224 w 471"/>
                <a:gd name="T69" fmla="*/ 131102983 h 518"/>
                <a:gd name="T70" fmla="*/ 85750592 w 471"/>
                <a:gd name="T71" fmla="*/ 118888273 h 518"/>
                <a:gd name="T72" fmla="*/ 82269253 w 471"/>
                <a:gd name="T73" fmla="*/ 105045457 h 518"/>
                <a:gd name="T74" fmla="*/ 77138635 w 471"/>
                <a:gd name="T75" fmla="*/ 94187938 h 518"/>
                <a:gd name="T76" fmla="*/ 63213709 w 471"/>
                <a:gd name="T77" fmla="*/ 75187279 h 518"/>
                <a:gd name="T78" fmla="*/ 51120413 w 471"/>
                <a:gd name="T79" fmla="*/ 59172959 h 518"/>
                <a:gd name="T80" fmla="*/ 41042810 w 471"/>
                <a:gd name="T81" fmla="*/ 43972432 h 518"/>
                <a:gd name="T82" fmla="*/ 32797692 w 471"/>
                <a:gd name="T83" fmla="*/ 28500467 h 518"/>
                <a:gd name="T84" fmla="*/ 23269706 w 471"/>
                <a:gd name="T85" fmla="*/ 10857519 h 518"/>
                <a:gd name="T86" fmla="*/ 21071236 w 471"/>
                <a:gd name="T87" fmla="*/ 3800132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0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082055" y="3985486"/>
              <a:ext cx="160796" cy="146359"/>
            </a:xfrm>
            <a:custGeom>
              <a:avLst/>
              <a:gdLst>
                <a:gd name="T0" fmla="*/ 31484254 w 293"/>
                <a:gd name="T1" fmla="*/ 5320242 h 246"/>
                <a:gd name="T2" fmla="*/ 37076761 w 293"/>
                <a:gd name="T3" fmla="*/ 8400521 h 246"/>
                <a:gd name="T4" fmla="*/ 40598021 w 293"/>
                <a:gd name="T5" fmla="*/ 8400521 h 246"/>
                <a:gd name="T6" fmla="*/ 41840952 w 293"/>
                <a:gd name="T7" fmla="*/ 5040313 h 246"/>
                <a:gd name="T8" fmla="*/ 43498042 w 293"/>
                <a:gd name="T9" fmla="*/ 2800350 h 246"/>
                <a:gd name="T10" fmla="*/ 45362211 w 293"/>
                <a:gd name="T11" fmla="*/ 1680104 h 246"/>
                <a:gd name="T12" fmla="*/ 50747640 w 293"/>
                <a:gd name="T13" fmla="*/ 559858 h 246"/>
                <a:gd name="T14" fmla="*/ 60690179 w 293"/>
                <a:gd name="T15" fmla="*/ 22401213 h 246"/>
                <a:gd name="T16" fmla="*/ 55097671 w 293"/>
                <a:gd name="T17" fmla="*/ 29961946 h 246"/>
                <a:gd name="T18" fmla="*/ 49090550 w 293"/>
                <a:gd name="T19" fmla="*/ 39482713 h 246"/>
                <a:gd name="T20" fmla="*/ 46605142 w 293"/>
                <a:gd name="T21" fmla="*/ 44523025 h 246"/>
                <a:gd name="T22" fmla="*/ 44533894 w 293"/>
                <a:gd name="T23" fmla="*/ 49843267 h 246"/>
                <a:gd name="T24" fmla="*/ 43290962 w 293"/>
                <a:gd name="T25" fmla="*/ 55163508 h 246"/>
                <a:gd name="T26" fmla="*/ 42669724 w 293"/>
                <a:gd name="T27" fmla="*/ 60483750 h 246"/>
                <a:gd name="T28" fmla="*/ 40598021 w 293"/>
                <a:gd name="T29" fmla="*/ 60763679 h 246"/>
                <a:gd name="T30" fmla="*/ 38526772 w 293"/>
                <a:gd name="T31" fmla="*/ 61603996 h 246"/>
                <a:gd name="T32" fmla="*/ 35212592 w 293"/>
                <a:gd name="T33" fmla="*/ 64123887 h 246"/>
                <a:gd name="T34" fmla="*/ 31898412 w 293"/>
                <a:gd name="T35" fmla="*/ 66924237 h 246"/>
                <a:gd name="T36" fmla="*/ 27548836 w 293"/>
                <a:gd name="T37" fmla="*/ 68884271 h 246"/>
                <a:gd name="T38" fmla="*/ 21127555 w 293"/>
                <a:gd name="T39" fmla="*/ 67204167 h 246"/>
                <a:gd name="T40" fmla="*/ 14706275 w 293"/>
                <a:gd name="T41" fmla="*/ 64964204 h 246"/>
                <a:gd name="T42" fmla="*/ 12220868 w 293"/>
                <a:gd name="T43" fmla="*/ 63284100 h 246"/>
                <a:gd name="T44" fmla="*/ 10149619 w 293"/>
                <a:gd name="T45" fmla="*/ 61603996 h 246"/>
                <a:gd name="T46" fmla="*/ 8906688 w 293"/>
                <a:gd name="T47" fmla="*/ 59363504 h 246"/>
                <a:gd name="T48" fmla="*/ 8492529 w 293"/>
                <a:gd name="T49" fmla="*/ 57123542 h 246"/>
                <a:gd name="T50" fmla="*/ 9735460 w 293"/>
                <a:gd name="T51" fmla="*/ 49843267 h 246"/>
                <a:gd name="T52" fmla="*/ 9320846 w 293"/>
                <a:gd name="T53" fmla="*/ 45362813 h 246"/>
                <a:gd name="T54" fmla="*/ 8285450 w 293"/>
                <a:gd name="T55" fmla="*/ 41162817 h 246"/>
                <a:gd name="T56" fmla="*/ 4971270 w 293"/>
                <a:gd name="T57" fmla="*/ 33322154 h 246"/>
                <a:gd name="T58" fmla="*/ 1657090 w 293"/>
                <a:gd name="T59" fmla="*/ 25481492 h 246"/>
                <a:gd name="T60" fmla="*/ 414159 w 293"/>
                <a:gd name="T61" fmla="*/ 20721108 h 246"/>
                <a:gd name="T62" fmla="*/ 0 w 293"/>
                <a:gd name="T63" fmla="*/ 15400867 h 246"/>
                <a:gd name="T64" fmla="*/ 414159 w 293"/>
                <a:gd name="T65" fmla="*/ 12601046 h 246"/>
                <a:gd name="T66" fmla="*/ 1657090 w 293"/>
                <a:gd name="T67" fmla="*/ 10080625 h 246"/>
                <a:gd name="T68" fmla="*/ 3521259 w 293"/>
                <a:gd name="T69" fmla="*/ 8120592 h 246"/>
                <a:gd name="T70" fmla="*/ 5385428 w 293"/>
                <a:gd name="T71" fmla="*/ 6160558 h 246"/>
                <a:gd name="T72" fmla="*/ 9942540 w 293"/>
                <a:gd name="T73" fmla="*/ 3920067 h 246"/>
                <a:gd name="T74" fmla="*/ 13877958 w 293"/>
                <a:gd name="T75" fmla="*/ 3360208 h 246"/>
                <a:gd name="T76" fmla="*/ 19884624 w 293"/>
                <a:gd name="T77" fmla="*/ 3360208 h 246"/>
                <a:gd name="T78" fmla="*/ 27548836 w 293"/>
                <a:gd name="T79" fmla="*/ 3360208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1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566357" y="3126968"/>
              <a:ext cx="103369" cy="146359"/>
            </a:xfrm>
            <a:custGeom>
              <a:avLst/>
              <a:gdLst>
                <a:gd name="T0" fmla="*/ 3306842 w 200"/>
                <a:gd name="T1" fmla="*/ 11480800 h 246"/>
                <a:gd name="T2" fmla="*/ 5144357 w 200"/>
                <a:gd name="T3" fmla="*/ 7280275 h 246"/>
                <a:gd name="T4" fmla="*/ 6981444 w 200"/>
                <a:gd name="T5" fmla="*/ 4480454 h 246"/>
                <a:gd name="T6" fmla="*/ 9185862 w 200"/>
                <a:gd name="T7" fmla="*/ 2520421 h 246"/>
                <a:gd name="T8" fmla="*/ 13411676 w 200"/>
                <a:gd name="T9" fmla="*/ 279929 h 246"/>
                <a:gd name="T10" fmla="*/ 16167306 w 200"/>
                <a:gd name="T11" fmla="*/ 3360208 h 246"/>
                <a:gd name="T12" fmla="*/ 19841909 w 200"/>
                <a:gd name="T13" fmla="*/ 9520767 h 246"/>
                <a:gd name="T14" fmla="*/ 22964870 w 200"/>
                <a:gd name="T15" fmla="*/ 14000692 h 246"/>
                <a:gd name="T16" fmla="*/ 25537049 w 200"/>
                <a:gd name="T17" fmla="*/ 16241183 h 246"/>
                <a:gd name="T18" fmla="*/ 27925347 w 200"/>
                <a:gd name="T19" fmla="*/ 17921288 h 246"/>
                <a:gd name="T20" fmla="*/ 30497526 w 200"/>
                <a:gd name="T21" fmla="*/ 18761075 h 246"/>
                <a:gd name="T22" fmla="*/ 33804368 w 200"/>
                <a:gd name="T23" fmla="*/ 26881667 h 246"/>
                <a:gd name="T24" fmla="*/ 35825335 w 200"/>
                <a:gd name="T25" fmla="*/ 38362467 h 246"/>
                <a:gd name="T26" fmla="*/ 36559998 w 200"/>
                <a:gd name="T27" fmla="*/ 46203129 h 246"/>
                <a:gd name="T28" fmla="*/ 36743878 w 200"/>
                <a:gd name="T29" fmla="*/ 51803300 h 246"/>
                <a:gd name="T30" fmla="*/ 36376547 w 200"/>
                <a:gd name="T31" fmla="*/ 55163508 h 246"/>
                <a:gd name="T32" fmla="*/ 35825335 w 200"/>
                <a:gd name="T33" fmla="*/ 57963329 h 246"/>
                <a:gd name="T34" fmla="*/ 34722911 w 200"/>
                <a:gd name="T35" fmla="*/ 59923892 h 246"/>
                <a:gd name="T36" fmla="*/ 32885825 w 200"/>
                <a:gd name="T37" fmla="*/ 61603996 h 246"/>
                <a:gd name="T38" fmla="*/ 30130194 w 200"/>
                <a:gd name="T39" fmla="*/ 62723712 h 246"/>
                <a:gd name="T40" fmla="*/ 25720929 w 200"/>
                <a:gd name="T41" fmla="*/ 62723712 h 246"/>
                <a:gd name="T42" fmla="*/ 21678995 w 200"/>
                <a:gd name="T43" fmla="*/ 64123887 h 246"/>
                <a:gd name="T44" fmla="*/ 20392692 w 200"/>
                <a:gd name="T45" fmla="*/ 65803992 h 246"/>
                <a:gd name="T46" fmla="*/ 19841909 w 200"/>
                <a:gd name="T47" fmla="*/ 67764025 h 246"/>
                <a:gd name="T48" fmla="*/ 18004393 w 200"/>
                <a:gd name="T49" fmla="*/ 68604342 h 246"/>
                <a:gd name="T50" fmla="*/ 15616095 w 200"/>
                <a:gd name="T51" fmla="*/ 67204167 h 246"/>
                <a:gd name="T52" fmla="*/ 14146340 w 200"/>
                <a:gd name="T53" fmla="*/ 64403817 h 246"/>
                <a:gd name="T54" fmla="*/ 13411676 w 200"/>
                <a:gd name="T55" fmla="*/ 60483750 h 246"/>
                <a:gd name="T56" fmla="*/ 13227796 w 200"/>
                <a:gd name="T57" fmla="*/ 53763333 h 246"/>
                <a:gd name="T58" fmla="*/ 13043916 w 200"/>
                <a:gd name="T59" fmla="*/ 47042917 h 246"/>
                <a:gd name="T60" fmla="*/ 12676584 w 200"/>
                <a:gd name="T61" fmla="*/ 43122850 h 246"/>
                <a:gd name="T62" fmla="*/ 11758041 w 200"/>
                <a:gd name="T63" fmla="*/ 39762642 h 246"/>
                <a:gd name="T64" fmla="*/ 10288286 w 200"/>
                <a:gd name="T65" fmla="*/ 37522150 h 246"/>
                <a:gd name="T66" fmla="*/ 7348776 w 200"/>
                <a:gd name="T67" fmla="*/ 35002258 h 246"/>
                <a:gd name="T68" fmla="*/ 3306842 w 200"/>
                <a:gd name="T69" fmla="*/ 32201908 h 246"/>
                <a:gd name="T70" fmla="*/ 1102424 w 200"/>
                <a:gd name="T71" fmla="*/ 29682017 h 246"/>
                <a:gd name="T72" fmla="*/ 183880 w 200"/>
                <a:gd name="T73" fmla="*/ 27441525 h 246"/>
                <a:gd name="T74" fmla="*/ 183880 w 200"/>
                <a:gd name="T75" fmla="*/ 24361775 h 246"/>
                <a:gd name="T76" fmla="*/ 918543 w 200"/>
                <a:gd name="T77" fmla="*/ 21841354 h 246"/>
                <a:gd name="T78" fmla="*/ 1837087 w 200"/>
                <a:gd name="T79" fmla="*/ 19041004 h 246"/>
                <a:gd name="T80" fmla="*/ 2388299 w 200"/>
                <a:gd name="T81" fmla="*/ 15680796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2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8251656" y="4585200"/>
              <a:ext cx="279479" cy="285578"/>
            </a:xfrm>
            <a:custGeom>
              <a:avLst/>
              <a:gdLst>
                <a:gd name="T0" fmla="*/ 16889418 w 538"/>
                <a:gd name="T1" fmla="*/ 5712653 h 487"/>
                <a:gd name="T2" fmla="*/ 29695203 w 538"/>
                <a:gd name="T3" fmla="*/ 12785014 h 487"/>
                <a:gd name="T4" fmla="*/ 37490252 w 538"/>
                <a:gd name="T5" fmla="*/ 19041655 h 487"/>
                <a:gd name="T6" fmla="*/ 46955978 w 538"/>
                <a:gd name="T7" fmla="*/ 29922973 h 487"/>
                <a:gd name="T8" fmla="*/ 55678989 w 538"/>
                <a:gd name="T9" fmla="*/ 36995335 h 487"/>
                <a:gd name="T10" fmla="*/ 55493311 w 538"/>
                <a:gd name="T11" fmla="*/ 43795963 h 487"/>
                <a:gd name="T12" fmla="*/ 64402001 w 538"/>
                <a:gd name="T13" fmla="*/ 55765257 h 487"/>
                <a:gd name="T14" fmla="*/ 72939334 w 538"/>
                <a:gd name="T15" fmla="*/ 67462296 h 487"/>
                <a:gd name="T16" fmla="*/ 70340697 w 538"/>
                <a:gd name="T17" fmla="*/ 68006283 h 487"/>
                <a:gd name="T18" fmla="*/ 69041809 w 538"/>
                <a:gd name="T19" fmla="*/ 69638768 h 487"/>
                <a:gd name="T20" fmla="*/ 69041809 w 538"/>
                <a:gd name="T21" fmla="*/ 75623154 h 487"/>
                <a:gd name="T22" fmla="*/ 69969771 w 538"/>
                <a:gd name="T23" fmla="*/ 81879795 h 487"/>
                <a:gd name="T24" fmla="*/ 72197051 w 538"/>
                <a:gd name="T25" fmla="*/ 88408168 h 487"/>
                <a:gd name="T26" fmla="*/ 75537540 w 538"/>
                <a:gd name="T27" fmla="*/ 94664809 h 487"/>
                <a:gd name="T28" fmla="*/ 79435065 w 538"/>
                <a:gd name="T29" fmla="*/ 99561220 h 487"/>
                <a:gd name="T30" fmla="*/ 83703947 w 538"/>
                <a:gd name="T31" fmla="*/ 102281680 h 487"/>
                <a:gd name="T32" fmla="*/ 85559870 w 538"/>
                <a:gd name="T33" fmla="*/ 106090115 h 487"/>
                <a:gd name="T34" fmla="*/ 87601472 w 538"/>
                <a:gd name="T35" fmla="*/ 110442538 h 487"/>
                <a:gd name="T36" fmla="*/ 90756283 w 538"/>
                <a:gd name="T37" fmla="*/ 113434731 h 487"/>
                <a:gd name="T38" fmla="*/ 95210844 w 538"/>
                <a:gd name="T39" fmla="*/ 117514899 h 487"/>
                <a:gd name="T40" fmla="*/ 96138805 w 538"/>
                <a:gd name="T41" fmla="*/ 120779347 h 487"/>
                <a:gd name="T42" fmla="*/ 97437693 w 538"/>
                <a:gd name="T43" fmla="*/ 122411310 h 487"/>
                <a:gd name="T44" fmla="*/ 99850652 w 538"/>
                <a:gd name="T45" fmla="*/ 124043795 h 487"/>
                <a:gd name="T46" fmla="*/ 99108369 w 538"/>
                <a:gd name="T47" fmla="*/ 128396218 h 487"/>
                <a:gd name="T48" fmla="*/ 96324484 w 538"/>
                <a:gd name="T49" fmla="*/ 131660144 h 487"/>
                <a:gd name="T50" fmla="*/ 90941962 w 538"/>
                <a:gd name="T51" fmla="*/ 132476386 h 487"/>
                <a:gd name="T52" fmla="*/ 83146912 w 538"/>
                <a:gd name="T53" fmla="*/ 130572168 h 487"/>
                <a:gd name="T54" fmla="*/ 76836859 w 538"/>
                <a:gd name="T55" fmla="*/ 126763733 h 487"/>
                <a:gd name="T56" fmla="*/ 71640015 w 538"/>
                <a:gd name="T57" fmla="*/ 121323335 h 487"/>
                <a:gd name="T58" fmla="*/ 65886567 w 538"/>
                <a:gd name="T59" fmla="*/ 112890743 h 487"/>
                <a:gd name="T60" fmla="*/ 57905839 w 538"/>
                <a:gd name="T61" fmla="*/ 99289487 h 487"/>
                <a:gd name="T62" fmla="*/ 50853503 w 538"/>
                <a:gd name="T63" fmla="*/ 89768398 h 487"/>
                <a:gd name="T64" fmla="*/ 45656659 w 538"/>
                <a:gd name="T65" fmla="*/ 85959963 h 487"/>
                <a:gd name="T66" fmla="*/ 39346176 w 538"/>
                <a:gd name="T67" fmla="*/ 84055745 h 487"/>
                <a:gd name="T68" fmla="*/ 33407480 w 538"/>
                <a:gd name="T69" fmla="*/ 84328000 h 487"/>
                <a:gd name="T70" fmla="*/ 28396315 w 538"/>
                <a:gd name="T71" fmla="*/ 86232218 h 487"/>
                <a:gd name="T72" fmla="*/ 20972191 w 538"/>
                <a:gd name="T73" fmla="*/ 93848567 h 487"/>
                <a:gd name="T74" fmla="*/ 25241073 w 538"/>
                <a:gd name="T75" fmla="*/ 98200990 h 487"/>
                <a:gd name="T76" fmla="*/ 25983356 w 538"/>
                <a:gd name="T77" fmla="*/ 100649195 h 487"/>
                <a:gd name="T78" fmla="*/ 23013793 w 538"/>
                <a:gd name="T79" fmla="*/ 109082308 h 487"/>
                <a:gd name="T80" fmla="*/ 20972191 w 538"/>
                <a:gd name="T81" fmla="*/ 112618489 h 487"/>
                <a:gd name="T82" fmla="*/ 8723012 w 538"/>
                <a:gd name="T83" fmla="*/ 109626296 h 487"/>
                <a:gd name="T84" fmla="*/ 3711846 w 538"/>
                <a:gd name="T85" fmla="*/ 70454489 h 487"/>
                <a:gd name="T86" fmla="*/ 371184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3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8483280" y="4567351"/>
              <a:ext cx="128254" cy="144573"/>
            </a:xfrm>
            <a:custGeom>
              <a:avLst/>
              <a:gdLst>
                <a:gd name="T0" fmla="*/ 24036551 w 253"/>
                <a:gd name="T1" fmla="*/ 273378 h 246"/>
                <a:gd name="T2" fmla="*/ 27747870 w 253"/>
                <a:gd name="T3" fmla="*/ 2185979 h 246"/>
                <a:gd name="T4" fmla="*/ 31636179 w 253"/>
                <a:gd name="T5" fmla="*/ 5737803 h 246"/>
                <a:gd name="T6" fmla="*/ 35170929 w 253"/>
                <a:gd name="T7" fmla="*/ 10109238 h 246"/>
                <a:gd name="T8" fmla="*/ 38529109 w 253"/>
                <a:gd name="T9" fmla="*/ 15574186 h 246"/>
                <a:gd name="T10" fmla="*/ 41356741 w 253"/>
                <a:gd name="T11" fmla="*/ 20765232 h 246"/>
                <a:gd name="T12" fmla="*/ 43301105 w 253"/>
                <a:gd name="T13" fmla="*/ 25683424 h 246"/>
                <a:gd name="T14" fmla="*/ 44538352 w 253"/>
                <a:gd name="T15" fmla="*/ 30328237 h 246"/>
                <a:gd name="T16" fmla="*/ 44538352 w 253"/>
                <a:gd name="T17" fmla="*/ 34973050 h 246"/>
                <a:gd name="T18" fmla="*/ 42947546 w 253"/>
                <a:gd name="T19" fmla="*/ 41257087 h 246"/>
                <a:gd name="T20" fmla="*/ 40473053 w 253"/>
                <a:gd name="T21" fmla="*/ 47541646 h 246"/>
                <a:gd name="T22" fmla="*/ 36938303 w 253"/>
                <a:gd name="T23" fmla="*/ 53279448 h 246"/>
                <a:gd name="T24" fmla="*/ 32519866 w 253"/>
                <a:gd name="T25" fmla="*/ 58470495 h 246"/>
                <a:gd name="T26" fmla="*/ 27747870 w 253"/>
                <a:gd name="T27" fmla="*/ 62569075 h 246"/>
                <a:gd name="T28" fmla="*/ 22799304 w 253"/>
                <a:gd name="T29" fmla="*/ 65574666 h 246"/>
                <a:gd name="T30" fmla="*/ 17673749 w 253"/>
                <a:gd name="T31" fmla="*/ 66940510 h 246"/>
                <a:gd name="T32" fmla="*/ 13078742 w 253"/>
                <a:gd name="T33" fmla="*/ 66940510 h 246"/>
                <a:gd name="T34" fmla="*/ 9367003 w 253"/>
                <a:gd name="T35" fmla="*/ 65574666 h 246"/>
                <a:gd name="T36" fmla="*/ 5832253 w 253"/>
                <a:gd name="T37" fmla="*/ 63934920 h 246"/>
                <a:gd name="T38" fmla="*/ 1943944 w 253"/>
                <a:gd name="T39" fmla="*/ 62569075 h 246"/>
                <a:gd name="T40" fmla="*/ 530128 w 253"/>
                <a:gd name="T41" fmla="*/ 59836863 h 246"/>
                <a:gd name="T42" fmla="*/ 1767375 w 253"/>
                <a:gd name="T43" fmla="*/ 56011661 h 246"/>
                <a:gd name="T44" fmla="*/ 3888309 w 253"/>
                <a:gd name="T45" fmla="*/ 53552304 h 246"/>
                <a:gd name="T46" fmla="*/ 6539371 w 253"/>
                <a:gd name="T47" fmla="*/ 52186459 h 246"/>
                <a:gd name="T48" fmla="*/ 8836874 w 253"/>
                <a:gd name="T49" fmla="*/ 53825682 h 246"/>
                <a:gd name="T50" fmla="*/ 10604249 w 253"/>
                <a:gd name="T51" fmla="*/ 56557894 h 246"/>
                <a:gd name="T52" fmla="*/ 12018065 w 253"/>
                <a:gd name="T53" fmla="*/ 54918671 h 246"/>
                <a:gd name="T54" fmla="*/ 13255312 w 253"/>
                <a:gd name="T55" fmla="*/ 51913081 h 246"/>
                <a:gd name="T56" fmla="*/ 14846117 w 253"/>
                <a:gd name="T57" fmla="*/ 49180869 h 246"/>
                <a:gd name="T58" fmla="*/ 16083364 w 253"/>
                <a:gd name="T59" fmla="*/ 49454247 h 246"/>
                <a:gd name="T60" fmla="*/ 17320610 w 253"/>
                <a:gd name="T61" fmla="*/ 48907490 h 246"/>
                <a:gd name="T62" fmla="*/ 18734426 w 253"/>
                <a:gd name="T63" fmla="*/ 48634635 h 246"/>
                <a:gd name="T64" fmla="*/ 21208499 w 253"/>
                <a:gd name="T65" fmla="*/ 47541646 h 246"/>
                <a:gd name="T66" fmla="*/ 26334054 w 253"/>
                <a:gd name="T67" fmla="*/ 44809433 h 246"/>
                <a:gd name="T68" fmla="*/ 31636179 w 253"/>
                <a:gd name="T69" fmla="*/ 40164620 h 246"/>
                <a:gd name="T70" fmla="*/ 34817369 w 253"/>
                <a:gd name="T71" fmla="*/ 36885651 h 246"/>
                <a:gd name="T72" fmla="*/ 37115293 w 253"/>
                <a:gd name="T73" fmla="*/ 33607206 h 246"/>
                <a:gd name="T74" fmla="*/ 38529109 w 253"/>
                <a:gd name="T75" fmla="*/ 30328237 h 246"/>
                <a:gd name="T76" fmla="*/ 38705678 w 253"/>
                <a:gd name="T77" fmla="*/ 26776413 h 246"/>
                <a:gd name="T78" fmla="*/ 37821991 w 253"/>
                <a:gd name="T79" fmla="*/ 24044201 h 246"/>
                <a:gd name="T80" fmla="*/ 37115293 w 253"/>
                <a:gd name="T81" fmla="*/ 21858222 h 246"/>
                <a:gd name="T82" fmla="*/ 36584744 w 253"/>
                <a:gd name="T83" fmla="*/ 19672243 h 246"/>
                <a:gd name="T84" fmla="*/ 35524488 w 253"/>
                <a:gd name="T85" fmla="*/ 18306398 h 246"/>
                <a:gd name="T86" fmla="*/ 33757113 w 253"/>
                <a:gd name="T87" fmla="*/ 17759642 h 246"/>
                <a:gd name="T88" fmla="*/ 32519866 w 253"/>
                <a:gd name="T89" fmla="*/ 16666652 h 246"/>
                <a:gd name="T90" fmla="*/ 31813168 w 253"/>
                <a:gd name="T91" fmla="*/ 14754051 h 246"/>
                <a:gd name="T92" fmla="*/ 24743249 w 253"/>
                <a:gd name="T93" fmla="*/ 13388207 h 246"/>
                <a:gd name="T94" fmla="*/ 24036551 w 253"/>
                <a:gd name="T95" fmla="*/ 12021839 h 246"/>
                <a:gd name="T96" fmla="*/ 24036551 w 253"/>
                <a:gd name="T97" fmla="*/ 9836383 h 246"/>
                <a:gd name="T98" fmla="*/ 24743249 w 253"/>
                <a:gd name="T99" fmla="*/ 4918191 h 246"/>
                <a:gd name="T100" fmla="*/ 19441124 w 253"/>
                <a:gd name="T101" fmla="*/ 3005590 h 246"/>
                <a:gd name="T102" fmla="*/ 17143621 w 253"/>
                <a:gd name="T103" fmla="*/ 3278969 h 246"/>
                <a:gd name="T104" fmla="*/ 15199676 w 253"/>
                <a:gd name="T105" fmla="*/ 4918191 h 246"/>
                <a:gd name="T106" fmla="*/ 18380867 w 253"/>
                <a:gd name="T107" fmla="*/ 1366368 h 246"/>
                <a:gd name="T108" fmla="*/ 19971673 w 253"/>
                <a:gd name="T109" fmla="*/ 273378 h 246"/>
                <a:gd name="T110" fmla="*/ 22445745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4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404413" y="4155048"/>
              <a:ext cx="76570" cy="133865"/>
            </a:xfrm>
            <a:custGeom>
              <a:avLst/>
              <a:gdLst>
                <a:gd name="T0" fmla="*/ 8315798 w 141"/>
                <a:gd name="T1" fmla="*/ 62175430 h 228"/>
                <a:gd name="T2" fmla="*/ 7301599 w 141"/>
                <a:gd name="T3" fmla="*/ 59993652 h 228"/>
                <a:gd name="T4" fmla="*/ 5881631 w 141"/>
                <a:gd name="T5" fmla="*/ 56721509 h 228"/>
                <a:gd name="T6" fmla="*/ 4462113 w 141"/>
                <a:gd name="T7" fmla="*/ 52903660 h 228"/>
                <a:gd name="T8" fmla="*/ 3245255 w 141"/>
                <a:gd name="T9" fmla="*/ 48540627 h 228"/>
                <a:gd name="T10" fmla="*/ 2028397 w 141"/>
                <a:gd name="T11" fmla="*/ 44450187 h 228"/>
                <a:gd name="T12" fmla="*/ 1014199 w 141"/>
                <a:gd name="T13" fmla="*/ 40359746 h 228"/>
                <a:gd name="T14" fmla="*/ 405770 w 141"/>
                <a:gd name="T15" fmla="*/ 36814488 h 228"/>
                <a:gd name="T16" fmla="*/ 0 w 141"/>
                <a:gd name="T17" fmla="*/ 33541823 h 228"/>
                <a:gd name="T18" fmla="*/ 405770 w 141"/>
                <a:gd name="T19" fmla="*/ 28360493 h 228"/>
                <a:gd name="T20" fmla="*/ 811089 w 141"/>
                <a:gd name="T21" fmla="*/ 23724869 h 228"/>
                <a:gd name="T22" fmla="*/ 1216858 w 141"/>
                <a:gd name="T23" fmla="*/ 19088723 h 228"/>
                <a:gd name="T24" fmla="*/ 1825287 w 141"/>
                <a:gd name="T25" fmla="*/ 14998283 h 228"/>
                <a:gd name="T26" fmla="*/ 3650574 w 141"/>
                <a:gd name="T27" fmla="*/ 7635698 h 228"/>
                <a:gd name="T28" fmla="*/ 5678972 w 141"/>
                <a:gd name="T29" fmla="*/ 0 h 228"/>
                <a:gd name="T30" fmla="*/ 9126887 w 141"/>
                <a:gd name="T31" fmla="*/ 4363032 h 228"/>
                <a:gd name="T32" fmla="*/ 12574801 w 141"/>
                <a:gd name="T33" fmla="*/ 7635698 h 228"/>
                <a:gd name="T34" fmla="*/ 15414287 w 141"/>
                <a:gd name="T35" fmla="*/ 10090067 h 228"/>
                <a:gd name="T36" fmla="*/ 18051113 w 141"/>
                <a:gd name="T37" fmla="*/ 13089619 h 228"/>
                <a:gd name="T38" fmla="*/ 19267972 w 141"/>
                <a:gd name="T39" fmla="*/ 14998283 h 228"/>
                <a:gd name="T40" fmla="*/ 20484830 w 141"/>
                <a:gd name="T41" fmla="*/ 17180060 h 228"/>
                <a:gd name="T42" fmla="*/ 21701688 w 141"/>
                <a:gd name="T43" fmla="*/ 20179612 h 228"/>
                <a:gd name="T44" fmla="*/ 23121206 w 141"/>
                <a:gd name="T45" fmla="*/ 23452278 h 228"/>
                <a:gd name="T46" fmla="*/ 24338514 w 141"/>
                <a:gd name="T47" fmla="*/ 27270127 h 228"/>
                <a:gd name="T48" fmla="*/ 25758032 w 141"/>
                <a:gd name="T49" fmla="*/ 31905751 h 228"/>
                <a:gd name="T50" fmla="*/ 26974890 w 141"/>
                <a:gd name="T51" fmla="*/ 37632263 h 228"/>
                <a:gd name="T52" fmla="*/ 28597518 w 141"/>
                <a:gd name="T53" fmla="*/ 43904481 h 228"/>
                <a:gd name="T54" fmla="*/ 28394858 w 141"/>
                <a:gd name="T55" fmla="*/ 46086259 h 228"/>
                <a:gd name="T56" fmla="*/ 27989089 w 141"/>
                <a:gd name="T57" fmla="*/ 48267514 h 228"/>
                <a:gd name="T58" fmla="*/ 27380660 w 141"/>
                <a:gd name="T59" fmla="*/ 50721882 h 228"/>
                <a:gd name="T60" fmla="*/ 26569121 w 141"/>
                <a:gd name="T61" fmla="*/ 52358476 h 228"/>
                <a:gd name="T62" fmla="*/ 25758032 w 141"/>
                <a:gd name="T63" fmla="*/ 54267140 h 228"/>
                <a:gd name="T64" fmla="*/ 24541174 w 141"/>
                <a:gd name="T65" fmla="*/ 55630620 h 228"/>
                <a:gd name="T66" fmla="*/ 23324316 w 141"/>
                <a:gd name="T67" fmla="*/ 56994100 h 228"/>
                <a:gd name="T68" fmla="*/ 21904348 w 141"/>
                <a:gd name="T69" fmla="*/ 58084989 h 228"/>
                <a:gd name="T70" fmla="*/ 20281720 w 141"/>
                <a:gd name="T71" fmla="*/ 59175878 h 228"/>
                <a:gd name="T72" fmla="*/ 18862202 w 141"/>
                <a:gd name="T73" fmla="*/ 59993652 h 228"/>
                <a:gd name="T74" fmla="*/ 17239574 w 141"/>
                <a:gd name="T75" fmla="*/ 60811949 h 228"/>
                <a:gd name="T76" fmla="*/ 15414287 w 141"/>
                <a:gd name="T77" fmla="*/ 61357133 h 228"/>
                <a:gd name="T78" fmla="*/ 11966372 w 141"/>
                <a:gd name="T79" fmla="*/ 61902838 h 228"/>
                <a:gd name="T80" fmla="*/ 8315798 w 141"/>
                <a:gd name="T81" fmla="*/ 62175430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15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7537644" y="3830203"/>
              <a:ext cx="281393" cy="494407"/>
              <a:chOff x="5062" y="2295"/>
              <a:chExt cx="177" cy="279"/>
            </a:xfrm>
          </p:grpSpPr>
          <p:sp>
            <p:nvSpPr>
              <p:cNvPr id="46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4 w 60"/>
                  <a:gd name="T1" fmla="*/ 12 h 110"/>
                  <a:gd name="T2" fmla="*/ 4 w 60"/>
                  <a:gd name="T3" fmla="*/ 12 h 110"/>
                  <a:gd name="T4" fmla="*/ 5 w 60"/>
                  <a:gd name="T5" fmla="*/ 12 h 110"/>
                  <a:gd name="T6" fmla="*/ 5 w 60"/>
                  <a:gd name="T7" fmla="*/ 11 h 110"/>
                  <a:gd name="T8" fmla="*/ 5 w 60"/>
                  <a:gd name="T9" fmla="*/ 11 h 110"/>
                  <a:gd name="T10" fmla="*/ 5 w 60"/>
                  <a:gd name="T11" fmla="*/ 10 h 110"/>
                  <a:gd name="T12" fmla="*/ 6 w 60"/>
                  <a:gd name="T13" fmla="*/ 9 h 110"/>
                  <a:gd name="T14" fmla="*/ 6 w 60"/>
                  <a:gd name="T15" fmla="*/ 9 h 110"/>
                  <a:gd name="T16" fmla="*/ 6 w 60"/>
                  <a:gd name="T17" fmla="*/ 8 h 110"/>
                  <a:gd name="T18" fmla="*/ 6 w 60"/>
                  <a:gd name="T19" fmla="*/ 7 h 110"/>
                  <a:gd name="T20" fmla="*/ 6 w 60"/>
                  <a:gd name="T21" fmla="*/ 5 h 110"/>
                  <a:gd name="T22" fmla="*/ 6 w 60"/>
                  <a:gd name="T23" fmla="*/ 4 h 110"/>
                  <a:gd name="T24" fmla="*/ 5 w 60"/>
                  <a:gd name="T25" fmla="*/ 3 h 110"/>
                  <a:gd name="T26" fmla="*/ 5 w 60"/>
                  <a:gd name="T27" fmla="*/ 2 h 110"/>
                  <a:gd name="T28" fmla="*/ 5 w 60"/>
                  <a:gd name="T29" fmla="*/ 1 h 110"/>
                  <a:gd name="T30" fmla="*/ 4 w 60"/>
                  <a:gd name="T31" fmla="*/ 1 h 110"/>
                  <a:gd name="T32" fmla="*/ 4 w 60"/>
                  <a:gd name="T33" fmla="*/ 0 h 110"/>
                  <a:gd name="T34" fmla="*/ 3 w 60"/>
                  <a:gd name="T35" fmla="*/ 0 h 110"/>
                  <a:gd name="T36" fmla="*/ 3 w 60"/>
                  <a:gd name="T37" fmla="*/ 1 h 110"/>
                  <a:gd name="T38" fmla="*/ 3 w 60"/>
                  <a:gd name="T39" fmla="*/ 1 h 110"/>
                  <a:gd name="T40" fmla="*/ 3 w 60"/>
                  <a:gd name="T41" fmla="*/ 2 h 110"/>
                  <a:gd name="T42" fmla="*/ 2 w 60"/>
                  <a:gd name="T43" fmla="*/ 3 h 110"/>
                  <a:gd name="T44" fmla="*/ 2 w 60"/>
                  <a:gd name="T45" fmla="*/ 4 h 110"/>
                  <a:gd name="T46" fmla="*/ 1 w 60"/>
                  <a:gd name="T47" fmla="*/ 6 h 110"/>
                  <a:gd name="T48" fmla="*/ 1 w 60"/>
                  <a:gd name="T49" fmla="*/ 7 h 110"/>
                  <a:gd name="T50" fmla="*/ 1 w 60"/>
                  <a:gd name="T51" fmla="*/ 7 h 110"/>
                  <a:gd name="T52" fmla="*/ 0 w 60"/>
                  <a:gd name="T53" fmla="*/ 8 h 110"/>
                  <a:gd name="T54" fmla="*/ 0 w 60"/>
                  <a:gd name="T55" fmla="*/ 8 h 110"/>
                  <a:gd name="T56" fmla="*/ 0 w 60"/>
                  <a:gd name="T57" fmla="*/ 8 h 110"/>
                  <a:gd name="T58" fmla="*/ 0 w 60"/>
                  <a:gd name="T59" fmla="*/ 9 h 110"/>
                  <a:gd name="T60" fmla="*/ 0 w 60"/>
                  <a:gd name="T61" fmla="*/ 9 h 110"/>
                  <a:gd name="T62" fmla="*/ 1 w 60"/>
                  <a:gd name="T63" fmla="*/ 10 h 110"/>
                  <a:gd name="T64" fmla="*/ 1 w 60"/>
                  <a:gd name="T65" fmla="*/ 11 h 110"/>
                  <a:gd name="T66" fmla="*/ 2 w 60"/>
                  <a:gd name="T67" fmla="*/ 11 h 110"/>
                  <a:gd name="T68" fmla="*/ 3 w 60"/>
                  <a:gd name="T69" fmla="*/ 12 h 110"/>
                  <a:gd name="T70" fmla="*/ 3 w 60"/>
                  <a:gd name="T71" fmla="*/ 12 h 110"/>
                  <a:gd name="T72" fmla="*/ 4 w 60"/>
                  <a:gd name="T73" fmla="*/ 12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 h 75"/>
                  <a:gd name="T2" fmla="*/ 1 w 72"/>
                  <a:gd name="T3" fmla="*/ 2 h 75"/>
                  <a:gd name="T4" fmla="*/ 2 w 72"/>
                  <a:gd name="T5" fmla="*/ 3 h 75"/>
                  <a:gd name="T6" fmla="*/ 3 w 72"/>
                  <a:gd name="T7" fmla="*/ 4 h 75"/>
                  <a:gd name="T8" fmla="*/ 3 w 72"/>
                  <a:gd name="T9" fmla="*/ 4 h 75"/>
                  <a:gd name="T10" fmla="*/ 4 w 72"/>
                  <a:gd name="T11" fmla="*/ 5 h 75"/>
                  <a:gd name="T12" fmla="*/ 5 w 72"/>
                  <a:gd name="T13" fmla="*/ 6 h 75"/>
                  <a:gd name="T14" fmla="*/ 5 w 72"/>
                  <a:gd name="T15" fmla="*/ 7 h 75"/>
                  <a:gd name="T16" fmla="*/ 5 w 72"/>
                  <a:gd name="T17" fmla="*/ 8 h 75"/>
                  <a:gd name="T18" fmla="*/ 8 w 72"/>
                  <a:gd name="T19" fmla="*/ 8 h 75"/>
                  <a:gd name="T20" fmla="*/ 7 w 72"/>
                  <a:gd name="T21" fmla="*/ 6 h 75"/>
                  <a:gd name="T22" fmla="*/ 7 w 72"/>
                  <a:gd name="T23" fmla="*/ 4 h 75"/>
                  <a:gd name="T24" fmla="*/ 7 w 72"/>
                  <a:gd name="T25" fmla="*/ 3 h 75"/>
                  <a:gd name="T26" fmla="*/ 7 w 72"/>
                  <a:gd name="T27" fmla="*/ 2 h 75"/>
                  <a:gd name="T28" fmla="*/ 7 w 72"/>
                  <a:gd name="T29" fmla="*/ 1 h 75"/>
                  <a:gd name="T30" fmla="*/ 8 w 72"/>
                  <a:gd name="T31" fmla="*/ 0 h 75"/>
                  <a:gd name="T32" fmla="*/ 6 w 72"/>
                  <a:gd name="T33" fmla="*/ 0 h 75"/>
                  <a:gd name="T34" fmla="*/ 4 w 72"/>
                  <a:gd name="T35" fmla="*/ 0 h 75"/>
                  <a:gd name="T36" fmla="*/ 2 w 72"/>
                  <a:gd name="T37" fmla="*/ 0 h 75"/>
                  <a:gd name="T38" fmla="*/ 1 w 72"/>
                  <a:gd name="T39" fmla="*/ 0 h 75"/>
                  <a:gd name="T40" fmla="*/ 1 w 72"/>
                  <a:gd name="T41" fmla="*/ 1 h 75"/>
                  <a:gd name="T42" fmla="*/ 1 w 72"/>
                  <a:gd name="T43" fmla="*/ 1 h 75"/>
                  <a:gd name="T44" fmla="*/ 0 w 72"/>
                  <a:gd name="T45" fmla="*/ 1 h 75"/>
                  <a:gd name="T46" fmla="*/ 0 w 72"/>
                  <a:gd name="T47" fmla="*/ 1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2 w 15"/>
                  <a:gd name="T1" fmla="*/ 5 h 49"/>
                  <a:gd name="T2" fmla="*/ 2 w 15"/>
                  <a:gd name="T3" fmla="*/ 4 h 49"/>
                  <a:gd name="T4" fmla="*/ 2 w 15"/>
                  <a:gd name="T5" fmla="*/ 2 h 49"/>
                  <a:gd name="T6" fmla="*/ 2 w 15"/>
                  <a:gd name="T7" fmla="*/ 1 h 49"/>
                  <a:gd name="T8" fmla="*/ 1 w 15"/>
                  <a:gd name="T9" fmla="*/ 1 h 49"/>
                  <a:gd name="T10" fmla="*/ 1 w 15"/>
                  <a:gd name="T11" fmla="*/ 0 h 49"/>
                  <a:gd name="T12" fmla="*/ 1 w 15"/>
                  <a:gd name="T13" fmla="*/ 0 h 49"/>
                  <a:gd name="T14" fmla="*/ 0 w 15"/>
                  <a:gd name="T15" fmla="*/ 1 h 49"/>
                  <a:gd name="T16" fmla="*/ 0 w 15"/>
                  <a:gd name="T17" fmla="*/ 2 h 49"/>
                  <a:gd name="T18" fmla="*/ 0 w 15"/>
                  <a:gd name="T19" fmla="*/ 3 h 49"/>
                  <a:gd name="T20" fmla="*/ 0 w 15"/>
                  <a:gd name="T21" fmla="*/ 3 h 49"/>
                  <a:gd name="T22" fmla="*/ 0 w 15"/>
                  <a:gd name="T23" fmla="*/ 4 h 49"/>
                  <a:gd name="T24" fmla="*/ 0 w 15"/>
                  <a:gd name="T25" fmla="*/ 5 h 49"/>
                  <a:gd name="T26" fmla="*/ 1 w 15"/>
                  <a:gd name="T27" fmla="*/ 5 h 49"/>
                  <a:gd name="T28" fmla="*/ 1 w 15"/>
                  <a:gd name="T29" fmla="*/ 5 h 49"/>
                  <a:gd name="T30" fmla="*/ 1 w 15"/>
                  <a:gd name="T31" fmla="*/ 5 h 49"/>
                  <a:gd name="T32" fmla="*/ 2 w 15"/>
                  <a:gd name="T33" fmla="*/ 5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 w 47"/>
                  <a:gd name="T1" fmla="*/ 1 h 40"/>
                  <a:gd name="T2" fmla="*/ 0 w 47"/>
                  <a:gd name="T3" fmla="*/ 4 h 40"/>
                  <a:gd name="T4" fmla="*/ 1 w 47"/>
                  <a:gd name="T5" fmla="*/ 4 h 40"/>
                  <a:gd name="T6" fmla="*/ 1 w 47"/>
                  <a:gd name="T7" fmla="*/ 4 h 40"/>
                  <a:gd name="T8" fmla="*/ 2 w 47"/>
                  <a:gd name="T9" fmla="*/ 4 h 40"/>
                  <a:gd name="T10" fmla="*/ 3 w 47"/>
                  <a:gd name="T11" fmla="*/ 4 h 40"/>
                  <a:gd name="T12" fmla="*/ 3 w 47"/>
                  <a:gd name="T13" fmla="*/ 4 h 40"/>
                  <a:gd name="T14" fmla="*/ 4 w 47"/>
                  <a:gd name="T15" fmla="*/ 4 h 40"/>
                  <a:gd name="T16" fmla="*/ 4 w 47"/>
                  <a:gd name="T17" fmla="*/ 3 h 40"/>
                  <a:gd name="T18" fmla="*/ 5 w 47"/>
                  <a:gd name="T19" fmla="*/ 3 h 40"/>
                  <a:gd name="T20" fmla="*/ 5 w 47"/>
                  <a:gd name="T21" fmla="*/ 0 h 40"/>
                  <a:gd name="T22" fmla="*/ 4 w 47"/>
                  <a:gd name="T23" fmla="*/ 0 h 40"/>
                  <a:gd name="T24" fmla="*/ 4 w 47"/>
                  <a:gd name="T25" fmla="*/ 0 h 40"/>
                  <a:gd name="T26" fmla="*/ 3 w 47"/>
                  <a:gd name="T27" fmla="*/ 0 h 40"/>
                  <a:gd name="T28" fmla="*/ 2 w 47"/>
                  <a:gd name="T29" fmla="*/ 1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1 h 31"/>
                  <a:gd name="T4" fmla="*/ 1 w 39"/>
                  <a:gd name="T5" fmla="*/ 1 h 31"/>
                  <a:gd name="T6" fmla="*/ 1 w 39"/>
                  <a:gd name="T7" fmla="*/ 2 h 31"/>
                  <a:gd name="T8" fmla="*/ 2 w 39"/>
                  <a:gd name="T9" fmla="*/ 2 h 31"/>
                  <a:gd name="T10" fmla="*/ 3 w 39"/>
                  <a:gd name="T11" fmla="*/ 3 h 31"/>
                  <a:gd name="T12" fmla="*/ 3 w 39"/>
                  <a:gd name="T13" fmla="*/ 3 h 31"/>
                  <a:gd name="T14" fmla="*/ 4 w 39"/>
                  <a:gd name="T15" fmla="*/ 3 h 31"/>
                  <a:gd name="T16" fmla="*/ 4 w 39"/>
                  <a:gd name="T17" fmla="*/ 3 h 31"/>
                  <a:gd name="T18" fmla="*/ 4 w 39"/>
                  <a:gd name="T19" fmla="*/ 2 h 31"/>
                  <a:gd name="T20" fmla="*/ 3 w 39"/>
                  <a:gd name="T21" fmla="*/ 2 h 31"/>
                  <a:gd name="T22" fmla="*/ 2 w 39"/>
                  <a:gd name="T23" fmla="*/ 1 h 31"/>
                  <a:gd name="T24" fmla="*/ 1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 w 34"/>
                  <a:gd name="T3" fmla="*/ 2 h 19"/>
                  <a:gd name="T4" fmla="*/ 3 w 34"/>
                  <a:gd name="T5" fmla="*/ 0 h 19"/>
                  <a:gd name="T6" fmla="*/ 2 w 34"/>
                  <a:gd name="T7" fmla="*/ 0 h 19"/>
                  <a:gd name="T8" fmla="*/ 1 w 34"/>
                  <a:gd name="T9" fmla="*/ 0 h 19"/>
                  <a:gd name="T10" fmla="*/ 1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2 w 19"/>
                  <a:gd name="T3" fmla="*/ 1 h 12"/>
                  <a:gd name="T4" fmla="*/ 1 w 19"/>
                  <a:gd name="T5" fmla="*/ 1 h 12"/>
                  <a:gd name="T6" fmla="*/ 1 w 19"/>
                  <a:gd name="T7" fmla="*/ 1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3 w 126"/>
                  <a:gd name="T1" fmla="*/ 0 h 166"/>
                  <a:gd name="T2" fmla="*/ 13 w 126"/>
                  <a:gd name="T3" fmla="*/ 1 h 166"/>
                  <a:gd name="T4" fmla="*/ 13 w 126"/>
                  <a:gd name="T5" fmla="*/ 1 h 166"/>
                  <a:gd name="T6" fmla="*/ 14 w 126"/>
                  <a:gd name="T7" fmla="*/ 1 h 166"/>
                  <a:gd name="T8" fmla="*/ 14 w 126"/>
                  <a:gd name="T9" fmla="*/ 2 h 166"/>
                  <a:gd name="T10" fmla="*/ 14 w 126"/>
                  <a:gd name="T11" fmla="*/ 2 h 166"/>
                  <a:gd name="T12" fmla="*/ 14 w 126"/>
                  <a:gd name="T13" fmla="*/ 3 h 166"/>
                  <a:gd name="T14" fmla="*/ 14 w 126"/>
                  <a:gd name="T15" fmla="*/ 4 h 166"/>
                  <a:gd name="T16" fmla="*/ 13 w 126"/>
                  <a:gd name="T17" fmla="*/ 5 h 166"/>
                  <a:gd name="T18" fmla="*/ 13 w 126"/>
                  <a:gd name="T19" fmla="*/ 6 h 166"/>
                  <a:gd name="T20" fmla="*/ 12 w 126"/>
                  <a:gd name="T21" fmla="*/ 7 h 166"/>
                  <a:gd name="T22" fmla="*/ 10 w 126"/>
                  <a:gd name="T23" fmla="*/ 9 h 166"/>
                  <a:gd name="T24" fmla="*/ 8 w 126"/>
                  <a:gd name="T25" fmla="*/ 11 h 166"/>
                  <a:gd name="T26" fmla="*/ 6 w 126"/>
                  <a:gd name="T27" fmla="*/ 14 h 166"/>
                  <a:gd name="T28" fmla="*/ 4 w 126"/>
                  <a:gd name="T29" fmla="*/ 16 h 166"/>
                  <a:gd name="T30" fmla="*/ 3 w 126"/>
                  <a:gd name="T31" fmla="*/ 17 h 166"/>
                  <a:gd name="T32" fmla="*/ 2 w 126"/>
                  <a:gd name="T33" fmla="*/ 17 h 166"/>
                  <a:gd name="T34" fmla="*/ 1 w 126"/>
                  <a:gd name="T35" fmla="*/ 18 h 166"/>
                  <a:gd name="T36" fmla="*/ 0 w 126"/>
                  <a:gd name="T37" fmla="*/ 18 h 166"/>
                  <a:gd name="T38" fmla="*/ 0 w 126"/>
                  <a:gd name="T39" fmla="*/ 18 h 166"/>
                  <a:gd name="T40" fmla="*/ 0 w 126"/>
                  <a:gd name="T41" fmla="*/ 17 h 166"/>
                  <a:gd name="T42" fmla="*/ 0 w 126"/>
                  <a:gd name="T43" fmla="*/ 16 h 166"/>
                  <a:gd name="T44" fmla="*/ 0 w 126"/>
                  <a:gd name="T45" fmla="*/ 15 h 166"/>
                  <a:gd name="T46" fmla="*/ 0 w 126"/>
                  <a:gd name="T47" fmla="*/ 14 h 166"/>
                  <a:gd name="T48" fmla="*/ 1 w 126"/>
                  <a:gd name="T49" fmla="*/ 14 h 166"/>
                  <a:gd name="T50" fmla="*/ 1 w 126"/>
                  <a:gd name="T51" fmla="*/ 14 h 166"/>
                  <a:gd name="T52" fmla="*/ 2 w 126"/>
                  <a:gd name="T53" fmla="*/ 13 h 166"/>
                  <a:gd name="T54" fmla="*/ 3 w 126"/>
                  <a:gd name="T55" fmla="*/ 13 h 166"/>
                  <a:gd name="T56" fmla="*/ 4 w 126"/>
                  <a:gd name="T57" fmla="*/ 12 h 166"/>
                  <a:gd name="T58" fmla="*/ 4 w 126"/>
                  <a:gd name="T59" fmla="*/ 11 h 166"/>
                  <a:gd name="T60" fmla="*/ 5 w 126"/>
                  <a:gd name="T61" fmla="*/ 11 h 166"/>
                  <a:gd name="T62" fmla="*/ 6 w 126"/>
                  <a:gd name="T63" fmla="*/ 10 h 166"/>
                  <a:gd name="T64" fmla="*/ 6 w 126"/>
                  <a:gd name="T65" fmla="*/ 9 h 166"/>
                  <a:gd name="T66" fmla="*/ 7 w 126"/>
                  <a:gd name="T67" fmla="*/ 7 h 166"/>
                  <a:gd name="T68" fmla="*/ 8 w 126"/>
                  <a:gd name="T69" fmla="*/ 6 h 166"/>
                  <a:gd name="T70" fmla="*/ 9 w 126"/>
                  <a:gd name="T71" fmla="*/ 4 h 166"/>
                  <a:gd name="T72" fmla="*/ 10 w 126"/>
                  <a:gd name="T73" fmla="*/ 3 h 166"/>
                  <a:gd name="T74" fmla="*/ 10 w 126"/>
                  <a:gd name="T75" fmla="*/ 2 h 166"/>
                  <a:gd name="T76" fmla="*/ 11 w 126"/>
                  <a:gd name="T77" fmla="*/ 1 h 166"/>
                  <a:gd name="T78" fmla="*/ 12 w 126"/>
                  <a:gd name="T79" fmla="*/ 1 h 166"/>
                  <a:gd name="T80" fmla="*/ 13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1 w 259"/>
                  <a:gd name="T1" fmla="*/ 20 h 259"/>
                  <a:gd name="T2" fmla="*/ 0 w 259"/>
                  <a:gd name="T3" fmla="*/ 18 h 259"/>
                  <a:gd name="T4" fmla="*/ 0 w 259"/>
                  <a:gd name="T5" fmla="*/ 16 h 259"/>
                  <a:gd name="T6" fmla="*/ 1 w 259"/>
                  <a:gd name="T7" fmla="*/ 14 h 259"/>
                  <a:gd name="T8" fmla="*/ 2 w 259"/>
                  <a:gd name="T9" fmla="*/ 14 h 259"/>
                  <a:gd name="T10" fmla="*/ 4 w 259"/>
                  <a:gd name="T11" fmla="*/ 13 h 259"/>
                  <a:gd name="T12" fmla="*/ 5 w 259"/>
                  <a:gd name="T13" fmla="*/ 11 h 259"/>
                  <a:gd name="T14" fmla="*/ 7 w 259"/>
                  <a:gd name="T15" fmla="*/ 10 h 259"/>
                  <a:gd name="T16" fmla="*/ 7 w 259"/>
                  <a:gd name="T17" fmla="*/ 10 h 259"/>
                  <a:gd name="T18" fmla="*/ 9 w 259"/>
                  <a:gd name="T19" fmla="*/ 10 h 259"/>
                  <a:gd name="T20" fmla="*/ 10 w 259"/>
                  <a:gd name="T21" fmla="*/ 10 h 259"/>
                  <a:gd name="T22" fmla="*/ 11 w 259"/>
                  <a:gd name="T23" fmla="*/ 12 h 259"/>
                  <a:gd name="T24" fmla="*/ 11 w 259"/>
                  <a:gd name="T25" fmla="*/ 12 h 259"/>
                  <a:gd name="T26" fmla="*/ 13 w 259"/>
                  <a:gd name="T27" fmla="*/ 12 h 259"/>
                  <a:gd name="T28" fmla="*/ 14 w 259"/>
                  <a:gd name="T29" fmla="*/ 12 h 259"/>
                  <a:gd name="T30" fmla="*/ 16 w 259"/>
                  <a:gd name="T31" fmla="*/ 10 h 259"/>
                  <a:gd name="T32" fmla="*/ 17 w 259"/>
                  <a:gd name="T33" fmla="*/ 9 h 259"/>
                  <a:gd name="T34" fmla="*/ 19 w 259"/>
                  <a:gd name="T35" fmla="*/ 6 h 259"/>
                  <a:gd name="T36" fmla="*/ 20 w 259"/>
                  <a:gd name="T37" fmla="*/ 2 h 259"/>
                  <a:gd name="T38" fmla="*/ 21 w 259"/>
                  <a:gd name="T39" fmla="*/ 0 h 259"/>
                  <a:gd name="T40" fmla="*/ 22 w 259"/>
                  <a:gd name="T41" fmla="*/ 1 h 259"/>
                  <a:gd name="T42" fmla="*/ 23 w 259"/>
                  <a:gd name="T43" fmla="*/ 2 h 259"/>
                  <a:gd name="T44" fmla="*/ 24 w 259"/>
                  <a:gd name="T45" fmla="*/ 4 h 259"/>
                  <a:gd name="T46" fmla="*/ 24 w 259"/>
                  <a:gd name="T47" fmla="*/ 6 h 259"/>
                  <a:gd name="T48" fmla="*/ 24 w 259"/>
                  <a:gd name="T49" fmla="*/ 7 h 259"/>
                  <a:gd name="T50" fmla="*/ 25 w 259"/>
                  <a:gd name="T51" fmla="*/ 8 h 259"/>
                  <a:gd name="T52" fmla="*/ 25 w 259"/>
                  <a:gd name="T53" fmla="*/ 10 h 259"/>
                  <a:gd name="T54" fmla="*/ 25 w 259"/>
                  <a:gd name="T55" fmla="*/ 12 h 259"/>
                  <a:gd name="T56" fmla="*/ 26 w 259"/>
                  <a:gd name="T57" fmla="*/ 12 h 259"/>
                  <a:gd name="T58" fmla="*/ 26 w 259"/>
                  <a:gd name="T59" fmla="*/ 13 h 259"/>
                  <a:gd name="T60" fmla="*/ 27 w 259"/>
                  <a:gd name="T61" fmla="*/ 15 h 259"/>
                  <a:gd name="T62" fmla="*/ 27 w 259"/>
                  <a:gd name="T63" fmla="*/ 18 h 259"/>
                  <a:gd name="T64" fmla="*/ 26 w 259"/>
                  <a:gd name="T65" fmla="*/ 26 h 259"/>
                  <a:gd name="T66" fmla="*/ 26 w 259"/>
                  <a:gd name="T67" fmla="*/ 25 h 259"/>
                  <a:gd name="T68" fmla="*/ 26 w 259"/>
                  <a:gd name="T69" fmla="*/ 23 h 259"/>
                  <a:gd name="T70" fmla="*/ 26 w 259"/>
                  <a:gd name="T71" fmla="*/ 21 h 259"/>
                  <a:gd name="T72" fmla="*/ 24 w 259"/>
                  <a:gd name="T73" fmla="*/ 21 h 259"/>
                  <a:gd name="T74" fmla="*/ 22 w 259"/>
                  <a:gd name="T75" fmla="*/ 20 h 259"/>
                  <a:gd name="T76" fmla="*/ 21 w 259"/>
                  <a:gd name="T77" fmla="*/ 22 h 259"/>
                  <a:gd name="T78" fmla="*/ 20 w 259"/>
                  <a:gd name="T79" fmla="*/ 24 h 259"/>
                  <a:gd name="T80" fmla="*/ 20 w 259"/>
                  <a:gd name="T81" fmla="*/ 29 h 259"/>
                  <a:gd name="T82" fmla="*/ 13 w 259"/>
                  <a:gd name="T83" fmla="*/ 27 h 259"/>
                  <a:gd name="T84" fmla="*/ 12 w 259"/>
                  <a:gd name="T85" fmla="*/ 24 h 259"/>
                  <a:gd name="T86" fmla="*/ 11 w 259"/>
                  <a:gd name="T87" fmla="*/ 23 h 259"/>
                  <a:gd name="T88" fmla="*/ 11 w 259"/>
                  <a:gd name="T89" fmla="*/ 22 h 259"/>
                  <a:gd name="T90" fmla="*/ 11 w 259"/>
                  <a:gd name="T91" fmla="*/ 21 h 259"/>
                  <a:gd name="T92" fmla="*/ 12 w 259"/>
                  <a:gd name="T93" fmla="*/ 20 h 259"/>
                  <a:gd name="T94" fmla="*/ 12 w 259"/>
                  <a:gd name="T95" fmla="*/ 19 h 259"/>
                  <a:gd name="T96" fmla="*/ 10 w 259"/>
                  <a:gd name="T97" fmla="*/ 17 h 259"/>
                  <a:gd name="T98" fmla="*/ 3 w 259"/>
                  <a:gd name="T99" fmla="*/ 17 h 259"/>
                  <a:gd name="T100" fmla="*/ 2 w 259"/>
                  <a:gd name="T101" fmla="*/ 18 h 259"/>
                  <a:gd name="T102" fmla="*/ 2 w 259"/>
                  <a:gd name="T103" fmla="*/ 19 h 259"/>
                  <a:gd name="T104" fmla="*/ 1 w 259"/>
                  <a:gd name="T105" fmla="*/ 21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 w 72"/>
                  <a:gd name="T1" fmla="*/ 5 h 92"/>
                  <a:gd name="T2" fmla="*/ 7 w 72"/>
                  <a:gd name="T3" fmla="*/ 10 h 92"/>
                  <a:gd name="T4" fmla="*/ 7 w 72"/>
                  <a:gd name="T5" fmla="*/ 10 h 92"/>
                  <a:gd name="T6" fmla="*/ 6 w 72"/>
                  <a:gd name="T7" fmla="*/ 9 h 92"/>
                  <a:gd name="T8" fmla="*/ 5 w 72"/>
                  <a:gd name="T9" fmla="*/ 8 h 92"/>
                  <a:gd name="T10" fmla="*/ 5 w 72"/>
                  <a:gd name="T11" fmla="*/ 8 h 92"/>
                  <a:gd name="T12" fmla="*/ 4 w 72"/>
                  <a:gd name="T13" fmla="*/ 7 h 92"/>
                  <a:gd name="T14" fmla="*/ 3 w 72"/>
                  <a:gd name="T15" fmla="*/ 5 h 92"/>
                  <a:gd name="T16" fmla="*/ 3 w 72"/>
                  <a:gd name="T17" fmla="*/ 4 h 92"/>
                  <a:gd name="T18" fmla="*/ 2 w 72"/>
                  <a:gd name="T19" fmla="*/ 3 h 92"/>
                  <a:gd name="T20" fmla="*/ 1 w 72"/>
                  <a:gd name="T21" fmla="*/ 1 h 92"/>
                  <a:gd name="T22" fmla="*/ 0 w 72"/>
                  <a:gd name="T23" fmla="*/ 0 h 92"/>
                  <a:gd name="T24" fmla="*/ 3 w 72"/>
                  <a:gd name="T25" fmla="*/ 1 h 92"/>
                  <a:gd name="T26" fmla="*/ 4 w 72"/>
                  <a:gd name="T27" fmla="*/ 2 h 92"/>
                  <a:gd name="T28" fmla="*/ 5 w 72"/>
                  <a:gd name="T29" fmla="*/ 3 h 92"/>
                  <a:gd name="T30" fmla="*/ 6 w 72"/>
                  <a:gd name="T31" fmla="*/ 3 h 92"/>
                  <a:gd name="T32" fmla="*/ 7 w 72"/>
                  <a:gd name="T33" fmla="*/ 4 h 92"/>
                  <a:gd name="T34" fmla="*/ 7 w 72"/>
                  <a:gd name="T35" fmla="*/ 5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1 w 46"/>
                  <a:gd name="T1" fmla="*/ 1 h 62"/>
                  <a:gd name="T2" fmla="*/ 2 w 46"/>
                  <a:gd name="T3" fmla="*/ 1 h 62"/>
                  <a:gd name="T4" fmla="*/ 4 w 46"/>
                  <a:gd name="T5" fmla="*/ 0 h 62"/>
                  <a:gd name="T6" fmla="*/ 5 w 46"/>
                  <a:gd name="T7" fmla="*/ 0 h 62"/>
                  <a:gd name="T8" fmla="*/ 6 w 46"/>
                  <a:gd name="T9" fmla="*/ 0 h 62"/>
                  <a:gd name="T10" fmla="*/ 6 w 46"/>
                  <a:gd name="T11" fmla="*/ 1 h 62"/>
                  <a:gd name="T12" fmla="*/ 6 w 46"/>
                  <a:gd name="T13" fmla="*/ 2 h 62"/>
                  <a:gd name="T14" fmla="*/ 6 w 46"/>
                  <a:gd name="T15" fmla="*/ 3 h 62"/>
                  <a:gd name="T16" fmla="*/ 6 w 46"/>
                  <a:gd name="T17" fmla="*/ 4 h 62"/>
                  <a:gd name="T18" fmla="*/ 6 w 46"/>
                  <a:gd name="T19" fmla="*/ 5 h 62"/>
                  <a:gd name="T20" fmla="*/ 5 w 46"/>
                  <a:gd name="T21" fmla="*/ 6 h 62"/>
                  <a:gd name="T22" fmla="*/ 5 w 46"/>
                  <a:gd name="T23" fmla="*/ 6 h 62"/>
                  <a:gd name="T24" fmla="*/ 5 w 46"/>
                  <a:gd name="T25" fmla="*/ 7 h 62"/>
                  <a:gd name="T26" fmla="*/ 4 w 46"/>
                  <a:gd name="T27" fmla="*/ 7 h 62"/>
                  <a:gd name="T28" fmla="*/ 4 w 46"/>
                  <a:gd name="T29" fmla="*/ 7 h 62"/>
                  <a:gd name="T30" fmla="*/ 3 w 46"/>
                  <a:gd name="T31" fmla="*/ 7 h 62"/>
                  <a:gd name="T32" fmla="*/ 3 w 46"/>
                  <a:gd name="T33" fmla="*/ 7 h 62"/>
                  <a:gd name="T34" fmla="*/ 2 w 46"/>
                  <a:gd name="T35" fmla="*/ 7 h 62"/>
                  <a:gd name="T36" fmla="*/ 2 w 46"/>
                  <a:gd name="T37" fmla="*/ 6 h 62"/>
                  <a:gd name="T38" fmla="*/ 1 w 46"/>
                  <a:gd name="T39" fmla="*/ 6 h 62"/>
                  <a:gd name="T40" fmla="*/ 1 w 46"/>
                  <a:gd name="T41" fmla="*/ 6 h 62"/>
                  <a:gd name="T42" fmla="*/ 1 w 46"/>
                  <a:gd name="T43" fmla="*/ 5 h 62"/>
                  <a:gd name="T44" fmla="*/ 0 w 46"/>
                  <a:gd name="T45" fmla="*/ 5 h 62"/>
                  <a:gd name="T46" fmla="*/ 0 w 46"/>
                  <a:gd name="T47" fmla="*/ 4 h 62"/>
                  <a:gd name="T48" fmla="*/ 0 w 46"/>
                  <a:gd name="T49" fmla="*/ 3 h 62"/>
                  <a:gd name="T50" fmla="*/ 0 w 46"/>
                  <a:gd name="T51" fmla="*/ 2 h 62"/>
                  <a:gd name="T52" fmla="*/ 0 w 46"/>
                  <a:gd name="T53" fmla="*/ 1 h 62"/>
                  <a:gd name="T54" fmla="*/ 1 w 46"/>
                  <a:gd name="T55" fmla="*/ 1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6 w 152"/>
                  <a:gd name="T1" fmla="*/ 0 h 296"/>
                  <a:gd name="T2" fmla="*/ 7 w 152"/>
                  <a:gd name="T3" fmla="*/ 1 h 296"/>
                  <a:gd name="T4" fmla="*/ 8 w 152"/>
                  <a:gd name="T5" fmla="*/ 2 h 296"/>
                  <a:gd name="T6" fmla="*/ 10 w 152"/>
                  <a:gd name="T7" fmla="*/ 3 h 296"/>
                  <a:gd name="T8" fmla="*/ 11 w 152"/>
                  <a:gd name="T9" fmla="*/ 3 h 296"/>
                  <a:gd name="T10" fmla="*/ 12 w 152"/>
                  <a:gd name="T11" fmla="*/ 2 h 296"/>
                  <a:gd name="T12" fmla="*/ 13 w 152"/>
                  <a:gd name="T13" fmla="*/ 1 h 296"/>
                  <a:gd name="T14" fmla="*/ 13 w 152"/>
                  <a:gd name="T15" fmla="*/ 4 h 296"/>
                  <a:gd name="T16" fmla="*/ 14 w 152"/>
                  <a:gd name="T17" fmla="*/ 7 h 296"/>
                  <a:gd name="T18" fmla="*/ 15 w 152"/>
                  <a:gd name="T19" fmla="*/ 9 h 296"/>
                  <a:gd name="T20" fmla="*/ 16 w 152"/>
                  <a:gd name="T21" fmla="*/ 10 h 296"/>
                  <a:gd name="T22" fmla="*/ 16 w 152"/>
                  <a:gd name="T23" fmla="*/ 11 h 296"/>
                  <a:gd name="T24" fmla="*/ 15 w 152"/>
                  <a:gd name="T25" fmla="*/ 13 h 296"/>
                  <a:gd name="T26" fmla="*/ 14 w 152"/>
                  <a:gd name="T27" fmla="*/ 15 h 296"/>
                  <a:gd name="T28" fmla="*/ 13 w 152"/>
                  <a:gd name="T29" fmla="*/ 17 h 296"/>
                  <a:gd name="T30" fmla="*/ 12 w 152"/>
                  <a:gd name="T31" fmla="*/ 19 h 296"/>
                  <a:gd name="T32" fmla="*/ 13 w 152"/>
                  <a:gd name="T33" fmla="*/ 22 h 296"/>
                  <a:gd name="T34" fmla="*/ 13 w 152"/>
                  <a:gd name="T35" fmla="*/ 23 h 296"/>
                  <a:gd name="T36" fmla="*/ 12 w 152"/>
                  <a:gd name="T37" fmla="*/ 24 h 296"/>
                  <a:gd name="T38" fmla="*/ 13 w 152"/>
                  <a:gd name="T39" fmla="*/ 24 h 296"/>
                  <a:gd name="T40" fmla="*/ 16 w 152"/>
                  <a:gd name="T41" fmla="*/ 24 h 296"/>
                  <a:gd name="T42" fmla="*/ 15 w 152"/>
                  <a:gd name="T43" fmla="*/ 27 h 296"/>
                  <a:gd name="T44" fmla="*/ 15 w 152"/>
                  <a:gd name="T45" fmla="*/ 29 h 296"/>
                  <a:gd name="T46" fmla="*/ 16 w 152"/>
                  <a:gd name="T47" fmla="*/ 31 h 296"/>
                  <a:gd name="T48" fmla="*/ 13 w 152"/>
                  <a:gd name="T49" fmla="*/ 32 h 296"/>
                  <a:gd name="T50" fmla="*/ 12 w 152"/>
                  <a:gd name="T51" fmla="*/ 32 h 296"/>
                  <a:gd name="T52" fmla="*/ 9 w 152"/>
                  <a:gd name="T53" fmla="*/ 32 h 296"/>
                  <a:gd name="T54" fmla="*/ 8 w 152"/>
                  <a:gd name="T55" fmla="*/ 31 h 296"/>
                  <a:gd name="T56" fmla="*/ 7 w 152"/>
                  <a:gd name="T57" fmla="*/ 31 h 296"/>
                  <a:gd name="T58" fmla="*/ 7 w 152"/>
                  <a:gd name="T59" fmla="*/ 30 h 296"/>
                  <a:gd name="T60" fmla="*/ 9 w 152"/>
                  <a:gd name="T61" fmla="*/ 28 h 296"/>
                  <a:gd name="T62" fmla="*/ 8 w 152"/>
                  <a:gd name="T63" fmla="*/ 27 h 296"/>
                  <a:gd name="T64" fmla="*/ 6 w 152"/>
                  <a:gd name="T65" fmla="*/ 26 h 296"/>
                  <a:gd name="T66" fmla="*/ 4 w 152"/>
                  <a:gd name="T67" fmla="*/ 25 h 296"/>
                  <a:gd name="T68" fmla="*/ 3 w 152"/>
                  <a:gd name="T69" fmla="*/ 24 h 296"/>
                  <a:gd name="T70" fmla="*/ 2 w 152"/>
                  <a:gd name="T71" fmla="*/ 23 h 296"/>
                  <a:gd name="T72" fmla="*/ 1 w 152"/>
                  <a:gd name="T73" fmla="*/ 21 h 296"/>
                  <a:gd name="T74" fmla="*/ 0 w 152"/>
                  <a:gd name="T75" fmla="*/ 19 h 296"/>
                  <a:gd name="T76" fmla="*/ 0 w 152"/>
                  <a:gd name="T77" fmla="*/ 17 h 296"/>
                  <a:gd name="T78" fmla="*/ 0 w 152"/>
                  <a:gd name="T79" fmla="*/ 14 h 296"/>
                  <a:gd name="T80" fmla="*/ 3 w 152"/>
                  <a:gd name="T81" fmla="*/ 12 h 296"/>
                  <a:gd name="T82" fmla="*/ 4 w 152"/>
                  <a:gd name="T83" fmla="*/ 5 h 296"/>
                  <a:gd name="T84" fmla="*/ 3 w 152"/>
                  <a:gd name="T85" fmla="*/ 2 h 296"/>
                  <a:gd name="T86" fmla="*/ 3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 w 26"/>
                  <a:gd name="T1" fmla="*/ 4 h 38"/>
                  <a:gd name="T2" fmla="*/ 2 w 26"/>
                  <a:gd name="T3" fmla="*/ 0 h 38"/>
                  <a:gd name="T4" fmla="*/ 2 w 26"/>
                  <a:gd name="T5" fmla="*/ 0 h 38"/>
                  <a:gd name="T6" fmla="*/ 1 w 26"/>
                  <a:gd name="T7" fmla="*/ 0 h 38"/>
                  <a:gd name="T8" fmla="*/ 1 w 26"/>
                  <a:gd name="T9" fmla="*/ 1 h 38"/>
                  <a:gd name="T10" fmla="*/ 0 w 26"/>
                  <a:gd name="T11" fmla="*/ 1 h 38"/>
                  <a:gd name="T12" fmla="*/ 2 w 26"/>
                  <a:gd name="T13" fmla="*/ 3 h 38"/>
                  <a:gd name="T14" fmla="*/ 2 w 26"/>
                  <a:gd name="T15" fmla="*/ 4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2 h 31"/>
                  <a:gd name="T2" fmla="*/ 1 w 34"/>
                  <a:gd name="T3" fmla="*/ 2 h 31"/>
                  <a:gd name="T4" fmla="*/ 1 w 34"/>
                  <a:gd name="T5" fmla="*/ 3 h 31"/>
                  <a:gd name="T6" fmla="*/ 2 w 34"/>
                  <a:gd name="T7" fmla="*/ 3 h 31"/>
                  <a:gd name="T8" fmla="*/ 3 w 34"/>
                  <a:gd name="T9" fmla="*/ 3 h 31"/>
                  <a:gd name="T10" fmla="*/ 3 w 34"/>
                  <a:gd name="T11" fmla="*/ 3 h 31"/>
                  <a:gd name="T12" fmla="*/ 3 w 34"/>
                  <a:gd name="T13" fmla="*/ 2 h 31"/>
                  <a:gd name="T14" fmla="*/ 2 w 34"/>
                  <a:gd name="T15" fmla="*/ 1 h 31"/>
                  <a:gd name="T16" fmla="*/ 2 w 34"/>
                  <a:gd name="T17" fmla="*/ 0 h 31"/>
                  <a:gd name="T18" fmla="*/ 1 w 34"/>
                  <a:gd name="T19" fmla="*/ 1 h 31"/>
                  <a:gd name="T20" fmla="*/ 1 w 34"/>
                  <a:gd name="T21" fmla="*/ 1 h 31"/>
                  <a:gd name="T22" fmla="*/ 1 w 34"/>
                  <a:gd name="T23" fmla="*/ 2 h 31"/>
                  <a:gd name="T24" fmla="*/ 1 w 34"/>
                  <a:gd name="T25" fmla="*/ 2 h 31"/>
                  <a:gd name="T26" fmla="*/ 0 w 34"/>
                  <a:gd name="T27" fmla="*/ 2 h 31"/>
                  <a:gd name="T28" fmla="*/ 0 w 34"/>
                  <a:gd name="T29" fmla="*/ 2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7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1 h 37"/>
                  <a:gd name="T2" fmla="*/ 0 w 20"/>
                  <a:gd name="T3" fmla="*/ 4 h 37"/>
                  <a:gd name="T4" fmla="*/ 1 w 20"/>
                  <a:gd name="T5" fmla="*/ 4 h 37"/>
                  <a:gd name="T6" fmla="*/ 2 w 20"/>
                  <a:gd name="T7" fmla="*/ 3 h 37"/>
                  <a:gd name="T8" fmla="*/ 2 w 20"/>
                  <a:gd name="T9" fmla="*/ 0 h 37"/>
                  <a:gd name="T10" fmla="*/ 0 w 20"/>
                  <a:gd name="T11" fmla="*/ 1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2 h 18"/>
                  <a:gd name="T2" fmla="*/ 0 w 13"/>
                  <a:gd name="T3" fmla="*/ 1 h 18"/>
                  <a:gd name="T4" fmla="*/ 0 w 13"/>
                  <a:gd name="T5" fmla="*/ 1 h 18"/>
                  <a:gd name="T6" fmla="*/ 1 w 13"/>
                  <a:gd name="T7" fmla="*/ 0 h 18"/>
                  <a:gd name="T8" fmla="*/ 1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 w 27"/>
                  <a:gd name="T3" fmla="*/ 3 h 31"/>
                  <a:gd name="T4" fmla="*/ 3 w 27"/>
                  <a:gd name="T5" fmla="*/ 1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 w 20"/>
                  <a:gd name="T1" fmla="*/ 0 h 1"/>
                  <a:gd name="T2" fmla="*/ 1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2 h 13"/>
                  <a:gd name="T2" fmla="*/ 1 w 34"/>
                  <a:gd name="T3" fmla="*/ 2 h 13"/>
                  <a:gd name="T4" fmla="*/ 1 w 34"/>
                  <a:gd name="T5" fmla="*/ 2 h 13"/>
                  <a:gd name="T6" fmla="*/ 2 w 34"/>
                  <a:gd name="T7" fmla="*/ 2 h 13"/>
                  <a:gd name="T8" fmla="*/ 2 w 34"/>
                  <a:gd name="T9" fmla="*/ 1 h 13"/>
                  <a:gd name="T10" fmla="*/ 4 w 34"/>
                  <a:gd name="T11" fmla="*/ 0 h 13"/>
                  <a:gd name="T12" fmla="*/ 4 w 34"/>
                  <a:gd name="T13" fmla="*/ 0 h 13"/>
                  <a:gd name="T14" fmla="*/ 3 w 34"/>
                  <a:gd name="T15" fmla="*/ 0 h 13"/>
                  <a:gd name="T16" fmla="*/ 2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4 w 34"/>
                  <a:gd name="T1" fmla="*/ 2 h 18"/>
                  <a:gd name="T2" fmla="*/ 4 w 34"/>
                  <a:gd name="T3" fmla="*/ 0 h 18"/>
                  <a:gd name="T4" fmla="*/ 4 w 34"/>
                  <a:gd name="T5" fmla="*/ 0 h 18"/>
                  <a:gd name="T6" fmla="*/ 2 w 34"/>
                  <a:gd name="T7" fmla="*/ 0 h 18"/>
                  <a:gd name="T8" fmla="*/ 1 w 34"/>
                  <a:gd name="T9" fmla="*/ 0 h 18"/>
                  <a:gd name="T10" fmla="*/ 0 w 34"/>
                  <a:gd name="T11" fmla="*/ 0 h 18"/>
                  <a:gd name="T12" fmla="*/ 4 w 34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6 w 59"/>
                  <a:gd name="T1" fmla="*/ 3 h 25"/>
                  <a:gd name="T2" fmla="*/ 6 w 59"/>
                  <a:gd name="T3" fmla="*/ 1 h 25"/>
                  <a:gd name="T4" fmla="*/ 7 w 59"/>
                  <a:gd name="T5" fmla="*/ 0 h 25"/>
                  <a:gd name="T6" fmla="*/ 5 w 59"/>
                  <a:gd name="T7" fmla="*/ 0 h 25"/>
                  <a:gd name="T8" fmla="*/ 3 w 59"/>
                  <a:gd name="T9" fmla="*/ 0 h 25"/>
                  <a:gd name="T10" fmla="*/ 2 w 59"/>
                  <a:gd name="T11" fmla="*/ 0 h 25"/>
                  <a:gd name="T12" fmla="*/ 1 w 59"/>
                  <a:gd name="T13" fmla="*/ 0 h 25"/>
                  <a:gd name="T14" fmla="*/ 1 w 59"/>
                  <a:gd name="T15" fmla="*/ 0 h 25"/>
                  <a:gd name="T16" fmla="*/ 0 w 59"/>
                  <a:gd name="T17" fmla="*/ 1 h 25"/>
                  <a:gd name="T18" fmla="*/ 1 w 59"/>
                  <a:gd name="T19" fmla="*/ 1 h 25"/>
                  <a:gd name="T20" fmla="*/ 3 w 59"/>
                  <a:gd name="T21" fmla="*/ 2 h 25"/>
                  <a:gd name="T22" fmla="*/ 4 w 59"/>
                  <a:gd name="T23" fmla="*/ 2 h 25"/>
                  <a:gd name="T24" fmla="*/ 4 w 59"/>
                  <a:gd name="T25" fmla="*/ 3 h 25"/>
                  <a:gd name="T26" fmla="*/ 5 w 59"/>
                  <a:gd name="T27" fmla="*/ 3 h 25"/>
                  <a:gd name="T28" fmla="*/ 6 w 59"/>
                  <a:gd name="T29" fmla="*/ 3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00B050"/>
              </a:solidFill>
              <a:ln w="9525" cmpd="sng">
                <a:solidFill>
                  <a:srgbClr val="00B05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8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6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953034" y="4751191"/>
              <a:ext cx="17229" cy="62471"/>
            </a:xfrm>
            <a:custGeom>
              <a:avLst/>
              <a:gdLst>
                <a:gd name="T0" fmla="*/ 0 w 33"/>
                <a:gd name="T1" fmla="*/ 71796441 h 43"/>
                <a:gd name="T2" fmla="*/ 187476 w 33"/>
                <a:gd name="T3" fmla="*/ 56769880 h 43"/>
                <a:gd name="T4" fmla="*/ 374952 w 33"/>
                <a:gd name="T5" fmla="*/ 45080975 h 43"/>
                <a:gd name="T6" fmla="*/ 937379 w 33"/>
                <a:gd name="T7" fmla="*/ 35062837 h 43"/>
                <a:gd name="T8" fmla="*/ 1687283 w 33"/>
                <a:gd name="T9" fmla="*/ 25044699 h 43"/>
                <a:gd name="T10" fmla="*/ 2624662 w 33"/>
                <a:gd name="T11" fmla="*/ 15026561 h 43"/>
                <a:gd name="T12" fmla="*/ 3749085 w 33"/>
                <a:gd name="T13" fmla="*/ 8348664 h 43"/>
                <a:gd name="T14" fmla="*/ 4873940 w 33"/>
                <a:gd name="T15" fmla="*/ 3338949 h 43"/>
                <a:gd name="T16" fmla="*/ 6186271 w 33"/>
                <a:gd name="T17" fmla="*/ 0 h 43"/>
                <a:gd name="T18" fmla="*/ 6186271 w 33"/>
                <a:gd name="T19" fmla="*/ 41742027 h 43"/>
                <a:gd name="T20" fmla="*/ 4311512 w 33"/>
                <a:gd name="T21" fmla="*/ 45080975 h 43"/>
                <a:gd name="T22" fmla="*/ 3374133 w 33"/>
                <a:gd name="T23" fmla="*/ 48421216 h 43"/>
                <a:gd name="T24" fmla="*/ 2999614 w 33"/>
                <a:gd name="T25" fmla="*/ 53429639 h 43"/>
                <a:gd name="T26" fmla="*/ 2999614 w 33"/>
                <a:gd name="T27" fmla="*/ 56769880 h 43"/>
                <a:gd name="T28" fmla="*/ 2999614 w 33"/>
                <a:gd name="T29" fmla="*/ 60108829 h 43"/>
                <a:gd name="T30" fmla="*/ 2624662 w 33"/>
                <a:gd name="T31" fmla="*/ 63447777 h 43"/>
                <a:gd name="T32" fmla="*/ 1874759 w 33"/>
                <a:gd name="T33" fmla="*/ 68457492 h 43"/>
                <a:gd name="T34" fmla="*/ 0 w 33"/>
                <a:gd name="T35" fmla="*/ 71796441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7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044918" y="4683366"/>
              <a:ext cx="26799" cy="66040"/>
            </a:xfrm>
            <a:custGeom>
              <a:avLst/>
              <a:gdLst>
                <a:gd name="T0" fmla="*/ 0 w 54"/>
                <a:gd name="T1" fmla="*/ 22419401 h 92"/>
                <a:gd name="T2" fmla="*/ 169569 w 54"/>
                <a:gd name="T3" fmla="*/ 20788783 h 92"/>
                <a:gd name="T4" fmla="*/ 338725 w 54"/>
                <a:gd name="T5" fmla="*/ 18750830 h 92"/>
                <a:gd name="T6" fmla="*/ 508294 w 54"/>
                <a:gd name="T7" fmla="*/ 17120212 h 92"/>
                <a:gd name="T8" fmla="*/ 1016176 w 54"/>
                <a:gd name="T9" fmla="*/ 15082258 h 92"/>
                <a:gd name="T10" fmla="*/ 1863196 w 54"/>
                <a:gd name="T11" fmla="*/ 11821022 h 92"/>
                <a:gd name="T12" fmla="*/ 3048941 w 54"/>
                <a:gd name="T13" fmla="*/ 8560425 h 92"/>
                <a:gd name="T14" fmla="*/ 5251274 w 54"/>
                <a:gd name="T15" fmla="*/ 2853262 h 92"/>
                <a:gd name="T16" fmla="*/ 6945313 w 54"/>
                <a:gd name="T17" fmla="*/ 0 h 92"/>
                <a:gd name="T18" fmla="*/ 9147234 w 54"/>
                <a:gd name="T19" fmla="*/ 4891215 h 92"/>
                <a:gd name="T20" fmla="*/ 8638940 w 54"/>
                <a:gd name="T21" fmla="*/ 8560425 h 92"/>
                <a:gd name="T22" fmla="*/ 7961489 w 54"/>
                <a:gd name="T23" fmla="*/ 11821022 h 92"/>
                <a:gd name="T24" fmla="*/ 7453195 w 54"/>
                <a:gd name="T25" fmla="*/ 14266949 h 92"/>
                <a:gd name="T26" fmla="*/ 6945313 w 54"/>
                <a:gd name="T27" fmla="*/ 16712876 h 92"/>
                <a:gd name="T28" fmla="*/ 5589999 w 54"/>
                <a:gd name="T29" fmla="*/ 19973474 h 92"/>
                <a:gd name="T30" fmla="*/ 4742980 w 54"/>
                <a:gd name="T31" fmla="*/ 22419401 h 92"/>
                <a:gd name="T32" fmla="*/ 4404254 w 54"/>
                <a:gd name="T33" fmla="*/ 26087972 h 92"/>
                <a:gd name="T34" fmla="*/ 4404254 w 54"/>
                <a:gd name="T35" fmla="*/ 30164517 h 92"/>
                <a:gd name="T36" fmla="*/ 4065529 w 54"/>
                <a:gd name="T37" fmla="*/ 33833088 h 92"/>
                <a:gd name="T38" fmla="*/ 3387666 w 54"/>
                <a:gd name="T39" fmla="*/ 37501659 h 92"/>
                <a:gd name="T40" fmla="*/ 2371490 w 54"/>
                <a:gd name="T41" fmla="*/ 33833088 h 92"/>
                <a:gd name="T42" fmla="*/ 1355313 w 54"/>
                <a:gd name="T43" fmla="*/ 30164517 h 92"/>
                <a:gd name="T44" fmla="*/ 847019 w 54"/>
                <a:gd name="T45" fmla="*/ 28533899 h 92"/>
                <a:gd name="T46" fmla="*/ 338725 w 54"/>
                <a:gd name="T47" fmla="*/ 26087972 h 92"/>
                <a:gd name="T48" fmla="*/ 169569 w 54"/>
                <a:gd name="T49" fmla="*/ 24457354 h 92"/>
                <a:gd name="T50" fmla="*/ 0 w 54"/>
                <a:gd name="T51" fmla="*/ 22419401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8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102345" y="4547717"/>
              <a:ext cx="28714" cy="64255"/>
            </a:xfrm>
            <a:custGeom>
              <a:avLst/>
              <a:gdLst>
                <a:gd name="T0" fmla="*/ 0 w 60"/>
                <a:gd name="T1" fmla="*/ 0 h 18"/>
                <a:gd name="T2" fmla="*/ 2992897 w 60"/>
                <a:gd name="T3" fmla="*/ 40322500 h 18"/>
                <a:gd name="T4" fmla="*/ 5828232 w 60"/>
                <a:gd name="T5" fmla="*/ 90725625 h 18"/>
                <a:gd name="T6" fmla="*/ 7088336 w 60"/>
                <a:gd name="T7" fmla="*/ 110886875 h 18"/>
                <a:gd name="T8" fmla="*/ 8033316 w 60"/>
                <a:gd name="T9" fmla="*/ 131048125 h 18"/>
                <a:gd name="T10" fmla="*/ 8820732 w 60"/>
                <a:gd name="T11" fmla="*/ 161290000 h 18"/>
                <a:gd name="T12" fmla="*/ 9450983 w 60"/>
                <a:gd name="T13" fmla="*/ 181451250 h 18"/>
                <a:gd name="T14" fmla="*/ 5985794 w 60"/>
                <a:gd name="T15" fmla="*/ 181451250 h 18"/>
                <a:gd name="T16" fmla="*/ 3622751 w 60"/>
                <a:gd name="T17" fmla="*/ 181451250 h 18"/>
                <a:gd name="T18" fmla="*/ 1575230 w 60"/>
                <a:gd name="T19" fmla="*/ 181451250 h 18"/>
                <a:gd name="T20" fmla="*/ 0 w 60"/>
                <a:gd name="T21" fmla="*/ 1814512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19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083203" y="4513805"/>
              <a:ext cx="30628" cy="64255"/>
            </a:xfrm>
            <a:custGeom>
              <a:avLst/>
              <a:gdLst>
                <a:gd name="T0" fmla="*/ 0 w 66"/>
                <a:gd name="T1" fmla="*/ 181451250 h 18"/>
                <a:gd name="T2" fmla="*/ 9775152 w 66"/>
                <a:gd name="T3" fmla="*/ 181451250 h 18"/>
                <a:gd name="T4" fmla="*/ 7701588 w 66"/>
                <a:gd name="T5" fmla="*/ 131048125 h 18"/>
                <a:gd name="T6" fmla="*/ 5924358 w 66"/>
                <a:gd name="T7" fmla="*/ 70564375 h 18"/>
                <a:gd name="T8" fmla="*/ 5183909 w 66"/>
                <a:gd name="T9" fmla="*/ 40322500 h 18"/>
                <a:gd name="T10" fmla="*/ 4295294 w 66"/>
                <a:gd name="T11" fmla="*/ 20161250 h 18"/>
                <a:gd name="T12" fmla="*/ 3702627 w 66"/>
                <a:gd name="T13" fmla="*/ 10080625 h 18"/>
                <a:gd name="T14" fmla="*/ 2814012 w 66"/>
                <a:gd name="T15" fmla="*/ 0 h 18"/>
                <a:gd name="T16" fmla="*/ 0 w 66"/>
                <a:gd name="T17" fmla="*/ 1814512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0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872636" y="4397789"/>
              <a:ext cx="9572" cy="64255"/>
            </a:xfrm>
            <a:custGeom>
              <a:avLst/>
              <a:gdLst>
                <a:gd name="T0" fmla="*/ 0 w 17"/>
                <a:gd name="T1" fmla="*/ 66655950 h 42"/>
                <a:gd name="T2" fmla="*/ 2834333 w 17"/>
                <a:gd name="T3" fmla="*/ 77764821 h 42"/>
                <a:gd name="T4" fmla="*/ 3052394 w 17"/>
                <a:gd name="T5" fmla="*/ 61101514 h 42"/>
                <a:gd name="T6" fmla="*/ 3488518 w 17"/>
                <a:gd name="T7" fmla="*/ 42584914 h 42"/>
                <a:gd name="T8" fmla="*/ 3706579 w 17"/>
                <a:gd name="T9" fmla="*/ 33327975 h 42"/>
                <a:gd name="T10" fmla="*/ 3488518 w 17"/>
                <a:gd name="T11" fmla="*/ 22219104 h 42"/>
                <a:gd name="T12" fmla="*/ 3488518 w 17"/>
                <a:gd name="T13" fmla="*/ 11108871 h 42"/>
                <a:gd name="T14" fmla="*/ 2834333 w 17"/>
                <a:gd name="T15" fmla="*/ 0 h 42"/>
                <a:gd name="T16" fmla="*/ 0 w 17"/>
                <a:gd name="T17" fmla="*/ 6665595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1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784581" y="4549502"/>
              <a:ext cx="36371" cy="66039"/>
            </a:xfrm>
            <a:custGeom>
              <a:avLst/>
              <a:gdLst>
                <a:gd name="T0" fmla="*/ 1053191 w 72"/>
                <a:gd name="T1" fmla="*/ 118966730 h 29"/>
                <a:gd name="T2" fmla="*/ 2632560 w 72"/>
                <a:gd name="T3" fmla="*/ 106660316 h 29"/>
                <a:gd name="T4" fmla="*/ 4211928 w 72"/>
                <a:gd name="T5" fmla="*/ 98455364 h 29"/>
                <a:gd name="T6" fmla="*/ 5616183 w 72"/>
                <a:gd name="T7" fmla="*/ 98455364 h 29"/>
                <a:gd name="T8" fmla="*/ 6844487 w 72"/>
                <a:gd name="T9" fmla="*/ 98455364 h 29"/>
                <a:gd name="T10" fmla="*/ 9652579 w 72"/>
                <a:gd name="T11" fmla="*/ 110761779 h 29"/>
                <a:gd name="T12" fmla="*/ 12636202 w 72"/>
                <a:gd name="T13" fmla="*/ 118966730 h 29"/>
                <a:gd name="T14" fmla="*/ 12636202 w 72"/>
                <a:gd name="T15" fmla="*/ 16409903 h 29"/>
                <a:gd name="T16" fmla="*/ 10179175 w 72"/>
                <a:gd name="T17" fmla="*/ 4101463 h 29"/>
                <a:gd name="T18" fmla="*/ 8248743 w 72"/>
                <a:gd name="T19" fmla="*/ 0 h 29"/>
                <a:gd name="T20" fmla="*/ 6844487 w 72"/>
                <a:gd name="T21" fmla="*/ 0 h 29"/>
                <a:gd name="T22" fmla="*/ 5967247 w 72"/>
                <a:gd name="T23" fmla="*/ 8204951 h 29"/>
                <a:gd name="T24" fmla="*/ 4738524 w 72"/>
                <a:gd name="T25" fmla="*/ 12306414 h 29"/>
                <a:gd name="T26" fmla="*/ 3685751 w 72"/>
                <a:gd name="T27" fmla="*/ 20511365 h 29"/>
                <a:gd name="T28" fmla="*/ 2105964 w 72"/>
                <a:gd name="T29" fmla="*/ 20511365 h 29"/>
                <a:gd name="T30" fmla="*/ 0 w 72"/>
                <a:gd name="T31" fmla="*/ 16409903 h 29"/>
                <a:gd name="T32" fmla="*/ 526596 w 72"/>
                <a:gd name="T33" fmla="*/ 65637585 h 29"/>
                <a:gd name="T34" fmla="*/ 1053191 w 72"/>
                <a:gd name="T35" fmla="*/ 118966730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2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794153" y="4758331"/>
              <a:ext cx="22971" cy="62471"/>
            </a:xfrm>
            <a:custGeom>
              <a:avLst/>
              <a:gdLst>
                <a:gd name="T0" fmla="*/ 0 w 46"/>
                <a:gd name="T1" fmla="*/ 0 h 37"/>
                <a:gd name="T2" fmla="*/ 1543464 w 46"/>
                <a:gd name="T3" fmla="*/ 20295512 h 37"/>
                <a:gd name="T4" fmla="*/ 3430242 w 46"/>
                <a:gd name="T5" fmla="*/ 33827355 h 37"/>
                <a:gd name="T6" fmla="*/ 5316607 w 46"/>
                <a:gd name="T7" fmla="*/ 45102139 h 37"/>
                <a:gd name="T8" fmla="*/ 7889185 w 46"/>
                <a:gd name="T9" fmla="*/ 56378425 h 37"/>
                <a:gd name="T10" fmla="*/ 6345721 w 46"/>
                <a:gd name="T11" fmla="*/ 65397651 h 37"/>
                <a:gd name="T12" fmla="*/ 4973707 w 46"/>
                <a:gd name="T13" fmla="*/ 74418379 h 37"/>
                <a:gd name="T14" fmla="*/ 3601692 w 46"/>
                <a:gd name="T15" fmla="*/ 81183550 h 37"/>
                <a:gd name="T16" fmla="*/ 2229678 w 46"/>
                <a:gd name="T17" fmla="*/ 83439107 h 37"/>
                <a:gd name="T18" fmla="*/ 1543464 w 46"/>
                <a:gd name="T19" fmla="*/ 81183550 h 37"/>
                <a:gd name="T20" fmla="*/ 1200564 w 46"/>
                <a:gd name="T21" fmla="*/ 74418379 h 37"/>
                <a:gd name="T22" fmla="*/ 857664 w 46"/>
                <a:gd name="T23" fmla="*/ 65397651 h 37"/>
                <a:gd name="T24" fmla="*/ 514350 w 46"/>
                <a:gd name="T25" fmla="*/ 51867310 h 37"/>
                <a:gd name="T26" fmla="*/ 171450 w 46"/>
                <a:gd name="T27" fmla="*/ 27060683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3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930063" y="4554856"/>
              <a:ext cx="13400" cy="64255"/>
            </a:xfrm>
            <a:custGeom>
              <a:avLst/>
              <a:gdLst>
                <a:gd name="T0" fmla="*/ 0 w 26"/>
                <a:gd name="T1" fmla="*/ 0 h 19"/>
                <a:gd name="T2" fmla="*/ 4749953 w 26"/>
                <a:gd name="T3" fmla="*/ 171901184 h 19"/>
                <a:gd name="T4" fmla="*/ 4749953 w 26"/>
                <a:gd name="T5" fmla="*/ 81426718 h 19"/>
                <a:gd name="T6" fmla="*/ 4749953 w 26"/>
                <a:gd name="T7" fmla="*/ 0 h 19"/>
                <a:gd name="T8" fmla="*/ 2740209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4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761610" y="4549502"/>
              <a:ext cx="22971" cy="66039"/>
            </a:xfrm>
            <a:custGeom>
              <a:avLst/>
              <a:gdLst>
                <a:gd name="T0" fmla="*/ 392519 w 43"/>
                <a:gd name="T1" fmla="*/ 0 h 31"/>
                <a:gd name="T2" fmla="*/ 196259 w 43"/>
                <a:gd name="T3" fmla="*/ 43080747 h 31"/>
                <a:gd name="T4" fmla="*/ 0 w 43"/>
                <a:gd name="T5" fmla="*/ 82570959 h 31"/>
                <a:gd name="T6" fmla="*/ 0 w 43"/>
                <a:gd name="T7" fmla="*/ 93340672 h 31"/>
                <a:gd name="T8" fmla="*/ 0 w 43"/>
                <a:gd name="T9" fmla="*/ 104112280 h 31"/>
                <a:gd name="T10" fmla="*/ 0 w 43"/>
                <a:gd name="T11" fmla="*/ 111291457 h 31"/>
                <a:gd name="T12" fmla="*/ 392519 w 43"/>
                <a:gd name="T13" fmla="*/ 111291457 h 31"/>
                <a:gd name="T14" fmla="*/ 2551371 w 43"/>
                <a:gd name="T15" fmla="*/ 78980423 h 31"/>
                <a:gd name="T16" fmla="*/ 4906926 w 43"/>
                <a:gd name="T17" fmla="*/ 46671283 h 31"/>
                <a:gd name="T18" fmla="*/ 6869519 w 43"/>
                <a:gd name="T19" fmla="*/ 17950785 h 31"/>
                <a:gd name="T20" fmla="*/ 8439593 w 43"/>
                <a:gd name="T21" fmla="*/ 0 h 31"/>
                <a:gd name="T22" fmla="*/ 392519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5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815209" y="4603048"/>
              <a:ext cx="36371" cy="64255"/>
            </a:xfrm>
            <a:custGeom>
              <a:avLst/>
              <a:gdLst>
                <a:gd name="T0" fmla="*/ 721788 w 71"/>
                <a:gd name="T1" fmla="*/ 16323906 h 49"/>
                <a:gd name="T2" fmla="*/ 721788 w 71"/>
                <a:gd name="T3" fmla="*/ 24485859 h 49"/>
                <a:gd name="T4" fmla="*/ 902341 w 71"/>
                <a:gd name="T5" fmla="*/ 34007749 h 49"/>
                <a:gd name="T6" fmla="*/ 1263447 w 71"/>
                <a:gd name="T7" fmla="*/ 42169702 h 49"/>
                <a:gd name="T8" fmla="*/ 1624129 w 71"/>
                <a:gd name="T9" fmla="*/ 50331655 h 49"/>
                <a:gd name="T10" fmla="*/ 2526895 w 71"/>
                <a:gd name="T11" fmla="*/ 55772568 h 49"/>
                <a:gd name="T12" fmla="*/ 3248683 w 71"/>
                <a:gd name="T13" fmla="*/ 62574585 h 49"/>
                <a:gd name="T14" fmla="*/ 4151024 w 71"/>
                <a:gd name="T15" fmla="*/ 65295624 h 49"/>
                <a:gd name="T16" fmla="*/ 5414471 w 71"/>
                <a:gd name="T17" fmla="*/ 66655561 h 49"/>
                <a:gd name="T18" fmla="*/ 6316812 w 71"/>
                <a:gd name="T19" fmla="*/ 65295624 h 49"/>
                <a:gd name="T20" fmla="*/ 7219153 w 71"/>
                <a:gd name="T21" fmla="*/ 62574585 h 49"/>
                <a:gd name="T22" fmla="*/ 8121494 w 71"/>
                <a:gd name="T23" fmla="*/ 57133671 h 49"/>
                <a:gd name="T24" fmla="*/ 9024260 w 71"/>
                <a:gd name="T25" fmla="*/ 50331655 h 49"/>
                <a:gd name="T26" fmla="*/ 10828942 w 71"/>
                <a:gd name="T27" fmla="*/ 38088726 h 49"/>
                <a:gd name="T28" fmla="*/ 12814177 w 71"/>
                <a:gd name="T29" fmla="*/ 24485859 h 49"/>
                <a:gd name="T30" fmla="*/ 11009495 w 71"/>
                <a:gd name="T31" fmla="*/ 16323906 h 49"/>
                <a:gd name="T32" fmla="*/ 9384941 w 71"/>
                <a:gd name="T33" fmla="*/ 12242930 h 49"/>
                <a:gd name="T34" fmla="*/ 7941366 w 71"/>
                <a:gd name="T35" fmla="*/ 9521890 h 49"/>
                <a:gd name="T36" fmla="*/ 6677918 w 71"/>
                <a:gd name="T37" fmla="*/ 8161953 h 49"/>
                <a:gd name="T38" fmla="*/ 5233918 w 71"/>
                <a:gd name="T39" fmla="*/ 8161953 h 49"/>
                <a:gd name="T40" fmla="*/ 3789917 w 71"/>
                <a:gd name="T41" fmla="*/ 6802016 h 49"/>
                <a:gd name="T42" fmla="*/ 2526895 w 71"/>
                <a:gd name="T43" fmla="*/ 4080977 h 49"/>
                <a:gd name="T44" fmla="*/ 721788 w 71"/>
                <a:gd name="T45" fmla="*/ 0 h 49"/>
                <a:gd name="T46" fmla="*/ 541235 w 71"/>
                <a:gd name="T47" fmla="*/ 1359937 h 49"/>
                <a:gd name="T48" fmla="*/ 180553 w 71"/>
                <a:gd name="T49" fmla="*/ 8161953 h 49"/>
                <a:gd name="T50" fmla="*/ 0 w 71"/>
                <a:gd name="T51" fmla="*/ 10882993 h 49"/>
                <a:gd name="T52" fmla="*/ 0 w 71"/>
                <a:gd name="T53" fmla="*/ 13602866 h 49"/>
                <a:gd name="T54" fmla="*/ 180553 w 71"/>
                <a:gd name="T55" fmla="*/ 14963969 h 49"/>
                <a:gd name="T56" fmla="*/ 721788 w 71"/>
                <a:gd name="T57" fmla="*/ 1632390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6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575929" y="4831510"/>
              <a:ext cx="55512" cy="66039"/>
            </a:xfrm>
            <a:custGeom>
              <a:avLst/>
              <a:gdLst>
                <a:gd name="T0" fmla="*/ 7772032 w 112"/>
                <a:gd name="T1" fmla="*/ 10206683 h 26"/>
                <a:gd name="T2" fmla="*/ 9461837 w 112"/>
                <a:gd name="T3" fmla="*/ 10206683 h 26"/>
                <a:gd name="T4" fmla="*/ 11151230 w 112"/>
                <a:gd name="T5" fmla="*/ 15310025 h 26"/>
                <a:gd name="T6" fmla="*/ 12502745 w 112"/>
                <a:gd name="T7" fmla="*/ 20413367 h 26"/>
                <a:gd name="T8" fmla="*/ 14192549 w 112"/>
                <a:gd name="T9" fmla="*/ 30622309 h 26"/>
                <a:gd name="T10" fmla="*/ 15544064 w 112"/>
                <a:gd name="T11" fmla="*/ 45932334 h 26"/>
                <a:gd name="T12" fmla="*/ 16895579 w 112"/>
                <a:gd name="T13" fmla="*/ 61242359 h 26"/>
                <a:gd name="T14" fmla="*/ 17909626 w 112"/>
                <a:gd name="T15" fmla="*/ 81657985 h 26"/>
                <a:gd name="T16" fmla="*/ 18923262 w 112"/>
                <a:gd name="T17" fmla="*/ 102071351 h 26"/>
                <a:gd name="T18" fmla="*/ 18585384 w 112"/>
                <a:gd name="T19" fmla="*/ 112280294 h 26"/>
                <a:gd name="T20" fmla="*/ 17740687 w 112"/>
                <a:gd name="T21" fmla="*/ 117383635 h 26"/>
                <a:gd name="T22" fmla="*/ 17064929 w 112"/>
                <a:gd name="T23" fmla="*/ 127590319 h 26"/>
                <a:gd name="T24" fmla="*/ 16050882 w 112"/>
                <a:gd name="T25" fmla="*/ 127590319 h 26"/>
                <a:gd name="T26" fmla="*/ 14699367 w 112"/>
                <a:gd name="T27" fmla="*/ 132693660 h 26"/>
                <a:gd name="T28" fmla="*/ 13347853 w 112"/>
                <a:gd name="T29" fmla="*/ 132693660 h 26"/>
                <a:gd name="T30" fmla="*/ 11151230 w 112"/>
                <a:gd name="T31" fmla="*/ 122486977 h 26"/>
                <a:gd name="T32" fmla="*/ 6927335 w 112"/>
                <a:gd name="T33" fmla="*/ 96968010 h 26"/>
                <a:gd name="T34" fmla="*/ 2703441 w 112"/>
                <a:gd name="T35" fmla="*/ 66347960 h 26"/>
                <a:gd name="T36" fmla="*/ 0 w 112"/>
                <a:gd name="T37" fmla="*/ 40828992 h 26"/>
                <a:gd name="T38" fmla="*/ 844697 w 112"/>
                <a:gd name="T39" fmla="*/ 20413367 h 26"/>
                <a:gd name="T40" fmla="*/ 1858333 w 112"/>
                <a:gd name="T41" fmla="*/ 10206683 h 26"/>
                <a:gd name="T42" fmla="*/ 3041319 w 112"/>
                <a:gd name="T43" fmla="*/ 5103342 h 26"/>
                <a:gd name="T44" fmla="*/ 4223895 w 112"/>
                <a:gd name="T45" fmla="*/ 0 h 26"/>
                <a:gd name="T46" fmla="*/ 6251578 w 112"/>
                <a:gd name="T47" fmla="*/ 5103342 h 26"/>
                <a:gd name="T48" fmla="*/ 7772032 w 112"/>
                <a:gd name="T49" fmla="*/ 10206683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7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694612" y="4874347"/>
              <a:ext cx="17228" cy="66039"/>
            </a:xfrm>
            <a:custGeom>
              <a:avLst/>
              <a:gdLst>
                <a:gd name="T0" fmla="*/ 0 w 41"/>
                <a:gd name="T1" fmla="*/ 0 h 25"/>
                <a:gd name="T2" fmla="*/ 4978497 w 41"/>
                <a:gd name="T3" fmla="*/ 0 h 25"/>
                <a:gd name="T4" fmla="*/ 3399958 w 41"/>
                <a:gd name="T5" fmla="*/ 44160826 h 25"/>
                <a:gd name="T6" fmla="*/ 2185563 w 41"/>
                <a:gd name="T7" fmla="*/ 82800374 h 25"/>
                <a:gd name="T8" fmla="*/ 1092781 w 41"/>
                <a:gd name="T9" fmla="*/ 110402065 h 25"/>
                <a:gd name="T10" fmla="*/ 0 w 41"/>
                <a:gd name="T11" fmla="*/ 13800140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8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493616" y="4797598"/>
              <a:ext cx="44028" cy="62471"/>
            </a:xfrm>
            <a:custGeom>
              <a:avLst/>
              <a:gdLst>
                <a:gd name="T0" fmla="*/ 0 w 81"/>
                <a:gd name="T1" fmla="*/ 99588612 h 31"/>
                <a:gd name="T2" fmla="*/ 0 w 81"/>
                <a:gd name="T3" fmla="*/ 70676136 h 31"/>
                <a:gd name="T4" fmla="*/ 0 w 81"/>
                <a:gd name="T5" fmla="*/ 41763660 h 31"/>
                <a:gd name="T6" fmla="*/ 0 w 81"/>
                <a:gd name="T7" fmla="*/ 32126168 h 31"/>
                <a:gd name="T8" fmla="*/ 406602 w 81"/>
                <a:gd name="T9" fmla="*/ 25700576 h 31"/>
                <a:gd name="T10" fmla="*/ 609452 w 81"/>
                <a:gd name="T11" fmla="*/ 19274984 h 31"/>
                <a:gd name="T12" fmla="*/ 812752 w 81"/>
                <a:gd name="T13" fmla="*/ 12849392 h 31"/>
                <a:gd name="T14" fmla="*/ 1625505 w 81"/>
                <a:gd name="T15" fmla="*/ 6425592 h 31"/>
                <a:gd name="T16" fmla="*/ 2844859 w 81"/>
                <a:gd name="T17" fmla="*/ 0 h 31"/>
                <a:gd name="T18" fmla="*/ 5283116 w 81"/>
                <a:gd name="T19" fmla="*/ 3211900 h 31"/>
                <a:gd name="T20" fmla="*/ 8331275 w 81"/>
                <a:gd name="T21" fmla="*/ 3211900 h 31"/>
                <a:gd name="T22" fmla="*/ 11379434 w 81"/>
                <a:gd name="T23" fmla="*/ 3211900 h 31"/>
                <a:gd name="T24" fmla="*/ 13208240 w 81"/>
                <a:gd name="T25" fmla="*/ 3211900 h 31"/>
                <a:gd name="T26" fmla="*/ 14833744 w 81"/>
                <a:gd name="T27" fmla="*/ 3211900 h 31"/>
                <a:gd name="T28" fmla="*/ 16459249 w 81"/>
                <a:gd name="T29" fmla="*/ 3211900 h 31"/>
                <a:gd name="T30" fmla="*/ 14833744 w 81"/>
                <a:gd name="T31" fmla="*/ 19274984 h 31"/>
                <a:gd name="T32" fmla="*/ 13614390 w 81"/>
                <a:gd name="T33" fmla="*/ 32126168 h 31"/>
                <a:gd name="T34" fmla="*/ 13004939 w 81"/>
                <a:gd name="T35" fmla="*/ 44975560 h 31"/>
                <a:gd name="T36" fmla="*/ 12598337 w 81"/>
                <a:gd name="T37" fmla="*/ 57824952 h 31"/>
                <a:gd name="T38" fmla="*/ 11988886 w 81"/>
                <a:gd name="T39" fmla="*/ 67462444 h 31"/>
                <a:gd name="T40" fmla="*/ 10972833 w 81"/>
                <a:gd name="T41" fmla="*/ 73888036 h 31"/>
                <a:gd name="T42" fmla="*/ 9550629 w 81"/>
                <a:gd name="T43" fmla="*/ 80313628 h 31"/>
                <a:gd name="T44" fmla="*/ 6908620 w 81"/>
                <a:gd name="T45" fmla="*/ 80313628 h 31"/>
                <a:gd name="T46" fmla="*/ 0 w 81"/>
                <a:gd name="T47" fmla="*/ 99588612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9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547215" y="4781534"/>
              <a:ext cx="47857" cy="62470"/>
            </a:xfrm>
            <a:custGeom>
              <a:avLst/>
              <a:gdLst>
                <a:gd name="T0" fmla="*/ 397772 w 89"/>
                <a:gd name="T1" fmla="*/ 63002772 h 49"/>
                <a:gd name="T2" fmla="*/ 17698172 w 89"/>
                <a:gd name="T3" fmla="*/ 63002772 h 49"/>
                <a:gd name="T4" fmla="*/ 15510873 w 89"/>
                <a:gd name="T5" fmla="*/ 52716999 h 49"/>
                <a:gd name="T6" fmla="*/ 13522014 w 89"/>
                <a:gd name="T7" fmla="*/ 45001818 h 49"/>
                <a:gd name="T8" fmla="*/ 11334714 w 89"/>
                <a:gd name="T9" fmla="*/ 38573635 h 49"/>
                <a:gd name="T10" fmla="*/ 9147415 w 89"/>
                <a:gd name="T11" fmla="*/ 32144318 h 49"/>
                <a:gd name="T12" fmla="*/ 7159002 w 89"/>
                <a:gd name="T13" fmla="*/ 27000864 h 49"/>
                <a:gd name="T14" fmla="*/ 5170142 w 89"/>
                <a:gd name="T15" fmla="*/ 18000954 h 49"/>
                <a:gd name="T16" fmla="*/ 3181729 w 89"/>
                <a:gd name="T17" fmla="*/ 10285774 h 49"/>
                <a:gd name="T18" fmla="*/ 1789527 w 89"/>
                <a:gd name="T19" fmla="*/ 0 h 49"/>
                <a:gd name="T20" fmla="*/ 795544 w 89"/>
                <a:gd name="T21" fmla="*/ 12857500 h 49"/>
                <a:gd name="T22" fmla="*/ 198886 w 89"/>
                <a:gd name="T23" fmla="*/ 29572591 h 49"/>
                <a:gd name="T24" fmla="*/ 0 w 89"/>
                <a:gd name="T25" fmla="*/ 37287772 h 49"/>
                <a:gd name="T26" fmla="*/ 0 w 89"/>
                <a:gd name="T27" fmla="*/ 46287682 h 49"/>
                <a:gd name="T28" fmla="*/ 0 w 89"/>
                <a:gd name="T29" fmla="*/ 55287592 h 49"/>
                <a:gd name="T30" fmla="*/ 397772 w 89"/>
                <a:gd name="T31" fmla="*/ 6300277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0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610386" y="4792244"/>
              <a:ext cx="44027" cy="66039"/>
            </a:xfrm>
            <a:custGeom>
              <a:avLst/>
              <a:gdLst>
                <a:gd name="T0" fmla="*/ 0 w 86"/>
                <a:gd name="T1" fmla="*/ 34239840 h 46"/>
                <a:gd name="T2" fmla="*/ 2523574 w 86"/>
                <a:gd name="T3" fmla="*/ 42391514 h 46"/>
                <a:gd name="T4" fmla="*/ 4506260 w 86"/>
                <a:gd name="T5" fmla="*/ 47283285 h 46"/>
                <a:gd name="T6" fmla="*/ 5407597 w 86"/>
                <a:gd name="T7" fmla="*/ 48913875 h 46"/>
                <a:gd name="T8" fmla="*/ 6488947 w 86"/>
                <a:gd name="T9" fmla="*/ 48913875 h 46"/>
                <a:gd name="T10" fmla="*/ 7390284 w 86"/>
                <a:gd name="T11" fmla="*/ 47283285 h 46"/>
                <a:gd name="T12" fmla="*/ 8291620 w 86"/>
                <a:gd name="T13" fmla="*/ 44022105 h 46"/>
                <a:gd name="T14" fmla="*/ 8291620 w 86"/>
                <a:gd name="T15" fmla="*/ 58696139 h 46"/>
                <a:gd name="T16" fmla="*/ 8291620 w 86"/>
                <a:gd name="T17" fmla="*/ 75000765 h 46"/>
                <a:gd name="T18" fmla="*/ 10093870 w 86"/>
                <a:gd name="T19" fmla="*/ 73370174 h 46"/>
                <a:gd name="T20" fmla="*/ 12076556 w 86"/>
                <a:gd name="T21" fmla="*/ 70108994 h 46"/>
                <a:gd name="T22" fmla="*/ 13879230 w 86"/>
                <a:gd name="T23" fmla="*/ 65218500 h 46"/>
                <a:gd name="T24" fmla="*/ 15501467 w 86"/>
                <a:gd name="T25" fmla="*/ 65218500 h 46"/>
                <a:gd name="T26" fmla="*/ 14960580 w 86"/>
                <a:gd name="T27" fmla="*/ 52175056 h 46"/>
                <a:gd name="T28" fmla="*/ 14420117 w 86"/>
                <a:gd name="T29" fmla="*/ 40760924 h 46"/>
                <a:gd name="T30" fmla="*/ 13338343 w 86"/>
                <a:gd name="T31" fmla="*/ 30978660 h 46"/>
                <a:gd name="T32" fmla="*/ 12617443 w 86"/>
                <a:gd name="T33" fmla="*/ 22825709 h 46"/>
                <a:gd name="T34" fmla="*/ 11536094 w 86"/>
                <a:gd name="T35" fmla="*/ 14674035 h 46"/>
                <a:gd name="T36" fmla="*/ 10454320 w 86"/>
                <a:gd name="T37" fmla="*/ 9782264 h 46"/>
                <a:gd name="T38" fmla="*/ 9192533 w 86"/>
                <a:gd name="T39" fmla="*/ 4891771 h 46"/>
                <a:gd name="T40" fmla="*/ 8291620 w 86"/>
                <a:gd name="T41" fmla="*/ 1630590 h 46"/>
                <a:gd name="T42" fmla="*/ 7029834 w 86"/>
                <a:gd name="T43" fmla="*/ 0 h 46"/>
                <a:gd name="T44" fmla="*/ 5948060 w 86"/>
                <a:gd name="T45" fmla="*/ 0 h 46"/>
                <a:gd name="T46" fmla="*/ 4686697 w 86"/>
                <a:gd name="T47" fmla="*/ 1630590 h 46"/>
                <a:gd name="T48" fmla="*/ 3424911 w 86"/>
                <a:gd name="T49" fmla="*/ 4891771 h 46"/>
                <a:gd name="T50" fmla="*/ 2523574 w 86"/>
                <a:gd name="T51" fmla="*/ 9782264 h 46"/>
                <a:gd name="T52" fmla="*/ 1441799 w 86"/>
                <a:gd name="T53" fmla="*/ 16304625 h 46"/>
                <a:gd name="T54" fmla="*/ 720900 w 86"/>
                <a:gd name="T55" fmla="*/ 24456299 h 46"/>
                <a:gd name="T56" fmla="*/ 0 w 86"/>
                <a:gd name="T57" fmla="*/ 34239840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1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673555" y="4797598"/>
              <a:ext cx="30628" cy="6247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71513721 h 18"/>
                <a:gd name="T4" fmla="*/ 7228237 w 59"/>
                <a:gd name="T5" fmla="*/ 171513721 h 18"/>
                <a:gd name="T6" fmla="*/ 10934915 w 59"/>
                <a:gd name="T7" fmla="*/ 57171240 h 18"/>
                <a:gd name="T8" fmla="*/ 9452244 w 59"/>
                <a:gd name="T9" fmla="*/ 47642186 h 18"/>
                <a:gd name="T10" fmla="*/ 8340241 w 59"/>
                <a:gd name="T11" fmla="*/ 38113131 h 18"/>
                <a:gd name="T12" fmla="*/ 6857569 w 59"/>
                <a:gd name="T13" fmla="*/ 47642186 h 18"/>
                <a:gd name="T14" fmla="*/ 5374898 w 59"/>
                <a:gd name="T15" fmla="*/ 57171240 h 18"/>
                <a:gd name="T16" fmla="*/ 4077346 w 59"/>
                <a:gd name="T17" fmla="*/ 57171240 h 18"/>
                <a:gd name="T18" fmla="*/ 2594675 w 59"/>
                <a:gd name="T19" fmla="*/ 47642186 h 18"/>
                <a:gd name="T20" fmla="*/ 1297553 w 59"/>
                <a:gd name="T21" fmla="*/ 38113131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2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761610" y="4788674"/>
              <a:ext cx="1915" cy="62470"/>
            </a:xfrm>
            <a:custGeom>
              <a:avLst/>
              <a:gdLst>
                <a:gd name="T0" fmla="*/ 630436 w 4"/>
                <a:gd name="T1" fmla="*/ 162480834 h 19"/>
                <a:gd name="T2" fmla="*/ 630436 w 4"/>
                <a:gd name="T3" fmla="*/ 0 h 19"/>
                <a:gd name="T4" fmla="*/ 315218 w 4"/>
                <a:gd name="T5" fmla="*/ 8550699 h 19"/>
                <a:gd name="T6" fmla="*/ 157609 w 4"/>
                <a:gd name="T7" fmla="*/ 25655022 h 19"/>
                <a:gd name="T8" fmla="*/ 0 w 4"/>
                <a:gd name="T9" fmla="*/ 51310045 h 19"/>
                <a:gd name="T10" fmla="*/ 0 w 4"/>
                <a:gd name="T11" fmla="*/ 85515767 h 19"/>
                <a:gd name="T12" fmla="*/ 0 w 4"/>
                <a:gd name="T13" fmla="*/ 119721488 h 19"/>
                <a:gd name="T14" fmla="*/ 157609 w 4"/>
                <a:gd name="T15" fmla="*/ 136825811 h 19"/>
                <a:gd name="T16" fmla="*/ 315218 w 4"/>
                <a:gd name="T17" fmla="*/ 162480834 h 19"/>
                <a:gd name="T18" fmla="*/ 630436 w 4"/>
                <a:gd name="T19" fmla="*/ 162480834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3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248593" y="4579844"/>
              <a:ext cx="24886" cy="66040"/>
            </a:xfrm>
            <a:custGeom>
              <a:avLst/>
              <a:gdLst>
                <a:gd name="T0" fmla="*/ 0 w 46"/>
                <a:gd name="T1" fmla="*/ 69003053 h 50"/>
                <a:gd name="T2" fmla="*/ 1409216 w 46"/>
                <a:gd name="T3" fmla="*/ 0 h 50"/>
                <a:gd name="T4" fmla="*/ 4629642 w 46"/>
                <a:gd name="T5" fmla="*/ 11040394 h 50"/>
                <a:gd name="T6" fmla="*/ 6843740 w 46"/>
                <a:gd name="T7" fmla="*/ 19321278 h 50"/>
                <a:gd name="T8" fmla="*/ 7447626 w 46"/>
                <a:gd name="T9" fmla="*/ 24841475 h 50"/>
                <a:gd name="T10" fmla="*/ 8252957 w 46"/>
                <a:gd name="T11" fmla="*/ 30361672 h 50"/>
                <a:gd name="T12" fmla="*/ 8856843 w 46"/>
                <a:gd name="T13" fmla="*/ 41402067 h 50"/>
                <a:gd name="T14" fmla="*/ 9259284 w 46"/>
                <a:gd name="T15" fmla="*/ 52442461 h 50"/>
                <a:gd name="T16" fmla="*/ 6843740 w 46"/>
                <a:gd name="T17" fmla="*/ 57962658 h 50"/>
                <a:gd name="T18" fmla="*/ 4227201 w 46"/>
                <a:gd name="T19" fmla="*/ 63482856 h 50"/>
                <a:gd name="T20" fmla="*/ 1610213 w 46"/>
                <a:gd name="T21" fmla="*/ 67622710 h 50"/>
                <a:gd name="T22" fmla="*/ 0 w 46"/>
                <a:gd name="T23" fmla="*/ 69003053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4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7183509" y="4549502"/>
              <a:ext cx="36371" cy="66039"/>
            </a:xfrm>
            <a:custGeom>
              <a:avLst/>
              <a:gdLst>
                <a:gd name="T0" fmla="*/ 0 w 66"/>
                <a:gd name="T1" fmla="*/ 0 h 80"/>
                <a:gd name="T2" fmla="*/ 2088559 w 66"/>
                <a:gd name="T3" fmla="*/ 0 h 80"/>
                <a:gd name="T4" fmla="*/ 3759407 w 66"/>
                <a:gd name="T5" fmla="*/ 0 h 80"/>
                <a:gd name="T6" fmla="*/ 5430254 w 66"/>
                <a:gd name="T7" fmla="*/ 0 h 80"/>
                <a:gd name="T8" fmla="*/ 6892703 w 66"/>
                <a:gd name="T9" fmla="*/ 0 h 80"/>
                <a:gd name="T10" fmla="*/ 6892703 w 66"/>
                <a:gd name="T11" fmla="*/ 3773118 h 80"/>
                <a:gd name="T12" fmla="*/ 7101558 w 66"/>
                <a:gd name="T13" fmla="*/ 7546970 h 80"/>
                <a:gd name="T14" fmla="*/ 7519270 w 66"/>
                <a:gd name="T15" fmla="*/ 11320088 h 80"/>
                <a:gd name="T16" fmla="*/ 7936982 w 66"/>
                <a:gd name="T17" fmla="*/ 14555029 h 80"/>
                <a:gd name="T18" fmla="*/ 9190118 w 66"/>
                <a:gd name="T19" fmla="*/ 19406705 h 80"/>
                <a:gd name="T20" fmla="*/ 10234397 w 66"/>
                <a:gd name="T21" fmla="*/ 24258381 h 80"/>
                <a:gd name="T22" fmla="*/ 11696389 w 66"/>
                <a:gd name="T23" fmla="*/ 28031499 h 80"/>
                <a:gd name="T24" fmla="*/ 12740668 w 66"/>
                <a:gd name="T25" fmla="*/ 32344263 h 80"/>
                <a:gd name="T26" fmla="*/ 12949524 w 66"/>
                <a:gd name="T27" fmla="*/ 35039557 h 80"/>
                <a:gd name="T28" fmla="*/ 13576092 w 66"/>
                <a:gd name="T29" fmla="*/ 37195939 h 80"/>
                <a:gd name="T30" fmla="*/ 13784948 w 66"/>
                <a:gd name="T31" fmla="*/ 40430146 h 80"/>
                <a:gd name="T32" fmla="*/ 13784948 w 66"/>
                <a:gd name="T33" fmla="*/ 43125440 h 80"/>
                <a:gd name="T34" fmla="*/ 0 w 66"/>
                <a:gd name="T35" fmla="*/ 9703352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5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984428" y="4531654"/>
              <a:ext cx="9572" cy="64255"/>
            </a:xfrm>
            <a:custGeom>
              <a:avLst/>
              <a:gdLst>
                <a:gd name="T0" fmla="*/ 3150592 w 20"/>
                <a:gd name="T1" fmla="*/ 68044219 h 48"/>
                <a:gd name="T2" fmla="*/ 3150592 w 20"/>
                <a:gd name="T3" fmla="*/ 55285481 h 48"/>
                <a:gd name="T4" fmla="*/ 2993023 w 20"/>
                <a:gd name="T5" fmla="*/ 45362813 h 48"/>
                <a:gd name="T6" fmla="*/ 2520315 w 20"/>
                <a:gd name="T7" fmla="*/ 35440144 h 48"/>
                <a:gd name="T8" fmla="*/ 2205573 w 20"/>
                <a:gd name="T9" fmla="*/ 26934319 h 48"/>
                <a:gd name="T10" fmla="*/ 1890435 w 20"/>
                <a:gd name="T11" fmla="*/ 19846528 h 48"/>
                <a:gd name="T12" fmla="*/ 1417727 w 20"/>
                <a:gd name="T13" fmla="*/ 12758738 h 48"/>
                <a:gd name="T14" fmla="*/ 630277 w 20"/>
                <a:gd name="T15" fmla="*/ 5670947 h 48"/>
                <a:gd name="T16" fmla="*/ 0 w 20"/>
                <a:gd name="T17" fmla="*/ 0 h 48"/>
                <a:gd name="T18" fmla="*/ 0 w 20"/>
                <a:gd name="T19" fmla="*/ 11340703 h 48"/>
                <a:gd name="T20" fmla="*/ 315139 w 20"/>
                <a:gd name="T21" fmla="*/ 24099441 h 48"/>
                <a:gd name="T22" fmla="*/ 630277 w 20"/>
                <a:gd name="T23" fmla="*/ 34022109 h 48"/>
                <a:gd name="T24" fmla="*/ 1260158 w 20"/>
                <a:gd name="T25" fmla="*/ 43944778 h 48"/>
                <a:gd name="T26" fmla="*/ 2205573 w 20"/>
                <a:gd name="T27" fmla="*/ 58121550 h 48"/>
                <a:gd name="T28" fmla="*/ 3150592 w 20"/>
                <a:gd name="T29" fmla="*/ 68044219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6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7015056" y="4572705"/>
              <a:ext cx="5743" cy="713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7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7011227" y="4572705"/>
              <a:ext cx="9572" cy="64255"/>
            </a:xfrm>
            <a:custGeom>
              <a:avLst/>
              <a:gdLst>
                <a:gd name="T0" fmla="*/ 3150592 w 20"/>
                <a:gd name="T1" fmla="*/ 272176875 h 12"/>
                <a:gd name="T2" fmla="*/ 3150592 w 20"/>
                <a:gd name="T3" fmla="*/ 181451250 h 12"/>
                <a:gd name="T4" fmla="*/ 2835454 w 20"/>
                <a:gd name="T5" fmla="*/ 113409413 h 12"/>
                <a:gd name="T6" fmla="*/ 2363143 w 20"/>
                <a:gd name="T7" fmla="*/ 68046600 h 12"/>
                <a:gd name="T8" fmla="*/ 2048004 w 20"/>
                <a:gd name="T9" fmla="*/ 45362813 h 12"/>
                <a:gd name="T10" fmla="*/ 110258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8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892544" y="4397789"/>
              <a:ext cx="26799" cy="64255"/>
            </a:xfrm>
            <a:custGeom>
              <a:avLst/>
              <a:gdLst>
                <a:gd name="T0" fmla="*/ 1230762 w 53"/>
                <a:gd name="T1" fmla="*/ 0 h 30"/>
                <a:gd name="T2" fmla="*/ 1934414 w 53"/>
                <a:gd name="T3" fmla="*/ 14516100 h 30"/>
                <a:gd name="T4" fmla="*/ 4044531 w 53"/>
                <a:gd name="T5" fmla="*/ 47177325 h 30"/>
                <a:gd name="T6" fmla="*/ 6506474 w 53"/>
                <a:gd name="T7" fmla="*/ 83467575 h 30"/>
                <a:gd name="T8" fmla="*/ 8089061 w 53"/>
                <a:gd name="T9" fmla="*/ 108870750 h 30"/>
                <a:gd name="T10" fmla="*/ 8616591 w 53"/>
                <a:gd name="T11" fmla="*/ 65322450 h 30"/>
                <a:gd name="T12" fmla="*/ 9319823 w 53"/>
                <a:gd name="T13" fmla="*/ 21774150 h 30"/>
                <a:gd name="T14" fmla="*/ 6506474 w 53"/>
                <a:gd name="T15" fmla="*/ 18145125 h 30"/>
                <a:gd name="T16" fmla="*/ 4572060 w 53"/>
                <a:gd name="T17" fmla="*/ 10887075 h 30"/>
                <a:gd name="T18" fmla="*/ 3692705 w 53"/>
                <a:gd name="T19" fmla="*/ 10887075 h 30"/>
                <a:gd name="T20" fmla="*/ 2637646 w 53"/>
                <a:gd name="T21" fmla="*/ 10887075 h 30"/>
                <a:gd name="T22" fmla="*/ 1582588 w 53"/>
                <a:gd name="T23" fmla="*/ 14516100 h 30"/>
                <a:gd name="T24" fmla="*/ 0 w 53"/>
                <a:gd name="T25" fmla="*/ 21774150 h 30"/>
                <a:gd name="T26" fmla="*/ 1230762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9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7529987" y="4806522"/>
              <a:ext cx="13399" cy="64255"/>
            </a:xfrm>
            <a:custGeom>
              <a:avLst/>
              <a:gdLst>
                <a:gd name="T0" fmla="*/ 0 w 33"/>
                <a:gd name="T1" fmla="*/ 20391489 h 31"/>
                <a:gd name="T2" fmla="*/ 453572 w 33"/>
                <a:gd name="T3" fmla="*/ 71372976 h 31"/>
                <a:gd name="T4" fmla="*/ 793666 w 33"/>
                <a:gd name="T5" fmla="*/ 105358790 h 31"/>
                <a:gd name="T6" fmla="*/ 2494476 w 33"/>
                <a:gd name="T7" fmla="*/ 105358790 h 31"/>
                <a:gd name="T8" fmla="*/ 3741713 w 33"/>
                <a:gd name="T9" fmla="*/ 105358790 h 31"/>
                <a:gd name="T10" fmla="*/ 3741713 w 33"/>
                <a:gd name="T11" fmla="*/ 0 h 31"/>
                <a:gd name="T12" fmla="*/ 3061524 w 33"/>
                <a:gd name="T13" fmla="*/ 0 h 31"/>
                <a:gd name="T14" fmla="*/ 2154381 w 33"/>
                <a:gd name="T15" fmla="*/ 0 h 31"/>
                <a:gd name="T16" fmla="*/ 1133761 w 33"/>
                <a:gd name="T17" fmla="*/ 0 h 31"/>
                <a:gd name="T18" fmla="*/ 0 w 33"/>
                <a:gd name="T19" fmla="*/ 0 h 31"/>
                <a:gd name="T20" fmla="*/ 0 w 33"/>
                <a:gd name="T21" fmla="*/ 20391489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0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152115" y="4758331"/>
              <a:ext cx="34456" cy="62471"/>
            </a:xfrm>
            <a:custGeom>
              <a:avLst/>
              <a:gdLst>
                <a:gd name="T0" fmla="*/ 3672107 w 65"/>
                <a:gd name="T1" fmla="*/ 45400691 h 68"/>
                <a:gd name="T2" fmla="*/ 3092255 w 65"/>
                <a:gd name="T3" fmla="*/ 45400691 h 68"/>
                <a:gd name="T4" fmla="*/ 2705833 w 65"/>
                <a:gd name="T5" fmla="*/ 44065545 h 68"/>
                <a:gd name="T6" fmla="*/ 2125980 w 65"/>
                <a:gd name="T7" fmla="*/ 42730398 h 68"/>
                <a:gd name="T8" fmla="*/ 1352697 w 65"/>
                <a:gd name="T9" fmla="*/ 40726862 h 68"/>
                <a:gd name="T10" fmla="*/ 772844 w 65"/>
                <a:gd name="T11" fmla="*/ 39391716 h 68"/>
                <a:gd name="T12" fmla="*/ 386422 w 65"/>
                <a:gd name="T13" fmla="*/ 36721423 h 68"/>
                <a:gd name="T14" fmla="*/ 0 w 65"/>
                <a:gd name="T15" fmla="*/ 34717887 h 68"/>
                <a:gd name="T16" fmla="*/ 0 w 65"/>
                <a:gd name="T17" fmla="*/ 32715168 h 68"/>
                <a:gd name="T18" fmla="*/ 0 w 65"/>
                <a:gd name="T19" fmla="*/ 25371046 h 68"/>
                <a:gd name="T20" fmla="*/ 386422 w 65"/>
                <a:gd name="T21" fmla="*/ 19362071 h 68"/>
                <a:gd name="T22" fmla="*/ 966275 w 65"/>
                <a:gd name="T23" fmla="*/ 14020669 h 68"/>
                <a:gd name="T24" fmla="*/ 1739558 w 65"/>
                <a:gd name="T25" fmla="*/ 9346841 h 68"/>
                <a:gd name="T26" fmla="*/ 2898824 w 65"/>
                <a:gd name="T27" fmla="*/ 5341402 h 68"/>
                <a:gd name="T28" fmla="*/ 4251960 w 65"/>
                <a:gd name="T29" fmla="*/ 2670292 h 68"/>
                <a:gd name="T30" fmla="*/ 5797648 w 65"/>
                <a:gd name="T31" fmla="*/ 1335146 h 68"/>
                <a:gd name="T32" fmla="*/ 7537206 w 65"/>
                <a:gd name="T33" fmla="*/ 0 h 68"/>
                <a:gd name="T34" fmla="*/ 10049608 w 65"/>
                <a:gd name="T35" fmla="*/ 0 h 68"/>
                <a:gd name="T36" fmla="*/ 12562010 w 65"/>
                <a:gd name="T37" fmla="*/ 0 h 68"/>
                <a:gd name="T38" fmla="*/ 12562010 w 65"/>
                <a:gd name="T39" fmla="*/ 28708912 h 68"/>
                <a:gd name="T40" fmla="*/ 10822452 w 65"/>
                <a:gd name="T41" fmla="*/ 34717887 h 68"/>
                <a:gd name="T42" fmla="*/ 8696911 w 65"/>
                <a:gd name="T43" fmla="*/ 40726862 h 68"/>
                <a:gd name="T44" fmla="*/ 7537206 w 65"/>
                <a:gd name="T45" fmla="*/ 42730398 h 68"/>
                <a:gd name="T46" fmla="*/ 6570931 w 65"/>
                <a:gd name="T47" fmla="*/ 44065545 h 68"/>
                <a:gd name="T48" fmla="*/ 5218235 w 65"/>
                <a:gd name="T49" fmla="*/ 45400691 h 68"/>
                <a:gd name="T50" fmla="*/ 3672107 w 65"/>
                <a:gd name="T51" fmla="*/ 45400691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1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871488" y="4288913"/>
              <a:ext cx="331163" cy="414088"/>
            </a:xfrm>
            <a:custGeom>
              <a:avLst/>
              <a:gdLst>
                <a:gd name="T0" fmla="*/ 96930602 w 625"/>
                <a:gd name="T1" fmla="*/ 94910485 h 694"/>
                <a:gd name="T2" fmla="*/ 93455236 w 625"/>
                <a:gd name="T3" fmla="*/ 96037144 h 694"/>
                <a:gd name="T4" fmla="*/ 92489832 w 625"/>
                <a:gd name="T5" fmla="*/ 107583933 h 694"/>
                <a:gd name="T6" fmla="*/ 99441004 w 625"/>
                <a:gd name="T7" fmla="*/ 113779757 h 694"/>
                <a:gd name="T8" fmla="*/ 103109715 w 625"/>
                <a:gd name="T9" fmla="*/ 114061555 h 694"/>
                <a:gd name="T10" fmla="*/ 106199272 w 625"/>
                <a:gd name="T11" fmla="*/ 119412519 h 694"/>
                <a:gd name="T12" fmla="*/ 108130080 w 625"/>
                <a:gd name="T13" fmla="*/ 129269585 h 694"/>
                <a:gd name="T14" fmla="*/ 110447137 w 625"/>
                <a:gd name="T15" fmla="*/ 133494421 h 694"/>
                <a:gd name="T16" fmla="*/ 113536254 w 625"/>
                <a:gd name="T17" fmla="*/ 136029005 h 694"/>
                <a:gd name="T18" fmla="*/ 118556618 w 625"/>
                <a:gd name="T19" fmla="*/ 137155663 h 694"/>
                <a:gd name="T20" fmla="*/ 120680771 w 625"/>
                <a:gd name="T21" fmla="*/ 142224830 h 694"/>
                <a:gd name="T22" fmla="*/ 120680771 w 625"/>
                <a:gd name="T23" fmla="*/ 151800630 h 694"/>
                <a:gd name="T24" fmla="*/ 119329117 w 625"/>
                <a:gd name="T25" fmla="*/ 169825040 h 694"/>
                <a:gd name="T26" fmla="*/ 117977464 w 625"/>
                <a:gd name="T27" fmla="*/ 189257907 h 694"/>
                <a:gd name="T28" fmla="*/ 108516329 w 625"/>
                <a:gd name="T29" fmla="*/ 195171935 h 694"/>
                <a:gd name="T30" fmla="*/ 104075119 w 625"/>
                <a:gd name="T31" fmla="*/ 195171935 h 694"/>
                <a:gd name="T32" fmla="*/ 76077086 w 625"/>
                <a:gd name="T33" fmla="*/ 158841316 h 694"/>
                <a:gd name="T34" fmla="*/ 76656240 w 625"/>
                <a:gd name="T35" fmla="*/ 155461871 h 694"/>
                <a:gd name="T36" fmla="*/ 76077086 w 625"/>
                <a:gd name="T37" fmla="*/ 151800630 h 694"/>
                <a:gd name="T38" fmla="*/ 65264297 w 625"/>
                <a:gd name="T39" fmla="*/ 137437460 h 694"/>
                <a:gd name="T40" fmla="*/ 58892279 w 625"/>
                <a:gd name="T41" fmla="*/ 127579863 h 694"/>
                <a:gd name="T42" fmla="*/ 56575222 w 625"/>
                <a:gd name="T43" fmla="*/ 118004594 h 694"/>
                <a:gd name="T44" fmla="*/ 56188973 w 625"/>
                <a:gd name="T45" fmla="*/ 107302666 h 694"/>
                <a:gd name="T46" fmla="*/ 55030224 w 625"/>
                <a:gd name="T47" fmla="*/ 101388108 h 694"/>
                <a:gd name="T48" fmla="*/ 51747763 w 625"/>
                <a:gd name="T49" fmla="*/ 96318941 h 694"/>
                <a:gd name="T50" fmla="*/ 46534493 w 625"/>
                <a:gd name="T51" fmla="*/ 87306205 h 694"/>
                <a:gd name="T52" fmla="*/ 43252032 w 625"/>
                <a:gd name="T53" fmla="*/ 75759416 h 694"/>
                <a:gd name="T54" fmla="*/ 41127879 w 625"/>
                <a:gd name="T55" fmla="*/ 67029008 h 694"/>
                <a:gd name="T56" fmla="*/ 36687109 w 625"/>
                <a:gd name="T57" fmla="*/ 59706525 h 694"/>
                <a:gd name="T58" fmla="*/ 28963438 w 625"/>
                <a:gd name="T59" fmla="*/ 48159205 h 694"/>
                <a:gd name="T60" fmla="*/ 26260131 w 625"/>
                <a:gd name="T61" fmla="*/ 41118519 h 694"/>
                <a:gd name="T62" fmla="*/ 21626016 w 625"/>
                <a:gd name="T63" fmla="*/ 37175480 h 694"/>
                <a:gd name="T64" fmla="*/ 15447343 w 625"/>
                <a:gd name="T65" fmla="*/ 31824516 h 694"/>
                <a:gd name="T66" fmla="*/ 9461574 w 625"/>
                <a:gd name="T67" fmla="*/ 23938969 h 694"/>
                <a:gd name="T68" fmla="*/ 4441210 w 625"/>
                <a:gd name="T69" fmla="*/ 14363169 h 694"/>
                <a:gd name="T70" fmla="*/ 965404 w 625"/>
                <a:gd name="T71" fmla="*/ 5350964 h 694"/>
                <a:gd name="T72" fmla="*/ 1930808 w 625"/>
                <a:gd name="T73" fmla="*/ 1126658 h 694"/>
                <a:gd name="T74" fmla="*/ 7144517 w 625"/>
                <a:gd name="T75" fmla="*/ 3661242 h 694"/>
                <a:gd name="T76" fmla="*/ 16219402 w 625"/>
                <a:gd name="T77" fmla="*/ 4506103 h 694"/>
                <a:gd name="T78" fmla="*/ 22398515 w 625"/>
                <a:gd name="T79" fmla="*/ 5632761 h 694"/>
                <a:gd name="T80" fmla="*/ 26646380 w 625"/>
                <a:gd name="T81" fmla="*/ 7604281 h 694"/>
                <a:gd name="T82" fmla="*/ 30121747 w 625"/>
                <a:gd name="T83" fmla="*/ 11828586 h 694"/>
                <a:gd name="T84" fmla="*/ 39390416 w 625"/>
                <a:gd name="T85" fmla="*/ 30697858 h 694"/>
                <a:gd name="T86" fmla="*/ 49044456 w 625"/>
                <a:gd name="T87" fmla="*/ 45906419 h 694"/>
                <a:gd name="T88" fmla="*/ 57733531 w 625"/>
                <a:gd name="T89" fmla="*/ 56890144 h 694"/>
                <a:gd name="T90" fmla="*/ 63526394 w 625"/>
                <a:gd name="T91" fmla="*/ 61677513 h 694"/>
                <a:gd name="T92" fmla="*/ 70670472 w 625"/>
                <a:gd name="T93" fmla="*/ 63930830 h 694"/>
                <a:gd name="T94" fmla="*/ 74918777 w 625"/>
                <a:gd name="T95" fmla="*/ 64775691 h 694"/>
                <a:gd name="T96" fmla="*/ 77428739 w 625"/>
                <a:gd name="T97" fmla="*/ 67873869 h 694"/>
                <a:gd name="T98" fmla="*/ 80324951 w 625"/>
                <a:gd name="T99" fmla="*/ 73224833 h 694"/>
                <a:gd name="T100" fmla="*/ 82449103 w 625"/>
                <a:gd name="T101" fmla="*/ 74632758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2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283050" y="4344243"/>
              <a:ext cx="306279" cy="289147"/>
            </a:xfrm>
            <a:custGeom>
              <a:avLst/>
              <a:gdLst>
                <a:gd name="T0" fmla="*/ 97275921 w 585"/>
                <a:gd name="T1" fmla="*/ 7619266 h 493"/>
                <a:gd name="T2" fmla="*/ 93316995 w 585"/>
                <a:gd name="T3" fmla="*/ 14966750 h 493"/>
                <a:gd name="T4" fmla="*/ 96521737 w 585"/>
                <a:gd name="T5" fmla="*/ 25307481 h 493"/>
                <a:gd name="T6" fmla="*/ 100669101 w 585"/>
                <a:gd name="T7" fmla="*/ 35375908 h 493"/>
                <a:gd name="T8" fmla="*/ 108021641 w 585"/>
                <a:gd name="T9" fmla="*/ 48165800 h 493"/>
                <a:gd name="T10" fmla="*/ 109341138 w 585"/>
                <a:gd name="T11" fmla="*/ 55785066 h 493"/>
                <a:gd name="T12" fmla="*/ 103120092 w 585"/>
                <a:gd name="T13" fmla="*/ 55512763 h 493"/>
                <a:gd name="T14" fmla="*/ 97275921 w 585"/>
                <a:gd name="T15" fmla="*/ 63404331 h 493"/>
                <a:gd name="T16" fmla="*/ 95390677 w 585"/>
                <a:gd name="T17" fmla="*/ 66942183 h 493"/>
                <a:gd name="T18" fmla="*/ 97652797 w 585"/>
                <a:gd name="T19" fmla="*/ 73745062 h 493"/>
                <a:gd name="T20" fmla="*/ 98972728 w 585"/>
                <a:gd name="T21" fmla="*/ 80003856 h 493"/>
                <a:gd name="T22" fmla="*/ 95202239 w 585"/>
                <a:gd name="T23" fmla="*/ 83813489 h 493"/>
                <a:gd name="T24" fmla="*/ 86530202 w 585"/>
                <a:gd name="T25" fmla="*/ 87895425 h 493"/>
                <a:gd name="T26" fmla="*/ 83513897 w 585"/>
                <a:gd name="T27" fmla="*/ 96331078 h 493"/>
                <a:gd name="T28" fmla="*/ 83891207 w 585"/>
                <a:gd name="T29" fmla="*/ 112930603 h 493"/>
                <a:gd name="T30" fmla="*/ 81063340 w 585"/>
                <a:gd name="T31" fmla="*/ 123543636 h 493"/>
                <a:gd name="T32" fmla="*/ 75407607 w 585"/>
                <a:gd name="T33" fmla="*/ 128441437 h 493"/>
                <a:gd name="T34" fmla="*/ 69752308 w 585"/>
                <a:gd name="T35" fmla="*/ 132795676 h 493"/>
                <a:gd name="T36" fmla="*/ 64285012 w 585"/>
                <a:gd name="T37" fmla="*/ 134156147 h 493"/>
                <a:gd name="T38" fmla="*/ 62022892 w 585"/>
                <a:gd name="T39" fmla="*/ 132523373 h 493"/>
                <a:gd name="T40" fmla="*/ 61645583 w 585"/>
                <a:gd name="T41" fmla="*/ 128169656 h 493"/>
                <a:gd name="T42" fmla="*/ 57309781 w 585"/>
                <a:gd name="T43" fmla="*/ 122727249 h 493"/>
                <a:gd name="T44" fmla="*/ 47318246 w 585"/>
                <a:gd name="T45" fmla="*/ 123543636 h 493"/>
                <a:gd name="T46" fmla="*/ 41285638 w 585"/>
                <a:gd name="T47" fmla="*/ 125720494 h 493"/>
                <a:gd name="T48" fmla="*/ 33179347 w 585"/>
                <a:gd name="T49" fmla="*/ 119733481 h 493"/>
                <a:gd name="T50" fmla="*/ 22999374 w 585"/>
                <a:gd name="T51" fmla="*/ 118645313 h 493"/>
                <a:gd name="T52" fmla="*/ 17909388 w 585"/>
                <a:gd name="T53" fmla="*/ 116740235 h 493"/>
                <a:gd name="T54" fmla="*/ 15269959 w 585"/>
                <a:gd name="T55" fmla="*/ 99596627 h 493"/>
                <a:gd name="T56" fmla="*/ 10934157 w 585"/>
                <a:gd name="T57" fmla="*/ 84357573 h 493"/>
                <a:gd name="T58" fmla="*/ 6598356 w 585"/>
                <a:gd name="T59" fmla="*/ 79459772 h 493"/>
                <a:gd name="T60" fmla="*/ 2262120 w 585"/>
                <a:gd name="T61" fmla="*/ 70751816 h 493"/>
                <a:gd name="T62" fmla="*/ 942622 w 585"/>
                <a:gd name="T63" fmla="*/ 55512763 h 493"/>
                <a:gd name="T64" fmla="*/ 5844171 w 585"/>
                <a:gd name="T65" fmla="*/ 41634702 h 493"/>
                <a:gd name="T66" fmla="*/ 10179973 w 585"/>
                <a:gd name="T67" fmla="*/ 38369154 h 493"/>
                <a:gd name="T68" fmla="*/ 14138899 w 585"/>
                <a:gd name="T69" fmla="*/ 41362399 h 493"/>
                <a:gd name="T70" fmla="*/ 18286263 w 585"/>
                <a:gd name="T71" fmla="*/ 50886743 h 493"/>
                <a:gd name="T72" fmla="*/ 24318872 w 585"/>
                <a:gd name="T73" fmla="*/ 58234227 h 493"/>
                <a:gd name="T74" fmla="*/ 32048287 w 585"/>
                <a:gd name="T75" fmla="*/ 57961924 h 493"/>
                <a:gd name="T76" fmla="*/ 41662947 w 585"/>
                <a:gd name="T77" fmla="*/ 51430827 h 493"/>
                <a:gd name="T78" fmla="*/ 43925067 w 585"/>
                <a:gd name="T79" fmla="*/ 46804807 h 493"/>
                <a:gd name="T80" fmla="*/ 54293477 w 585"/>
                <a:gd name="T81" fmla="*/ 48437581 h 493"/>
                <a:gd name="T82" fmla="*/ 61457145 w 585"/>
                <a:gd name="T83" fmla="*/ 49253968 h 493"/>
                <a:gd name="T84" fmla="*/ 63530827 w 585"/>
                <a:gd name="T85" fmla="*/ 46260722 h 493"/>
                <a:gd name="T86" fmla="*/ 68243938 w 585"/>
                <a:gd name="T87" fmla="*/ 42995174 h 493"/>
                <a:gd name="T88" fmla="*/ 72202865 w 585"/>
                <a:gd name="T89" fmla="*/ 37008682 h 493"/>
                <a:gd name="T90" fmla="*/ 78235474 w 585"/>
                <a:gd name="T91" fmla="*/ 21497848 h 493"/>
                <a:gd name="T92" fmla="*/ 80497593 w 585"/>
                <a:gd name="T93" fmla="*/ 6802879 h 493"/>
                <a:gd name="T94" fmla="*/ 84268082 w 585"/>
                <a:gd name="T95" fmla="*/ 1632774 h 493"/>
                <a:gd name="T96" fmla="*/ 90300691 w 585"/>
                <a:gd name="T97" fmla="*/ 544084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3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711840" y="4801167"/>
              <a:ext cx="111026" cy="64255"/>
            </a:xfrm>
            <a:custGeom>
              <a:avLst/>
              <a:gdLst>
                <a:gd name="T0" fmla="*/ 0 w 212"/>
                <a:gd name="T1" fmla="*/ 31105929 h 105"/>
                <a:gd name="T2" fmla="*/ 3018062 w 212"/>
                <a:gd name="T3" fmla="*/ 25180834 h 105"/>
                <a:gd name="T4" fmla="*/ 6602038 w 212"/>
                <a:gd name="T5" fmla="*/ 20144559 h 105"/>
                <a:gd name="T6" fmla="*/ 8299779 w 212"/>
                <a:gd name="T7" fmla="*/ 17774739 h 105"/>
                <a:gd name="T8" fmla="*/ 10186014 w 212"/>
                <a:gd name="T9" fmla="*/ 15701010 h 105"/>
                <a:gd name="T10" fmla="*/ 12072249 w 212"/>
                <a:gd name="T11" fmla="*/ 13627281 h 105"/>
                <a:gd name="T12" fmla="*/ 13769990 w 212"/>
                <a:gd name="T13" fmla="*/ 11257461 h 105"/>
                <a:gd name="T14" fmla="*/ 15656225 w 212"/>
                <a:gd name="T15" fmla="*/ 9479824 h 105"/>
                <a:gd name="T16" fmla="*/ 17731387 w 212"/>
                <a:gd name="T17" fmla="*/ 7998823 h 105"/>
                <a:gd name="T18" fmla="*/ 19995042 w 212"/>
                <a:gd name="T19" fmla="*/ 6221186 h 105"/>
                <a:gd name="T20" fmla="*/ 22258263 w 212"/>
                <a:gd name="T21" fmla="*/ 4740184 h 105"/>
                <a:gd name="T22" fmla="*/ 27162994 w 212"/>
                <a:gd name="T23" fmla="*/ 2369820 h 105"/>
                <a:gd name="T24" fmla="*/ 32444277 w 212"/>
                <a:gd name="T25" fmla="*/ 0 h 105"/>
                <a:gd name="T26" fmla="*/ 39989649 w 212"/>
                <a:gd name="T27" fmla="*/ 0 h 105"/>
                <a:gd name="T28" fmla="*/ 38103415 w 212"/>
                <a:gd name="T29" fmla="*/ 2666456 h 105"/>
                <a:gd name="T30" fmla="*/ 35839759 w 212"/>
                <a:gd name="T31" fmla="*/ 5332367 h 105"/>
                <a:gd name="T32" fmla="*/ 33576104 w 212"/>
                <a:gd name="T33" fmla="*/ 7998823 h 105"/>
                <a:gd name="T34" fmla="*/ 31123956 w 212"/>
                <a:gd name="T35" fmla="*/ 10368643 h 105"/>
                <a:gd name="T36" fmla="*/ 25842239 w 212"/>
                <a:gd name="T37" fmla="*/ 15404919 h 105"/>
                <a:gd name="T38" fmla="*/ 20560521 w 212"/>
                <a:gd name="T39" fmla="*/ 19552376 h 105"/>
                <a:gd name="T40" fmla="*/ 14901818 w 212"/>
                <a:gd name="T41" fmla="*/ 23403741 h 105"/>
                <a:gd name="T42" fmla="*/ 9431607 w 212"/>
                <a:gd name="T43" fmla="*/ 26662380 h 105"/>
                <a:gd name="T44" fmla="*/ 4338383 w 212"/>
                <a:gd name="T45" fmla="*/ 29328291 h 105"/>
                <a:gd name="T46" fmla="*/ 0 w 212"/>
                <a:gd name="T47" fmla="*/ 31105929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4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851580" y="4426346"/>
              <a:ext cx="51684" cy="99952"/>
            </a:xfrm>
            <a:custGeom>
              <a:avLst/>
              <a:gdLst>
                <a:gd name="T0" fmla="*/ 0 w 92"/>
                <a:gd name="T1" fmla="*/ 23231284 h 166"/>
                <a:gd name="T2" fmla="*/ 0 w 92"/>
                <a:gd name="T3" fmla="*/ 42447072 h 166"/>
                <a:gd name="T4" fmla="*/ 1085061 w 92"/>
                <a:gd name="T5" fmla="*/ 41299941 h 166"/>
                <a:gd name="T6" fmla="*/ 2604798 w 92"/>
                <a:gd name="T7" fmla="*/ 39865759 h 166"/>
                <a:gd name="T8" fmla="*/ 3038543 w 92"/>
                <a:gd name="T9" fmla="*/ 39292193 h 166"/>
                <a:gd name="T10" fmla="*/ 3689859 w 92"/>
                <a:gd name="T11" fmla="*/ 38718628 h 166"/>
                <a:gd name="T12" fmla="*/ 3906964 w 92"/>
                <a:gd name="T13" fmla="*/ 37858547 h 166"/>
                <a:gd name="T14" fmla="*/ 4124070 w 92"/>
                <a:gd name="T15" fmla="*/ 37284446 h 166"/>
                <a:gd name="T16" fmla="*/ 4341175 w 92"/>
                <a:gd name="T17" fmla="*/ 39579244 h 166"/>
                <a:gd name="T18" fmla="*/ 5209131 w 92"/>
                <a:gd name="T19" fmla="*/ 42447072 h 166"/>
                <a:gd name="T20" fmla="*/ 5860447 w 92"/>
                <a:gd name="T21" fmla="*/ 44167769 h 166"/>
                <a:gd name="T22" fmla="*/ 6511763 w 92"/>
                <a:gd name="T23" fmla="*/ 45601951 h 166"/>
                <a:gd name="T24" fmla="*/ 7596824 w 92"/>
                <a:gd name="T25" fmla="*/ 46749083 h 166"/>
                <a:gd name="T26" fmla="*/ 8465245 w 92"/>
                <a:gd name="T27" fmla="*/ 47609699 h 166"/>
                <a:gd name="T28" fmla="*/ 8899456 w 92"/>
                <a:gd name="T29" fmla="*/ 45315436 h 166"/>
                <a:gd name="T30" fmla="*/ 8899456 w 92"/>
                <a:gd name="T31" fmla="*/ 42447072 h 166"/>
                <a:gd name="T32" fmla="*/ 8899456 w 92"/>
                <a:gd name="T33" fmla="*/ 39292193 h 166"/>
                <a:gd name="T34" fmla="*/ 8899456 w 92"/>
                <a:gd name="T35" fmla="*/ 36137314 h 166"/>
                <a:gd name="T36" fmla="*/ 8682350 w 92"/>
                <a:gd name="T37" fmla="*/ 30688173 h 166"/>
                <a:gd name="T38" fmla="*/ 8465245 w 92"/>
                <a:gd name="T39" fmla="*/ 28393910 h 166"/>
                <a:gd name="T40" fmla="*/ 10418727 w 92"/>
                <a:gd name="T41" fmla="*/ 28680425 h 166"/>
                <a:gd name="T42" fmla="*/ 12372209 w 92"/>
                <a:gd name="T43" fmla="*/ 29253991 h 166"/>
                <a:gd name="T44" fmla="*/ 13891481 w 92"/>
                <a:gd name="T45" fmla="*/ 30114607 h 166"/>
                <a:gd name="T46" fmla="*/ 15410753 w 92"/>
                <a:gd name="T47" fmla="*/ 30975223 h 166"/>
                <a:gd name="T48" fmla="*/ 16496279 w 92"/>
                <a:gd name="T49" fmla="*/ 31835304 h 166"/>
                <a:gd name="T50" fmla="*/ 17798446 w 92"/>
                <a:gd name="T51" fmla="*/ 32695920 h 166"/>
                <a:gd name="T52" fmla="*/ 18883972 w 92"/>
                <a:gd name="T53" fmla="*/ 33269486 h 166"/>
                <a:gd name="T54" fmla="*/ 19969033 w 92"/>
                <a:gd name="T55" fmla="*/ 33843052 h 166"/>
                <a:gd name="T56" fmla="*/ 18449762 w 92"/>
                <a:gd name="T57" fmla="*/ 29541042 h 166"/>
                <a:gd name="T58" fmla="*/ 17581340 w 92"/>
                <a:gd name="T59" fmla="*/ 25525546 h 166"/>
                <a:gd name="T60" fmla="*/ 16496279 w 92"/>
                <a:gd name="T61" fmla="*/ 21510587 h 166"/>
                <a:gd name="T62" fmla="*/ 15844963 w 92"/>
                <a:gd name="T63" fmla="*/ 17208577 h 166"/>
                <a:gd name="T64" fmla="*/ 15193647 w 92"/>
                <a:gd name="T65" fmla="*/ 13479596 h 166"/>
                <a:gd name="T66" fmla="*/ 14542797 w 92"/>
                <a:gd name="T67" fmla="*/ 9751152 h 166"/>
                <a:gd name="T68" fmla="*/ 13674376 w 92"/>
                <a:gd name="T69" fmla="*/ 6596273 h 166"/>
                <a:gd name="T70" fmla="*/ 12806420 w 92"/>
                <a:gd name="T71" fmla="*/ 3728445 h 166"/>
                <a:gd name="T72" fmla="*/ 12806420 w 92"/>
                <a:gd name="T73" fmla="*/ 5449142 h 166"/>
                <a:gd name="T74" fmla="*/ 12806420 w 92"/>
                <a:gd name="T75" fmla="*/ 7170374 h 166"/>
                <a:gd name="T76" fmla="*/ 10852938 w 92"/>
                <a:gd name="T77" fmla="*/ 6596273 h 166"/>
                <a:gd name="T78" fmla="*/ 9116095 w 92"/>
                <a:gd name="T79" fmla="*/ 5449142 h 166"/>
                <a:gd name="T80" fmla="*/ 7596824 w 92"/>
                <a:gd name="T81" fmla="*/ 4302010 h 166"/>
                <a:gd name="T82" fmla="*/ 6294657 w 92"/>
                <a:gd name="T83" fmla="*/ 3154879 h 166"/>
                <a:gd name="T84" fmla="*/ 4992491 w 92"/>
                <a:gd name="T85" fmla="*/ 2007748 h 166"/>
                <a:gd name="T86" fmla="*/ 3472754 w 92"/>
                <a:gd name="T87" fmla="*/ 860616 h 166"/>
                <a:gd name="T88" fmla="*/ 1736377 w 92"/>
                <a:gd name="T89" fmla="*/ 287051 h 166"/>
                <a:gd name="T90" fmla="*/ 0 w 92"/>
                <a:gd name="T91" fmla="*/ 0 h 166"/>
                <a:gd name="T92" fmla="*/ 0 w 92"/>
                <a:gd name="T93" fmla="*/ 2867828 h 166"/>
                <a:gd name="T94" fmla="*/ 0 w 92"/>
                <a:gd name="T95" fmla="*/ 5449142 h 166"/>
                <a:gd name="T96" fmla="*/ 0 w 92"/>
                <a:gd name="T97" fmla="*/ 9464637 h 166"/>
                <a:gd name="T98" fmla="*/ 0 w 92"/>
                <a:gd name="T99" fmla="*/ 14913778 h 166"/>
                <a:gd name="T100" fmla="*/ 0 w 92"/>
                <a:gd name="T101" fmla="*/ 20076405 h 166"/>
                <a:gd name="T102" fmla="*/ 0 w 92"/>
                <a:gd name="T103" fmla="*/ 23231284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5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866894" y="4588769"/>
              <a:ext cx="86140" cy="62470"/>
            </a:xfrm>
            <a:custGeom>
              <a:avLst/>
              <a:gdLst>
                <a:gd name="T0" fmla="*/ 1296194 w 166"/>
                <a:gd name="T1" fmla="*/ 0 h 62"/>
                <a:gd name="T2" fmla="*/ 2592819 w 166"/>
                <a:gd name="T3" fmla="*/ 2408882 h 62"/>
                <a:gd name="T4" fmla="*/ 4074491 w 166"/>
                <a:gd name="T5" fmla="*/ 4818659 h 62"/>
                <a:gd name="T6" fmla="*/ 5555733 w 166"/>
                <a:gd name="T7" fmla="*/ 5621620 h 62"/>
                <a:gd name="T8" fmla="*/ 6666880 w 166"/>
                <a:gd name="T9" fmla="*/ 6424580 h 62"/>
                <a:gd name="T10" fmla="*/ 8889173 w 166"/>
                <a:gd name="T11" fmla="*/ 6424580 h 62"/>
                <a:gd name="T12" fmla="*/ 10741371 w 166"/>
                <a:gd name="T13" fmla="*/ 5621620 h 62"/>
                <a:gd name="T14" fmla="*/ 12778616 w 166"/>
                <a:gd name="T15" fmla="*/ 4015699 h 62"/>
                <a:gd name="T16" fmla="*/ 14815431 w 166"/>
                <a:gd name="T17" fmla="*/ 2408882 h 62"/>
                <a:gd name="T18" fmla="*/ 17038155 w 166"/>
                <a:gd name="T19" fmla="*/ 802961 h 62"/>
                <a:gd name="T20" fmla="*/ 19630543 w 166"/>
                <a:gd name="T21" fmla="*/ 0 h 62"/>
                <a:gd name="T22" fmla="*/ 20556642 w 166"/>
                <a:gd name="T23" fmla="*/ 802961 h 62"/>
                <a:gd name="T24" fmla="*/ 21297263 w 166"/>
                <a:gd name="T25" fmla="*/ 1605921 h 62"/>
                <a:gd name="T26" fmla="*/ 22223362 w 166"/>
                <a:gd name="T27" fmla="*/ 4015699 h 62"/>
                <a:gd name="T28" fmla="*/ 22964413 w 166"/>
                <a:gd name="T29" fmla="*/ 6424580 h 62"/>
                <a:gd name="T30" fmla="*/ 24445655 w 166"/>
                <a:gd name="T31" fmla="*/ 13653017 h 62"/>
                <a:gd name="T32" fmla="*/ 25556802 w 166"/>
                <a:gd name="T33" fmla="*/ 20880558 h 62"/>
                <a:gd name="T34" fmla="*/ 26853427 w 166"/>
                <a:gd name="T35" fmla="*/ 28911956 h 62"/>
                <a:gd name="T36" fmla="*/ 27964573 w 166"/>
                <a:gd name="T37" fmla="*/ 36139496 h 62"/>
                <a:gd name="T38" fmla="*/ 28705194 w 166"/>
                <a:gd name="T39" fmla="*/ 39352235 h 62"/>
                <a:gd name="T40" fmla="*/ 29260767 w 166"/>
                <a:gd name="T41" fmla="*/ 41761116 h 62"/>
                <a:gd name="T42" fmla="*/ 30001819 w 166"/>
                <a:gd name="T43" fmla="*/ 43367933 h 62"/>
                <a:gd name="T44" fmla="*/ 30742440 w 166"/>
                <a:gd name="T45" fmla="*/ 44973854 h 62"/>
                <a:gd name="T46" fmla="*/ 29446245 w 166"/>
                <a:gd name="T47" fmla="*/ 45776815 h 62"/>
                <a:gd name="T48" fmla="*/ 27964573 w 166"/>
                <a:gd name="T49" fmla="*/ 47383632 h 62"/>
                <a:gd name="T50" fmla="*/ 26482901 w 166"/>
                <a:gd name="T51" fmla="*/ 48989553 h 62"/>
                <a:gd name="T52" fmla="*/ 24631133 w 166"/>
                <a:gd name="T53" fmla="*/ 49792514 h 62"/>
                <a:gd name="T54" fmla="*/ 23149461 w 166"/>
                <a:gd name="T55" fmla="*/ 48989553 h 62"/>
                <a:gd name="T56" fmla="*/ 22038315 w 166"/>
                <a:gd name="T57" fmla="*/ 46579775 h 62"/>
                <a:gd name="T58" fmla="*/ 20741690 w 166"/>
                <a:gd name="T59" fmla="*/ 43367933 h 62"/>
                <a:gd name="T60" fmla="*/ 19630543 w 166"/>
                <a:gd name="T61" fmla="*/ 40155195 h 62"/>
                <a:gd name="T62" fmla="*/ 18519397 w 166"/>
                <a:gd name="T63" fmla="*/ 36139496 h 62"/>
                <a:gd name="T64" fmla="*/ 17223202 w 166"/>
                <a:gd name="T65" fmla="*/ 32927654 h 62"/>
                <a:gd name="T66" fmla="*/ 16112056 w 166"/>
                <a:gd name="T67" fmla="*/ 31320837 h 62"/>
                <a:gd name="T68" fmla="*/ 14630384 w 166"/>
                <a:gd name="T69" fmla="*/ 30517877 h 62"/>
                <a:gd name="T70" fmla="*/ 10370845 w 166"/>
                <a:gd name="T71" fmla="*/ 30517877 h 62"/>
                <a:gd name="T72" fmla="*/ 6481832 w 166"/>
                <a:gd name="T73" fmla="*/ 31320837 h 62"/>
                <a:gd name="T74" fmla="*/ 4815112 w 166"/>
                <a:gd name="T75" fmla="*/ 32927654 h 62"/>
                <a:gd name="T76" fmla="*/ 3518918 w 166"/>
                <a:gd name="T77" fmla="*/ 34533575 h 62"/>
                <a:gd name="T78" fmla="*/ 2222293 w 166"/>
                <a:gd name="T79" fmla="*/ 36942457 h 62"/>
                <a:gd name="T80" fmla="*/ 1296194 w 166"/>
                <a:gd name="T81" fmla="*/ 40155195 h 62"/>
                <a:gd name="T82" fmla="*/ 370526 w 166"/>
                <a:gd name="T83" fmla="*/ 36139496 h 62"/>
                <a:gd name="T84" fmla="*/ 185048 w 166"/>
                <a:gd name="T85" fmla="*/ 32123798 h 62"/>
                <a:gd name="T86" fmla="*/ 0 w 166"/>
                <a:gd name="T87" fmla="*/ 27305138 h 62"/>
                <a:gd name="T88" fmla="*/ 185048 w 166"/>
                <a:gd name="T89" fmla="*/ 22487375 h 62"/>
                <a:gd name="T90" fmla="*/ 740621 w 166"/>
                <a:gd name="T91" fmla="*/ 12046200 h 62"/>
                <a:gd name="T92" fmla="*/ 1296194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6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958778" y="4503096"/>
              <a:ext cx="103369" cy="71394"/>
            </a:xfrm>
            <a:custGeom>
              <a:avLst/>
              <a:gdLst>
                <a:gd name="T0" fmla="*/ 6510658 w 193"/>
                <a:gd name="T1" fmla="*/ 9639405 h 121"/>
                <a:gd name="T2" fmla="*/ 9469725 w 193"/>
                <a:gd name="T3" fmla="*/ 6885289 h 121"/>
                <a:gd name="T4" fmla="*/ 13415740 w 193"/>
                <a:gd name="T5" fmla="*/ 3305149 h 121"/>
                <a:gd name="T6" fmla="*/ 16572019 w 193"/>
                <a:gd name="T7" fmla="*/ 1101541 h 121"/>
                <a:gd name="T8" fmla="*/ 18545027 w 193"/>
                <a:gd name="T9" fmla="*/ 275517 h 121"/>
                <a:gd name="T10" fmla="*/ 20715246 w 193"/>
                <a:gd name="T11" fmla="*/ 275517 h 121"/>
                <a:gd name="T12" fmla="*/ 22885466 w 193"/>
                <a:gd name="T13" fmla="*/ 826025 h 121"/>
                <a:gd name="T14" fmla="*/ 25844533 w 193"/>
                <a:gd name="T15" fmla="*/ 2754116 h 121"/>
                <a:gd name="T16" fmla="*/ 29198468 w 193"/>
                <a:gd name="T17" fmla="*/ 5783748 h 121"/>
                <a:gd name="T18" fmla="*/ 31960767 w 193"/>
                <a:gd name="T19" fmla="*/ 7711314 h 121"/>
                <a:gd name="T20" fmla="*/ 34130987 w 193"/>
                <a:gd name="T21" fmla="*/ 8262347 h 121"/>
                <a:gd name="T22" fmla="*/ 35314702 w 193"/>
                <a:gd name="T23" fmla="*/ 13219545 h 121"/>
                <a:gd name="T24" fmla="*/ 35117046 w 193"/>
                <a:gd name="T25" fmla="*/ 18176744 h 121"/>
                <a:gd name="T26" fmla="*/ 35906338 w 193"/>
                <a:gd name="T27" fmla="*/ 20655868 h 121"/>
                <a:gd name="T28" fmla="*/ 36892842 w 193"/>
                <a:gd name="T29" fmla="*/ 24511525 h 121"/>
                <a:gd name="T30" fmla="*/ 37090054 w 193"/>
                <a:gd name="T31" fmla="*/ 28091665 h 121"/>
                <a:gd name="T32" fmla="*/ 37682134 w 193"/>
                <a:gd name="T33" fmla="*/ 30019231 h 121"/>
                <a:gd name="T34" fmla="*/ 37090054 w 193"/>
                <a:gd name="T35" fmla="*/ 31396289 h 121"/>
                <a:gd name="T36" fmla="*/ 34919834 w 193"/>
                <a:gd name="T37" fmla="*/ 32498355 h 121"/>
                <a:gd name="T38" fmla="*/ 31368687 w 193"/>
                <a:gd name="T39" fmla="*/ 33324380 h 121"/>
                <a:gd name="T40" fmla="*/ 22885466 w 193"/>
                <a:gd name="T41" fmla="*/ 32773347 h 121"/>
                <a:gd name="T42" fmla="*/ 14204588 w 193"/>
                <a:gd name="T43" fmla="*/ 31947322 h 121"/>
                <a:gd name="T44" fmla="*/ 12429237 w 193"/>
                <a:gd name="T45" fmla="*/ 30294748 h 121"/>
                <a:gd name="T46" fmla="*/ 11048309 w 193"/>
                <a:gd name="T47" fmla="*/ 27540632 h 121"/>
                <a:gd name="T48" fmla="*/ 10653441 w 193"/>
                <a:gd name="T49" fmla="*/ 23960492 h 121"/>
                <a:gd name="T50" fmla="*/ 9272513 w 193"/>
                <a:gd name="T51" fmla="*/ 21757409 h 121"/>
                <a:gd name="T52" fmla="*/ 6115790 w 193"/>
                <a:gd name="T53" fmla="*/ 20655868 h 121"/>
                <a:gd name="T54" fmla="*/ 2564643 w 193"/>
                <a:gd name="T55" fmla="*/ 19003293 h 121"/>
                <a:gd name="T56" fmla="*/ 592080 w 193"/>
                <a:gd name="T57" fmla="*/ 17075202 h 121"/>
                <a:gd name="T58" fmla="*/ 0 w 193"/>
                <a:gd name="T59" fmla="*/ 15973661 h 121"/>
                <a:gd name="T60" fmla="*/ 197212 w 193"/>
                <a:gd name="T61" fmla="*/ 14045570 h 121"/>
                <a:gd name="T62" fmla="*/ 1380928 w 193"/>
                <a:gd name="T63" fmla="*/ 12393521 h 121"/>
                <a:gd name="T64" fmla="*/ 3945571 w 193"/>
                <a:gd name="T65" fmla="*/ 10465430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7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583586" y="4433486"/>
              <a:ext cx="200995" cy="258805"/>
            </a:xfrm>
            <a:custGeom>
              <a:avLst/>
              <a:gdLst>
                <a:gd name="T0" fmla="*/ 7156986 w 379"/>
                <a:gd name="T1" fmla="*/ 116256528 h 437"/>
                <a:gd name="T2" fmla="*/ 8897743 w 379"/>
                <a:gd name="T3" fmla="*/ 112926967 h 437"/>
                <a:gd name="T4" fmla="*/ 4642167 w 379"/>
                <a:gd name="T5" fmla="*/ 86290475 h 437"/>
                <a:gd name="T6" fmla="*/ 387031 w 379"/>
                <a:gd name="T7" fmla="*/ 81573465 h 437"/>
                <a:gd name="T8" fmla="*/ 2901409 w 379"/>
                <a:gd name="T9" fmla="*/ 74914342 h 437"/>
                <a:gd name="T10" fmla="*/ 5996334 w 379"/>
                <a:gd name="T11" fmla="*/ 61319028 h 437"/>
                <a:gd name="T12" fmla="*/ 7543576 w 379"/>
                <a:gd name="T13" fmla="*/ 47723187 h 437"/>
                <a:gd name="T14" fmla="*/ 11025531 w 379"/>
                <a:gd name="T15" fmla="*/ 44116557 h 437"/>
                <a:gd name="T16" fmla="*/ 12572774 w 379"/>
                <a:gd name="T17" fmla="*/ 36069986 h 437"/>
                <a:gd name="T18" fmla="*/ 14700562 w 379"/>
                <a:gd name="T19" fmla="*/ 21641886 h 437"/>
                <a:gd name="T20" fmla="*/ 17408896 w 379"/>
                <a:gd name="T21" fmla="*/ 14150504 h 437"/>
                <a:gd name="T22" fmla="*/ 22244578 w 379"/>
                <a:gd name="T23" fmla="*/ 8601235 h 437"/>
                <a:gd name="T24" fmla="*/ 29595079 w 379"/>
                <a:gd name="T25" fmla="*/ 6936718 h 437"/>
                <a:gd name="T26" fmla="*/ 41974337 w 379"/>
                <a:gd name="T27" fmla="*/ 10543348 h 437"/>
                <a:gd name="T28" fmla="*/ 50679005 w 379"/>
                <a:gd name="T29" fmla="*/ 13318246 h 437"/>
                <a:gd name="T30" fmla="*/ 58609612 w 379"/>
                <a:gd name="T31" fmla="*/ 12485987 h 437"/>
                <a:gd name="T32" fmla="*/ 63638810 w 379"/>
                <a:gd name="T33" fmla="*/ 8601235 h 437"/>
                <a:gd name="T34" fmla="*/ 68861083 w 379"/>
                <a:gd name="T35" fmla="*/ 1942112 h 437"/>
                <a:gd name="T36" fmla="*/ 72343038 w 379"/>
                <a:gd name="T37" fmla="*/ 2497303 h 437"/>
                <a:gd name="T38" fmla="*/ 71956007 w 379"/>
                <a:gd name="T39" fmla="*/ 9711089 h 437"/>
                <a:gd name="T40" fmla="*/ 63638810 w 379"/>
                <a:gd name="T41" fmla="*/ 22197076 h 437"/>
                <a:gd name="T42" fmla="*/ 56481824 w 379"/>
                <a:gd name="T43" fmla="*/ 26913560 h 437"/>
                <a:gd name="T44" fmla="*/ 52419763 w 379"/>
                <a:gd name="T45" fmla="*/ 26081301 h 437"/>
                <a:gd name="T46" fmla="*/ 46036399 w 379"/>
                <a:gd name="T47" fmla="*/ 19144583 h 437"/>
                <a:gd name="T48" fmla="*/ 41007201 w 379"/>
                <a:gd name="T49" fmla="*/ 15537953 h 437"/>
                <a:gd name="T50" fmla="*/ 34237246 w 379"/>
                <a:gd name="T51" fmla="*/ 15537953 h 437"/>
                <a:gd name="T52" fmla="*/ 26693230 w 379"/>
                <a:gd name="T53" fmla="*/ 16925402 h 437"/>
                <a:gd name="T54" fmla="*/ 22051063 w 379"/>
                <a:gd name="T55" fmla="*/ 21919481 h 437"/>
                <a:gd name="T56" fmla="*/ 15281108 w 379"/>
                <a:gd name="T57" fmla="*/ 44671221 h 437"/>
                <a:gd name="T58" fmla="*/ 23018199 w 379"/>
                <a:gd name="T59" fmla="*/ 46890929 h 437"/>
                <a:gd name="T60" fmla="*/ 25726093 w 379"/>
                <a:gd name="T61" fmla="*/ 52994861 h 437"/>
                <a:gd name="T62" fmla="*/ 29981670 w 379"/>
                <a:gd name="T63" fmla="*/ 46613333 h 437"/>
                <a:gd name="T64" fmla="*/ 33270109 w 379"/>
                <a:gd name="T65" fmla="*/ 42451513 h 437"/>
                <a:gd name="T66" fmla="*/ 42747959 w 379"/>
                <a:gd name="T67" fmla="*/ 41619255 h 437"/>
                <a:gd name="T68" fmla="*/ 48357702 w 379"/>
                <a:gd name="T69" fmla="*/ 40786996 h 437"/>
                <a:gd name="T70" fmla="*/ 52806354 w 379"/>
                <a:gd name="T71" fmla="*/ 48000782 h 437"/>
                <a:gd name="T72" fmla="*/ 53967005 w 379"/>
                <a:gd name="T73" fmla="*/ 56324423 h 437"/>
                <a:gd name="T74" fmla="*/ 47584081 w 379"/>
                <a:gd name="T75" fmla="*/ 53272456 h 437"/>
                <a:gd name="T76" fmla="*/ 42167853 w 379"/>
                <a:gd name="T77" fmla="*/ 51330344 h 437"/>
                <a:gd name="T78" fmla="*/ 37138655 w 379"/>
                <a:gd name="T79" fmla="*/ 54104715 h 437"/>
                <a:gd name="T80" fmla="*/ 35978004 w 379"/>
                <a:gd name="T81" fmla="*/ 57989467 h 437"/>
                <a:gd name="T82" fmla="*/ 37138655 w 379"/>
                <a:gd name="T83" fmla="*/ 64648590 h 437"/>
                <a:gd name="T84" fmla="*/ 42554883 w 379"/>
                <a:gd name="T85" fmla="*/ 75469532 h 437"/>
                <a:gd name="T86" fmla="*/ 43522020 w 379"/>
                <a:gd name="T87" fmla="*/ 82128655 h 437"/>
                <a:gd name="T88" fmla="*/ 41587747 w 379"/>
                <a:gd name="T89" fmla="*/ 89342442 h 437"/>
                <a:gd name="T90" fmla="*/ 39653474 w 379"/>
                <a:gd name="T91" fmla="*/ 95723970 h 437"/>
                <a:gd name="T92" fmla="*/ 40620610 w 379"/>
                <a:gd name="T93" fmla="*/ 98776463 h 437"/>
                <a:gd name="T94" fmla="*/ 45649808 w 379"/>
                <a:gd name="T95" fmla="*/ 102106024 h 437"/>
                <a:gd name="T96" fmla="*/ 48744293 w 379"/>
                <a:gd name="T97" fmla="*/ 110984328 h 437"/>
                <a:gd name="T98" fmla="*/ 46229914 w 379"/>
                <a:gd name="T99" fmla="*/ 119030900 h 437"/>
                <a:gd name="T100" fmla="*/ 42747959 w 379"/>
                <a:gd name="T101" fmla="*/ 116811192 h 437"/>
                <a:gd name="T102" fmla="*/ 39072928 w 379"/>
                <a:gd name="T103" fmla="*/ 115701338 h 437"/>
                <a:gd name="T104" fmla="*/ 34237246 w 379"/>
                <a:gd name="T105" fmla="*/ 110984328 h 437"/>
                <a:gd name="T106" fmla="*/ 29595079 w 379"/>
                <a:gd name="T107" fmla="*/ 98776463 h 437"/>
                <a:gd name="T108" fmla="*/ 26500154 w 379"/>
                <a:gd name="T109" fmla="*/ 84348363 h 437"/>
                <a:gd name="T110" fmla="*/ 22051063 w 379"/>
                <a:gd name="T111" fmla="*/ 72972230 h 437"/>
                <a:gd name="T112" fmla="*/ 18762623 w 379"/>
                <a:gd name="T113" fmla="*/ 71862376 h 437"/>
                <a:gd name="T114" fmla="*/ 20310305 w 379"/>
                <a:gd name="T115" fmla="*/ 105712654 h 437"/>
                <a:gd name="T116" fmla="*/ 17989002 w 379"/>
                <a:gd name="T117" fmla="*/ 112094182 h 437"/>
                <a:gd name="T118" fmla="*/ 11025531 w 379"/>
                <a:gd name="T119" fmla="*/ 118198641 h 437"/>
                <a:gd name="T120" fmla="*/ 11412562 w 379"/>
                <a:gd name="T121" fmla="*/ 12125060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8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7179681" y="4704785"/>
              <a:ext cx="302450" cy="107092"/>
            </a:xfrm>
            <a:custGeom>
              <a:avLst/>
              <a:gdLst>
                <a:gd name="T0" fmla="*/ 2071259 w 578"/>
                <a:gd name="T1" fmla="*/ 13398673 h 184"/>
                <a:gd name="T2" fmla="*/ 4519623 w 578"/>
                <a:gd name="T3" fmla="*/ 8575088 h 184"/>
                <a:gd name="T4" fmla="*/ 7720897 w 578"/>
                <a:gd name="T5" fmla="*/ 1876011 h 184"/>
                <a:gd name="T6" fmla="*/ 10168827 w 578"/>
                <a:gd name="T7" fmla="*/ 0 h 184"/>
                <a:gd name="T8" fmla="*/ 14876787 w 578"/>
                <a:gd name="T9" fmla="*/ 535781 h 184"/>
                <a:gd name="T10" fmla="*/ 17890158 w 578"/>
                <a:gd name="T11" fmla="*/ 535781 h 184"/>
                <a:gd name="T12" fmla="*/ 19019739 w 578"/>
                <a:gd name="T13" fmla="*/ 1339712 h 184"/>
                <a:gd name="T14" fmla="*/ 21656439 w 578"/>
                <a:gd name="T15" fmla="*/ 4019654 h 184"/>
                <a:gd name="T16" fmla="*/ 27682314 w 578"/>
                <a:gd name="T17" fmla="*/ 7235376 h 184"/>
                <a:gd name="T18" fmla="*/ 31636930 w 578"/>
                <a:gd name="T19" fmla="*/ 9915318 h 184"/>
                <a:gd name="T20" fmla="*/ 33520288 w 578"/>
                <a:gd name="T21" fmla="*/ 14202603 h 184"/>
                <a:gd name="T22" fmla="*/ 36156554 w 578"/>
                <a:gd name="T23" fmla="*/ 16346246 h 184"/>
                <a:gd name="T24" fmla="*/ 43500779 w 578"/>
                <a:gd name="T25" fmla="*/ 16078614 h 184"/>
                <a:gd name="T26" fmla="*/ 52163355 w 578"/>
                <a:gd name="T27" fmla="*/ 13666822 h 184"/>
                <a:gd name="T28" fmla="*/ 56306307 w 578"/>
                <a:gd name="T29" fmla="*/ 10451099 h 184"/>
                <a:gd name="T30" fmla="*/ 59130909 w 578"/>
                <a:gd name="T31" fmla="*/ 9111387 h 184"/>
                <a:gd name="T32" fmla="*/ 61579273 w 578"/>
                <a:gd name="T33" fmla="*/ 9379019 h 184"/>
                <a:gd name="T34" fmla="*/ 63838868 w 578"/>
                <a:gd name="T35" fmla="*/ 8307457 h 184"/>
                <a:gd name="T36" fmla="*/ 68923499 w 578"/>
                <a:gd name="T37" fmla="*/ 9111387 h 184"/>
                <a:gd name="T38" fmla="*/ 75137710 w 578"/>
                <a:gd name="T39" fmla="*/ 15810465 h 184"/>
                <a:gd name="T40" fmla="*/ 80599012 w 578"/>
                <a:gd name="T41" fmla="*/ 23849772 h 184"/>
                <a:gd name="T42" fmla="*/ 85871978 w 578"/>
                <a:gd name="T43" fmla="*/ 28137575 h 184"/>
                <a:gd name="T44" fmla="*/ 90203266 w 578"/>
                <a:gd name="T45" fmla="*/ 28673356 h 184"/>
                <a:gd name="T46" fmla="*/ 92839532 w 578"/>
                <a:gd name="T47" fmla="*/ 28941505 h 184"/>
                <a:gd name="T48" fmla="*/ 95099127 w 578"/>
                <a:gd name="T49" fmla="*/ 33496940 h 184"/>
                <a:gd name="T50" fmla="*/ 98300834 w 578"/>
                <a:gd name="T51" fmla="*/ 37516594 h 184"/>
                <a:gd name="T52" fmla="*/ 100560429 w 578"/>
                <a:gd name="T53" fmla="*/ 37248444 h 184"/>
                <a:gd name="T54" fmla="*/ 102820024 w 578"/>
                <a:gd name="T55" fmla="*/ 34300871 h 184"/>
                <a:gd name="T56" fmla="*/ 105080053 w 578"/>
                <a:gd name="T57" fmla="*/ 35908732 h 184"/>
                <a:gd name="T58" fmla="*/ 107527983 w 578"/>
                <a:gd name="T59" fmla="*/ 38856306 h 184"/>
                <a:gd name="T60" fmla="*/ 108846333 w 578"/>
                <a:gd name="T61" fmla="*/ 42875959 h 184"/>
                <a:gd name="T62" fmla="*/ 108281326 w 578"/>
                <a:gd name="T63" fmla="*/ 46359832 h 184"/>
                <a:gd name="T64" fmla="*/ 106775074 w 578"/>
                <a:gd name="T65" fmla="*/ 48771624 h 184"/>
                <a:gd name="T66" fmla="*/ 103761703 w 578"/>
                <a:gd name="T67" fmla="*/ 47699543 h 184"/>
                <a:gd name="T68" fmla="*/ 99053743 w 578"/>
                <a:gd name="T69" fmla="*/ 45555901 h 184"/>
                <a:gd name="T70" fmla="*/ 92462861 w 578"/>
                <a:gd name="T71" fmla="*/ 46091682 h 184"/>
                <a:gd name="T72" fmla="*/ 87001559 w 578"/>
                <a:gd name="T73" fmla="*/ 45555901 h 184"/>
                <a:gd name="T74" fmla="*/ 84930300 w 578"/>
                <a:gd name="T75" fmla="*/ 42875959 h 184"/>
                <a:gd name="T76" fmla="*/ 82482369 w 578"/>
                <a:gd name="T77" fmla="*/ 41268098 h 184"/>
                <a:gd name="T78" fmla="*/ 80222340 w 578"/>
                <a:gd name="T79" fmla="*/ 42875959 h 184"/>
                <a:gd name="T80" fmla="*/ 78339417 w 578"/>
                <a:gd name="T81" fmla="*/ 45555901 h 184"/>
                <a:gd name="T82" fmla="*/ 74949374 w 578"/>
                <a:gd name="T83" fmla="*/ 45823533 h 184"/>
                <a:gd name="T84" fmla="*/ 61767609 w 578"/>
                <a:gd name="T85" fmla="*/ 40999948 h 184"/>
                <a:gd name="T86" fmla="*/ 52163355 w 578"/>
                <a:gd name="T87" fmla="*/ 35372951 h 184"/>
                <a:gd name="T88" fmla="*/ 50092096 w 578"/>
                <a:gd name="T89" fmla="*/ 32961159 h 184"/>
                <a:gd name="T90" fmla="*/ 43312444 w 578"/>
                <a:gd name="T91" fmla="*/ 31889079 h 184"/>
                <a:gd name="T92" fmla="*/ 37851575 w 578"/>
                <a:gd name="T93" fmla="*/ 30281217 h 184"/>
                <a:gd name="T94" fmla="*/ 31636930 w 578"/>
                <a:gd name="T95" fmla="*/ 29745436 h 184"/>
                <a:gd name="T96" fmla="*/ 27493978 w 578"/>
                <a:gd name="T97" fmla="*/ 29745436 h 184"/>
                <a:gd name="T98" fmla="*/ 23351026 w 578"/>
                <a:gd name="T99" fmla="*/ 28137575 h 184"/>
                <a:gd name="T100" fmla="*/ 22597683 w 578"/>
                <a:gd name="T101" fmla="*/ 26529713 h 184"/>
                <a:gd name="T102" fmla="*/ 12993863 w 578"/>
                <a:gd name="T103" fmla="*/ 25993414 h 184"/>
                <a:gd name="T104" fmla="*/ 8662576 w 578"/>
                <a:gd name="T105" fmla="*/ 23581622 h 184"/>
                <a:gd name="T106" fmla="*/ 0 w 578"/>
                <a:gd name="T107" fmla="*/ 14738385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49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000891" y="4544147"/>
              <a:ext cx="258422" cy="283793"/>
            </a:xfrm>
            <a:custGeom>
              <a:avLst/>
              <a:gdLst>
                <a:gd name="T0" fmla="*/ 91828545 w 491"/>
                <a:gd name="T1" fmla="*/ 131907046 h 481"/>
                <a:gd name="T2" fmla="*/ 87065669 w 491"/>
                <a:gd name="T3" fmla="*/ 128052106 h 481"/>
                <a:gd name="T4" fmla="*/ 80397554 w 491"/>
                <a:gd name="T5" fmla="*/ 119515194 h 481"/>
                <a:gd name="T6" fmla="*/ 78492316 w 491"/>
                <a:gd name="T7" fmla="*/ 114833746 h 481"/>
                <a:gd name="T8" fmla="*/ 71633895 w 491"/>
                <a:gd name="T9" fmla="*/ 112906277 h 481"/>
                <a:gd name="T10" fmla="*/ 68585514 w 491"/>
                <a:gd name="T11" fmla="*/ 111804266 h 481"/>
                <a:gd name="T12" fmla="*/ 66680276 w 491"/>
                <a:gd name="T13" fmla="*/ 109050812 h 481"/>
                <a:gd name="T14" fmla="*/ 65918181 w 491"/>
                <a:gd name="T15" fmla="*/ 102992376 h 481"/>
                <a:gd name="T16" fmla="*/ 65156086 w 491"/>
                <a:gd name="T17" fmla="*/ 91426507 h 481"/>
                <a:gd name="T18" fmla="*/ 62298447 w 491"/>
                <a:gd name="T19" fmla="*/ 83440076 h 481"/>
                <a:gd name="T20" fmla="*/ 60774257 w 491"/>
                <a:gd name="T21" fmla="*/ 76280678 h 481"/>
                <a:gd name="T22" fmla="*/ 59821856 w 491"/>
                <a:gd name="T23" fmla="*/ 67192760 h 481"/>
                <a:gd name="T24" fmla="*/ 55630332 w 491"/>
                <a:gd name="T25" fmla="*/ 61409826 h 481"/>
                <a:gd name="T26" fmla="*/ 49534007 w 491"/>
                <a:gd name="T27" fmla="*/ 56452876 h 481"/>
                <a:gd name="T28" fmla="*/ 42103797 w 491"/>
                <a:gd name="T29" fmla="*/ 52322434 h 481"/>
                <a:gd name="T30" fmla="*/ 33911928 w 491"/>
                <a:gd name="T31" fmla="*/ 49843958 h 481"/>
                <a:gd name="T32" fmla="*/ 25338575 w 491"/>
                <a:gd name="T33" fmla="*/ 49017975 h 481"/>
                <a:gd name="T34" fmla="*/ 25338575 w 491"/>
                <a:gd name="T35" fmla="*/ 42959538 h 481"/>
                <a:gd name="T36" fmla="*/ 20956746 w 491"/>
                <a:gd name="T37" fmla="*/ 39930057 h 481"/>
                <a:gd name="T38" fmla="*/ 16193869 w 491"/>
                <a:gd name="T39" fmla="*/ 35799615 h 481"/>
                <a:gd name="T40" fmla="*/ 12574135 w 491"/>
                <a:gd name="T41" fmla="*/ 30567162 h 481"/>
                <a:gd name="T42" fmla="*/ 13907583 w 491"/>
                <a:gd name="T43" fmla="*/ 36625599 h 481"/>
                <a:gd name="T44" fmla="*/ 10287849 w 491"/>
                <a:gd name="T45" fmla="*/ 40481063 h 481"/>
                <a:gd name="T46" fmla="*/ 7620516 w 491"/>
                <a:gd name="T47" fmla="*/ 49017975 h 481"/>
                <a:gd name="T48" fmla="*/ 4572571 w 491"/>
                <a:gd name="T49" fmla="*/ 60583843 h 481"/>
                <a:gd name="T50" fmla="*/ 2476591 w 491"/>
                <a:gd name="T51" fmla="*/ 72975694 h 481"/>
                <a:gd name="T52" fmla="*/ 2667333 w 491"/>
                <a:gd name="T53" fmla="*/ 65265291 h 481"/>
                <a:gd name="T54" fmla="*/ 4381829 w 491"/>
                <a:gd name="T55" fmla="*/ 57554362 h 481"/>
                <a:gd name="T56" fmla="*/ 6096325 w 491"/>
                <a:gd name="T57" fmla="*/ 49843958 h 481"/>
                <a:gd name="T58" fmla="*/ 5715278 w 491"/>
                <a:gd name="T59" fmla="*/ 39379577 h 481"/>
                <a:gd name="T60" fmla="*/ 3238686 w 491"/>
                <a:gd name="T61" fmla="*/ 30567162 h 481"/>
                <a:gd name="T62" fmla="*/ 0 w 491"/>
                <a:gd name="T63" fmla="*/ 20102780 h 481"/>
                <a:gd name="T64" fmla="*/ 6477373 w 491"/>
                <a:gd name="T65" fmla="*/ 16247316 h 481"/>
                <a:gd name="T66" fmla="*/ 11240250 w 491"/>
                <a:gd name="T67" fmla="*/ 15145830 h 481"/>
                <a:gd name="T68" fmla="*/ 16003127 w 491"/>
                <a:gd name="T69" fmla="*/ 15971813 h 481"/>
                <a:gd name="T70" fmla="*/ 19432555 w 491"/>
                <a:gd name="T71" fmla="*/ 18175310 h 481"/>
                <a:gd name="T72" fmla="*/ 23052289 w 491"/>
                <a:gd name="T73" fmla="*/ 22581255 h 481"/>
                <a:gd name="T74" fmla="*/ 26672023 w 491"/>
                <a:gd name="T75" fmla="*/ 30567162 h 481"/>
                <a:gd name="T76" fmla="*/ 34864329 w 491"/>
                <a:gd name="T77" fmla="*/ 28364189 h 481"/>
                <a:gd name="T78" fmla="*/ 37340920 w 491"/>
                <a:gd name="T79" fmla="*/ 26436720 h 481"/>
                <a:gd name="T80" fmla="*/ 38103015 w 491"/>
                <a:gd name="T81" fmla="*/ 24784228 h 481"/>
                <a:gd name="T82" fmla="*/ 39436463 w 491"/>
                <a:gd name="T83" fmla="*/ 20102780 h 481"/>
                <a:gd name="T84" fmla="*/ 44199777 w 491"/>
                <a:gd name="T85" fmla="*/ 14870327 h 481"/>
                <a:gd name="T86" fmla="*/ 48390864 w 491"/>
                <a:gd name="T87" fmla="*/ 13493863 h 481"/>
                <a:gd name="T88" fmla="*/ 50105360 w 491"/>
                <a:gd name="T89" fmla="*/ 8261409 h 481"/>
                <a:gd name="T90" fmla="*/ 53344483 w 491"/>
                <a:gd name="T91" fmla="*/ 2478475 h 481"/>
                <a:gd name="T92" fmla="*/ 57154522 w 491"/>
                <a:gd name="T93" fmla="*/ 275503 h 481"/>
                <a:gd name="T94" fmla="*/ 61536352 w 491"/>
                <a:gd name="T95" fmla="*/ 0 h 481"/>
                <a:gd name="T96" fmla="*/ 66871018 w 491"/>
                <a:gd name="T97" fmla="*/ 2202973 h 481"/>
                <a:gd name="T98" fmla="*/ 76015724 w 491"/>
                <a:gd name="T99" fmla="*/ 10464382 h 481"/>
                <a:gd name="T100" fmla="*/ 81540696 w 491"/>
                <a:gd name="T101" fmla="*/ 14595349 h 481"/>
                <a:gd name="T102" fmla="*/ 87446716 w 491"/>
                <a:gd name="T103" fmla="*/ 16522819 h 481"/>
                <a:gd name="T104" fmla="*/ 93543041 w 491"/>
                <a:gd name="T105" fmla="*/ 18450288 h 481"/>
                <a:gd name="T106" fmla="*/ 93543041 w 491"/>
                <a:gd name="T107" fmla="*/ 89774016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0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230217" y="3230490"/>
              <a:ext cx="65084" cy="67825"/>
            </a:xfrm>
            <a:custGeom>
              <a:avLst/>
              <a:gdLst>
                <a:gd name="T0" fmla="*/ 0 w 133"/>
                <a:gd name="T1" fmla="*/ 5050801 h 117"/>
                <a:gd name="T2" fmla="*/ 11858267 w 133"/>
                <a:gd name="T3" fmla="*/ 0 h 117"/>
                <a:gd name="T4" fmla="*/ 13340347 w 133"/>
                <a:gd name="T5" fmla="*/ 1595261 h 117"/>
                <a:gd name="T6" fmla="*/ 14987194 w 133"/>
                <a:gd name="T7" fmla="*/ 3721588 h 117"/>
                <a:gd name="T8" fmla="*/ 16634446 w 133"/>
                <a:gd name="T9" fmla="*/ 6646062 h 117"/>
                <a:gd name="T10" fmla="*/ 17951760 w 133"/>
                <a:gd name="T11" fmla="*/ 9836069 h 117"/>
                <a:gd name="T12" fmla="*/ 19434247 w 133"/>
                <a:gd name="T13" fmla="*/ 13026075 h 117"/>
                <a:gd name="T14" fmla="*/ 20751561 w 133"/>
                <a:gd name="T15" fmla="*/ 16482131 h 117"/>
                <a:gd name="T16" fmla="*/ 21081093 w 133"/>
                <a:gd name="T17" fmla="*/ 18077392 h 117"/>
                <a:gd name="T18" fmla="*/ 21410624 w 133"/>
                <a:gd name="T19" fmla="*/ 19672137 h 117"/>
                <a:gd name="T20" fmla="*/ 21574984 w 133"/>
                <a:gd name="T21" fmla="*/ 21267398 h 117"/>
                <a:gd name="T22" fmla="*/ 21904516 w 133"/>
                <a:gd name="T23" fmla="*/ 22862144 h 117"/>
                <a:gd name="T24" fmla="*/ 21574984 w 133"/>
                <a:gd name="T25" fmla="*/ 24457405 h 117"/>
                <a:gd name="T26" fmla="*/ 21081093 w 133"/>
                <a:gd name="T27" fmla="*/ 25786617 h 117"/>
                <a:gd name="T28" fmla="*/ 20422436 w 133"/>
                <a:gd name="T29" fmla="*/ 27115830 h 117"/>
                <a:gd name="T30" fmla="*/ 19434247 w 133"/>
                <a:gd name="T31" fmla="*/ 28445042 h 117"/>
                <a:gd name="T32" fmla="*/ 18610418 w 133"/>
                <a:gd name="T33" fmla="*/ 29508206 h 117"/>
                <a:gd name="T34" fmla="*/ 17622229 w 133"/>
                <a:gd name="T35" fmla="*/ 30305836 h 117"/>
                <a:gd name="T36" fmla="*/ 16963571 w 133"/>
                <a:gd name="T37" fmla="*/ 31103467 h 117"/>
                <a:gd name="T38" fmla="*/ 16469680 w 133"/>
                <a:gd name="T39" fmla="*/ 31103467 h 117"/>
                <a:gd name="T40" fmla="*/ 11858267 w 133"/>
                <a:gd name="T41" fmla="*/ 25255035 h 117"/>
                <a:gd name="T42" fmla="*/ 7411214 w 133"/>
                <a:gd name="T43" fmla="*/ 18608974 h 117"/>
                <a:gd name="T44" fmla="*/ 5270070 w 133"/>
                <a:gd name="T45" fmla="*/ 15418967 h 117"/>
                <a:gd name="T46" fmla="*/ 2964567 w 133"/>
                <a:gd name="T47" fmla="*/ 12228960 h 117"/>
                <a:gd name="T48" fmla="*/ 1317720 w 133"/>
                <a:gd name="T49" fmla="*/ 8772905 h 117"/>
                <a:gd name="T50" fmla="*/ 0 w 133"/>
                <a:gd name="T51" fmla="*/ 5050801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1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69574" y="2561167"/>
              <a:ext cx="266080" cy="199904"/>
            </a:xfrm>
            <a:custGeom>
              <a:avLst/>
              <a:gdLst>
                <a:gd name="T0" fmla="*/ 51933146 w 505"/>
                <a:gd name="T1" fmla="*/ 9902778 h 339"/>
                <a:gd name="T2" fmla="*/ 92410606 w 505"/>
                <a:gd name="T3" fmla="*/ 23657365 h 339"/>
                <a:gd name="T4" fmla="*/ 91264906 w 505"/>
                <a:gd name="T5" fmla="*/ 29984213 h 339"/>
                <a:gd name="T6" fmla="*/ 89928256 w 505"/>
                <a:gd name="T7" fmla="*/ 35485523 h 339"/>
                <a:gd name="T8" fmla="*/ 88019194 w 505"/>
                <a:gd name="T9" fmla="*/ 39886991 h 339"/>
                <a:gd name="T10" fmla="*/ 86109694 w 505"/>
                <a:gd name="T11" fmla="*/ 42087725 h 339"/>
                <a:gd name="T12" fmla="*/ 88019194 w 505"/>
                <a:gd name="T13" fmla="*/ 50615307 h 339"/>
                <a:gd name="T14" fmla="*/ 91073956 w 505"/>
                <a:gd name="T15" fmla="*/ 59142888 h 339"/>
                <a:gd name="T16" fmla="*/ 96420118 w 505"/>
                <a:gd name="T17" fmla="*/ 70971571 h 339"/>
                <a:gd name="T18" fmla="*/ 94129155 w 505"/>
                <a:gd name="T19" fmla="*/ 74547501 h 339"/>
                <a:gd name="T20" fmla="*/ 91455856 w 505"/>
                <a:gd name="T21" fmla="*/ 80324166 h 339"/>
                <a:gd name="T22" fmla="*/ 89355843 w 505"/>
                <a:gd name="T23" fmla="*/ 86376184 h 339"/>
                <a:gd name="T24" fmla="*/ 88592043 w 505"/>
                <a:gd name="T25" fmla="*/ 93253215 h 339"/>
                <a:gd name="T26" fmla="*/ 84582531 w 505"/>
                <a:gd name="T27" fmla="*/ 92978386 h 339"/>
                <a:gd name="T28" fmla="*/ 79045419 w 505"/>
                <a:gd name="T29" fmla="*/ 92152848 h 339"/>
                <a:gd name="T30" fmla="*/ 73508307 w 505"/>
                <a:gd name="T31" fmla="*/ 91052481 h 339"/>
                <a:gd name="T32" fmla="*/ 68353095 w 505"/>
                <a:gd name="T33" fmla="*/ 89677285 h 339"/>
                <a:gd name="T34" fmla="*/ 58043108 w 505"/>
                <a:gd name="T35" fmla="*/ 89401931 h 339"/>
                <a:gd name="T36" fmla="*/ 50405547 w 505"/>
                <a:gd name="T37" fmla="*/ 88301564 h 339"/>
                <a:gd name="T38" fmla="*/ 47350784 w 505"/>
                <a:gd name="T39" fmla="*/ 87201197 h 339"/>
                <a:gd name="T40" fmla="*/ 44296022 w 505"/>
                <a:gd name="T41" fmla="*/ 85275817 h 339"/>
                <a:gd name="T42" fmla="*/ 40668409 w 505"/>
                <a:gd name="T43" fmla="*/ 82524900 h 339"/>
                <a:gd name="T44" fmla="*/ 34367498 w 505"/>
                <a:gd name="T45" fmla="*/ 79499153 h 339"/>
                <a:gd name="T46" fmla="*/ 27876073 w 505"/>
                <a:gd name="T47" fmla="*/ 75097685 h 339"/>
                <a:gd name="T48" fmla="*/ 18711348 w 505"/>
                <a:gd name="T49" fmla="*/ 68495483 h 339"/>
                <a:gd name="T50" fmla="*/ 11837587 w 505"/>
                <a:gd name="T51" fmla="*/ 56667325 h 339"/>
                <a:gd name="T52" fmla="*/ 9928524 w 505"/>
                <a:gd name="T53" fmla="*/ 46489193 h 339"/>
                <a:gd name="T54" fmla="*/ 6873325 w 505"/>
                <a:gd name="T55" fmla="*/ 34110327 h 339"/>
                <a:gd name="T56" fmla="*/ 2863812 w 505"/>
                <a:gd name="T57" fmla="*/ 22831828 h 339"/>
                <a:gd name="T58" fmla="*/ 381900 w 505"/>
                <a:gd name="T59" fmla="*/ 17605347 h 339"/>
                <a:gd name="T60" fmla="*/ 954750 w 505"/>
                <a:gd name="T61" fmla="*/ 16780334 h 339"/>
                <a:gd name="T62" fmla="*/ 2100450 w 505"/>
                <a:gd name="T63" fmla="*/ 15404613 h 339"/>
                <a:gd name="T64" fmla="*/ 2100450 w 505"/>
                <a:gd name="T65" fmla="*/ 13203879 h 339"/>
                <a:gd name="T66" fmla="*/ 2100450 w 505"/>
                <a:gd name="T67" fmla="*/ 11828683 h 339"/>
                <a:gd name="T68" fmla="*/ 6491862 w 505"/>
                <a:gd name="T69" fmla="*/ 9352595 h 339"/>
                <a:gd name="T70" fmla="*/ 13938036 w 505"/>
                <a:gd name="T71" fmla="*/ 6052018 h 339"/>
                <a:gd name="T72" fmla="*/ 24438973 w 505"/>
                <a:gd name="T73" fmla="*/ 2200734 h 339"/>
                <a:gd name="T74" fmla="*/ 33030848 w 505"/>
                <a:gd name="T75" fmla="*/ 3025747 h 339"/>
                <a:gd name="T76" fmla="*/ 35895097 w 505"/>
                <a:gd name="T77" fmla="*/ 7702569 h 339"/>
                <a:gd name="T78" fmla="*/ 38377010 w 505"/>
                <a:gd name="T79" fmla="*/ 9627949 h 339"/>
                <a:gd name="T80" fmla="*/ 41813672 w 505"/>
                <a:gd name="T81" fmla="*/ 9902778 h 339"/>
                <a:gd name="T82" fmla="*/ 45632671 w 505"/>
                <a:gd name="T83" fmla="*/ 9902778 h 339"/>
                <a:gd name="T84" fmla="*/ 49451234 w 505"/>
                <a:gd name="T85" fmla="*/ 6602202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2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446144" y="2791414"/>
              <a:ext cx="176110" cy="80319"/>
            </a:xfrm>
            <a:custGeom>
              <a:avLst/>
              <a:gdLst>
                <a:gd name="T0" fmla="*/ 58253641 w 338"/>
                <a:gd name="T1" fmla="*/ 0 h 141"/>
                <a:gd name="T2" fmla="*/ 34728357 w 338"/>
                <a:gd name="T3" fmla="*/ 0 h 141"/>
                <a:gd name="T4" fmla="*/ 31367478 w 338"/>
                <a:gd name="T5" fmla="*/ 2053463 h 141"/>
                <a:gd name="T6" fmla="*/ 26886163 w 338"/>
                <a:gd name="T7" fmla="*/ 5390782 h 141"/>
                <a:gd name="T8" fmla="*/ 24645721 w 338"/>
                <a:gd name="T9" fmla="*/ 6931006 h 141"/>
                <a:gd name="T10" fmla="*/ 22218612 w 338"/>
                <a:gd name="T11" fmla="*/ 8214357 h 141"/>
                <a:gd name="T12" fmla="*/ 20911508 w 338"/>
                <a:gd name="T13" fmla="*/ 8727596 h 141"/>
                <a:gd name="T14" fmla="*/ 19604836 w 338"/>
                <a:gd name="T15" fmla="*/ 8984468 h 141"/>
                <a:gd name="T16" fmla="*/ 18484399 w 338"/>
                <a:gd name="T17" fmla="*/ 9240835 h 141"/>
                <a:gd name="T18" fmla="*/ 17363962 w 338"/>
                <a:gd name="T19" fmla="*/ 9497707 h 141"/>
                <a:gd name="T20" fmla="*/ 16430625 w 338"/>
                <a:gd name="T21" fmla="*/ 9240835 h 141"/>
                <a:gd name="T22" fmla="*/ 15683523 w 338"/>
                <a:gd name="T23" fmla="*/ 8984468 h 141"/>
                <a:gd name="T24" fmla="*/ 14563518 w 338"/>
                <a:gd name="T25" fmla="*/ 8214357 h 141"/>
                <a:gd name="T26" fmla="*/ 13816416 w 338"/>
                <a:gd name="T27" fmla="*/ 7701118 h 141"/>
                <a:gd name="T28" fmla="*/ 12323077 w 338"/>
                <a:gd name="T29" fmla="*/ 6160894 h 141"/>
                <a:gd name="T30" fmla="*/ 11015972 w 338"/>
                <a:gd name="T31" fmla="*/ 4620671 h 141"/>
                <a:gd name="T32" fmla="*/ 9148866 w 338"/>
                <a:gd name="T33" fmla="*/ 8727596 h 141"/>
                <a:gd name="T34" fmla="*/ 6908424 w 338"/>
                <a:gd name="T35" fmla="*/ 13091393 h 141"/>
                <a:gd name="T36" fmla="*/ 5601320 w 338"/>
                <a:gd name="T37" fmla="*/ 15401729 h 141"/>
                <a:gd name="T38" fmla="*/ 3920881 w 338"/>
                <a:gd name="T39" fmla="*/ 17455191 h 141"/>
                <a:gd name="T40" fmla="*/ 2053774 w 338"/>
                <a:gd name="T41" fmla="*/ 19252288 h 141"/>
                <a:gd name="T42" fmla="*/ 0 w 338"/>
                <a:gd name="T43" fmla="*/ 20535638 h 141"/>
                <a:gd name="T44" fmla="*/ 2240442 w 338"/>
                <a:gd name="T45" fmla="*/ 23102847 h 141"/>
                <a:gd name="T46" fmla="*/ 4294216 w 338"/>
                <a:gd name="T47" fmla="*/ 25669548 h 141"/>
                <a:gd name="T48" fmla="*/ 6161322 w 338"/>
                <a:gd name="T49" fmla="*/ 27723011 h 141"/>
                <a:gd name="T50" fmla="*/ 8215096 w 338"/>
                <a:gd name="T51" fmla="*/ 29776980 h 141"/>
                <a:gd name="T52" fmla="*/ 10269303 w 338"/>
                <a:gd name="T53" fmla="*/ 31317203 h 141"/>
                <a:gd name="T54" fmla="*/ 12323077 w 338"/>
                <a:gd name="T55" fmla="*/ 33113793 h 141"/>
                <a:gd name="T56" fmla="*/ 14750186 w 338"/>
                <a:gd name="T57" fmla="*/ 34654016 h 141"/>
                <a:gd name="T58" fmla="*/ 17363962 w 338"/>
                <a:gd name="T59" fmla="*/ 36194240 h 141"/>
                <a:gd name="T60" fmla="*/ 48358106 w 338"/>
                <a:gd name="T61" fmla="*/ 36194240 h 141"/>
                <a:gd name="T62" fmla="*/ 50225212 w 338"/>
                <a:gd name="T63" fmla="*/ 31830442 h 141"/>
                <a:gd name="T64" fmla="*/ 52465654 w 338"/>
                <a:gd name="T65" fmla="*/ 27466644 h 141"/>
                <a:gd name="T66" fmla="*/ 54519428 w 338"/>
                <a:gd name="T67" fmla="*/ 23616086 h 141"/>
                <a:gd name="T68" fmla="*/ 56760302 w 338"/>
                <a:gd name="T69" fmla="*/ 20022399 h 141"/>
                <a:gd name="T70" fmla="*/ 58814076 w 338"/>
                <a:gd name="T71" fmla="*/ 16428713 h 141"/>
                <a:gd name="T72" fmla="*/ 60494515 w 338"/>
                <a:gd name="T73" fmla="*/ 12321282 h 141"/>
                <a:gd name="T74" fmla="*/ 62174522 w 338"/>
                <a:gd name="T75" fmla="*/ 8727596 h 141"/>
                <a:gd name="T76" fmla="*/ 63108291 w 338"/>
                <a:gd name="T77" fmla="*/ 4620671 h 141"/>
                <a:gd name="T78" fmla="*/ 58253641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3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566741" y="2404099"/>
              <a:ext cx="133997" cy="73179"/>
            </a:xfrm>
            <a:custGeom>
              <a:avLst/>
              <a:gdLst>
                <a:gd name="T0" fmla="*/ 47678632 w 259"/>
                <a:gd name="T1" fmla="*/ 32839671 h 129"/>
                <a:gd name="T2" fmla="*/ 46942375 w 259"/>
                <a:gd name="T3" fmla="*/ 25966181 h 129"/>
                <a:gd name="T4" fmla="*/ 46390182 w 259"/>
                <a:gd name="T5" fmla="*/ 20365672 h 129"/>
                <a:gd name="T6" fmla="*/ 46390182 w 259"/>
                <a:gd name="T7" fmla="*/ 16038143 h 129"/>
                <a:gd name="T8" fmla="*/ 46574247 w 259"/>
                <a:gd name="T9" fmla="*/ 12728797 h 129"/>
                <a:gd name="T10" fmla="*/ 47310503 w 259"/>
                <a:gd name="T11" fmla="*/ 7382581 h 129"/>
                <a:gd name="T12" fmla="*/ 47678632 w 259"/>
                <a:gd name="T13" fmla="*/ 3055053 h 129"/>
                <a:gd name="T14" fmla="*/ 47494568 w 259"/>
                <a:gd name="T15" fmla="*/ 3564144 h 129"/>
                <a:gd name="T16" fmla="*/ 47126439 w 259"/>
                <a:gd name="T17" fmla="*/ 4073235 h 129"/>
                <a:gd name="T18" fmla="*/ 46574247 w 259"/>
                <a:gd name="T19" fmla="*/ 4327529 h 129"/>
                <a:gd name="T20" fmla="*/ 45837561 w 259"/>
                <a:gd name="T21" fmla="*/ 4582327 h 129"/>
                <a:gd name="T22" fmla="*/ 43996919 w 259"/>
                <a:gd name="T23" fmla="*/ 4836620 h 129"/>
                <a:gd name="T24" fmla="*/ 41971784 w 259"/>
                <a:gd name="T25" fmla="*/ 4836620 h 129"/>
                <a:gd name="T26" fmla="*/ 37737878 w 259"/>
                <a:gd name="T27" fmla="*/ 4836620 h 129"/>
                <a:gd name="T28" fmla="*/ 35344615 w 259"/>
                <a:gd name="T29" fmla="*/ 4582327 h 129"/>
                <a:gd name="T30" fmla="*/ 33319909 w 259"/>
                <a:gd name="T31" fmla="*/ 4327529 h 129"/>
                <a:gd name="T32" fmla="*/ 31662902 w 259"/>
                <a:gd name="T33" fmla="*/ 3818437 h 129"/>
                <a:gd name="T34" fmla="*/ 30006324 w 259"/>
                <a:gd name="T35" fmla="*/ 3055053 h 129"/>
                <a:gd name="T36" fmla="*/ 28717446 w 259"/>
                <a:gd name="T37" fmla="*/ 2291163 h 129"/>
                <a:gd name="T38" fmla="*/ 26876804 w 259"/>
                <a:gd name="T39" fmla="*/ 1527274 h 129"/>
                <a:gd name="T40" fmla="*/ 24667605 w 259"/>
                <a:gd name="T41" fmla="*/ 763889 h 129"/>
                <a:gd name="T42" fmla="*/ 21722149 w 259"/>
                <a:gd name="T43" fmla="*/ 254798 h 129"/>
                <a:gd name="T44" fmla="*/ 18224500 w 259"/>
                <a:gd name="T45" fmla="*/ 0 h 129"/>
                <a:gd name="T46" fmla="*/ 15279044 w 259"/>
                <a:gd name="T47" fmla="*/ 0 h 129"/>
                <a:gd name="T48" fmla="*/ 12334017 w 259"/>
                <a:gd name="T49" fmla="*/ 0 h 129"/>
                <a:gd name="T50" fmla="*/ 9204497 w 259"/>
                <a:gd name="T51" fmla="*/ 0 h 129"/>
                <a:gd name="T52" fmla="*/ 6259041 w 259"/>
                <a:gd name="T53" fmla="*/ 509091 h 129"/>
                <a:gd name="T54" fmla="*/ 4970162 w 259"/>
                <a:gd name="T55" fmla="*/ 1018183 h 129"/>
                <a:gd name="T56" fmla="*/ 3865777 w 259"/>
                <a:gd name="T57" fmla="*/ 1527274 h 129"/>
                <a:gd name="T58" fmla="*/ 2577328 w 259"/>
                <a:gd name="T59" fmla="*/ 2291163 h 129"/>
                <a:gd name="T60" fmla="*/ 1841071 w 259"/>
                <a:gd name="T61" fmla="*/ 3309346 h 129"/>
                <a:gd name="T62" fmla="*/ 920321 w 259"/>
                <a:gd name="T63" fmla="*/ 4327529 h 129"/>
                <a:gd name="T64" fmla="*/ 368128 w 259"/>
                <a:gd name="T65" fmla="*/ 5600509 h 129"/>
                <a:gd name="T66" fmla="*/ 0 w 259"/>
                <a:gd name="T67" fmla="*/ 7382581 h 129"/>
                <a:gd name="T68" fmla="*/ 0 w 259"/>
                <a:gd name="T69" fmla="*/ 9164653 h 129"/>
                <a:gd name="T70" fmla="*/ 0 w 259"/>
                <a:gd name="T71" fmla="*/ 12219201 h 129"/>
                <a:gd name="T72" fmla="*/ 552193 w 259"/>
                <a:gd name="T73" fmla="*/ 14765163 h 129"/>
                <a:gd name="T74" fmla="*/ 1104385 w 259"/>
                <a:gd name="T75" fmla="*/ 16547235 h 129"/>
                <a:gd name="T76" fmla="*/ 2209199 w 259"/>
                <a:gd name="T77" fmla="*/ 18074509 h 129"/>
                <a:gd name="T78" fmla="*/ 3129520 w 259"/>
                <a:gd name="T79" fmla="*/ 19347489 h 129"/>
                <a:gd name="T80" fmla="*/ 4417970 w 259"/>
                <a:gd name="T81" fmla="*/ 20365672 h 129"/>
                <a:gd name="T82" fmla="*/ 5706848 w 259"/>
                <a:gd name="T83" fmla="*/ 21129561 h 129"/>
                <a:gd name="T84" fmla="*/ 6811233 w 259"/>
                <a:gd name="T85" fmla="*/ 21638652 h 129"/>
                <a:gd name="T86" fmla="*/ 9204497 w 259"/>
                <a:gd name="T87" fmla="*/ 22402037 h 129"/>
                <a:gd name="T88" fmla="*/ 11229203 w 259"/>
                <a:gd name="T89" fmla="*/ 23420724 h 129"/>
                <a:gd name="T90" fmla="*/ 11965889 w 259"/>
                <a:gd name="T91" fmla="*/ 24184109 h 129"/>
                <a:gd name="T92" fmla="*/ 12334017 w 259"/>
                <a:gd name="T93" fmla="*/ 25202292 h 129"/>
                <a:gd name="T94" fmla="*/ 12334017 w 259"/>
                <a:gd name="T95" fmla="*/ 26730070 h 129"/>
                <a:gd name="T96" fmla="*/ 12149953 w 259"/>
                <a:gd name="T97" fmla="*/ 28257344 h 129"/>
                <a:gd name="T98" fmla="*/ 14910916 w 259"/>
                <a:gd name="T99" fmla="*/ 28003051 h 129"/>
                <a:gd name="T100" fmla="*/ 16751986 w 259"/>
                <a:gd name="T101" fmla="*/ 27493455 h 129"/>
                <a:gd name="T102" fmla="*/ 18040436 w 259"/>
                <a:gd name="T103" fmla="*/ 26984364 h 129"/>
                <a:gd name="T104" fmla="*/ 19329314 w 259"/>
                <a:gd name="T105" fmla="*/ 26730070 h 129"/>
                <a:gd name="T106" fmla="*/ 22090277 w 259"/>
                <a:gd name="T107" fmla="*/ 26984364 h 129"/>
                <a:gd name="T108" fmla="*/ 25772419 w 259"/>
                <a:gd name="T109" fmla="*/ 27493455 h 129"/>
                <a:gd name="T110" fmla="*/ 30558517 w 259"/>
                <a:gd name="T111" fmla="*/ 28512142 h 129"/>
                <a:gd name="T112" fmla="*/ 35344615 w 259"/>
                <a:gd name="T113" fmla="*/ 29784618 h 129"/>
                <a:gd name="T114" fmla="*/ 43812855 w 259"/>
                <a:gd name="T115" fmla="*/ 31821488 h 129"/>
                <a:gd name="T116" fmla="*/ 47678632 w 259"/>
                <a:gd name="T117" fmla="*/ 32839671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4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582055" y="2794983"/>
              <a:ext cx="216309" cy="160637"/>
            </a:xfrm>
            <a:custGeom>
              <a:avLst/>
              <a:gdLst>
                <a:gd name="T0" fmla="*/ 74469664 w 425"/>
                <a:gd name="T1" fmla="*/ 46905547 h 272"/>
                <a:gd name="T2" fmla="*/ 70906827 w 425"/>
                <a:gd name="T3" fmla="*/ 51872029 h 272"/>
                <a:gd name="T4" fmla="*/ 68234172 w 425"/>
                <a:gd name="T5" fmla="*/ 56838511 h 272"/>
                <a:gd name="T6" fmla="*/ 68412293 w 425"/>
                <a:gd name="T7" fmla="*/ 60977159 h 272"/>
                <a:gd name="T8" fmla="*/ 69303318 w 425"/>
                <a:gd name="T9" fmla="*/ 65391576 h 272"/>
                <a:gd name="T10" fmla="*/ 66809206 w 425"/>
                <a:gd name="T11" fmla="*/ 67323015 h 272"/>
                <a:gd name="T12" fmla="*/ 61820559 w 425"/>
                <a:gd name="T13" fmla="*/ 65667871 h 272"/>
                <a:gd name="T14" fmla="*/ 57722938 w 425"/>
                <a:gd name="T15" fmla="*/ 64840037 h 272"/>
                <a:gd name="T16" fmla="*/ 52556592 w 425"/>
                <a:gd name="T17" fmla="*/ 64840037 h 272"/>
                <a:gd name="T18" fmla="*/ 46855462 w 425"/>
                <a:gd name="T19" fmla="*/ 67047245 h 272"/>
                <a:gd name="T20" fmla="*/ 41332453 w 425"/>
                <a:gd name="T21" fmla="*/ 70082289 h 272"/>
                <a:gd name="T22" fmla="*/ 35096961 w 425"/>
                <a:gd name="T23" fmla="*/ 73669397 h 272"/>
                <a:gd name="T24" fmla="*/ 17815873 w 425"/>
                <a:gd name="T25" fmla="*/ 66219411 h 272"/>
                <a:gd name="T26" fmla="*/ 15143217 w 425"/>
                <a:gd name="T27" fmla="*/ 62356533 h 272"/>
                <a:gd name="T28" fmla="*/ 12470984 w 425"/>
                <a:gd name="T29" fmla="*/ 59045720 h 272"/>
                <a:gd name="T30" fmla="*/ 6591734 w 425"/>
                <a:gd name="T31" fmla="*/ 52975634 h 272"/>
                <a:gd name="T32" fmla="*/ 3919500 w 425"/>
                <a:gd name="T33" fmla="*/ 49664821 h 272"/>
                <a:gd name="T34" fmla="*/ 1959750 w 425"/>
                <a:gd name="T35" fmla="*/ 46077713 h 272"/>
                <a:gd name="T36" fmla="*/ 356241 w 425"/>
                <a:gd name="T37" fmla="*/ 41387000 h 272"/>
                <a:gd name="T38" fmla="*/ 0 w 425"/>
                <a:gd name="T39" fmla="*/ 35593209 h 272"/>
                <a:gd name="T40" fmla="*/ 8907725 w 425"/>
                <a:gd name="T41" fmla="*/ 18210259 h 272"/>
                <a:gd name="T42" fmla="*/ 12649105 w 425"/>
                <a:gd name="T43" fmla="*/ 9932964 h 272"/>
                <a:gd name="T44" fmla="*/ 14252614 w 425"/>
                <a:gd name="T45" fmla="*/ 6070086 h 272"/>
                <a:gd name="T46" fmla="*/ 15143217 w 425"/>
                <a:gd name="T47" fmla="*/ 1655669 h 272"/>
                <a:gd name="T48" fmla="*/ 21913494 w 425"/>
                <a:gd name="T49" fmla="*/ 2759273 h 272"/>
                <a:gd name="T50" fmla="*/ 27257960 w 425"/>
                <a:gd name="T51" fmla="*/ 4966482 h 272"/>
                <a:gd name="T52" fmla="*/ 32068486 w 425"/>
                <a:gd name="T53" fmla="*/ 7449460 h 272"/>
                <a:gd name="T54" fmla="*/ 36522349 w 425"/>
                <a:gd name="T55" fmla="*/ 8553590 h 272"/>
                <a:gd name="T56" fmla="*/ 38125858 w 425"/>
                <a:gd name="T57" fmla="*/ 8001525 h 272"/>
                <a:gd name="T58" fmla="*/ 39372703 w 425"/>
                <a:gd name="T59" fmla="*/ 7173691 h 272"/>
                <a:gd name="T60" fmla="*/ 41332453 w 425"/>
                <a:gd name="T61" fmla="*/ 4138648 h 272"/>
                <a:gd name="T62" fmla="*/ 43114083 w 425"/>
                <a:gd name="T63" fmla="*/ 1379374 h 272"/>
                <a:gd name="T64" fmla="*/ 44539471 w 425"/>
                <a:gd name="T65" fmla="*/ 552065 h 272"/>
                <a:gd name="T66" fmla="*/ 46142979 w 425"/>
                <a:gd name="T67" fmla="*/ 0 h 272"/>
                <a:gd name="T68" fmla="*/ 48993333 w 425"/>
                <a:gd name="T69" fmla="*/ 552065 h 272"/>
                <a:gd name="T70" fmla="*/ 51487446 w 425"/>
                <a:gd name="T71" fmla="*/ 1931439 h 272"/>
                <a:gd name="T72" fmla="*/ 53803437 w 425"/>
                <a:gd name="T73" fmla="*/ 4138648 h 272"/>
                <a:gd name="T74" fmla="*/ 55228825 w 425"/>
                <a:gd name="T75" fmla="*/ 7173691 h 272"/>
                <a:gd name="T76" fmla="*/ 57901059 w 425"/>
                <a:gd name="T77" fmla="*/ 14623676 h 272"/>
                <a:gd name="T78" fmla="*/ 60038930 w 425"/>
                <a:gd name="T79" fmla="*/ 22625202 h 272"/>
                <a:gd name="T80" fmla="*/ 62176800 w 425"/>
                <a:gd name="T81" fmla="*/ 31178267 h 272"/>
                <a:gd name="T82" fmla="*/ 63424068 w 425"/>
                <a:gd name="T83" fmla="*/ 34765375 h 272"/>
                <a:gd name="T84" fmla="*/ 65027576 w 425"/>
                <a:gd name="T85" fmla="*/ 38076188 h 272"/>
                <a:gd name="T86" fmla="*/ 66987327 w 425"/>
                <a:gd name="T87" fmla="*/ 40559691 h 272"/>
                <a:gd name="T88" fmla="*/ 69303318 w 425"/>
                <a:gd name="T89" fmla="*/ 43042670 h 272"/>
                <a:gd name="T90" fmla="*/ 72153672 w 425"/>
                <a:gd name="T91" fmla="*/ 44146274 h 272"/>
                <a:gd name="T92" fmla="*/ 75716931 w 425"/>
                <a:gd name="T93" fmla="*/ 44422044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5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170111" y="3962283"/>
              <a:ext cx="17228" cy="62471"/>
            </a:xfrm>
            <a:custGeom>
              <a:avLst/>
              <a:gdLst>
                <a:gd name="T0" fmla="*/ 2436583 w 33"/>
                <a:gd name="T1" fmla="*/ 19274984 h 31"/>
                <a:gd name="T2" fmla="*/ 0 w 33"/>
                <a:gd name="T3" fmla="*/ 61038644 h 31"/>
                <a:gd name="T4" fmla="*/ 937314 w 33"/>
                <a:gd name="T5" fmla="*/ 67462444 h 31"/>
                <a:gd name="T6" fmla="*/ 2624046 w 33"/>
                <a:gd name="T7" fmla="*/ 80313628 h 31"/>
                <a:gd name="T8" fmla="*/ 3561359 w 33"/>
                <a:gd name="T9" fmla="*/ 86739220 h 31"/>
                <a:gd name="T10" fmla="*/ 4311210 w 33"/>
                <a:gd name="T11" fmla="*/ 93163020 h 31"/>
                <a:gd name="T12" fmla="*/ 5060629 w 33"/>
                <a:gd name="T13" fmla="*/ 96376712 h 31"/>
                <a:gd name="T14" fmla="*/ 6185405 w 33"/>
                <a:gd name="T15" fmla="*/ 99588612 h 31"/>
                <a:gd name="T16" fmla="*/ 6185405 w 33"/>
                <a:gd name="T17" fmla="*/ 0 h 31"/>
                <a:gd name="T18" fmla="*/ 3748822 w 33"/>
                <a:gd name="T19" fmla="*/ 0 h 31"/>
                <a:gd name="T20" fmla="*/ 2436583 w 33"/>
                <a:gd name="T21" fmla="*/ 1927498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6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708395" y="2786060"/>
              <a:ext cx="103369" cy="89243"/>
            </a:xfrm>
            <a:custGeom>
              <a:avLst/>
              <a:gdLst>
                <a:gd name="T0" fmla="*/ 1196132 w 192"/>
                <a:gd name="T1" fmla="*/ 5047528 h 154"/>
                <a:gd name="T2" fmla="*/ 10366028 w 192"/>
                <a:gd name="T3" fmla="*/ 0 h 154"/>
                <a:gd name="T4" fmla="*/ 18340239 w 192"/>
                <a:gd name="T5" fmla="*/ 5047528 h 154"/>
                <a:gd name="T6" fmla="*/ 23722608 w 192"/>
                <a:gd name="T7" fmla="*/ 8235414 h 154"/>
                <a:gd name="T8" fmla="*/ 29104977 w 192"/>
                <a:gd name="T9" fmla="*/ 16736786 h 154"/>
                <a:gd name="T10" fmla="*/ 33091636 w 192"/>
                <a:gd name="T11" fmla="*/ 24706242 h 154"/>
                <a:gd name="T12" fmla="*/ 38274873 w 192"/>
                <a:gd name="T13" fmla="*/ 31347971 h 154"/>
                <a:gd name="T14" fmla="*/ 30301109 w 192"/>
                <a:gd name="T15" fmla="*/ 32941656 h 154"/>
                <a:gd name="T16" fmla="*/ 25117871 w 192"/>
                <a:gd name="T17" fmla="*/ 34535856 h 154"/>
                <a:gd name="T18" fmla="*/ 25117871 w 192"/>
                <a:gd name="T19" fmla="*/ 40911627 h 154"/>
                <a:gd name="T20" fmla="*/ 21130766 w 192"/>
                <a:gd name="T21" fmla="*/ 40911627 h 154"/>
                <a:gd name="T22" fmla="*/ 19735502 w 192"/>
                <a:gd name="T23" fmla="*/ 38786542 h 154"/>
                <a:gd name="T24" fmla="*/ 18539371 w 192"/>
                <a:gd name="T25" fmla="*/ 36395499 h 154"/>
                <a:gd name="T26" fmla="*/ 17542818 w 192"/>
                <a:gd name="T27" fmla="*/ 33473056 h 154"/>
                <a:gd name="T28" fmla="*/ 16346686 w 192"/>
                <a:gd name="T29" fmla="*/ 30551128 h 154"/>
                <a:gd name="T30" fmla="*/ 14751844 w 192"/>
                <a:gd name="T31" fmla="*/ 24706242 h 154"/>
                <a:gd name="T32" fmla="*/ 12957423 w 192"/>
                <a:gd name="T33" fmla="*/ 18861871 h 154"/>
                <a:gd name="T34" fmla="*/ 11960870 w 192"/>
                <a:gd name="T35" fmla="*/ 16205386 h 154"/>
                <a:gd name="T36" fmla="*/ 10964317 w 192"/>
                <a:gd name="T37" fmla="*/ 13282942 h 154"/>
                <a:gd name="T38" fmla="*/ 9568607 w 192"/>
                <a:gd name="T39" fmla="*/ 11157857 h 154"/>
                <a:gd name="T40" fmla="*/ 8173343 w 192"/>
                <a:gd name="T41" fmla="*/ 9032256 h 154"/>
                <a:gd name="T42" fmla="*/ 6578501 w 192"/>
                <a:gd name="T43" fmla="*/ 7438571 h 154"/>
                <a:gd name="T44" fmla="*/ 4784527 w 192"/>
                <a:gd name="T45" fmla="*/ 6110329 h 154"/>
                <a:gd name="T46" fmla="*/ 3588395 w 192"/>
                <a:gd name="T47" fmla="*/ 5844371 h 154"/>
                <a:gd name="T48" fmla="*/ 2392263 w 192"/>
                <a:gd name="T49" fmla="*/ 5312971 h 154"/>
                <a:gd name="T50" fmla="*/ 1196132 w 192"/>
                <a:gd name="T51" fmla="*/ 5312971 h 154"/>
                <a:gd name="T52" fmla="*/ 0 w 192"/>
                <a:gd name="T53" fmla="*/ 5047528 h 154"/>
                <a:gd name="T54" fmla="*/ 1196132 w 192"/>
                <a:gd name="T55" fmla="*/ 5047528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7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608855" y="2653980"/>
              <a:ext cx="459418" cy="278438"/>
            </a:xfrm>
            <a:custGeom>
              <a:avLst/>
              <a:gdLst>
                <a:gd name="T0" fmla="*/ 73983944 w 877"/>
                <a:gd name="T1" fmla="*/ 94800314 h 469"/>
                <a:gd name="T2" fmla="*/ 60206254 w 877"/>
                <a:gd name="T3" fmla="*/ 70542759 h 469"/>
                <a:gd name="T4" fmla="*/ 38879377 w 877"/>
                <a:gd name="T5" fmla="*/ 67196580 h 469"/>
                <a:gd name="T6" fmla="*/ 36048161 w 877"/>
                <a:gd name="T7" fmla="*/ 67754189 h 469"/>
                <a:gd name="T8" fmla="*/ 33594903 w 877"/>
                <a:gd name="T9" fmla="*/ 69985151 h 469"/>
                <a:gd name="T10" fmla="*/ 30575141 w 877"/>
                <a:gd name="T11" fmla="*/ 74446019 h 469"/>
                <a:gd name="T12" fmla="*/ 28498974 w 877"/>
                <a:gd name="T13" fmla="*/ 75561236 h 469"/>
                <a:gd name="T14" fmla="*/ 22836975 w 877"/>
                <a:gd name="T15" fmla="*/ 74724823 h 469"/>
                <a:gd name="T16" fmla="*/ 14909829 w 877"/>
                <a:gd name="T17" fmla="*/ 71100368 h 469"/>
                <a:gd name="T18" fmla="*/ 4906950 w 877"/>
                <a:gd name="T19" fmla="*/ 68869406 h 469"/>
                <a:gd name="T20" fmla="*/ 1509664 w 877"/>
                <a:gd name="T21" fmla="*/ 59110728 h 469"/>
                <a:gd name="T22" fmla="*/ 2453692 w 877"/>
                <a:gd name="T23" fmla="*/ 52140094 h 469"/>
                <a:gd name="T24" fmla="*/ 2453692 w 877"/>
                <a:gd name="T25" fmla="*/ 50188464 h 469"/>
                <a:gd name="T26" fmla="*/ 4340880 w 877"/>
                <a:gd name="T27" fmla="*/ 40150982 h 469"/>
                <a:gd name="T28" fmla="*/ 8304236 w 877"/>
                <a:gd name="T29" fmla="*/ 31228190 h 469"/>
                <a:gd name="T30" fmla="*/ 10191859 w 877"/>
                <a:gd name="T31" fmla="*/ 25652104 h 469"/>
                <a:gd name="T32" fmla="*/ 4906950 w 877"/>
                <a:gd name="T33" fmla="*/ 13941269 h 469"/>
                <a:gd name="T34" fmla="*/ 32650875 w 877"/>
                <a:gd name="T35" fmla="*/ 7249439 h 469"/>
                <a:gd name="T36" fmla="*/ 63981065 w 877"/>
                <a:gd name="T37" fmla="*/ 13941269 h 469"/>
                <a:gd name="T38" fmla="*/ 73983944 w 877"/>
                <a:gd name="T39" fmla="*/ 3624455 h 469"/>
                <a:gd name="T40" fmla="*/ 91536010 w 877"/>
                <a:gd name="T41" fmla="*/ 0 h 469"/>
                <a:gd name="T42" fmla="*/ 109277056 w 877"/>
                <a:gd name="T43" fmla="*/ 10595090 h 469"/>
                <a:gd name="T44" fmla="*/ 120412509 w 877"/>
                <a:gd name="T45" fmla="*/ 30949386 h 469"/>
                <a:gd name="T46" fmla="*/ 136832436 w 877"/>
                <a:gd name="T47" fmla="*/ 30949386 h 469"/>
                <a:gd name="T48" fmla="*/ 158159312 w 877"/>
                <a:gd name="T49" fmla="*/ 43217829 h 469"/>
                <a:gd name="T50" fmla="*/ 163066262 w 877"/>
                <a:gd name="T51" fmla="*/ 65523754 h 469"/>
                <a:gd name="T52" fmla="*/ 151742265 w 877"/>
                <a:gd name="T53" fmla="*/ 75840040 h 469"/>
                <a:gd name="T54" fmla="*/ 142305455 w 877"/>
                <a:gd name="T55" fmla="*/ 87272071 h 469"/>
                <a:gd name="T56" fmla="*/ 129849318 w 877"/>
                <a:gd name="T57" fmla="*/ 92012272 h 469"/>
                <a:gd name="T58" fmla="*/ 125130913 w 877"/>
                <a:gd name="T59" fmla="*/ 95636727 h 469"/>
                <a:gd name="T60" fmla="*/ 122299697 w 877"/>
                <a:gd name="T61" fmla="*/ 99819319 h 469"/>
                <a:gd name="T62" fmla="*/ 121922172 w 877"/>
                <a:gd name="T63" fmla="*/ 104558992 h 469"/>
                <a:gd name="T64" fmla="*/ 123243291 w 877"/>
                <a:gd name="T65" fmla="*/ 108741584 h 469"/>
                <a:gd name="T66" fmla="*/ 125696983 w 877"/>
                <a:gd name="T67" fmla="*/ 111808431 h 469"/>
                <a:gd name="T68" fmla="*/ 134190198 w 877"/>
                <a:gd name="T69" fmla="*/ 110414409 h 469"/>
                <a:gd name="T70" fmla="*/ 139852197 w 877"/>
                <a:gd name="T71" fmla="*/ 109856801 h 469"/>
                <a:gd name="T72" fmla="*/ 138531079 w 877"/>
                <a:gd name="T73" fmla="*/ 112366039 h 469"/>
                <a:gd name="T74" fmla="*/ 135133792 w 877"/>
                <a:gd name="T75" fmla="*/ 117385044 h 469"/>
                <a:gd name="T76" fmla="*/ 131736506 w 877"/>
                <a:gd name="T77" fmla="*/ 122125244 h 469"/>
                <a:gd name="T78" fmla="*/ 130037863 w 877"/>
                <a:gd name="T79" fmla="*/ 116827435 h 469"/>
                <a:gd name="T80" fmla="*/ 126640577 w 877"/>
                <a:gd name="T81" fmla="*/ 113760588 h 469"/>
                <a:gd name="T82" fmla="*/ 125696983 w 877"/>
                <a:gd name="T83" fmla="*/ 117942652 h 469"/>
                <a:gd name="T84" fmla="*/ 121356103 w 877"/>
                <a:gd name="T85" fmla="*/ 123240462 h 469"/>
                <a:gd name="T86" fmla="*/ 116826677 w 877"/>
                <a:gd name="T87" fmla="*/ 128259466 h 469"/>
                <a:gd name="T88" fmla="*/ 115316579 w 877"/>
                <a:gd name="T89" fmla="*/ 130768705 h 469"/>
                <a:gd name="T90" fmla="*/ 112296818 w 877"/>
                <a:gd name="T91" fmla="*/ 129374683 h 469"/>
                <a:gd name="T92" fmla="*/ 110220650 w 877"/>
                <a:gd name="T93" fmla="*/ 126864917 h 469"/>
                <a:gd name="T94" fmla="*/ 108522007 w 877"/>
                <a:gd name="T95" fmla="*/ 122404049 h 469"/>
                <a:gd name="T96" fmla="*/ 107955937 w 877"/>
                <a:gd name="T97" fmla="*/ 113760588 h 469"/>
                <a:gd name="T98" fmla="*/ 103426512 w 877"/>
                <a:gd name="T99" fmla="*/ 112645371 h 469"/>
                <a:gd name="T100" fmla="*/ 97764513 w 877"/>
                <a:gd name="T101" fmla="*/ 108462779 h 469"/>
                <a:gd name="T102" fmla="*/ 105502245 w 877"/>
                <a:gd name="T103" fmla="*/ 105674737 h 469"/>
                <a:gd name="T104" fmla="*/ 117958816 w 877"/>
                <a:gd name="T105" fmla="*/ 103164970 h 469"/>
                <a:gd name="T106" fmla="*/ 93046108 w 877"/>
                <a:gd name="T107" fmla="*/ 98704102 h 469"/>
                <a:gd name="T108" fmla="*/ 83986823 w 877"/>
                <a:gd name="T109" fmla="*/ 92848685 h 469"/>
                <a:gd name="T110" fmla="*/ 75116083 w 877"/>
                <a:gd name="T111" fmla="*/ 102886166 h 469"/>
                <a:gd name="T112" fmla="*/ 71719231 w 877"/>
                <a:gd name="T113" fmla="*/ 110135605 h 469"/>
                <a:gd name="T114" fmla="*/ 66623302 w 877"/>
                <a:gd name="T115" fmla="*/ 111529626 h 469"/>
                <a:gd name="T116" fmla="*/ 61904897 w 877"/>
                <a:gd name="T117" fmla="*/ 109299192 h 469"/>
                <a:gd name="T118" fmla="*/ 57752562 w 877"/>
                <a:gd name="T119" fmla="*/ 104837796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8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225241" y="3039510"/>
              <a:ext cx="57427" cy="71394"/>
            </a:xfrm>
            <a:custGeom>
              <a:avLst/>
              <a:gdLst>
                <a:gd name="T0" fmla="*/ 9508977 w 107"/>
                <a:gd name="T1" fmla="*/ 0 h 123"/>
                <a:gd name="T2" fmla="*/ 16046954 w 107"/>
                <a:gd name="T3" fmla="*/ 8262228 h 123"/>
                <a:gd name="T4" fmla="*/ 18622265 w 107"/>
                <a:gd name="T5" fmla="*/ 17856923 h 123"/>
                <a:gd name="T6" fmla="*/ 21197576 w 107"/>
                <a:gd name="T7" fmla="*/ 22920919 h 123"/>
                <a:gd name="T8" fmla="*/ 21197576 w 107"/>
                <a:gd name="T9" fmla="*/ 31183146 h 123"/>
                <a:gd name="T10" fmla="*/ 21197576 w 107"/>
                <a:gd name="T11" fmla="*/ 32782520 h 123"/>
                <a:gd name="T12" fmla="*/ 17433421 w 107"/>
                <a:gd name="T13" fmla="*/ 30383976 h 123"/>
                <a:gd name="T14" fmla="*/ 14461977 w 107"/>
                <a:gd name="T15" fmla="*/ 27984915 h 123"/>
                <a:gd name="T16" fmla="*/ 12084732 w 107"/>
                <a:gd name="T17" fmla="*/ 26119150 h 123"/>
                <a:gd name="T18" fmla="*/ 10697821 w 107"/>
                <a:gd name="T19" fmla="*/ 24520293 h 123"/>
                <a:gd name="T20" fmla="*/ 10103621 w 107"/>
                <a:gd name="T21" fmla="*/ 22121748 h 123"/>
                <a:gd name="T22" fmla="*/ 9508977 w 107"/>
                <a:gd name="T23" fmla="*/ 19456297 h 123"/>
                <a:gd name="T24" fmla="*/ 7726377 w 107"/>
                <a:gd name="T25" fmla="*/ 19722687 h 123"/>
                <a:gd name="T26" fmla="*/ 6339466 w 107"/>
                <a:gd name="T27" fmla="*/ 19456297 h 123"/>
                <a:gd name="T28" fmla="*/ 5150621 w 107"/>
                <a:gd name="T29" fmla="*/ 19189907 h 123"/>
                <a:gd name="T30" fmla="*/ 4160289 w 107"/>
                <a:gd name="T31" fmla="*/ 18656610 h 123"/>
                <a:gd name="T32" fmla="*/ 3368022 w 107"/>
                <a:gd name="T33" fmla="*/ 17856923 h 123"/>
                <a:gd name="T34" fmla="*/ 2773377 w 107"/>
                <a:gd name="T35" fmla="*/ 16790846 h 123"/>
                <a:gd name="T36" fmla="*/ 2179178 w 107"/>
                <a:gd name="T37" fmla="*/ 15724768 h 123"/>
                <a:gd name="T38" fmla="*/ 1783044 w 107"/>
                <a:gd name="T39" fmla="*/ 14392301 h 123"/>
                <a:gd name="T40" fmla="*/ 792266 w 107"/>
                <a:gd name="T41" fmla="*/ 8262228 h 123"/>
                <a:gd name="T42" fmla="*/ 0 w 107"/>
                <a:gd name="T43" fmla="*/ 1599374 h 123"/>
                <a:gd name="T44" fmla="*/ 6735599 w 107"/>
                <a:gd name="T45" fmla="*/ 0 h 123"/>
                <a:gd name="T46" fmla="*/ 950897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59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879911" y="3055573"/>
              <a:ext cx="250765" cy="137435"/>
            </a:xfrm>
            <a:custGeom>
              <a:avLst/>
              <a:gdLst>
                <a:gd name="T0" fmla="*/ 20664623 w 471"/>
                <a:gd name="T1" fmla="*/ 18283462 h 234"/>
                <a:gd name="T2" fmla="*/ 32361713 w 471"/>
                <a:gd name="T3" fmla="*/ 23468129 h 234"/>
                <a:gd name="T4" fmla="*/ 53026778 w 471"/>
                <a:gd name="T5" fmla="*/ 28652796 h 234"/>
                <a:gd name="T6" fmla="*/ 72521780 w 471"/>
                <a:gd name="T7" fmla="*/ 23468129 h 234"/>
                <a:gd name="T8" fmla="*/ 74666306 w 471"/>
                <a:gd name="T9" fmla="*/ 25924381 h 234"/>
                <a:gd name="T10" fmla="*/ 76225800 w 471"/>
                <a:gd name="T11" fmla="*/ 31109049 h 234"/>
                <a:gd name="T12" fmla="*/ 79150072 w 471"/>
                <a:gd name="T13" fmla="*/ 33837986 h 234"/>
                <a:gd name="T14" fmla="*/ 82659376 w 471"/>
                <a:gd name="T15" fmla="*/ 35202454 h 234"/>
                <a:gd name="T16" fmla="*/ 84414028 w 471"/>
                <a:gd name="T17" fmla="*/ 36566923 h 234"/>
                <a:gd name="T18" fmla="*/ 85973522 w 471"/>
                <a:gd name="T19" fmla="*/ 38476761 h 234"/>
                <a:gd name="T20" fmla="*/ 87338300 w 471"/>
                <a:gd name="T21" fmla="*/ 41205698 h 234"/>
                <a:gd name="T22" fmla="*/ 88702637 w 471"/>
                <a:gd name="T23" fmla="*/ 46390366 h 234"/>
                <a:gd name="T24" fmla="*/ 91822067 w 471"/>
                <a:gd name="T25" fmla="*/ 51848240 h 234"/>
                <a:gd name="T26" fmla="*/ 68233171 w 471"/>
                <a:gd name="T27" fmla="*/ 55123069 h 234"/>
                <a:gd name="T28" fmla="*/ 64333994 w 471"/>
                <a:gd name="T29" fmla="*/ 61126313 h 234"/>
                <a:gd name="T30" fmla="*/ 61799595 w 471"/>
                <a:gd name="T31" fmla="*/ 63582566 h 234"/>
                <a:gd name="T32" fmla="*/ 59655070 w 471"/>
                <a:gd name="T33" fmla="*/ 63582566 h 234"/>
                <a:gd name="T34" fmla="*/ 58095576 w 471"/>
                <a:gd name="T35" fmla="*/ 62763467 h 234"/>
                <a:gd name="T36" fmla="*/ 56925955 w 471"/>
                <a:gd name="T37" fmla="*/ 61126313 h 234"/>
                <a:gd name="T38" fmla="*/ 56340924 w 471"/>
                <a:gd name="T39" fmla="*/ 58943268 h 234"/>
                <a:gd name="T40" fmla="*/ 55366019 w 471"/>
                <a:gd name="T41" fmla="*/ 54304493 h 234"/>
                <a:gd name="T42" fmla="*/ 54196398 w 471"/>
                <a:gd name="T43" fmla="*/ 47482150 h 234"/>
                <a:gd name="T44" fmla="*/ 52441747 w 471"/>
                <a:gd name="T45" fmla="*/ 42297482 h 234"/>
                <a:gd name="T46" fmla="*/ 50297221 w 471"/>
                <a:gd name="T47" fmla="*/ 40387122 h 234"/>
                <a:gd name="T48" fmla="*/ 47957980 w 471"/>
                <a:gd name="T49" fmla="*/ 38476761 h 234"/>
                <a:gd name="T50" fmla="*/ 46008612 w 471"/>
                <a:gd name="T51" fmla="*/ 36293716 h 234"/>
                <a:gd name="T52" fmla="*/ 43668929 w 471"/>
                <a:gd name="T53" fmla="*/ 38204076 h 234"/>
                <a:gd name="T54" fmla="*/ 40354783 w 471"/>
                <a:gd name="T55" fmla="*/ 44207320 h 234"/>
                <a:gd name="T56" fmla="*/ 38990447 w 471"/>
                <a:gd name="T57" fmla="*/ 48300726 h 234"/>
                <a:gd name="T58" fmla="*/ 36650764 w 471"/>
                <a:gd name="T59" fmla="*/ 51848240 h 234"/>
                <a:gd name="T60" fmla="*/ 32556871 w 471"/>
                <a:gd name="T61" fmla="*/ 54849862 h 234"/>
                <a:gd name="T62" fmla="*/ 28657693 w 471"/>
                <a:gd name="T63" fmla="*/ 58124691 h 234"/>
                <a:gd name="T64" fmla="*/ 25343547 w 471"/>
                <a:gd name="T65" fmla="*/ 59761845 h 234"/>
                <a:gd name="T66" fmla="*/ 22224559 w 471"/>
                <a:gd name="T67" fmla="*/ 60580421 h 234"/>
                <a:gd name="T68" fmla="*/ 18910413 w 471"/>
                <a:gd name="T69" fmla="*/ 60307737 h 234"/>
                <a:gd name="T70" fmla="*/ 15986140 w 471"/>
                <a:gd name="T71" fmla="*/ 59215953 h 234"/>
                <a:gd name="T72" fmla="*/ 12282121 w 471"/>
                <a:gd name="T73" fmla="*/ 55941646 h 234"/>
                <a:gd name="T74" fmla="*/ 11501932 w 471"/>
                <a:gd name="T75" fmla="*/ 53758601 h 234"/>
                <a:gd name="T76" fmla="*/ 11501932 w 471"/>
                <a:gd name="T77" fmla="*/ 36839608 h 234"/>
                <a:gd name="T78" fmla="*/ 0 w 471"/>
                <a:gd name="T79" fmla="*/ 26742958 h 234"/>
                <a:gd name="T80" fmla="*/ 10332312 w 471"/>
                <a:gd name="T81" fmla="*/ 21830975 h 234"/>
                <a:gd name="T82" fmla="*/ 16765888 w 471"/>
                <a:gd name="T83" fmla="*/ 8186812 h 234"/>
                <a:gd name="T84" fmla="*/ 25928579 w 471"/>
                <a:gd name="T85" fmla="*/ 0 h 234"/>
                <a:gd name="T86" fmla="*/ 32361713 w 471"/>
                <a:gd name="T87" fmla="*/ 11461118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0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939252" y="2975255"/>
              <a:ext cx="271822" cy="141003"/>
            </a:xfrm>
            <a:custGeom>
              <a:avLst/>
              <a:gdLst>
                <a:gd name="T0" fmla="*/ 19542845 w 525"/>
                <a:gd name="T1" fmla="*/ 50097671 h 241"/>
                <a:gd name="T2" fmla="*/ 31895705 w 525"/>
                <a:gd name="T3" fmla="*/ 40077720 h 241"/>
                <a:gd name="T4" fmla="*/ 17146040 w 525"/>
                <a:gd name="T5" fmla="*/ 28433658 h 241"/>
                <a:gd name="T6" fmla="*/ 8665337 w 525"/>
                <a:gd name="T7" fmla="*/ 31683442 h 241"/>
                <a:gd name="T8" fmla="*/ 12168227 w 525"/>
                <a:gd name="T9" fmla="*/ 16518478 h 241"/>
                <a:gd name="T10" fmla="*/ 7374618 w 525"/>
                <a:gd name="T11" fmla="*/ 11644062 h 241"/>
                <a:gd name="T12" fmla="*/ 20649359 w 525"/>
                <a:gd name="T13" fmla="*/ 6770166 h 241"/>
                <a:gd name="T14" fmla="*/ 34292510 w 525"/>
                <a:gd name="T15" fmla="*/ 0 h 241"/>
                <a:gd name="T16" fmla="*/ 57522878 w 525"/>
                <a:gd name="T17" fmla="*/ 5145014 h 241"/>
                <a:gd name="T18" fmla="*/ 80937451 w 525"/>
                <a:gd name="T19" fmla="*/ 6770166 h 241"/>
                <a:gd name="T20" fmla="*/ 96793201 w 525"/>
                <a:gd name="T21" fmla="*/ 14893846 h 241"/>
                <a:gd name="T22" fmla="*/ 95687116 w 525"/>
                <a:gd name="T23" fmla="*/ 18684827 h 241"/>
                <a:gd name="T24" fmla="*/ 94027558 w 525"/>
                <a:gd name="T25" fmla="*/ 22205209 h 241"/>
                <a:gd name="T26" fmla="*/ 91999592 w 525"/>
                <a:gd name="T27" fmla="*/ 24913276 h 241"/>
                <a:gd name="T28" fmla="*/ 89418583 w 525"/>
                <a:gd name="T29" fmla="*/ 26809027 h 241"/>
                <a:gd name="T30" fmla="*/ 81490493 w 525"/>
                <a:gd name="T31" fmla="*/ 27891941 h 241"/>
                <a:gd name="T32" fmla="*/ 77065723 w 525"/>
                <a:gd name="T33" fmla="*/ 28975376 h 241"/>
                <a:gd name="T34" fmla="*/ 75037756 w 525"/>
                <a:gd name="T35" fmla="*/ 30058290 h 241"/>
                <a:gd name="T36" fmla="*/ 73562833 w 525"/>
                <a:gd name="T37" fmla="*/ 31683442 h 241"/>
                <a:gd name="T38" fmla="*/ 71350233 w 525"/>
                <a:gd name="T39" fmla="*/ 36828457 h 241"/>
                <a:gd name="T40" fmla="*/ 69691105 w 525"/>
                <a:gd name="T41" fmla="*/ 39807122 h 241"/>
                <a:gd name="T42" fmla="*/ 67294300 w 525"/>
                <a:gd name="T43" fmla="*/ 41702872 h 241"/>
                <a:gd name="T44" fmla="*/ 56232159 w 525"/>
                <a:gd name="T45" fmla="*/ 44952136 h 241"/>
                <a:gd name="T46" fmla="*/ 50332465 w 525"/>
                <a:gd name="T47" fmla="*/ 46847887 h 241"/>
                <a:gd name="T48" fmla="*/ 47935660 w 525"/>
                <a:gd name="T49" fmla="*/ 48201920 h 241"/>
                <a:gd name="T50" fmla="*/ 48119865 w 525"/>
                <a:gd name="T51" fmla="*/ 51992901 h 241"/>
                <a:gd name="T52" fmla="*/ 48488703 w 525"/>
                <a:gd name="T53" fmla="*/ 54971566 h 241"/>
                <a:gd name="T54" fmla="*/ 50332465 w 525"/>
                <a:gd name="T55" fmla="*/ 60117101 h 241"/>
                <a:gd name="T56" fmla="*/ 40376408 w 525"/>
                <a:gd name="T57" fmla="*/ 61741733 h 241"/>
                <a:gd name="T58" fmla="*/ 20649359 w 525"/>
                <a:gd name="T59" fmla="*/ 63366364 h 241"/>
                <a:gd name="T60" fmla="*/ 3687524 w 525"/>
                <a:gd name="T61" fmla="*/ 60117101 h 241"/>
                <a:gd name="T62" fmla="*/ 9771422 w 525"/>
                <a:gd name="T63" fmla="*/ 44952136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1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464520" y="2993104"/>
              <a:ext cx="413476" cy="255235"/>
            </a:xfrm>
            <a:custGeom>
              <a:avLst/>
              <a:gdLst>
                <a:gd name="T0" fmla="*/ 146914280 w 784"/>
                <a:gd name="T1" fmla="*/ 81384858 h 430"/>
                <a:gd name="T2" fmla="*/ 143662416 w 784"/>
                <a:gd name="T3" fmla="*/ 81663607 h 430"/>
                <a:gd name="T4" fmla="*/ 139836282 w 784"/>
                <a:gd name="T5" fmla="*/ 84171826 h 430"/>
                <a:gd name="T6" fmla="*/ 138305916 w 784"/>
                <a:gd name="T7" fmla="*/ 85844324 h 430"/>
                <a:gd name="T8" fmla="*/ 137158251 w 784"/>
                <a:gd name="T9" fmla="*/ 92533259 h 430"/>
                <a:gd name="T10" fmla="*/ 136393286 w 784"/>
                <a:gd name="T11" fmla="*/ 100337720 h 430"/>
                <a:gd name="T12" fmla="*/ 134671351 w 784"/>
                <a:gd name="T13" fmla="*/ 104797186 h 430"/>
                <a:gd name="T14" fmla="*/ 128358754 w 784"/>
                <a:gd name="T15" fmla="*/ 112043620 h 430"/>
                <a:gd name="T16" fmla="*/ 121089624 w 784"/>
                <a:gd name="T17" fmla="*/ 117060586 h 430"/>
                <a:gd name="T18" fmla="*/ 117072358 w 784"/>
                <a:gd name="T19" fmla="*/ 118175056 h 430"/>
                <a:gd name="T20" fmla="*/ 112290128 w 784"/>
                <a:gd name="T21" fmla="*/ 119568804 h 430"/>
                <a:gd name="T22" fmla="*/ 108463994 w 784"/>
                <a:gd name="T23" fmla="*/ 119290055 h 430"/>
                <a:gd name="T24" fmla="*/ 104255596 w 784"/>
                <a:gd name="T25" fmla="*/ 108141654 h 430"/>
                <a:gd name="T26" fmla="*/ 98516832 w 784"/>
                <a:gd name="T27" fmla="*/ 95878254 h 430"/>
                <a:gd name="T28" fmla="*/ 91438834 w 784"/>
                <a:gd name="T29" fmla="*/ 93090758 h 430"/>
                <a:gd name="T30" fmla="*/ 85700070 w 784"/>
                <a:gd name="T31" fmla="*/ 87795043 h 430"/>
                <a:gd name="T32" fmla="*/ 79769737 w 784"/>
                <a:gd name="T33" fmla="*/ 81942357 h 430"/>
                <a:gd name="T34" fmla="*/ 71352941 w 784"/>
                <a:gd name="T35" fmla="*/ 76367893 h 430"/>
                <a:gd name="T36" fmla="*/ 58536179 w 784"/>
                <a:gd name="T37" fmla="*/ 71908427 h 430"/>
                <a:gd name="T38" fmla="*/ 34815722 w 784"/>
                <a:gd name="T39" fmla="*/ 78876639 h 430"/>
                <a:gd name="T40" fmla="*/ 28885389 w 784"/>
                <a:gd name="T41" fmla="*/ 85286825 h 430"/>
                <a:gd name="T42" fmla="*/ 24294290 w 784"/>
                <a:gd name="T43" fmla="*/ 85844324 h 430"/>
                <a:gd name="T44" fmla="*/ 12625630 w 784"/>
                <a:gd name="T45" fmla="*/ 70236457 h 430"/>
                <a:gd name="T46" fmla="*/ 12625630 w 784"/>
                <a:gd name="T47" fmla="*/ 56858059 h 430"/>
                <a:gd name="T48" fmla="*/ 7651831 w 784"/>
                <a:gd name="T49" fmla="*/ 49889847 h 430"/>
                <a:gd name="T50" fmla="*/ 8034532 w 784"/>
                <a:gd name="T51" fmla="*/ 55464311 h 430"/>
                <a:gd name="T52" fmla="*/ 6886429 w 784"/>
                <a:gd name="T53" fmla="*/ 60760026 h 430"/>
                <a:gd name="T54" fmla="*/ 5738764 w 784"/>
                <a:gd name="T55" fmla="*/ 61596275 h 430"/>
                <a:gd name="T56" fmla="*/ 5930333 w 784"/>
                <a:gd name="T57" fmla="*/ 56579309 h 430"/>
                <a:gd name="T58" fmla="*/ 5164931 w 784"/>
                <a:gd name="T59" fmla="*/ 48496626 h 430"/>
                <a:gd name="T60" fmla="*/ 6312597 w 784"/>
                <a:gd name="T61" fmla="*/ 45430381 h 430"/>
                <a:gd name="T62" fmla="*/ 7651831 w 784"/>
                <a:gd name="T63" fmla="*/ 42364663 h 430"/>
                <a:gd name="T64" fmla="*/ 5164931 w 784"/>
                <a:gd name="T65" fmla="*/ 35954477 h 430"/>
                <a:gd name="T66" fmla="*/ 1339234 w 784"/>
                <a:gd name="T67" fmla="*/ 35118228 h 430"/>
                <a:gd name="T68" fmla="*/ 0 w 784"/>
                <a:gd name="T69" fmla="*/ 32609482 h 430"/>
                <a:gd name="T70" fmla="*/ 573833 w 784"/>
                <a:gd name="T71" fmla="*/ 28986265 h 430"/>
                <a:gd name="T72" fmla="*/ 2104199 w 784"/>
                <a:gd name="T73" fmla="*/ 26199297 h 430"/>
                <a:gd name="T74" fmla="*/ 5164931 w 784"/>
                <a:gd name="T75" fmla="*/ 25641797 h 430"/>
                <a:gd name="T76" fmla="*/ 7842963 w 784"/>
                <a:gd name="T77" fmla="*/ 27593045 h 430"/>
                <a:gd name="T78" fmla="*/ 10903695 w 784"/>
                <a:gd name="T79" fmla="*/ 28986265 h 430"/>
                <a:gd name="T80" fmla="*/ 13581727 w 784"/>
                <a:gd name="T81" fmla="*/ 25641797 h 430"/>
                <a:gd name="T82" fmla="*/ 15877495 w 784"/>
                <a:gd name="T83" fmla="*/ 21461081 h 430"/>
                <a:gd name="T84" fmla="*/ 16642459 w 784"/>
                <a:gd name="T85" fmla="*/ 17837864 h 430"/>
                <a:gd name="T86" fmla="*/ 14920961 w 784"/>
                <a:gd name="T87" fmla="*/ 15329117 h 430"/>
                <a:gd name="T88" fmla="*/ 10520994 w 784"/>
                <a:gd name="T89" fmla="*/ 13657148 h 430"/>
                <a:gd name="T90" fmla="*/ 8991065 w 784"/>
                <a:gd name="T91" fmla="*/ 11148401 h 430"/>
                <a:gd name="T92" fmla="*/ 7842963 w 784"/>
                <a:gd name="T93" fmla="*/ 7803933 h 430"/>
                <a:gd name="T94" fmla="*/ 20468593 w 784"/>
                <a:gd name="T95" fmla="*/ 11984650 h 430"/>
                <a:gd name="T96" fmla="*/ 41893720 w 784"/>
                <a:gd name="T97" fmla="*/ 20624832 h 430"/>
                <a:gd name="T98" fmla="*/ 52223583 w 784"/>
                <a:gd name="T99" fmla="*/ 0 h 430"/>
                <a:gd name="T100" fmla="*/ 71352941 w 784"/>
                <a:gd name="T101" fmla="*/ 11984650 h 430"/>
                <a:gd name="T102" fmla="*/ 88951934 w 784"/>
                <a:gd name="T103" fmla="*/ 25641797 h 430"/>
                <a:gd name="T104" fmla="*/ 113055092 w 784"/>
                <a:gd name="T105" fmla="*/ 58530029 h 430"/>
                <a:gd name="T106" fmla="*/ 138497485 w 784"/>
                <a:gd name="T107" fmla="*/ 73859674 h 430"/>
                <a:gd name="T108" fmla="*/ 148827347 w 784"/>
                <a:gd name="T109" fmla="*/ 8222110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2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511228" y="2866378"/>
              <a:ext cx="130168" cy="167777"/>
            </a:xfrm>
            <a:custGeom>
              <a:avLst/>
              <a:gdLst>
                <a:gd name="T0" fmla="*/ 5777080 w 246"/>
                <a:gd name="T1" fmla="*/ 7454419 h 284"/>
                <a:gd name="T2" fmla="*/ 5391795 w 246"/>
                <a:gd name="T3" fmla="*/ 6626326 h 284"/>
                <a:gd name="T4" fmla="*/ 4621664 w 246"/>
                <a:gd name="T5" fmla="*/ 4693231 h 284"/>
                <a:gd name="T6" fmla="*/ 6739854 w 246"/>
                <a:gd name="T7" fmla="*/ 1380331 h 284"/>
                <a:gd name="T8" fmla="*/ 12901780 w 246"/>
                <a:gd name="T9" fmla="*/ 275856 h 284"/>
                <a:gd name="T10" fmla="*/ 24262860 w 246"/>
                <a:gd name="T11" fmla="*/ 3312900 h 284"/>
                <a:gd name="T12" fmla="*/ 25226072 w 246"/>
                <a:gd name="T13" fmla="*/ 8282513 h 284"/>
                <a:gd name="T14" fmla="*/ 26766334 w 246"/>
                <a:gd name="T15" fmla="*/ 12699888 h 284"/>
                <a:gd name="T16" fmla="*/ 29077166 w 246"/>
                <a:gd name="T17" fmla="*/ 15736932 h 284"/>
                <a:gd name="T18" fmla="*/ 31772845 w 246"/>
                <a:gd name="T19" fmla="*/ 18497595 h 284"/>
                <a:gd name="T20" fmla="*/ 36779794 w 246"/>
                <a:gd name="T21" fmla="*/ 24019445 h 284"/>
                <a:gd name="T22" fmla="*/ 39090626 w 246"/>
                <a:gd name="T23" fmla="*/ 27884583 h 284"/>
                <a:gd name="T24" fmla="*/ 40823530 w 246"/>
                <a:gd name="T25" fmla="*/ 32301958 h 284"/>
                <a:gd name="T26" fmla="*/ 43519648 w 246"/>
                <a:gd name="T27" fmla="*/ 32301958 h 284"/>
                <a:gd name="T28" fmla="*/ 42556435 w 246"/>
                <a:gd name="T29" fmla="*/ 34235052 h 284"/>
                <a:gd name="T30" fmla="*/ 42556435 w 246"/>
                <a:gd name="T31" fmla="*/ 35615384 h 284"/>
                <a:gd name="T32" fmla="*/ 43904494 w 246"/>
                <a:gd name="T33" fmla="*/ 38652428 h 284"/>
                <a:gd name="T34" fmla="*/ 46022683 w 246"/>
                <a:gd name="T35" fmla="*/ 42517565 h 284"/>
                <a:gd name="T36" fmla="*/ 46985457 w 246"/>
                <a:gd name="T37" fmla="*/ 44725990 h 284"/>
                <a:gd name="T38" fmla="*/ 47370742 w 246"/>
                <a:gd name="T39" fmla="*/ 47763034 h 284"/>
                <a:gd name="T40" fmla="*/ 46407968 w 246"/>
                <a:gd name="T41" fmla="*/ 50800078 h 284"/>
                <a:gd name="T42" fmla="*/ 44867267 w 246"/>
                <a:gd name="T43" fmla="*/ 53009029 h 284"/>
                <a:gd name="T44" fmla="*/ 42941720 w 246"/>
                <a:gd name="T45" fmla="*/ 54665216 h 284"/>
                <a:gd name="T46" fmla="*/ 42364232 w 246"/>
                <a:gd name="T47" fmla="*/ 56321929 h 284"/>
                <a:gd name="T48" fmla="*/ 36394509 w 246"/>
                <a:gd name="T49" fmla="*/ 59358973 h 284"/>
                <a:gd name="T50" fmla="*/ 31580641 w 246"/>
                <a:gd name="T51" fmla="*/ 63499966 h 284"/>
                <a:gd name="T52" fmla="*/ 21759824 w 246"/>
                <a:gd name="T53" fmla="*/ 73163336 h 284"/>
                <a:gd name="T54" fmla="*/ 16945517 w 246"/>
                <a:gd name="T55" fmla="*/ 63776348 h 284"/>
                <a:gd name="T56" fmla="*/ 15212612 w 246"/>
                <a:gd name="T57" fmla="*/ 60739304 h 284"/>
                <a:gd name="T58" fmla="*/ 13864554 w 246"/>
                <a:gd name="T59" fmla="*/ 59634829 h 284"/>
                <a:gd name="T60" fmla="*/ 11553722 w 246"/>
                <a:gd name="T61" fmla="*/ 59911210 h 284"/>
                <a:gd name="T62" fmla="*/ 10398306 w 246"/>
                <a:gd name="T63" fmla="*/ 61015160 h 284"/>
                <a:gd name="T64" fmla="*/ 9435532 w 246"/>
                <a:gd name="T65" fmla="*/ 62947729 h 284"/>
                <a:gd name="T66" fmla="*/ 9242890 w 246"/>
                <a:gd name="T67" fmla="*/ 65156679 h 284"/>
                <a:gd name="T68" fmla="*/ 8665401 w 246"/>
                <a:gd name="T69" fmla="*/ 70954386 h 284"/>
                <a:gd name="T70" fmla="*/ 7895270 w 246"/>
                <a:gd name="T71" fmla="*/ 74543667 h 284"/>
                <a:gd name="T72" fmla="*/ 6354569 w 246"/>
                <a:gd name="T73" fmla="*/ 78408805 h 284"/>
                <a:gd name="T74" fmla="*/ 5006510 w 246"/>
                <a:gd name="T75" fmla="*/ 67089248 h 284"/>
                <a:gd name="T76" fmla="*/ 3273606 w 246"/>
                <a:gd name="T77" fmla="*/ 62671873 h 284"/>
                <a:gd name="T78" fmla="*/ 2118190 w 246"/>
                <a:gd name="T79" fmla="*/ 61015160 h 284"/>
                <a:gd name="T80" fmla="*/ 0 w 246"/>
                <a:gd name="T81" fmla="*/ 59634829 h 284"/>
                <a:gd name="T82" fmla="*/ 192642 w 246"/>
                <a:gd name="T83" fmla="*/ 56321929 h 284"/>
                <a:gd name="T84" fmla="*/ 770131 w 246"/>
                <a:gd name="T85" fmla="*/ 53284885 h 284"/>
                <a:gd name="T86" fmla="*/ 2888321 w 246"/>
                <a:gd name="T87" fmla="*/ 48591128 h 284"/>
                <a:gd name="T88" fmla="*/ 5969284 w 246"/>
                <a:gd name="T89" fmla="*/ 44450134 h 284"/>
                <a:gd name="T90" fmla="*/ 8858043 w 246"/>
                <a:gd name="T91" fmla="*/ 38928284 h 284"/>
                <a:gd name="T92" fmla="*/ 6354569 w 246"/>
                <a:gd name="T93" fmla="*/ 12147651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3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568655" y="2987748"/>
              <a:ext cx="82313" cy="67825"/>
            </a:xfrm>
            <a:custGeom>
              <a:avLst/>
              <a:gdLst>
                <a:gd name="T0" fmla="*/ 20750672 w 160"/>
                <a:gd name="T1" fmla="*/ 0 h 117"/>
                <a:gd name="T2" fmla="*/ 20750672 w 160"/>
                <a:gd name="T3" fmla="*/ 2392376 h 117"/>
                <a:gd name="T4" fmla="*/ 20750672 w 160"/>
                <a:gd name="T5" fmla="*/ 4785268 h 117"/>
                <a:gd name="T6" fmla="*/ 20932849 w 160"/>
                <a:gd name="T7" fmla="*/ 6646062 h 117"/>
                <a:gd name="T8" fmla="*/ 21296776 w 160"/>
                <a:gd name="T9" fmla="*/ 8506856 h 117"/>
                <a:gd name="T10" fmla="*/ 21661130 w 160"/>
                <a:gd name="T11" fmla="*/ 9038438 h 117"/>
                <a:gd name="T12" fmla="*/ 22025057 w 160"/>
                <a:gd name="T13" fmla="*/ 9836069 h 117"/>
                <a:gd name="T14" fmla="*/ 22388984 w 160"/>
                <a:gd name="T15" fmla="*/ 10102117 h 117"/>
                <a:gd name="T16" fmla="*/ 23117265 w 160"/>
                <a:gd name="T17" fmla="*/ 10367650 h 117"/>
                <a:gd name="T18" fmla="*/ 23845119 w 160"/>
                <a:gd name="T19" fmla="*/ 10633699 h 117"/>
                <a:gd name="T20" fmla="*/ 24573400 w 160"/>
                <a:gd name="T21" fmla="*/ 10367650 h 117"/>
                <a:gd name="T22" fmla="*/ 25483431 w 160"/>
                <a:gd name="T23" fmla="*/ 10102117 h 117"/>
                <a:gd name="T24" fmla="*/ 26575639 w 160"/>
                <a:gd name="T25" fmla="*/ 9570535 h 117"/>
                <a:gd name="T26" fmla="*/ 27121743 w 160"/>
                <a:gd name="T27" fmla="*/ 11431330 h 117"/>
                <a:gd name="T28" fmla="*/ 27849597 w 160"/>
                <a:gd name="T29" fmla="*/ 13823706 h 117"/>
                <a:gd name="T30" fmla="*/ 28577878 w 160"/>
                <a:gd name="T31" fmla="*/ 17013712 h 117"/>
                <a:gd name="T32" fmla="*/ 29123982 w 160"/>
                <a:gd name="T33" fmla="*/ 19672137 h 117"/>
                <a:gd name="T34" fmla="*/ 24209473 w 160"/>
                <a:gd name="T35" fmla="*/ 23394241 h 117"/>
                <a:gd name="T36" fmla="*/ 19294537 w 160"/>
                <a:gd name="T37" fmla="*/ 27115830 h 117"/>
                <a:gd name="T38" fmla="*/ 16746194 w 160"/>
                <a:gd name="T39" fmla="*/ 28445042 h 117"/>
                <a:gd name="T40" fmla="*/ 13833924 w 160"/>
                <a:gd name="T41" fmla="*/ 30040303 h 117"/>
                <a:gd name="T42" fmla="*/ 11285580 w 160"/>
                <a:gd name="T43" fmla="*/ 30837418 h 117"/>
                <a:gd name="T44" fmla="*/ 8555060 w 160"/>
                <a:gd name="T45" fmla="*/ 31103467 h 117"/>
                <a:gd name="T46" fmla="*/ 5824967 w 160"/>
                <a:gd name="T47" fmla="*/ 26318199 h 117"/>
                <a:gd name="T48" fmla="*/ 3822728 w 160"/>
                <a:gd name="T49" fmla="*/ 22065029 h 117"/>
                <a:gd name="T50" fmla="*/ 1820062 w 160"/>
                <a:gd name="T51" fmla="*/ 18342925 h 117"/>
                <a:gd name="T52" fmla="*/ 0 w 160"/>
                <a:gd name="T53" fmla="*/ 14621336 h 117"/>
                <a:gd name="T54" fmla="*/ 2366166 w 160"/>
                <a:gd name="T55" fmla="*/ 12760542 h 117"/>
                <a:gd name="T56" fmla="*/ 7462852 w 160"/>
                <a:gd name="T57" fmla="*/ 8506856 h 117"/>
                <a:gd name="T58" fmla="*/ 10921653 w 160"/>
                <a:gd name="T59" fmla="*/ 6114480 h 117"/>
                <a:gd name="T60" fmla="*/ 14197851 w 160"/>
                <a:gd name="T61" fmla="*/ 3721588 h 117"/>
                <a:gd name="T62" fmla="*/ 17656225 w 160"/>
                <a:gd name="T63" fmla="*/ 1595261 h 117"/>
                <a:gd name="T64" fmla="*/ 20750672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4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670110" y="3689199"/>
              <a:ext cx="495788" cy="687171"/>
            </a:xfrm>
            <a:custGeom>
              <a:avLst/>
              <a:gdLst>
                <a:gd name="T0" fmla="*/ 141060831 w 943"/>
                <a:gd name="T1" fmla="*/ 1359526 h 1172"/>
                <a:gd name="T2" fmla="*/ 145433188 w 943"/>
                <a:gd name="T3" fmla="*/ 6254758 h 1172"/>
                <a:gd name="T4" fmla="*/ 152657518 w 943"/>
                <a:gd name="T5" fmla="*/ 8158721 h 1172"/>
                <a:gd name="T6" fmla="*/ 154748645 w 943"/>
                <a:gd name="T7" fmla="*/ 14957394 h 1172"/>
                <a:gd name="T8" fmla="*/ 158740797 w 943"/>
                <a:gd name="T9" fmla="*/ 29642569 h 1172"/>
                <a:gd name="T10" fmla="*/ 159121002 w 943"/>
                <a:gd name="T11" fmla="*/ 50855243 h 1172"/>
                <a:gd name="T12" fmla="*/ 162923488 w 943"/>
                <a:gd name="T13" fmla="*/ 66084334 h 1172"/>
                <a:gd name="T14" fmla="*/ 175280584 w 943"/>
                <a:gd name="T15" fmla="*/ 79409983 h 1172"/>
                <a:gd name="T16" fmla="*/ 167105742 w 943"/>
                <a:gd name="T17" fmla="*/ 98174780 h 1172"/>
                <a:gd name="T18" fmla="*/ 161782873 w 943"/>
                <a:gd name="T19" fmla="*/ 111500430 h 1172"/>
                <a:gd name="T20" fmla="*/ 153798133 w 943"/>
                <a:gd name="T21" fmla="*/ 172690052 h 1172"/>
                <a:gd name="T22" fmla="*/ 146383700 w 943"/>
                <a:gd name="T23" fmla="*/ 184111740 h 1172"/>
                <a:gd name="T24" fmla="*/ 145052983 w 943"/>
                <a:gd name="T25" fmla="*/ 196077864 h 1172"/>
                <a:gd name="T26" fmla="*/ 141631139 w 943"/>
                <a:gd name="T27" fmla="*/ 199885267 h 1172"/>
                <a:gd name="T28" fmla="*/ 137448884 w 943"/>
                <a:gd name="T29" fmla="*/ 217018319 h 1172"/>
                <a:gd name="T30" fmla="*/ 131555271 w 943"/>
                <a:gd name="T31" fmla="*/ 238502168 h 1172"/>
                <a:gd name="T32" fmla="*/ 125852197 w 943"/>
                <a:gd name="T33" fmla="*/ 245573059 h 1172"/>
                <a:gd name="T34" fmla="*/ 126232402 w 943"/>
                <a:gd name="T35" fmla="*/ 254003477 h 1172"/>
                <a:gd name="T36" fmla="*/ 130414657 w 943"/>
                <a:gd name="T37" fmla="*/ 255363524 h 1172"/>
                <a:gd name="T38" fmla="*/ 134787449 w 943"/>
                <a:gd name="T39" fmla="*/ 258354794 h 1172"/>
                <a:gd name="T40" fmla="*/ 141060831 w 943"/>
                <a:gd name="T41" fmla="*/ 264065638 h 1172"/>
                <a:gd name="T42" fmla="*/ 143722266 w 943"/>
                <a:gd name="T43" fmla="*/ 273856103 h 1172"/>
                <a:gd name="T44" fmla="*/ 147334649 w 943"/>
                <a:gd name="T45" fmla="*/ 283646567 h 1172"/>
                <a:gd name="T46" fmla="*/ 152657518 w 943"/>
                <a:gd name="T47" fmla="*/ 286366141 h 1172"/>
                <a:gd name="T48" fmla="*/ 153798133 w 943"/>
                <a:gd name="T49" fmla="*/ 297516132 h 1172"/>
                <a:gd name="T50" fmla="*/ 136498372 w 943"/>
                <a:gd name="T51" fmla="*/ 303226976 h 1172"/>
                <a:gd name="T52" fmla="*/ 130604759 w 943"/>
                <a:gd name="T53" fmla="*/ 314649185 h 1172"/>
                <a:gd name="T54" fmla="*/ 113685203 w 943"/>
                <a:gd name="T55" fmla="*/ 318184369 h 1172"/>
                <a:gd name="T56" fmla="*/ 97906262 w 943"/>
                <a:gd name="T57" fmla="*/ 314920881 h 1172"/>
                <a:gd name="T58" fmla="*/ 88210600 w 943"/>
                <a:gd name="T59" fmla="*/ 305402634 h 1172"/>
                <a:gd name="T60" fmla="*/ 74142581 w 943"/>
                <a:gd name="T61" fmla="*/ 305946549 h 1172"/>
                <a:gd name="T62" fmla="*/ 60644869 w 943"/>
                <a:gd name="T63" fmla="*/ 304586502 h 1172"/>
                <a:gd name="T64" fmla="*/ 56462179 w 943"/>
                <a:gd name="T65" fmla="*/ 300235705 h 1172"/>
                <a:gd name="T66" fmla="*/ 55891871 w 943"/>
                <a:gd name="T67" fmla="*/ 292348681 h 1172"/>
                <a:gd name="T68" fmla="*/ 52089822 w 943"/>
                <a:gd name="T69" fmla="*/ 279839165 h 1172"/>
                <a:gd name="T70" fmla="*/ 41063442 w 943"/>
                <a:gd name="T71" fmla="*/ 264881771 h 1172"/>
                <a:gd name="T72" fmla="*/ 36691085 w 943"/>
                <a:gd name="T73" fmla="*/ 251556121 h 1172"/>
                <a:gd name="T74" fmla="*/ 28896448 w 943"/>
                <a:gd name="T75" fmla="*/ 245573059 h 1172"/>
                <a:gd name="T76" fmla="*/ 22813169 w 943"/>
                <a:gd name="T77" fmla="*/ 230071751 h 1172"/>
                <a:gd name="T78" fmla="*/ 18440376 w 943"/>
                <a:gd name="T79" fmla="*/ 214298746 h 1172"/>
                <a:gd name="T80" fmla="*/ 12357097 w 943"/>
                <a:gd name="T81" fmla="*/ 206140025 h 1172"/>
                <a:gd name="T82" fmla="*/ 6273382 w 943"/>
                <a:gd name="T83" fmla="*/ 183840043 h 1172"/>
                <a:gd name="T84" fmla="*/ 760410 w 943"/>
                <a:gd name="T85" fmla="*/ 166163076 h 1172"/>
                <a:gd name="T86" fmla="*/ 3421845 w 943"/>
                <a:gd name="T87" fmla="*/ 156916526 h 1172"/>
                <a:gd name="T88" fmla="*/ 5512972 w 943"/>
                <a:gd name="T89" fmla="*/ 141687435 h 1172"/>
                <a:gd name="T90" fmla="*/ 12166994 w 943"/>
                <a:gd name="T91" fmla="*/ 128905700 h 1172"/>
                <a:gd name="T92" fmla="*/ 21482451 w 943"/>
                <a:gd name="T93" fmla="*/ 60373490 h 1172"/>
                <a:gd name="T94" fmla="*/ 23383476 w 943"/>
                <a:gd name="T95" fmla="*/ 48679584 h 1172"/>
                <a:gd name="T96" fmla="*/ 29086550 w 943"/>
                <a:gd name="T97" fmla="*/ 46503926 h 1172"/>
                <a:gd name="T98" fmla="*/ 30417268 w 943"/>
                <a:gd name="T99" fmla="*/ 33178276 h 1172"/>
                <a:gd name="T100" fmla="*/ 30227165 w 943"/>
                <a:gd name="T101" fmla="*/ 18220882 h 1172"/>
                <a:gd name="T102" fmla="*/ 129083939 w 943"/>
                <a:gd name="T103" fmla="*/ 1876479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5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253954" y="4071160"/>
              <a:ext cx="294793" cy="485482"/>
            </a:xfrm>
            <a:custGeom>
              <a:avLst/>
              <a:gdLst>
                <a:gd name="T0" fmla="*/ 18947252 w 556"/>
                <a:gd name="T1" fmla="*/ 17234040 h 819"/>
                <a:gd name="T2" fmla="*/ 21654065 w 556"/>
                <a:gd name="T3" fmla="*/ 15566416 h 819"/>
                <a:gd name="T4" fmla="*/ 24940847 w 556"/>
                <a:gd name="T5" fmla="*/ 19180039 h 819"/>
                <a:gd name="T6" fmla="*/ 28807597 w 556"/>
                <a:gd name="T7" fmla="*/ 23627210 h 819"/>
                <a:gd name="T8" fmla="*/ 33060847 w 556"/>
                <a:gd name="T9" fmla="*/ 25573210 h 819"/>
                <a:gd name="T10" fmla="*/ 41567785 w 556"/>
                <a:gd name="T11" fmla="*/ 24461285 h 819"/>
                <a:gd name="T12" fmla="*/ 49688225 w 556"/>
                <a:gd name="T13" fmla="*/ 22793662 h 819"/>
                <a:gd name="T14" fmla="*/ 56261788 w 556"/>
                <a:gd name="T15" fmla="*/ 21959587 h 819"/>
                <a:gd name="T16" fmla="*/ 58195163 w 556"/>
                <a:gd name="T17" fmla="*/ 20569813 h 819"/>
                <a:gd name="T18" fmla="*/ 58195163 w 556"/>
                <a:gd name="T19" fmla="*/ 18902190 h 819"/>
                <a:gd name="T20" fmla="*/ 68635477 w 556"/>
                <a:gd name="T21" fmla="*/ 17511889 h 819"/>
                <a:gd name="T22" fmla="*/ 83909008 w 556"/>
                <a:gd name="T23" fmla="*/ 12508492 h 819"/>
                <a:gd name="T24" fmla="*/ 92609416 w 556"/>
                <a:gd name="T25" fmla="*/ 7782945 h 819"/>
                <a:gd name="T26" fmla="*/ 99376010 w 556"/>
                <a:gd name="T27" fmla="*/ 2223849 h 819"/>
                <a:gd name="T28" fmla="*/ 105756543 w 556"/>
                <a:gd name="T29" fmla="*/ 8617020 h 819"/>
                <a:gd name="T30" fmla="*/ 107302980 w 556"/>
                <a:gd name="T31" fmla="*/ 15844266 h 819"/>
                <a:gd name="T32" fmla="*/ 106723011 w 556"/>
                <a:gd name="T33" fmla="*/ 31410682 h 819"/>
                <a:gd name="T34" fmla="*/ 102856261 w 556"/>
                <a:gd name="T35" fmla="*/ 48366872 h 819"/>
                <a:gd name="T36" fmla="*/ 97056135 w 556"/>
                <a:gd name="T37" fmla="*/ 64211138 h 819"/>
                <a:gd name="T38" fmla="*/ 86422352 w 556"/>
                <a:gd name="T39" fmla="*/ 89228122 h 819"/>
                <a:gd name="T40" fmla="*/ 81782164 w 556"/>
                <a:gd name="T41" fmla="*/ 104238840 h 819"/>
                <a:gd name="T42" fmla="*/ 79268820 w 556"/>
                <a:gd name="T43" fmla="*/ 115357558 h 819"/>
                <a:gd name="T44" fmla="*/ 73275665 w 556"/>
                <a:gd name="T45" fmla="*/ 131479673 h 819"/>
                <a:gd name="T46" fmla="*/ 63801819 w 556"/>
                <a:gd name="T47" fmla="*/ 147601788 h 819"/>
                <a:gd name="T48" fmla="*/ 55681819 w 556"/>
                <a:gd name="T49" fmla="*/ 157330732 h 819"/>
                <a:gd name="T50" fmla="*/ 46207974 w 556"/>
                <a:gd name="T51" fmla="*/ 166781827 h 819"/>
                <a:gd name="T52" fmla="*/ 32480878 w 556"/>
                <a:gd name="T53" fmla="*/ 180958470 h 819"/>
                <a:gd name="T54" fmla="*/ 27647660 w 556"/>
                <a:gd name="T55" fmla="*/ 189019264 h 819"/>
                <a:gd name="T56" fmla="*/ 25327346 w 556"/>
                <a:gd name="T57" fmla="*/ 194578886 h 819"/>
                <a:gd name="T58" fmla="*/ 22427503 w 556"/>
                <a:gd name="T59" fmla="*/ 199304434 h 819"/>
                <a:gd name="T60" fmla="*/ 13727095 w 556"/>
                <a:gd name="T61" fmla="*/ 207087379 h 819"/>
                <a:gd name="T62" fmla="*/ 3673281 w 556"/>
                <a:gd name="T63" fmla="*/ 222653795 h 819"/>
                <a:gd name="T64" fmla="*/ 386499 w 556"/>
                <a:gd name="T65" fmla="*/ 156775034 h 819"/>
                <a:gd name="T66" fmla="*/ 579969 w 556"/>
                <a:gd name="T67" fmla="*/ 153994959 h 819"/>
                <a:gd name="T68" fmla="*/ 5220157 w 556"/>
                <a:gd name="T69" fmla="*/ 148158014 h 819"/>
                <a:gd name="T70" fmla="*/ 8120439 w 556"/>
                <a:gd name="T71" fmla="*/ 143432466 h 819"/>
                <a:gd name="T72" fmla="*/ 11600251 w 556"/>
                <a:gd name="T73" fmla="*/ 138150693 h 819"/>
                <a:gd name="T74" fmla="*/ 21460596 w 556"/>
                <a:gd name="T75" fmla="*/ 133425673 h 819"/>
                <a:gd name="T76" fmla="*/ 23007472 w 556"/>
                <a:gd name="T77" fmla="*/ 130645598 h 819"/>
                <a:gd name="T78" fmla="*/ 24940847 w 556"/>
                <a:gd name="T79" fmla="*/ 125642201 h 819"/>
                <a:gd name="T80" fmla="*/ 29387566 w 556"/>
                <a:gd name="T81" fmla="*/ 122306427 h 819"/>
                <a:gd name="T82" fmla="*/ 33640815 w 556"/>
                <a:gd name="T83" fmla="*/ 122028578 h 819"/>
                <a:gd name="T84" fmla="*/ 37894504 w 556"/>
                <a:gd name="T85" fmla="*/ 122028578 h 819"/>
                <a:gd name="T86" fmla="*/ 44081129 w 556"/>
                <a:gd name="T87" fmla="*/ 119249030 h 819"/>
                <a:gd name="T88" fmla="*/ 48528288 w 556"/>
                <a:gd name="T89" fmla="*/ 112577483 h 819"/>
                <a:gd name="T90" fmla="*/ 51234661 w 556"/>
                <a:gd name="T91" fmla="*/ 105350764 h 819"/>
                <a:gd name="T92" fmla="*/ 57228256 w 556"/>
                <a:gd name="T93" fmla="*/ 96455368 h 819"/>
                <a:gd name="T94" fmla="*/ 68442007 w 556"/>
                <a:gd name="T95" fmla="*/ 81445178 h 819"/>
                <a:gd name="T96" fmla="*/ 72888726 w 556"/>
                <a:gd name="T97" fmla="*/ 73940082 h 819"/>
                <a:gd name="T98" fmla="*/ 62641882 w 556"/>
                <a:gd name="T99" fmla="*/ 68380460 h 819"/>
                <a:gd name="T100" fmla="*/ 49688225 w 556"/>
                <a:gd name="T101" fmla="*/ 63377063 h 819"/>
                <a:gd name="T102" fmla="*/ 35574190 w 556"/>
                <a:gd name="T103" fmla="*/ 58095817 h 819"/>
                <a:gd name="T104" fmla="*/ 28807597 w 556"/>
                <a:gd name="T105" fmla="*/ 51980495 h 819"/>
                <a:gd name="T106" fmla="*/ 21654065 w 556"/>
                <a:gd name="T107" fmla="*/ 42807250 h 819"/>
                <a:gd name="T108" fmla="*/ 17207346 w 556"/>
                <a:gd name="T109" fmla="*/ 33634531 h 819"/>
                <a:gd name="T110" fmla="*/ 14887033 w 556"/>
                <a:gd name="T111" fmla="*/ 22237436 h 819"/>
                <a:gd name="T112" fmla="*/ 12567158 w 556"/>
                <a:gd name="T113" fmla="*/ 24183436 h 819"/>
                <a:gd name="T114" fmla="*/ 16240439 w 556"/>
                <a:gd name="T115" fmla="*/ 18902190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6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263525" y="4056881"/>
              <a:ext cx="45942" cy="66039"/>
            </a:xfrm>
            <a:custGeom>
              <a:avLst/>
              <a:gdLst>
                <a:gd name="T0" fmla="*/ 11579742 w 86"/>
                <a:gd name="T1" fmla="*/ 0 h 97"/>
                <a:gd name="T2" fmla="*/ 10990964 w 86"/>
                <a:gd name="T3" fmla="*/ 733304 h 97"/>
                <a:gd name="T4" fmla="*/ 10205927 w 86"/>
                <a:gd name="T5" fmla="*/ 1100259 h 97"/>
                <a:gd name="T6" fmla="*/ 9028371 w 86"/>
                <a:gd name="T7" fmla="*/ 1100259 h 97"/>
                <a:gd name="T8" fmla="*/ 7850815 w 86"/>
                <a:gd name="T9" fmla="*/ 1100259 h 97"/>
                <a:gd name="T10" fmla="*/ 6477000 w 86"/>
                <a:gd name="T11" fmla="*/ 1100259 h 97"/>
                <a:gd name="T12" fmla="*/ 5299444 w 86"/>
                <a:gd name="T13" fmla="*/ 1100259 h 97"/>
                <a:gd name="T14" fmla="*/ 4514407 w 86"/>
                <a:gd name="T15" fmla="*/ 1466608 h 97"/>
                <a:gd name="T16" fmla="*/ 3925186 w 86"/>
                <a:gd name="T17" fmla="*/ 2199913 h 97"/>
                <a:gd name="T18" fmla="*/ 3140149 w 86"/>
                <a:gd name="T19" fmla="*/ 3300172 h 97"/>
                <a:gd name="T20" fmla="*/ 2551371 w 86"/>
                <a:gd name="T21" fmla="*/ 4399825 h 97"/>
                <a:gd name="T22" fmla="*/ 2158852 w 86"/>
                <a:gd name="T23" fmla="*/ 5500084 h 97"/>
                <a:gd name="T24" fmla="*/ 1570074 w 86"/>
                <a:gd name="T25" fmla="*/ 7333647 h 97"/>
                <a:gd name="T26" fmla="*/ 785037 w 86"/>
                <a:gd name="T27" fmla="*/ 10633819 h 97"/>
                <a:gd name="T28" fmla="*/ 392519 w 86"/>
                <a:gd name="T29" fmla="*/ 13933385 h 97"/>
                <a:gd name="T30" fmla="*/ 0 w 86"/>
                <a:gd name="T31" fmla="*/ 20900683 h 97"/>
                <a:gd name="T32" fmla="*/ 0 w 86"/>
                <a:gd name="T33" fmla="*/ 27500421 h 97"/>
                <a:gd name="T34" fmla="*/ 0 w 86"/>
                <a:gd name="T35" fmla="*/ 29700334 h 97"/>
                <a:gd name="T36" fmla="*/ 196259 w 86"/>
                <a:gd name="T37" fmla="*/ 31533897 h 97"/>
                <a:gd name="T38" fmla="*/ 588778 w 86"/>
                <a:gd name="T39" fmla="*/ 33000505 h 97"/>
                <a:gd name="T40" fmla="*/ 1373815 w 86"/>
                <a:gd name="T41" fmla="*/ 34100764 h 97"/>
                <a:gd name="T42" fmla="*/ 1962593 w 86"/>
                <a:gd name="T43" fmla="*/ 34834069 h 97"/>
                <a:gd name="T44" fmla="*/ 2551371 w 86"/>
                <a:gd name="T45" fmla="*/ 35200418 h 97"/>
                <a:gd name="T46" fmla="*/ 3532667 w 86"/>
                <a:gd name="T47" fmla="*/ 35567373 h 97"/>
                <a:gd name="T48" fmla="*/ 4121445 w 86"/>
                <a:gd name="T49" fmla="*/ 35567373 h 97"/>
                <a:gd name="T50" fmla="*/ 7850815 w 86"/>
                <a:gd name="T51" fmla="*/ 34834069 h 97"/>
                <a:gd name="T52" fmla="*/ 10402186 w 86"/>
                <a:gd name="T53" fmla="*/ 34100764 h 97"/>
                <a:gd name="T54" fmla="*/ 16879186 w 86"/>
                <a:gd name="T55" fmla="*/ 24933554 h 97"/>
                <a:gd name="T56" fmla="*/ 11579742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7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028073" y="3966433"/>
              <a:ext cx="438362" cy="423012"/>
            </a:xfrm>
            <a:custGeom>
              <a:avLst/>
              <a:gdLst>
                <a:gd name="T0" fmla="*/ 33686421 w 845"/>
                <a:gd name="T1" fmla="*/ 9830237 h 720"/>
                <a:gd name="T2" fmla="*/ 37943902 w 845"/>
                <a:gd name="T3" fmla="*/ 7645449 h 720"/>
                <a:gd name="T4" fmla="*/ 45717592 w 845"/>
                <a:gd name="T5" fmla="*/ 0 h 720"/>
                <a:gd name="T6" fmla="*/ 50530061 w 845"/>
                <a:gd name="T7" fmla="*/ 3276920 h 720"/>
                <a:gd name="T8" fmla="*/ 60524990 w 845"/>
                <a:gd name="T9" fmla="*/ 10103009 h 720"/>
                <a:gd name="T10" fmla="*/ 70334923 w 845"/>
                <a:gd name="T11" fmla="*/ 18295047 h 720"/>
                <a:gd name="T12" fmla="*/ 78849026 w 845"/>
                <a:gd name="T13" fmla="*/ 26759857 h 720"/>
                <a:gd name="T14" fmla="*/ 81810247 w 845"/>
                <a:gd name="T15" fmla="*/ 34132534 h 720"/>
                <a:gd name="T16" fmla="*/ 81995673 w 845"/>
                <a:gd name="T17" fmla="*/ 38228292 h 720"/>
                <a:gd name="T18" fmla="*/ 84771899 w 845"/>
                <a:gd name="T19" fmla="*/ 40139785 h 720"/>
                <a:gd name="T20" fmla="*/ 92360593 w 845"/>
                <a:gd name="T21" fmla="*/ 48604595 h 720"/>
                <a:gd name="T22" fmla="*/ 93656423 w 845"/>
                <a:gd name="T23" fmla="*/ 46966396 h 720"/>
                <a:gd name="T24" fmla="*/ 90324781 w 845"/>
                <a:gd name="T25" fmla="*/ 50242793 h 720"/>
                <a:gd name="T26" fmla="*/ 89028950 w 845"/>
                <a:gd name="T27" fmla="*/ 55157912 h 720"/>
                <a:gd name="T28" fmla="*/ 89028950 w 845"/>
                <a:gd name="T29" fmla="*/ 68811135 h 720"/>
                <a:gd name="T30" fmla="*/ 91250189 w 845"/>
                <a:gd name="T31" fmla="*/ 72088054 h 720"/>
                <a:gd name="T32" fmla="*/ 97358058 w 845"/>
                <a:gd name="T33" fmla="*/ 72360826 h 720"/>
                <a:gd name="T34" fmla="*/ 100874696 w 845"/>
                <a:gd name="T35" fmla="*/ 87106181 h 720"/>
                <a:gd name="T36" fmla="*/ 107908404 w 845"/>
                <a:gd name="T37" fmla="*/ 98574617 h 720"/>
                <a:gd name="T38" fmla="*/ 119384158 w 845"/>
                <a:gd name="T39" fmla="*/ 109224214 h 720"/>
                <a:gd name="T40" fmla="*/ 136597360 w 845"/>
                <a:gd name="T41" fmla="*/ 117415729 h 720"/>
                <a:gd name="T42" fmla="*/ 156402222 w 845"/>
                <a:gd name="T43" fmla="*/ 122604142 h 720"/>
                <a:gd name="T44" fmla="*/ 150108927 w 845"/>
                <a:gd name="T45" fmla="*/ 131615018 h 720"/>
                <a:gd name="T46" fmla="*/ 135301960 w 845"/>
                <a:gd name="T47" fmla="*/ 149363999 h 720"/>
                <a:gd name="T48" fmla="*/ 131784891 w 845"/>
                <a:gd name="T49" fmla="*/ 158101581 h 720"/>
                <a:gd name="T50" fmla="*/ 129008666 w 845"/>
                <a:gd name="T51" fmla="*/ 168477883 h 720"/>
                <a:gd name="T52" fmla="*/ 124751614 w 845"/>
                <a:gd name="T53" fmla="*/ 171754803 h 720"/>
                <a:gd name="T54" fmla="*/ 107352987 w 845"/>
                <a:gd name="T55" fmla="*/ 178854186 h 720"/>
                <a:gd name="T56" fmla="*/ 103465926 w 845"/>
                <a:gd name="T57" fmla="*/ 183223239 h 720"/>
                <a:gd name="T58" fmla="*/ 97173062 w 845"/>
                <a:gd name="T59" fmla="*/ 185953570 h 720"/>
                <a:gd name="T60" fmla="*/ 89213946 w 845"/>
                <a:gd name="T61" fmla="*/ 189230489 h 720"/>
                <a:gd name="T62" fmla="*/ 85327316 w 845"/>
                <a:gd name="T63" fmla="*/ 185680798 h 720"/>
                <a:gd name="T64" fmla="*/ 79034022 w 845"/>
                <a:gd name="T65" fmla="*/ 185407503 h 720"/>
                <a:gd name="T66" fmla="*/ 74961966 w 845"/>
                <a:gd name="T67" fmla="*/ 190868688 h 720"/>
                <a:gd name="T68" fmla="*/ 72185740 w 845"/>
                <a:gd name="T69" fmla="*/ 194964968 h 720"/>
                <a:gd name="T70" fmla="*/ 66632859 w 845"/>
                <a:gd name="T71" fmla="*/ 196603167 h 720"/>
                <a:gd name="T72" fmla="*/ 58859168 w 845"/>
                <a:gd name="T73" fmla="*/ 194964968 h 720"/>
                <a:gd name="T74" fmla="*/ 53491282 w 845"/>
                <a:gd name="T75" fmla="*/ 190595916 h 720"/>
                <a:gd name="T76" fmla="*/ 45532597 w 845"/>
                <a:gd name="T77" fmla="*/ 183223239 h 720"/>
                <a:gd name="T78" fmla="*/ 33501425 w 845"/>
                <a:gd name="T79" fmla="*/ 180492385 h 720"/>
                <a:gd name="T80" fmla="*/ 25912731 w 845"/>
                <a:gd name="T81" fmla="*/ 178308120 h 720"/>
                <a:gd name="T82" fmla="*/ 27948974 w 845"/>
                <a:gd name="T83" fmla="*/ 167659045 h 720"/>
                <a:gd name="T84" fmla="*/ 23506496 w 845"/>
                <a:gd name="T85" fmla="*/ 162743927 h 720"/>
                <a:gd name="T86" fmla="*/ 19989858 w 845"/>
                <a:gd name="T87" fmla="*/ 159193713 h 720"/>
                <a:gd name="T88" fmla="*/ 17213632 w 845"/>
                <a:gd name="T89" fmla="*/ 150456131 h 720"/>
                <a:gd name="T90" fmla="*/ 14251980 w 845"/>
                <a:gd name="T91" fmla="*/ 139533762 h 720"/>
                <a:gd name="T92" fmla="*/ 9069520 w 845"/>
                <a:gd name="T93" fmla="*/ 133526511 h 720"/>
                <a:gd name="T94" fmla="*/ 2961652 w 845"/>
                <a:gd name="T95" fmla="*/ 130249592 h 720"/>
                <a:gd name="T96" fmla="*/ 925409 w 845"/>
                <a:gd name="T97" fmla="*/ 128884165 h 720"/>
                <a:gd name="T98" fmla="*/ 369991 w 845"/>
                <a:gd name="T99" fmla="*/ 122330848 h 720"/>
                <a:gd name="T100" fmla="*/ 3887060 w 845"/>
                <a:gd name="T101" fmla="*/ 115231465 h 720"/>
                <a:gd name="T102" fmla="*/ 10179924 w 845"/>
                <a:gd name="T103" fmla="*/ 112773905 h 720"/>
                <a:gd name="T104" fmla="*/ 12401163 w 845"/>
                <a:gd name="T105" fmla="*/ 87652247 h 720"/>
                <a:gd name="T106" fmla="*/ 15177389 w 845"/>
                <a:gd name="T107" fmla="*/ 75091680 h 720"/>
                <a:gd name="T108" fmla="*/ 17583623 w 845"/>
                <a:gd name="T109" fmla="*/ 70995399 h 720"/>
                <a:gd name="T110" fmla="*/ 19064449 w 845"/>
                <a:gd name="T111" fmla="*/ 64442082 h 720"/>
                <a:gd name="T112" fmla="*/ 21470683 w 845"/>
                <a:gd name="T113" fmla="*/ 56250567 h 720"/>
                <a:gd name="T114" fmla="*/ 27393556 w 845"/>
                <a:gd name="T115" fmla="*/ 48604595 h 720"/>
                <a:gd name="T116" fmla="*/ 30910195 w 845"/>
                <a:gd name="T117" fmla="*/ 4368947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8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234046" y="4540578"/>
              <a:ext cx="5743" cy="89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69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234046" y="4549502"/>
              <a:ext cx="15314" cy="66039"/>
            </a:xfrm>
            <a:custGeom>
              <a:avLst/>
              <a:gdLst>
                <a:gd name="T0" fmla="*/ 0 w 33"/>
                <a:gd name="T1" fmla="*/ 0 h 6"/>
                <a:gd name="T2" fmla="*/ 1036782 w 33"/>
                <a:gd name="T3" fmla="*/ 95839205 h 6"/>
                <a:gd name="T4" fmla="*/ 2221730 w 33"/>
                <a:gd name="T5" fmla="*/ 287507826 h 6"/>
                <a:gd name="T6" fmla="*/ 3406679 w 33"/>
                <a:gd name="T7" fmla="*/ 479176446 h 6"/>
                <a:gd name="T8" fmla="*/ 4887576 w 33"/>
                <a:gd name="T9" fmla="*/ 57500586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0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243618" y="4535224"/>
              <a:ext cx="5742" cy="64255"/>
            </a:xfrm>
            <a:custGeom>
              <a:avLst/>
              <a:gdLst>
                <a:gd name="T0" fmla="*/ 1744357 w 13"/>
                <a:gd name="T1" fmla="*/ 108870750 h 30"/>
                <a:gd name="T2" fmla="*/ 174435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71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234046" y="4462044"/>
              <a:ext cx="503446" cy="226678"/>
              <a:chOff x="912" y="2626"/>
              <a:chExt cx="311" cy="127"/>
            </a:xfrm>
          </p:grpSpPr>
          <p:sp>
            <p:nvSpPr>
              <p:cNvPr id="46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2 w 352"/>
                  <a:gd name="T1" fmla="*/ 9 h 387"/>
                  <a:gd name="T2" fmla="*/ 30 w 352"/>
                  <a:gd name="T3" fmla="*/ 9 h 387"/>
                  <a:gd name="T4" fmla="*/ 27 w 352"/>
                  <a:gd name="T5" fmla="*/ 9 h 387"/>
                  <a:gd name="T6" fmla="*/ 26 w 352"/>
                  <a:gd name="T7" fmla="*/ 8 h 387"/>
                  <a:gd name="T8" fmla="*/ 23 w 352"/>
                  <a:gd name="T9" fmla="*/ 6 h 387"/>
                  <a:gd name="T10" fmla="*/ 17 w 352"/>
                  <a:gd name="T11" fmla="*/ 2 h 387"/>
                  <a:gd name="T12" fmla="*/ 14 w 352"/>
                  <a:gd name="T13" fmla="*/ 1 h 387"/>
                  <a:gd name="T14" fmla="*/ 13 w 352"/>
                  <a:gd name="T15" fmla="*/ 2 h 387"/>
                  <a:gd name="T16" fmla="*/ 12 w 352"/>
                  <a:gd name="T17" fmla="*/ 3 h 387"/>
                  <a:gd name="T18" fmla="*/ 11 w 352"/>
                  <a:gd name="T19" fmla="*/ 4 h 387"/>
                  <a:gd name="T20" fmla="*/ 9 w 352"/>
                  <a:gd name="T21" fmla="*/ 6 h 387"/>
                  <a:gd name="T22" fmla="*/ 5 w 352"/>
                  <a:gd name="T23" fmla="*/ 11 h 387"/>
                  <a:gd name="T24" fmla="*/ 3 w 352"/>
                  <a:gd name="T25" fmla="*/ 14 h 387"/>
                  <a:gd name="T26" fmla="*/ 2 w 352"/>
                  <a:gd name="T27" fmla="*/ 17 h 387"/>
                  <a:gd name="T28" fmla="*/ 1 w 352"/>
                  <a:gd name="T29" fmla="*/ 19 h 387"/>
                  <a:gd name="T30" fmla="*/ 0 w 352"/>
                  <a:gd name="T31" fmla="*/ 21 h 387"/>
                  <a:gd name="T32" fmla="*/ 0 w 352"/>
                  <a:gd name="T33" fmla="*/ 23 h 387"/>
                  <a:gd name="T34" fmla="*/ 0 w 352"/>
                  <a:gd name="T35" fmla="*/ 24 h 387"/>
                  <a:gd name="T36" fmla="*/ 1 w 352"/>
                  <a:gd name="T37" fmla="*/ 25 h 387"/>
                  <a:gd name="T38" fmla="*/ 3 w 352"/>
                  <a:gd name="T39" fmla="*/ 26 h 387"/>
                  <a:gd name="T40" fmla="*/ 4 w 352"/>
                  <a:gd name="T41" fmla="*/ 26 h 387"/>
                  <a:gd name="T42" fmla="*/ 5 w 352"/>
                  <a:gd name="T43" fmla="*/ 26 h 387"/>
                  <a:gd name="T44" fmla="*/ 6 w 352"/>
                  <a:gd name="T45" fmla="*/ 26 h 387"/>
                  <a:gd name="T46" fmla="*/ 7 w 352"/>
                  <a:gd name="T47" fmla="*/ 25 h 387"/>
                  <a:gd name="T48" fmla="*/ 8 w 352"/>
                  <a:gd name="T49" fmla="*/ 25 h 387"/>
                  <a:gd name="T50" fmla="*/ 8 w 352"/>
                  <a:gd name="T51" fmla="*/ 26 h 387"/>
                  <a:gd name="T52" fmla="*/ 8 w 352"/>
                  <a:gd name="T53" fmla="*/ 28 h 387"/>
                  <a:gd name="T54" fmla="*/ 8 w 352"/>
                  <a:gd name="T55" fmla="*/ 30 h 387"/>
                  <a:gd name="T56" fmla="*/ 7 w 352"/>
                  <a:gd name="T57" fmla="*/ 31 h 387"/>
                  <a:gd name="T58" fmla="*/ 7 w 352"/>
                  <a:gd name="T59" fmla="*/ 33 h 387"/>
                  <a:gd name="T60" fmla="*/ 8 w 352"/>
                  <a:gd name="T61" fmla="*/ 36 h 387"/>
                  <a:gd name="T62" fmla="*/ 9 w 352"/>
                  <a:gd name="T63" fmla="*/ 38 h 387"/>
                  <a:gd name="T64" fmla="*/ 13 w 352"/>
                  <a:gd name="T65" fmla="*/ 40 h 387"/>
                  <a:gd name="T66" fmla="*/ 15 w 352"/>
                  <a:gd name="T67" fmla="*/ 41 h 387"/>
                  <a:gd name="T68" fmla="*/ 16 w 352"/>
                  <a:gd name="T69" fmla="*/ 42 h 387"/>
                  <a:gd name="T70" fmla="*/ 17 w 352"/>
                  <a:gd name="T71" fmla="*/ 41 h 387"/>
                  <a:gd name="T72" fmla="*/ 18 w 352"/>
                  <a:gd name="T73" fmla="*/ 39 h 387"/>
                  <a:gd name="T74" fmla="*/ 18 w 352"/>
                  <a:gd name="T75" fmla="*/ 38 h 387"/>
                  <a:gd name="T76" fmla="*/ 19 w 352"/>
                  <a:gd name="T77" fmla="*/ 36 h 387"/>
                  <a:gd name="T78" fmla="*/ 19 w 352"/>
                  <a:gd name="T79" fmla="*/ 35 h 387"/>
                  <a:gd name="T80" fmla="*/ 20 w 352"/>
                  <a:gd name="T81" fmla="*/ 33 h 387"/>
                  <a:gd name="T82" fmla="*/ 22 w 352"/>
                  <a:gd name="T83" fmla="*/ 30 h 387"/>
                  <a:gd name="T84" fmla="*/ 24 w 352"/>
                  <a:gd name="T85" fmla="*/ 28 h 387"/>
                  <a:gd name="T86" fmla="*/ 27 w 352"/>
                  <a:gd name="T87" fmla="*/ 27 h 387"/>
                  <a:gd name="T88" fmla="*/ 31 w 352"/>
                  <a:gd name="T89" fmla="*/ 25 h 387"/>
                  <a:gd name="T90" fmla="*/ 33 w 352"/>
                  <a:gd name="T91" fmla="*/ 23 h 387"/>
                  <a:gd name="T92" fmla="*/ 35 w 352"/>
                  <a:gd name="T93" fmla="*/ 21 h 387"/>
                  <a:gd name="T94" fmla="*/ 36 w 352"/>
                  <a:gd name="T95" fmla="*/ 20 h 387"/>
                  <a:gd name="T96" fmla="*/ 36 w 352"/>
                  <a:gd name="T97" fmla="*/ 18 h 387"/>
                  <a:gd name="T98" fmla="*/ 36 w 352"/>
                  <a:gd name="T99" fmla="*/ 16 h 387"/>
                  <a:gd name="T100" fmla="*/ 35 w 352"/>
                  <a:gd name="T101" fmla="*/ 13 h 387"/>
                  <a:gd name="T102" fmla="*/ 34 w 352"/>
                  <a:gd name="T103" fmla="*/ 1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2 w 52"/>
                  <a:gd name="T1" fmla="*/ 0 h 78"/>
                  <a:gd name="T2" fmla="*/ 2 w 52"/>
                  <a:gd name="T3" fmla="*/ 0 h 78"/>
                  <a:gd name="T4" fmla="*/ 3 w 52"/>
                  <a:gd name="T5" fmla="*/ 0 h 78"/>
                  <a:gd name="T6" fmla="*/ 3 w 52"/>
                  <a:gd name="T7" fmla="*/ 1 h 78"/>
                  <a:gd name="T8" fmla="*/ 4 w 52"/>
                  <a:gd name="T9" fmla="*/ 1 h 78"/>
                  <a:gd name="T10" fmla="*/ 4 w 52"/>
                  <a:gd name="T11" fmla="*/ 1 h 78"/>
                  <a:gd name="T12" fmla="*/ 5 w 52"/>
                  <a:gd name="T13" fmla="*/ 2 h 78"/>
                  <a:gd name="T14" fmla="*/ 5 w 52"/>
                  <a:gd name="T15" fmla="*/ 2 h 78"/>
                  <a:gd name="T16" fmla="*/ 5 w 52"/>
                  <a:gd name="T17" fmla="*/ 3 h 78"/>
                  <a:gd name="T18" fmla="*/ 6 w 52"/>
                  <a:gd name="T19" fmla="*/ 4 h 78"/>
                  <a:gd name="T20" fmla="*/ 6 w 52"/>
                  <a:gd name="T21" fmla="*/ 5 h 78"/>
                  <a:gd name="T22" fmla="*/ 6 w 52"/>
                  <a:gd name="T23" fmla="*/ 5 h 78"/>
                  <a:gd name="T24" fmla="*/ 5 w 52"/>
                  <a:gd name="T25" fmla="*/ 6 h 78"/>
                  <a:gd name="T26" fmla="*/ 5 w 52"/>
                  <a:gd name="T27" fmla="*/ 6 h 78"/>
                  <a:gd name="T28" fmla="*/ 5 w 52"/>
                  <a:gd name="T29" fmla="*/ 7 h 78"/>
                  <a:gd name="T30" fmla="*/ 4 w 52"/>
                  <a:gd name="T31" fmla="*/ 7 h 78"/>
                  <a:gd name="T32" fmla="*/ 4 w 52"/>
                  <a:gd name="T33" fmla="*/ 8 h 78"/>
                  <a:gd name="T34" fmla="*/ 3 w 52"/>
                  <a:gd name="T35" fmla="*/ 8 h 78"/>
                  <a:gd name="T36" fmla="*/ 2 w 52"/>
                  <a:gd name="T37" fmla="*/ 9 h 78"/>
                  <a:gd name="T38" fmla="*/ 1 w 52"/>
                  <a:gd name="T39" fmla="*/ 9 h 78"/>
                  <a:gd name="T40" fmla="*/ 1 w 52"/>
                  <a:gd name="T41" fmla="*/ 9 h 78"/>
                  <a:gd name="T42" fmla="*/ 0 w 52"/>
                  <a:gd name="T43" fmla="*/ 9 h 78"/>
                  <a:gd name="T44" fmla="*/ 0 w 52"/>
                  <a:gd name="T45" fmla="*/ 9 h 78"/>
                  <a:gd name="T46" fmla="*/ 0 w 52"/>
                  <a:gd name="T47" fmla="*/ 8 h 78"/>
                  <a:gd name="T48" fmla="*/ 0 w 52"/>
                  <a:gd name="T49" fmla="*/ 8 h 78"/>
                  <a:gd name="T50" fmla="*/ 0 w 52"/>
                  <a:gd name="T51" fmla="*/ 8 h 78"/>
                  <a:gd name="T52" fmla="*/ 0 w 52"/>
                  <a:gd name="T53" fmla="*/ 7 h 78"/>
                  <a:gd name="T54" fmla="*/ 0 w 52"/>
                  <a:gd name="T55" fmla="*/ 7 h 78"/>
                  <a:gd name="T56" fmla="*/ 1 w 52"/>
                  <a:gd name="T57" fmla="*/ 6 h 78"/>
                  <a:gd name="T58" fmla="*/ 2 w 52"/>
                  <a:gd name="T59" fmla="*/ 5 h 78"/>
                  <a:gd name="T60" fmla="*/ 3 w 52"/>
                  <a:gd name="T61" fmla="*/ 5 h 78"/>
                  <a:gd name="T62" fmla="*/ 3 w 52"/>
                  <a:gd name="T63" fmla="*/ 4 h 78"/>
                  <a:gd name="T64" fmla="*/ 2 w 52"/>
                  <a:gd name="T65" fmla="*/ 2 h 78"/>
                  <a:gd name="T66" fmla="*/ 2 w 52"/>
                  <a:gd name="T67" fmla="*/ 1 h 78"/>
                  <a:gd name="T68" fmla="*/ 2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 w 33"/>
                  <a:gd name="T1" fmla="*/ 1 h 30"/>
                  <a:gd name="T2" fmla="*/ 0 w 33"/>
                  <a:gd name="T3" fmla="*/ 3 h 30"/>
                  <a:gd name="T4" fmla="*/ 1 w 33"/>
                  <a:gd name="T5" fmla="*/ 3 h 30"/>
                  <a:gd name="T6" fmla="*/ 1 w 33"/>
                  <a:gd name="T7" fmla="*/ 3 h 30"/>
                  <a:gd name="T8" fmla="*/ 2 w 33"/>
                  <a:gd name="T9" fmla="*/ 3 h 30"/>
                  <a:gd name="T10" fmla="*/ 2 w 33"/>
                  <a:gd name="T11" fmla="*/ 3 h 30"/>
                  <a:gd name="T12" fmla="*/ 2 w 33"/>
                  <a:gd name="T13" fmla="*/ 0 h 30"/>
                  <a:gd name="T14" fmla="*/ 1 w 33"/>
                  <a:gd name="T15" fmla="*/ 0 h 30"/>
                  <a:gd name="T16" fmla="*/ 1 w 33"/>
                  <a:gd name="T17" fmla="*/ 1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2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32973" y="5268801"/>
              <a:ext cx="22971" cy="66040"/>
            </a:xfrm>
            <a:custGeom>
              <a:avLst/>
              <a:gdLst>
                <a:gd name="T0" fmla="*/ 2135627 w 47"/>
                <a:gd name="T1" fmla="*/ 0 h 28"/>
                <a:gd name="T2" fmla="*/ 4107099 w 47"/>
                <a:gd name="T3" fmla="*/ 0 h 28"/>
                <a:gd name="T4" fmla="*/ 5092835 w 47"/>
                <a:gd name="T5" fmla="*/ 8802309 h 28"/>
                <a:gd name="T6" fmla="*/ 5421549 w 47"/>
                <a:gd name="T7" fmla="*/ 17602520 h 28"/>
                <a:gd name="T8" fmla="*/ 5421549 w 47"/>
                <a:gd name="T9" fmla="*/ 26404829 h 28"/>
                <a:gd name="T10" fmla="*/ 5256989 w 47"/>
                <a:gd name="T11" fmla="*/ 35205040 h 28"/>
                <a:gd name="T12" fmla="*/ 5421549 w 47"/>
                <a:gd name="T13" fmla="*/ 44007349 h 28"/>
                <a:gd name="T14" fmla="*/ 6078571 w 47"/>
                <a:gd name="T15" fmla="*/ 52807560 h 28"/>
                <a:gd name="T16" fmla="*/ 7721330 w 47"/>
                <a:gd name="T17" fmla="*/ 52807560 h 28"/>
                <a:gd name="T18" fmla="*/ 6899748 w 47"/>
                <a:gd name="T19" fmla="*/ 83613543 h 28"/>
                <a:gd name="T20" fmla="*/ 6078571 w 47"/>
                <a:gd name="T21" fmla="*/ 110018372 h 28"/>
                <a:gd name="T22" fmla="*/ 5421549 w 47"/>
                <a:gd name="T23" fmla="*/ 118818583 h 28"/>
                <a:gd name="T24" fmla="*/ 4599967 w 47"/>
                <a:gd name="T25" fmla="*/ 123219737 h 28"/>
                <a:gd name="T26" fmla="*/ 2628495 w 47"/>
                <a:gd name="T27" fmla="*/ 118818583 h 28"/>
                <a:gd name="T28" fmla="*/ 0 w 47"/>
                <a:gd name="T29" fmla="*/ 110018372 h 28"/>
                <a:gd name="T30" fmla="*/ 164154 w 47"/>
                <a:gd name="T31" fmla="*/ 83613543 h 28"/>
                <a:gd name="T32" fmla="*/ 328714 w 47"/>
                <a:gd name="T33" fmla="*/ 66011023 h 28"/>
                <a:gd name="T34" fmla="*/ 657022 w 47"/>
                <a:gd name="T35" fmla="*/ 57208714 h 28"/>
                <a:gd name="T36" fmla="*/ 985736 w 47"/>
                <a:gd name="T37" fmla="*/ 52807560 h 28"/>
                <a:gd name="T38" fmla="*/ 1478604 w 47"/>
                <a:gd name="T39" fmla="*/ 48408503 h 28"/>
                <a:gd name="T40" fmla="*/ 1807318 w 47"/>
                <a:gd name="T41" fmla="*/ 39606194 h 28"/>
                <a:gd name="T42" fmla="*/ 2135627 w 47"/>
                <a:gd name="T43" fmla="*/ 22003674 h 28"/>
                <a:gd name="T44" fmla="*/ 213562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3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598517" y="5299144"/>
              <a:ext cx="28714" cy="64255"/>
            </a:xfrm>
            <a:custGeom>
              <a:avLst/>
              <a:gdLst>
                <a:gd name="T0" fmla="*/ 2624372 w 53"/>
                <a:gd name="T1" fmla="*/ 0 h 33"/>
                <a:gd name="T2" fmla="*/ 5248745 w 53"/>
                <a:gd name="T3" fmla="*/ 2999509 h 33"/>
                <a:gd name="T4" fmla="*/ 6863536 w 53"/>
                <a:gd name="T5" fmla="*/ 2999509 h 33"/>
                <a:gd name="T6" fmla="*/ 7469195 w 53"/>
                <a:gd name="T7" fmla="*/ 8996795 h 33"/>
                <a:gd name="T8" fmla="*/ 7469195 w 53"/>
                <a:gd name="T9" fmla="*/ 11996305 h 33"/>
                <a:gd name="T10" fmla="*/ 7469195 w 53"/>
                <a:gd name="T11" fmla="*/ 17995323 h 33"/>
                <a:gd name="T12" fmla="*/ 7873117 w 53"/>
                <a:gd name="T13" fmla="*/ 23994341 h 33"/>
                <a:gd name="T14" fmla="*/ 8882249 w 53"/>
                <a:gd name="T15" fmla="*/ 29991627 h 33"/>
                <a:gd name="T16" fmla="*/ 10699226 w 53"/>
                <a:gd name="T17" fmla="*/ 35990645 h 33"/>
                <a:gd name="T18" fmla="*/ 9689644 w 53"/>
                <a:gd name="T19" fmla="*/ 65982273 h 33"/>
                <a:gd name="T20" fmla="*/ 8882249 w 53"/>
                <a:gd name="T21" fmla="*/ 83977595 h 33"/>
                <a:gd name="T22" fmla="*/ 8478776 w 53"/>
                <a:gd name="T23" fmla="*/ 92974391 h 33"/>
                <a:gd name="T24" fmla="*/ 7670931 w 53"/>
                <a:gd name="T25" fmla="*/ 95973900 h 33"/>
                <a:gd name="T26" fmla="*/ 7267458 w 53"/>
                <a:gd name="T27" fmla="*/ 98973409 h 33"/>
                <a:gd name="T28" fmla="*/ 6863536 w 53"/>
                <a:gd name="T29" fmla="*/ 98973409 h 33"/>
                <a:gd name="T30" fmla="*/ 4037427 w 53"/>
                <a:gd name="T31" fmla="*/ 89976614 h 33"/>
                <a:gd name="T32" fmla="*/ 0 w 53"/>
                <a:gd name="T33" fmla="*/ 71981291 h 33"/>
                <a:gd name="T34" fmla="*/ 0 w 53"/>
                <a:gd name="T35" fmla="*/ 56985477 h 33"/>
                <a:gd name="T36" fmla="*/ 403922 w 53"/>
                <a:gd name="T37" fmla="*/ 47986950 h 33"/>
                <a:gd name="T38" fmla="*/ 807395 w 53"/>
                <a:gd name="T39" fmla="*/ 41987932 h 33"/>
                <a:gd name="T40" fmla="*/ 1413054 w 53"/>
                <a:gd name="T41" fmla="*/ 35990645 h 33"/>
                <a:gd name="T42" fmla="*/ 1816977 w 53"/>
                <a:gd name="T43" fmla="*/ 32991136 h 33"/>
                <a:gd name="T44" fmla="*/ 2220450 w 53"/>
                <a:gd name="T45" fmla="*/ 26992118 h 33"/>
                <a:gd name="T46" fmla="*/ 2422636 w 53"/>
                <a:gd name="T47" fmla="*/ 17995323 h 33"/>
                <a:gd name="T48" fmla="*/ 2624372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74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407093" y="4727989"/>
              <a:ext cx="202910" cy="116015"/>
              <a:chOff x="3481" y="2773"/>
              <a:chExt cx="125" cy="65"/>
            </a:xfrm>
          </p:grpSpPr>
          <p:sp>
            <p:nvSpPr>
              <p:cNvPr id="451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2 w 13"/>
                  <a:gd name="T1" fmla="*/ 0 h 18"/>
                  <a:gd name="T2" fmla="*/ 2 w 13"/>
                  <a:gd name="T3" fmla="*/ 1 h 18"/>
                  <a:gd name="T4" fmla="*/ 1 w 13"/>
                  <a:gd name="T5" fmla="*/ 2 h 18"/>
                  <a:gd name="T6" fmla="*/ 1 w 13"/>
                  <a:gd name="T7" fmla="*/ 2 h 18"/>
                  <a:gd name="T8" fmla="*/ 0 w 13"/>
                  <a:gd name="T9" fmla="*/ 2 h 18"/>
                  <a:gd name="T10" fmla="*/ 0 w 13"/>
                  <a:gd name="T11" fmla="*/ 1 h 18"/>
                  <a:gd name="T12" fmla="*/ 0 w 13"/>
                  <a:gd name="T13" fmla="*/ 1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3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2 w 14"/>
                  <a:gd name="T1" fmla="*/ 2 h 19"/>
                  <a:gd name="T2" fmla="*/ 0 w 14"/>
                  <a:gd name="T3" fmla="*/ 0 h 19"/>
                  <a:gd name="T4" fmla="*/ 2 w 14"/>
                  <a:gd name="T5" fmla="*/ 2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4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1 h 18"/>
                  <a:gd name="T2" fmla="*/ 1 w 7"/>
                  <a:gd name="T3" fmla="*/ 2 h 18"/>
                  <a:gd name="T4" fmla="*/ 0 w 7"/>
                  <a:gd name="T5" fmla="*/ 2 h 18"/>
                  <a:gd name="T6" fmla="*/ 0 w 7"/>
                  <a:gd name="T7" fmla="*/ 0 h 18"/>
                  <a:gd name="T8" fmla="*/ 1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5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 w 20"/>
                  <a:gd name="T1" fmla="*/ 1 h 12"/>
                  <a:gd name="T2" fmla="*/ 1 w 20"/>
                  <a:gd name="T3" fmla="*/ 1 h 12"/>
                  <a:gd name="T4" fmla="*/ 0 w 20"/>
                  <a:gd name="T5" fmla="*/ 1 h 12"/>
                  <a:gd name="T6" fmla="*/ 0 w 20"/>
                  <a:gd name="T7" fmla="*/ 1 h 12"/>
                  <a:gd name="T8" fmla="*/ 0 w 20"/>
                  <a:gd name="T9" fmla="*/ 0 h 12"/>
                  <a:gd name="T10" fmla="*/ 1 w 20"/>
                  <a:gd name="T11" fmla="*/ 0 h 12"/>
                  <a:gd name="T12" fmla="*/ 2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7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2 h 18"/>
                  <a:gd name="T4" fmla="*/ 2 w 20"/>
                  <a:gd name="T5" fmla="*/ 2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8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1 w 7"/>
                  <a:gd name="T1" fmla="*/ 1 h 12"/>
                  <a:gd name="T2" fmla="*/ 1 w 7"/>
                  <a:gd name="T3" fmla="*/ 1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9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2 h 18"/>
                  <a:gd name="T4" fmla="*/ 2 w 20"/>
                  <a:gd name="T5" fmla="*/ 2 h 18"/>
                  <a:gd name="T6" fmla="*/ 2 w 20"/>
                  <a:gd name="T7" fmla="*/ 1 h 18"/>
                  <a:gd name="T8" fmla="*/ 2 w 20"/>
                  <a:gd name="T9" fmla="*/ 1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0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1 h 18"/>
                  <a:gd name="T2" fmla="*/ 1 w 7"/>
                  <a:gd name="T3" fmla="*/ 2 h 18"/>
                  <a:gd name="T4" fmla="*/ 0 w 7"/>
                  <a:gd name="T5" fmla="*/ 2 h 18"/>
                  <a:gd name="T6" fmla="*/ 0 w 7"/>
                  <a:gd name="T7" fmla="*/ 0 h 18"/>
                  <a:gd name="T8" fmla="*/ 1 w 7"/>
                  <a:gd name="T9" fmla="*/ 0 h 18"/>
                  <a:gd name="T10" fmla="*/ 0 w 7"/>
                  <a:gd name="T11" fmla="*/ 1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61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2 w 13"/>
                  <a:gd name="T1" fmla="*/ 0 h 18"/>
                  <a:gd name="T2" fmla="*/ 2 w 13"/>
                  <a:gd name="T3" fmla="*/ 1 h 18"/>
                  <a:gd name="T4" fmla="*/ 1 w 13"/>
                  <a:gd name="T5" fmla="*/ 2 h 18"/>
                  <a:gd name="T6" fmla="*/ 1 w 13"/>
                  <a:gd name="T7" fmla="*/ 2 h 18"/>
                  <a:gd name="T8" fmla="*/ 0 w 13"/>
                  <a:gd name="T9" fmla="*/ 2 h 18"/>
                  <a:gd name="T10" fmla="*/ 0 w 13"/>
                  <a:gd name="T11" fmla="*/ 1 h 18"/>
                  <a:gd name="T12" fmla="*/ 0 w 13"/>
                  <a:gd name="T13" fmla="*/ 1 h 18"/>
                  <a:gd name="T14" fmla="*/ 1 w 13"/>
                  <a:gd name="T15" fmla="*/ 1 h 18"/>
                  <a:gd name="T16" fmla="*/ 2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5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356175" y="4719064"/>
              <a:ext cx="384762" cy="426582"/>
            </a:xfrm>
            <a:custGeom>
              <a:avLst/>
              <a:gdLst>
                <a:gd name="T0" fmla="*/ 11277731 w 736"/>
                <a:gd name="T1" fmla="*/ 189690187 h 721"/>
                <a:gd name="T2" fmla="*/ 17104104 w 736"/>
                <a:gd name="T3" fmla="*/ 184982519 h 721"/>
                <a:gd name="T4" fmla="*/ 23682672 w 736"/>
                <a:gd name="T5" fmla="*/ 184982519 h 721"/>
                <a:gd name="T6" fmla="*/ 36839808 w 736"/>
                <a:gd name="T7" fmla="*/ 191628298 h 721"/>
                <a:gd name="T8" fmla="*/ 46049977 w 736"/>
                <a:gd name="T9" fmla="*/ 195228248 h 721"/>
                <a:gd name="T10" fmla="*/ 54883831 w 736"/>
                <a:gd name="T11" fmla="*/ 194674653 h 721"/>
                <a:gd name="T12" fmla="*/ 114842706 w 736"/>
                <a:gd name="T13" fmla="*/ 198551401 h 721"/>
                <a:gd name="T14" fmla="*/ 122361194 w 736"/>
                <a:gd name="T15" fmla="*/ 195782370 h 721"/>
                <a:gd name="T16" fmla="*/ 117850188 w 736"/>
                <a:gd name="T17" fmla="*/ 181936164 h 721"/>
                <a:gd name="T18" fmla="*/ 124804637 w 736"/>
                <a:gd name="T19" fmla="*/ 119906085 h 721"/>
                <a:gd name="T20" fmla="*/ 133262610 w 736"/>
                <a:gd name="T21" fmla="*/ 118798368 h 721"/>
                <a:gd name="T22" fmla="*/ 135894211 w 736"/>
                <a:gd name="T23" fmla="*/ 115198417 h 721"/>
                <a:gd name="T24" fmla="*/ 137961773 w 736"/>
                <a:gd name="T25" fmla="*/ 99690897 h 721"/>
                <a:gd name="T26" fmla="*/ 135706054 w 736"/>
                <a:gd name="T27" fmla="*/ 83629782 h 721"/>
                <a:gd name="T28" fmla="*/ 133074887 w 736"/>
                <a:gd name="T29" fmla="*/ 84183378 h 721"/>
                <a:gd name="T30" fmla="*/ 127059923 w 736"/>
                <a:gd name="T31" fmla="*/ 83075660 h 721"/>
                <a:gd name="T32" fmla="*/ 119165988 w 736"/>
                <a:gd name="T33" fmla="*/ 82798862 h 721"/>
                <a:gd name="T34" fmla="*/ 117098426 w 736"/>
                <a:gd name="T35" fmla="*/ 80306629 h 721"/>
                <a:gd name="T36" fmla="*/ 115970349 w 736"/>
                <a:gd name="T37" fmla="*/ 70060900 h 721"/>
                <a:gd name="T38" fmla="*/ 114090944 w 736"/>
                <a:gd name="T39" fmla="*/ 60645563 h 721"/>
                <a:gd name="T40" fmla="*/ 112211539 w 736"/>
                <a:gd name="T41" fmla="*/ 51507025 h 721"/>
                <a:gd name="T42" fmla="*/ 114090944 w 736"/>
                <a:gd name="T43" fmla="*/ 46245761 h 721"/>
                <a:gd name="T44" fmla="*/ 115970349 w 736"/>
                <a:gd name="T45" fmla="*/ 40983971 h 721"/>
                <a:gd name="T46" fmla="*/ 114842706 w 736"/>
                <a:gd name="T47" fmla="*/ 27691887 h 721"/>
                <a:gd name="T48" fmla="*/ 102249608 w 736"/>
                <a:gd name="T49" fmla="*/ 19384268 h 721"/>
                <a:gd name="T50" fmla="*/ 89656510 w 736"/>
                <a:gd name="T51" fmla="*/ 18276550 h 721"/>
                <a:gd name="T52" fmla="*/ 88528434 w 736"/>
                <a:gd name="T53" fmla="*/ 22430623 h 721"/>
                <a:gd name="T54" fmla="*/ 87024910 w 736"/>
                <a:gd name="T55" fmla="*/ 27968685 h 721"/>
                <a:gd name="T56" fmla="*/ 82702061 w 736"/>
                <a:gd name="T57" fmla="*/ 33784070 h 721"/>
                <a:gd name="T58" fmla="*/ 73680050 w 736"/>
                <a:gd name="T59" fmla="*/ 35999505 h 721"/>
                <a:gd name="T60" fmla="*/ 68416848 w 736"/>
                <a:gd name="T61" fmla="*/ 31845959 h 721"/>
                <a:gd name="T62" fmla="*/ 63718119 w 736"/>
                <a:gd name="T63" fmla="*/ 22707421 h 721"/>
                <a:gd name="T64" fmla="*/ 59958875 w 736"/>
                <a:gd name="T65" fmla="*/ 10799852 h 721"/>
                <a:gd name="T66" fmla="*/ 58643075 w 736"/>
                <a:gd name="T67" fmla="*/ 0 h 721"/>
                <a:gd name="T68" fmla="*/ 5638649 w 736"/>
                <a:gd name="T69" fmla="*/ 4153546 h 721"/>
                <a:gd name="T70" fmla="*/ 8833854 w 736"/>
                <a:gd name="T71" fmla="*/ 8030821 h 721"/>
                <a:gd name="T72" fmla="*/ 14097056 w 736"/>
                <a:gd name="T73" fmla="*/ 20768783 h 721"/>
                <a:gd name="T74" fmla="*/ 19171666 w 736"/>
                <a:gd name="T75" fmla="*/ 35999505 h 721"/>
                <a:gd name="T76" fmla="*/ 19359823 w 736"/>
                <a:gd name="T77" fmla="*/ 47353479 h 721"/>
                <a:gd name="T78" fmla="*/ 17479985 w 736"/>
                <a:gd name="T79" fmla="*/ 56214693 h 721"/>
                <a:gd name="T80" fmla="*/ 18044023 w 736"/>
                <a:gd name="T81" fmla="*/ 63414594 h 721"/>
                <a:gd name="T82" fmla="*/ 22367305 w 736"/>
                <a:gd name="T83" fmla="*/ 75322163 h 721"/>
                <a:gd name="T84" fmla="*/ 24622591 w 736"/>
                <a:gd name="T85" fmla="*/ 85014297 h 721"/>
                <a:gd name="T86" fmla="*/ 23870829 w 736"/>
                <a:gd name="T87" fmla="*/ 97475988 h 721"/>
                <a:gd name="T88" fmla="*/ 19923428 w 736"/>
                <a:gd name="T89" fmla="*/ 111598466 h 721"/>
                <a:gd name="T90" fmla="*/ 14472937 w 736"/>
                <a:gd name="T91" fmla="*/ 123506036 h 721"/>
                <a:gd name="T92" fmla="*/ 7706211 w 736"/>
                <a:gd name="T93" fmla="*/ 132090452 h 721"/>
                <a:gd name="T94" fmla="*/ 4699163 w 736"/>
                <a:gd name="T95" fmla="*/ 163659613 h 721"/>
                <a:gd name="T96" fmla="*/ 2067562 w 736"/>
                <a:gd name="T97" fmla="*/ 173628545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6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69574" y="4688722"/>
              <a:ext cx="19142" cy="67825"/>
            </a:xfrm>
            <a:custGeom>
              <a:avLst/>
              <a:gdLst>
                <a:gd name="T0" fmla="*/ 0 w 39"/>
                <a:gd name="T1" fmla="*/ 117390504 h 31"/>
                <a:gd name="T2" fmla="*/ 1988446 w 39"/>
                <a:gd name="T3" fmla="*/ 106029944 h 31"/>
                <a:gd name="T4" fmla="*/ 3645144 w 39"/>
                <a:gd name="T5" fmla="*/ 106029944 h 31"/>
                <a:gd name="T6" fmla="*/ 4307824 w 39"/>
                <a:gd name="T7" fmla="*/ 106029944 h 31"/>
                <a:gd name="T8" fmla="*/ 4970910 w 39"/>
                <a:gd name="T9" fmla="*/ 106029944 h 31"/>
                <a:gd name="T10" fmla="*/ 5799260 w 39"/>
                <a:gd name="T11" fmla="*/ 102243091 h 31"/>
                <a:gd name="T12" fmla="*/ 6461939 w 39"/>
                <a:gd name="T13" fmla="*/ 94669385 h 31"/>
                <a:gd name="T14" fmla="*/ 6461939 w 39"/>
                <a:gd name="T15" fmla="*/ 0 h 31"/>
                <a:gd name="T16" fmla="*/ 4307824 w 39"/>
                <a:gd name="T17" fmla="*/ 0 h 31"/>
                <a:gd name="T18" fmla="*/ 2816795 w 39"/>
                <a:gd name="T19" fmla="*/ 0 h 31"/>
                <a:gd name="T20" fmla="*/ 1325359 w 39"/>
                <a:gd name="T21" fmla="*/ 0 h 31"/>
                <a:gd name="T22" fmla="*/ 0 w 39"/>
                <a:gd name="T23" fmla="*/ 0 h 31"/>
                <a:gd name="T24" fmla="*/ 0 w 39"/>
                <a:gd name="T25" fmla="*/ 117390504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7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92085" y="5299144"/>
              <a:ext cx="478560" cy="448000"/>
            </a:xfrm>
            <a:custGeom>
              <a:avLst/>
              <a:gdLst>
                <a:gd name="T0" fmla="*/ 173656766 w 903"/>
                <a:gd name="T1" fmla="*/ 80201633 h 759"/>
                <a:gd name="T2" fmla="*/ 166702883 w 903"/>
                <a:gd name="T3" fmla="*/ 106935336 h 759"/>
                <a:gd name="T4" fmla="*/ 160714597 w 903"/>
                <a:gd name="T5" fmla="*/ 114101352 h 759"/>
                <a:gd name="T6" fmla="*/ 146999775 w 903"/>
                <a:gd name="T7" fmla="*/ 139732591 h 759"/>
                <a:gd name="T8" fmla="*/ 139079855 w 903"/>
                <a:gd name="T9" fmla="*/ 154615331 h 759"/>
                <a:gd name="T10" fmla="*/ 124978706 w 903"/>
                <a:gd name="T11" fmla="*/ 168947363 h 759"/>
                <a:gd name="T12" fmla="*/ 112616248 w 903"/>
                <a:gd name="T13" fmla="*/ 183554486 h 759"/>
                <a:gd name="T14" fmla="*/ 107593999 w 903"/>
                <a:gd name="T15" fmla="*/ 192373674 h 759"/>
                <a:gd name="T16" fmla="*/ 100446733 w 903"/>
                <a:gd name="T17" fmla="*/ 194302986 h 759"/>
                <a:gd name="T18" fmla="*/ 95810811 w 903"/>
                <a:gd name="T19" fmla="*/ 195681066 h 759"/>
                <a:gd name="T20" fmla="*/ 93685794 w 903"/>
                <a:gd name="T21" fmla="*/ 200366538 h 759"/>
                <a:gd name="T22" fmla="*/ 71858108 w 903"/>
                <a:gd name="T23" fmla="*/ 200366538 h 759"/>
                <a:gd name="T24" fmla="*/ 65483496 w 903"/>
                <a:gd name="T25" fmla="*/ 201744093 h 759"/>
                <a:gd name="T26" fmla="*/ 61040518 w 903"/>
                <a:gd name="T27" fmla="*/ 201744093 h 759"/>
                <a:gd name="T28" fmla="*/ 55245615 w 903"/>
                <a:gd name="T29" fmla="*/ 200366538 h 759"/>
                <a:gd name="T30" fmla="*/ 50802637 w 903"/>
                <a:gd name="T31" fmla="*/ 203122173 h 759"/>
                <a:gd name="T32" fmla="*/ 28202298 w 903"/>
                <a:gd name="T33" fmla="*/ 209185725 h 759"/>
                <a:gd name="T34" fmla="*/ 22407395 w 903"/>
                <a:gd name="T35" fmla="*/ 207532029 h 759"/>
                <a:gd name="T36" fmla="*/ 17385147 w 903"/>
                <a:gd name="T37" fmla="*/ 203673405 h 759"/>
                <a:gd name="T38" fmla="*/ 14680859 w 903"/>
                <a:gd name="T39" fmla="*/ 198161610 h 759"/>
                <a:gd name="T40" fmla="*/ 15260129 w 903"/>
                <a:gd name="T41" fmla="*/ 192098058 h 759"/>
                <a:gd name="T42" fmla="*/ 14487476 w 903"/>
                <a:gd name="T43" fmla="*/ 173081078 h 759"/>
                <a:gd name="T44" fmla="*/ 15260129 w 903"/>
                <a:gd name="T45" fmla="*/ 167569283 h 759"/>
                <a:gd name="T46" fmla="*/ 13135112 w 903"/>
                <a:gd name="T47" fmla="*/ 157647107 h 759"/>
                <a:gd name="T48" fmla="*/ 4249595 w 903"/>
                <a:gd name="T49" fmla="*/ 142213135 h 759"/>
                <a:gd name="T50" fmla="*/ 2317961 w 903"/>
                <a:gd name="T51" fmla="*/ 133393948 h 759"/>
                <a:gd name="T52" fmla="*/ 1931634 w 903"/>
                <a:gd name="T53" fmla="*/ 120991228 h 759"/>
                <a:gd name="T54" fmla="*/ 0 w 903"/>
                <a:gd name="T55" fmla="*/ 103904085 h 759"/>
                <a:gd name="T56" fmla="*/ 7533593 w 903"/>
                <a:gd name="T57" fmla="*/ 103904085 h 759"/>
                <a:gd name="T58" fmla="*/ 11010534 w 903"/>
                <a:gd name="T59" fmla="*/ 109140264 h 759"/>
                <a:gd name="T60" fmla="*/ 18157800 w 903"/>
                <a:gd name="T61" fmla="*/ 112998888 h 759"/>
                <a:gd name="T62" fmla="*/ 26077281 w 903"/>
                <a:gd name="T63" fmla="*/ 113274504 h 759"/>
                <a:gd name="T64" fmla="*/ 30906586 w 903"/>
                <a:gd name="T65" fmla="*/ 110242728 h 759"/>
                <a:gd name="T66" fmla="*/ 35156181 w 903"/>
                <a:gd name="T67" fmla="*/ 102526005 h 759"/>
                <a:gd name="T68" fmla="*/ 38053852 w 903"/>
                <a:gd name="T69" fmla="*/ 63113966 h 759"/>
                <a:gd name="T70" fmla="*/ 39405776 w 903"/>
                <a:gd name="T71" fmla="*/ 50711771 h 759"/>
                <a:gd name="T72" fmla="*/ 40565196 w 903"/>
                <a:gd name="T73" fmla="*/ 46301914 h 759"/>
                <a:gd name="T74" fmla="*/ 46166715 w 903"/>
                <a:gd name="T75" fmla="*/ 49058074 h 759"/>
                <a:gd name="T76" fmla="*/ 47325696 w 903"/>
                <a:gd name="T77" fmla="*/ 65594510 h 759"/>
                <a:gd name="T78" fmla="*/ 47712022 w 903"/>
                <a:gd name="T79" fmla="*/ 75516161 h 759"/>
                <a:gd name="T80" fmla="*/ 49450713 w 903"/>
                <a:gd name="T81" fmla="*/ 79099169 h 759"/>
                <a:gd name="T82" fmla="*/ 55438998 w 903"/>
                <a:gd name="T83" fmla="*/ 81304097 h 759"/>
                <a:gd name="T84" fmla="*/ 60267864 w 903"/>
                <a:gd name="T85" fmla="*/ 80752865 h 759"/>
                <a:gd name="T86" fmla="*/ 64324516 w 903"/>
                <a:gd name="T87" fmla="*/ 74964929 h 759"/>
                <a:gd name="T88" fmla="*/ 67608513 w 903"/>
                <a:gd name="T89" fmla="*/ 64492046 h 759"/>
                <a:gd name="T90" fmla="*/ 71085455 w 903"/>
                <a:gd name="T91" fmla="*/ 55397243 h 759"/>
                <a:gd name="T92" fmla="*/ 74755340 w 903"/>
                <a:gd name="T93" fmla="*/ 52641083 h 759"/>
                <a:gd name="T94" fmla="*/ 79970972 w 903"/>
                <a:gd name="T95" fmla="*/ 53192315 h 759"/>
                <a:gd name="T96" fmla="*/ 87118238 w 903"/>
                <a:gd name="T97" fmla="*/ 57326030 h 759"/>
                <a:gd name="T98" fmla="*/ 92333430 w 903"/>
                <a:gd name="T99" fmla="*/ 59530958 h 759"/>
                <a:gd name="T100" fmla="*/ 98901426 w 903"/>
                <a:gd name="T101" fmla="*/ 58704110 h 759"/>
                <a:gd name="T102" fmla="*/ 102571311 w 903"/>
                <a:gd name="T103" fmla="*/ 55121627 h 759"/>
                <a:gd name="T104" fmla="*/ 108945923 w 903"/>
                <a:gd name="T105" fmla="*/ 35002183 h 759"/>
                <a:gd name="T106" fmla="*/ 119763074 w 903"/>
                <a:gd name="T107" fmla="*/ 22048756 h 759"/>
                <a:gd name="T108" fmla="*/ 141397816 w 903"/>
                <a:gd name="T109" fmla="*/ 3031776 h 759"/>
                <a:gd name="T110" fmla="*/ 155692348 w 903"/>
                <a:gd name="T111" fmla="*/ 826848 h 759"/>
                <a:gd name="T112" fmla="*/ 160328270 w 903"/>
                <a:gd name="T113" fmla="*/ 1653696 h 759"/>
                <a:gd name="T114" fmla="*/ 164964192 w 903"/>
                <a:gd name="T115" fmla="*/ 9646035 h 759"/>
                <a:gd name="T116" fmla="*/ 168634517 w 903"/>
                <a:gd name="T117" fmla="*/ 19568212 h 759"/>
                <a:gd name="T118" fmla="*/ 170566151 w 903"/>
                <a:gd name="T119" fmla="*/ 29489863 h 759"/>
                <a:gd name="T120" fmla="*/ 167668480 w 903"/>
                <a:gd name="T121" fmla="*/ 57050414 h 759"/>
                <a:gd name="T122" fmla="*/ 160328270 w 903"/>
                <a:gd name="T123" fmla="*/ 56224091 h 759"/>
                <a:gd name="T124" fmla="*/ 159555617 w 903"/>
                <a:gd name="T125" fmla="*/ 77445473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78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670110" y="3689199"/>
              <a:ext cx="495788" cy="687171"/>
            </a:xfrm>
            <a:custGeom>
              <a:avLst/>
              <a:gdLst>
                <a:gd name="T0" fmla="*/ 141060831 w 943"/>
                <a:gd name="T1" fmla="*/ 1359526 h 1172"/>
                <a:gd name="T2" fmla="*/ 145433188 w 943"/>
                <a:gd name="T3" fmla="*/ 6254758 h 1172"/>
                <a:gd name="T4" fmla="*/ 152657518 w 943"/>
                <a:gd name="T5" fmla="*/ 8158721 h 1172"/>
                <a:gd name="T6" fmla="*/ 154748645 w 943"/>
                <a:gd name="T7" fmla="*/ 14957394 h 1172"/>
                <a:gd name="T8" fmla="*/ 158740797 w 943"/>
                <a:gd name="T9" fmla="*/ 29642569 h 1172"/>
                <a:gd name="T10" fmla="*/ 159121002 w 943"/>
                <a:gd name="T11" fmla="*/ 50855243 h 1172"/>
                <a:gd name="T12" fmla="*/ 162923488 w 943"/>
                <a:gd name="T13" fmla="*/ 66084334 h 1172"/>
                <a:gd name="T14" fmla="*/ 175280584 w 943"/>
                <a:gd name="T15" fmla="*/ 79409983 h 1172"/>
                <a:gd name="T16" fmla="*/ 167105742 w 943"/>
                <a:gd name="T17" fmla="*/ 98174780 h 1172"/>
                <a:gd name="T18" fmla="*/ 161782873 w 943"/>
                <a:gd name="T19" fmla="*/ 111500430 h 1172"/>
                <a:gd name="T20" fmla="*/ 153798133 w 943"/>
                <a:gd name="T21" fmla="*/ 172690052 h 1172"/>
                <a:gd name="T22" fmla="*/ 146383700 w 943"/>
                <a:gd name="T23" fmla="*/ 184111740 h 1172"/>
                <a:gd name="T24" fmla="*/ 145052983 w 943"/>
                <a:gd name="T25" fmla="*/ 196077864 h 1172"/>
                <a:gd name="T26" fmla="*/ 141631139 w 943"/>
                <a:gd name="T27" fmla="*/ 199885267 h 1172"/>
                <a:gd name="T28" fmla="*/ 137448884 w 943"/>
                <a:gd name="T29" fmla="*/ 217018319 h 1172"/>
                <a:gd name="T30" fmla="*/ 131555271 w 943"/>
                <a:gd name="T31" fmla="*/ 238502168 h 1172"/>
                <a:gd name="T32" fmla="*/ 125852197 w 943"/>
                <a:gd name="T33" fmla="*/ 245573059 h 1172"/>
                <a:gd name="T34" fmla="*/ 126232402 w 943"/>
                <a:gd name="T35" fmla="*/ 254003477 h 1172"/>
                <a:gd name="T36" fmla="*/ 130414657 w 943"/>
                <a:gd name="T37" fmla="*/ 255363524 h 1172"/>
                <a:gd name="T38" fmla="*/ 134787449 w 943"/>
                <a:gd name="T39" fmla="*/ 258354794 h 1172"/>
                <a:gd name="T40" fmla="*/ 141060831 w 943"/>
                <a:gd name="T41" fmla="*/ 264065638 h 1172"/>
                <a:gd name="T42" fmla="*/ 143722266 w 943"/>
                <a:gd name="T43" fmla="*/ 273856103 h 1172"/>
                <a:gd name="T44" fmla="*/ 147334649 w 943"/>
                <a:gd name="T45" fmla="*/ 283646567 h 1172"/>
                <a:gd name="T46" fmla="*/ 152657518 w 943"/>
                <a:gd name="T47" fmla="*/ 286366141 h 1172"/>
                <a:gd name="T48" fmla="*/ 153798133 w 943"/>
                <a:gd name="T49" fmla="*/ 297516132 h 1172"/>
                <a:gd name="T50" fmla="*/ 136498372 w 943"/>
                <a:gd name="T51" fmla="*/ 303226976 h 1172"/>
                <a:gd name="T52" fmla="*/ 130604759 w 943"/>
                <a:gd name="T53" fmla="*/ 314649185 h 1172"/>
                <a:gd name="T54" fmla="*/ 113685203 w 943"/>
                <a:gd name="T55" fmla="*/ 318184369 h 1172"/>
                <a:gd name="T56" fmla="*/ 97906262 w 943"/>
                <a:gd name="T57" fmla="*/ 314920881 h 1172"/>
                <a:gd name="T58" fmla="*/ 88210600 w 943"/>
                <a:gd name="T59" fmla="*/ 305402634 h 1172"/>
                <a:gd name="T60" fmla="*/ 74142581 w 943"/>
                <a:gd name="T61" fmla="*/ 305946549 h 1172"/>
                <a:gd name="T62" fmla="*/ 60644869 w 943"/>
                <a:gd name="T63" fmla="*/ 304586502 h 1172"/>
                <a:gd name="T64" fmla="*/ 56462179 w 943"/>
                <a:gd name="T65" fmla="*/ 300235705 h 1172"/>
                <a:gd name="T66" fmla="*/ 55891871 w 943"/>
                <a:gd name="T67" fmla="*/ 292348681 h 1172"/>
                <a:gd name="T68" fmla="*/ 52089822 w 943"/>
                <a:gd name="T69" fmla="*/ 279839165 h 1172"/>
                <a:gd name="T70" fmla="*/ 41063442 w 943"/>
                <a:gd name="T71" fmla="*/ 264881771 h 1172"/>
                <a:gd name="T72" fmla="*/ 36691085 w 943"/>
                <a:gd name="T73" fmla="*/ 251556121 h 1172"/>
                <a:gd name="T74" fmla="*/ 28896448 w 943"/>
                <a:gd name="T75" fmla="*/ 245573059 h 1172"/>
                <a:gd name="T76" fmla="*/ 22813169 w 943"/>
                <a:gd name="T77" fmla="*/ 230071751 h 1172"/>
                <a:gd name="T78" fmla="*/ 18440376 w 943"/>
                <a:gd name="T79" fmla="*/ 214298746 h 1172"/>
                <a:gd name="T80" fmla="*/ 12357097 w 943"/>
                <a:gd name="T81" fmla="*/ 206140025 h 1172"/>
                <a:gd name="T82" fmla="*/ 6273382 w 943"/>
                <a:gd name="T83" fmla="*/ 183840043 h 1172"/>
                <a:gd name="T84" fmla="*/ 760410 w 943"/>
                <a:gd name="T85" fmla="*/ 166163076 h 1172"/>
                <a:gd name="T86" fmla="*/ 3421845 w 943"/>
                <a:gd name="T87" fmla="*/ 156916526 h 1172"/>
                <a:gd name="T88" fmla="*/ 5512972 w 943"/>
                <a:gd name="T89" fmla="*/ 141687435 h 1172"/>
                <a:gd name="T90" fmla="*/ 12166994 w 943"/>
                <a:gd name="T91" fmla="*/ 128905700 h 1172"/>
                <a:gd name="T92" fmla="*/ 21482451 w 943"/>
                <a:gd name="T93" fmla="*/ 60373490 h 1172"/>
                <a:gd name="T94" fmla="*/ 23383476 w 943"/>
                <a:gd name="T95" fmla="*/ 48679584 h 1172"/>
                <a:gd name="T96" fmla="*/ 29086550 w 943"/>
                <a:gd name="T97" fmla="*/ 46503926 h 1172"/>
                <a:gd name="T98" fmla="*/ 30417268 w 943"/>
                <a:gd name="T99" fmla="*/ 33178276 h 1172"/>
                <a:gd name="T100" fmla="*/ 30227165 w 943"/>
                <a:gd name="T101" fmla="*/ 18220882 h 1172"/>
                <a:gd name="T102" fmla="*/ 129083939 w 943"/>
                <a:gd name="T103" fmla="*/ 1876479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79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203801" y="3915876"/>
              <a:ext cx="97626" cy="92813"/>
              <a:chOff x="2352" y="2343"/>
              <a:chExt cx="65" cy="53"/>
            </a:xfrm>
          </p:grpSpPr>
          <p:sp>
            <p:nvSpPr>
              <p:cNvPr id="44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 w 51"/>
                  <a:gd name="T1" fmla="*/ 0 h 33"/>
                  <a:gd name="T2" fmla="*/ 0 w 51"/>
                  <a:gd name="T3" fmla="*/ 1 h 33"/>
                  <a:gd name="T4" fmla="*/ 0 w 51"/>
                  <a:gd name="T5" fmla="*/ 3 h 33"/>
                  <a:gd name="T6" fmla="*/ 1 w 51"/>
                  <a:gd name="T7" fmla="*/ 4 h 33"/>
                  <a:gd name="T8" fmla="*/ 3 w 51"/>
                  <a:gd name="T9" fmla="*/ 3 h 33"/>
                  <a:gd name="T10" fmla="*/ 5 w 51"/>
                  <a:gd name="T11" fmla="*/ 2 h 33"/>
                  <a:gd name="T12" fmla="*/ 5 w 51"/>
                  <a:gd name="T13" fmla="*/ 1 h 33"/>
                  <a:gd name="T14" fmla="*/ 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7 w 61"/>
                  <a:gd name="T1" fmla="*/ 1 h 20"/>
                  <a:gd name="T2" fmla="*/ 6 w 61"/>
                  <a:gd name="T3" fmla="*/ 0 h 20"/>
                  <a:gd name="T4" fmla="*/ 0 w 61"/>
                  <a:gd name="T5" fmla="*/ 0 h 20"/>
                  <a:gd name="T6" fmla="*/ 0 w 61"/>
                  <a:gd name="T7" fmla="*/ 2 h 20"/>
                  <a:gd name="T8" fmla="*/ 1 w 61"/>
                  <a:gd name="T9" fmla="*/ 2 h 20"/>
                  <a:gd name="T10" fmla="*/ 2 w 61"/>
                  <a:gd name="T11" fmla="*/ 2 h 20"/>
                  <a:gd name="T12" fmla="*/ 7 w 61"/>
                  <a:gd name="T13" fmla="*/ 1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2 h 36"/>
                  <a:gd name="T4" fmla="*/ 0 w 15"/>
                  <a:gd name="T5" fmla="*/ 4 h 36"/>
                  <a:gd name="T6" fmla="*/ 1 w 15"/>
                  <a:gd name="T7" fmla="*/ 4 h 36"/>
                  <a:gd name="T8" fmla="*/ 2 w 15"/>
                  <a:gd name="T9" fmla="*/ 2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2 w 37"/>
                  <a:gd name="T3" fmla="*/ 0 h 33"/>
                  <a:gd name="T4" fmla="*/ 3 w 37"/>
                  <a:gd name="T5" fmla="*/ 1 h 33"/>
                  <a:gd name="T6" fmla="*/ 3 w 37"/>
                  <a:gd name="T7" fmla="*/ 2 h 33"/>
                  <a:gd name="T8" fmla="*/ 2 w 37"/>
                  <a:gd name="T9" fmla="*/ 4 h 33"/>
                  <a:gd name="T10" fmla="*/ 1 w 37"/>
                  <a:gd name="T11" fmla="*/ 4 h 33"/>
                  <a:gd name="T12" fmla="*/ 0 w 37"/>
                  <a:gd name="T13" fmla="*/ 3 h 33"/>
                  <a:gd name="T14" fmla="*/ 0 w 37"/>
                  <a:gd name="T15" fmla="*/ 2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6 h 54"/>
                  <a:gd name="T6" fmla="*/ 2 w 49"/>
                  <a:gd name="T7" fmla="*/ 6 h 54"/>
                  <a:gd name="T8" fmla="*/ 5 w 49"/>
                  <a:gd name="T9" fmla="*/ 5 h 54"/>
                  <a:gd name="T10" fmla="*/ 5 w 49"/>
                  <a:gd name="T11" fmla="*/ 3 h 54"/>
                  <a:gd name="T12" fmla="*/ 4 w 49"/>
                  <a:gd name="T13" fmla="*/ 2 h 54"/>
                  <a:gd name="T14" fmla="*/ 2 w 49"/>
                  <a:gd name="T15" fmla="*/ 1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5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2 w 26"/>
                  <a:gd name="T1" fmla="*/ 0 h 22"/>
                  <a:gd name="T2" fmla="*/ 0 w 26"/>
                  <a:gd name="T3" fmla="*/ 0 h 22"/>
                  <a:gd name="T4" fmla="*/ 0 w 26"/>
                  <a:gd name="T5" fmla="*/ 2 h 22"/>
                  <a:gd name="T6" fmla="*/ 1 w 26"/>
                  <a:gd name="T7" fmla="*/ 2 h 22"/>
                  <a:gd name="T8" fmla="*/ 2 w 26"/>
                  <a:gd name="T9" fmla="*/ 2 h 22"/>
                  <a:gd name="T10" fmla="*/ 3 w 26"/>
                  <a:gd name="T11" fmla="*/ 1 h 22"/>
                  <a:gd name="T12" fmla="*/ 2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80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606175" y="1734776"/>
              <a:ext cx="2287519" cy="1274391"/>
              <a:chOff x="527" y="1110"/>
              <a:chExt cx="1410" cy="709"/>
            </a:xfrm>
          </p:grpSpPr>
          <p:sp>
            <p:nvSpPr>
              <p:cNvPr id="40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 h 54"/>
                  <a:gd name="T2" fmla="*/ 1 w 98"/>
                  <a:gd name="T3" fmla="*/ 4 h 54"/>
                  <a:gd name="T4" fmla="*/ 1 w 98"/>
                  <a:gd name="T5" fmla="*/ 5 h 54"/>
                  <a:gd name="T6" fmla="*/ 2 w 98"/>
                  <a:gd name="T7" fmla="*/ 5 h 54"/>
                  <a:gd name="T8" fmla="*/ 3 w 98"/>
                  <a:gd name="T9" fmla="*/ 5 h 54"/>
                  <a:gd name="T10" fmla="*/ 4 w 98"/>
                  <a:gd name="T11" fmla="*/ 5 h 54"/>
                  <a:gd name="T12" fmla="*/ 4 w 98"/>
                  <a:gd name="T13" fmla="*/ 5 h 54"/>
                  <a:gd name="T14" fmla="*/ 5 w 98"/>
                  <a:gd name="T15" fmla="*/ 5 h 54"/>
                  <a:gd name="T16" fmla="*/ 6 w 98"/>
                  <a:gd name="T17" fmla="*/ 5 h 54"/>
                  <a:gd name="T18" fmla="*/ 7 w 98"/>
                  <a:gd name="T19" fmla="*/ 4 h 54"/>
                  <a:gd name="T20" fmla="*/ 8 w 98"/>
                  <a:gd name="T21" fmla="*/ 3 h 54"/>
                  <a:gd name="T22" fmla="*/ 9 w 98"/>
                  <a:gd name="T23" fmla="*/ 3 h 54"/>
                  <a:gd name="T24" fmla="*/ 9 w 98"/>
                  <a:gd name="T25" fmla="*/ 2 h 54"/>
                  <a:gd name="T26" fmla="*/ 9 w 98"/>
                  <a:gd name="T27" fmla="*/ 1 h 54"/>
                  <a:gd name="T28" fmla="*/ 10 w 98"/>
                  <a:gd name="T29" fmla="*/ 0 h 54"/>
                  <a:gd name="T30" fmla="*/ 9 w 98"/>
                  <a:gd name="T31" fmla="*/ 0 h 54"/>
                  <a:gd name="T32" fmla="*/ 8 w 98"/>
                  <a:gd name="T33" fmla="*/ 0 h 54"/>
                  <a:gd name="T34" fmla="*/ 8 w 98"/>
                  <a:gd name="T35" fmla="*/ 0 h 54"/>
                  <a:gd name="T36" fmla="*/ 7 w 98"/>
                  <a:gd name="T37" fmla="*/ 0 h 54"/>
                  <a:gd name="T38" fmla="*/ 6 w 98"/>
                  <a:gd name="T39" fmla="*/ 0 h 54"/>
                  <a:gd name="T40" fmla="*/ 5 w 98"/>
                  <a:gd name="T41" fmla="*/ 0 h 54"/>
                  <a:gd name="T42" fmla="*/ 4 w 98"/>
                  <a:gd name="T43" fmla="*/ 1 h 54"/>
                  <a:gd name="T44" fmla="*/ 4 w 98"/>
                  <a:gd name="T45" fmla="*/ 1 h 54"/>
                  <a:gd name="T46" fmla="*/ 2 w 98"/>
                  <a:gd name="T47" fmla="*/ 2 h 54"/>
                  <a:gd name="T48" fmla="*/ 1 w 98"/>
                  <a:gd name="T49" fmla="*/ 3 h 54"/>
                  <a:gd name="T50" fmla="*/ 1 w 98"/>
                  <a:gd name="T51" fmla="*/ 3 h 54"/>
                  <a:gd name="T52" fmla="*/ 0 w 98"/>
                  <a:gd name="T53" fmla="*/ 3 h 54"/>
                  <a:gd name="T54" fmla="*/ 0 w 98"/>
                  <a:gd name="T55" fmla="*/ 4 h 54"/>
                  <a:gd name="T56" fmla="*/ 0 w 98"/>
                  <a:gd name="T57" fmla="*/ 4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 h 28"/>
                  <a:gd name="T2" fmla="*/ 1 w 67"/>
                  <a:gd name="T3" fmla="*/ 2 h 28"/>
                  <a:gd name="T4" fmla="*/ 2 w 67"/>
                  <a:gd name="T5" fmla="*/ 2 h 28"/>
                  <a:gd name="T6" fmla="*/ 3 w 67"/>
                  <a:gd name="T7" fmla="*/ 2 h 28"/>
                  <a:gd name="T8" fmla="*/ 4 w 67"/>
                  <a:gd name="T9" fmla="*/ 2 h 28"/>
                  <a:gd name="T10" fmla="*/ 5 w 67"/>
                  <a:gd name="T11" fmla="*/ 1 h 28"/>
                  <a:gd name="T12" fmla="*/ 6 w 67"/>
                  <a:gd name="T13" fmla="*/ 1 h 28"/>
                  <a:gd name="T14" fmla="*/ 6 w 67"/>
                  <a:gd name="T15" fmla="*/ 1 h 28"/>
                  <a:gd name="T16" fmla="*/ 7 w 67"/>
                  <a:gd name="T17" fmla="*/ 0 h 28"/>
                  <a:gd name="T18" fmla="*/ 6 w 67"/>
                  <a:gd name="T19" fmla="*/ 0 h 28"/>
                  <a:gd name="T20" fmla="*/ 4 w 67"/>
                  <a:gd name="T21" fmla="*/ 0 h 28"/>
                  <a:gd name="T22" fmla="*/ 3 w 67"/>
                  <a:gd name="T23" fmla="*/ 0 h 28"/>
                  <a:gd name="T24" fmla="*/ 3 w 67"/>
                  <a:gd name="T25" fmla="*/ 0 h 28"/>
                  <a:gd name="T26" fmla="*/ 2 w 67"/>
                  <a:gd name="T27" fmla="*/ 1 h 28"/>
                  <a:gd name="T28" fmla="*/ 1 w 67"/>
                  <a:gd name="T29" fmla="*/ 1 h 28"/>
                  <a:gd name="T30" fmla="*/ 1 w 67"/>
                  <a:gd name="T31" fmla="*/ 1 h 28"/>
                  <a:gd name="T32" fmla="*/ 0 w 67"/>
                  <a:gd name="T33" fmla="*/ 1 h 28"/>
                  <a:gd name="T34" fmla="*/ 0 w 67"/>
                  <a:gd name="T35" fmla="*/ 2 h 28"/>
                  <a:gd name="T36" fmla="*/ 0 w 67"/>
                  <a:gd name="T37" fmla="*/ 2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2 h 36"/>
                  <a:gd name="T2" fmla="*/ 0 w 32"/>
                  <a:gd name="T3" fmla="*/ 2 h 36"/>
                  <a:gd name="T4" fmla="*/ 0 w 32"/>
                  <a:gd name="T5" fmla="*/ 3 h 36"/>
                  <a:gd name="T6" fmla="*/ 1 w 32"/>
                  <a:gd name="T7" fmla="*/ 3 h 36"/>
                  <a:gd name="T8" fmla="*/ 1 w 32"/>
                  <a:gd name="T9" fmla="*/ 3 h 36"/>
                  <a:gd name="T10" fmla="*/ 1 w 32"/>
                  <a:gd name="T11" fmla="*/ 3 h 36"/>
                  <a:gd name="T12" fmla="*/ 1 w 32"/>
                  <a:gd name="T13" fmla="*/ 3 h 36"/>
                  <a:gd name="T14" fmla="*/ 4 w 32"/>
                  <a:gd name="T15" fmla="*/ 3 h 36"/>
                  <a:gd name="T16" fmla="*/ 4 w 32"/>
                  <a:gd name="T17" fmla="*/ 2 h 36"/>
                  <a:gd name="T18" fmla="*/ 4 w 32"/>
                  <a:gd name="T19" fmla="*/ 1 h 36"/>
                  <a:gd name="T20" fmla="*/ 3 w 32"/>
                  <a:gd name="T21" fmla="*/ 1 h 36"/>
                  <a:gd name="T22" fmla="*/ 3 w 32"/>
                  <a:gd name="T23" fmla="*/ 0 h 36"/>
                  <a:gd name="T24" fmla="*/ 2 w 32"/>
                  <a:gd name="T25" fmla="*/ 0 h 36"/>
                  <a:gd name="T26" fmla="*/ 1 w 32"/>
                  <a:gd name="T27" fmla="*/ 1 h 36"/>
                  <a:gd name="T28" fmla="*/ 1 w 32"/>
                  <a:gd name="T29" fmla="*/ 1 h 36"/>
                  <a:gd name="T30" fmla="*/ 0 w 32"/>
                  <a:gd name="T31" fmla="*/ 1 h 36"/>
                  <a:gd name="T32" fmla="*/ 0 w 32"/>
                  <a:gd name="T33" fmla="*/ 2 h 36"/>
                  <a:gd name="T34" fmla="*/ 0 w 32"/>
                  <a:gd name="T35" fmla="*/ 2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5 h 52"/>
                  <a:gd name="T2" fmla="*/ 1 w 146"/>
                  <a:gd name="T3" fmla="*/ 5 h 52"/>
                  <a:gd name="T4" fmla="*/ 2 w 146"/>
                  <a:gd name="T5" fmla="*/ 5 h 52"/>
                  <a:gd name="T6" fmla="*/ 3 w 146"/>
                  <a:gd name="T7" fmla="*/ 6 h 52"/>
                  <a:gd name="T8" fmla="*/ 4 w 146"/>
                  <a:gd name="T9" fmla="*/ 6 h 52"/>
                  <a:gd name="T10" fmla="*/ 6 w 146"/>
                  <a:gd name="T11" fmla="*/ 6 h 52"/>
                  <a:gd name="T12" fmla="*/ 8 w 146"/>
                  <a:gd name="T13" fmla="*/ 6 h 52"/>
                  <a:gd name="T14" fmla="*/ 12 w 146"/>
                  <a:gd name="T15" fmla="*/ 5 h 52"/>
                  <a:gd name="T16" fmla="*/ 14 w 146"/>
                  <a:gd name="T17" fmla="*/ 5 h 52"/>
                  <a:gd name="T18" fmla="*/ 14 w 146"/>
                  <a:gd name="T19" fmla="*/ 4 h 52"/>
                  <a:gd name="T20" fmla="*/ 14 w 146"/>
                  <a:gd name="T21" fmla="*/ 3 h 52"/>
                  <a:gd name="T22" fmla="*/ 14 w 146"/>
                  <a:gd name="T23" fmla="*/ 3 h 52"/>
                  <a:gd name="T24" fmla="*/ 14 w 146"/>
                  <a:gd name="T25" fmla="*/ 2 h 52"/>
                  <a:gd name="T26" fmla="*/ 13 w 146"/>
                  <a:gd name="T27" fmla="*/ 2 h 52"/>
                  <a:gd name="T28" fmla="*/ 13 w 146"/>
                  <a:gd name="T29" fmla="*/ 1 h 52"/>
                  <a:gd name="T30" fmla="*/ 12 w 146"/>
                  <a:gd name="T31" fmla="*/ 1 h 52"/>
                  <a:gd name="T32" fmla="*/ 12 w 146"/>
                  <a:gd name="T33" fmla="*/ 1 h 52"/>
                  <a:gd name="T34" fmla="*/ 11 w 146"/>
                  <a:gd name="T35" fmla="*/ 0 h 52"/>
                  <a:gd name="T36" fmla="*/ 10 w 146"/>
                  <a:gd name="T37" fmla="*/ 0 h 52"/>
                  <a:gd name="T38" fmla="*/ 9 w 146"/>
                  <a:gd name="T39" fmla="*/ 0 h 52"/>
                  <a:gd name="T40" fmla="*/ 8 w 146"/>
                  <a:gd name="T41" fmla="*/ 0 h 52"/>
                  <a:gd name="T42" fmla="*/ 7 w 146"/>
                  <a:gd name="T43" fmla="*/ 1 h 52"/>
                  <a:gd name="T44" fmla="*/ 5 w 146"/>
                  <a:gd name="T45" fmla="*/ 1 h 52"/>
                  <a:gd name="T46" fmla="*/ 4 w 146"/>
                  <a:gd name="T47" fmla="*/ 2 h 52"/>
                  <a:gd name="T48" fmla="*/ 3 w 146"/>
                  <a:gd name="T49" fmla="*/ 2 h 52"/>
                  <a:gd name="T50" fmla="*/ 2 w 146"/>
                  <a:gd name="T51" fmla="*/ 3 h 52"/>
                  <a:gd name="T52" fmla="*/ 1 w 146"/>
                  <a:gd name="T53" fmla="*/ 3 h 52"/>
                  <a:gd name="T54" fmla="*/ 1 w 146"/>
                  <a:gd name="T55" fmla="*/ 4 h 52"/>
                  <a:gd name="T56" fmla="*/ 0 w 146"/>
                  <a:gd name="T57" fmla="*/ 5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7 w 60"/>
                  <a:gd name="T1" fmla="*/ 0 h 31"/>
                  <a:gd name="T2" fmla="*/ 5 w 60"/>
                  <a:gd name="T3" fmla="*/ 0 h 31"/>
                  <a:gd name="T4" fmla="*/ 4 w 60"/>
                  <a:gd name="T5" fmla="*/ 0 h 31"/>
                  <a:gd name="T6" fmla="*/ 3 w 60"/>
                  <a:gd name="T7" fmla="*/ 0 h 31"/>
                  <a:gd name="T8" fmla="*/ 3 w 60"/>
                  <a:gd name="T9" fmla="*/ 0 h 31"/>
                  <a:gd name="T10" fmla="*/ 2 w 60"/>
                  <a:gd name="T11" fmla="*/ 0 h 31"/>
                  <a:gd name="T12" fmla="*/ 1 w 60"/>
                  <a:gd name="T13" fmla="*/ 0 h 31"/>
                  <a:gd name="T14" fmla="*/ 1 w 60"/>
                  <a:gd name="T15" fmla="*/ 0 h 31"/>
                  <a:gd name="T16" fmla="*/ 0 w 60"/>
                  <a:gd name="T17" fmla="*/ 1 h 31"/>
                  <a:gd name="T18" fmla="*/ 0 w 60"/>
                  <a:gd name="T19" fmla="*/ 1 h 31"/>
                  <a:gd name="T20" fmla="*/ 0 w 60"/>
                  <a:gd name="T21" fmla="*/ 1 h 31"/>
                  <a:gd name="T22" fmla="*/ 0 w 60"/>
                  <a:gd name="T23" fmla="*/ 2 h 31"/>
                  <a:gd name="T24" fmla="*/ 0 w 60"/>
                  <a:gd name="T25" fmla="*/ 2 h 31"/>
                  <a:gd name="T26" fmla="*/ 1 w 60"/>
                  <a:gd name="T27" fmla="*/ 2 h 31"/>
                  <a:gd name="T28" fmla="*/ 1 w 60"/>
                  <a:gd name="T29" fmla="*/ 3 h 31"/>
                  <a:gd name="T30" fmla="*/ 1 w 60"/>
                  <a:gd name="T31" fmla="*/ 3 h 31"/>
                  <a:gd name="T32" fmla="*/ 2 w 60"/>
                  <a:gd name="T33" fmla="*/ 3 h 31"/>
                  <a:gd name="T34" fmla="*/ 2 w 60"/>
                  <a:gd name="T35" fmla="*/ 3 h 31"/>
                  <a:gd name="T36" fmla="*/ 3 w 60"/>
                  <a:gd name="T37" fmla="*/ 3 h 31"/>
                  <a:gd name="T38" fmla="*/ 4 w 60"/>
                  <a:gd name="T39" fmla="*/ 3 h 31"/>
                  <a:gd name="T40" fmla="*/ 4 w 60"/>
                  <a:gd name="T41" fmla="*/ 3 h 31"/>
                  <a:gd name="T42" fmla="*/ 5 w 60"/>
                  <a:gd name="T43" fmla="*/ 3 h 31"/>
                  <a:gd name="T44" fmla="*/ 5 w 60"/>
                  <a:gd name="T45" fmla="*/ 2 h 31"/>
                  <a:gd name="T46" fmla="*/ 6 w 60"/>
                  <a:gd name="T47" fmla="*/ 1 h 31"/>
                  <a:gd name="T48" fmla="*/ 7 w 60"/>
                  <a:gd name="T49" fmla="*/ 1 h 31"/>
                  <a:gd name="T50" fmla="*/ 7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5 h 62"/>
                  <a:gd name="T2" fmla="*/ 0 w 80"/>
                  <a:gd name="T3" fmla="*/ 5 h 62"/>
                  <a:gd name="T4" fmla="*/ 0 w 80"/>
                  <a:gd name="T5" fmla="*/ 5 h 62"/>
                  <a:gd name="T6" fmla="*/ 0 w 80"/>
                  <a:gd name="T7" fmla="*/ 5 h 62"/>
                  <a:gd name="T8" fmla="*/ 0 w 80"/>
                  <a:gd name="T9" fmla="*/ 5 h 62"/>
                  <a:gd name="T10" fmla="*/ 1 w 80"/>
                  <a:gd name="T11" fmla="*/ 6 h 62"/>
                  <a:gd name="T12" fmla="*/ 2 w 80"/>
                  <a:gd name="T13" fmla="*/ 6 h 62"/>
                  <a:gd name="T14" fmla="*/ 3 w 80"/>
                  <a:gd name="T15" fmla="*/ 6 h 62"/>
                  <a:gd name="T16" fmla="*/ 4 w 80"/>
                  <a:gd name="T17" fmla="*/ 6 h 62"/>
                  <a:gd name="T18" fmla="*/ 5 w 80"/>
                  <a:gd name="T19" fmla="*/ 6 h 62"/>
                  <a:gd name="T20" fmla="*/ 5 w 80"/>
                  <a:gd name="T21" fmla="*/ 6 h 62"/>
                  <a:gd name="T22" fmla="*/ 6 w 80"/>
                  <a:gd name="T23" fmla="*/ 6 h 62"/>
                  <a:gd name="T24" fmla="*/ 6 w 80"/>
                  <a:gd name="T25" fmla="*/ 5 h 62"/>
                  <a:gd name="T26" fmla="*/ 7 w 80"/>
                  <a:gd name="T27" fmla="*/ 5 h 62"/>
                  <a:gd name="T28" fmla="*/ 7 w 80"/>
                  <a:gd name="T29" fmla="*/ 4 h 62"/>
                  <a:gd name="T30" fmla="*/ 8 w 80"/>
                  <a:gd name="T31" fmla="*/ 3 h 62"/>
                  <a:gd name="T32" fmla="*/ 8 w 80"/>
                  <a:gd name="T33" fmla="*/ 2 h 62"/>
                  <a:gd name="T34" fmla="*/ 8 w 80"/>
                  <a:gd name="T35" fmla="*/ 1 h 62"/>
                  <a:gd name="T36" fmla="*/ 8 w 80"/>
                  <a:gd name="T37" fmla="*/ 0 h 62"/>
                  <a:gd name="T38" fmla="*/ 7 w 80"/>
                  <a:gd name="T39" fmla="*/ 0 h 62"/>
                  <a:gd name="T40" fmla="*/ 6 w 80"/>
                  <a:gd name="T41" fmla="*/ 0 h 62"/>
                  <a:gd name="T42" fmla="*/ 5 w 80"/>
                  <a:gd name="T43" fmla="*/ 1 h 62"/>
                  <a:gd name="T44" fmla="*/ 4 w 80"/>
                  <a:gd name="T45" fmla="*/ 1 h 62"/>
                  <a:gd name="T46" fmla="*/ 2 w 80"/>
                  <a:gd name="T47" fmla="*/ 2 h 62"/>
                  <a:gd name="T48" fmla="*/ 1 w 80"/>
                  <a:gd name="T49" fmla="*/ 3 h 62"/>
                  <a:gd name="T50" fmla="*/ 1 w 80"/>
                  <a:gd name="T51" fmla="*/ 3 h 62"/>
                  <a:gd name="T52" fmla="*/ 0 w 80"/>
                  <a:gd name="T53" fmla="*/ 4 h 62"/>
                  <a:gd name="T54" fmla="*/ 0 w 80"/>
                  <a:gd name="T55" fmla="*/ 4 h 62"/>
                  <a:gd name="T56" fmla="*/ 0 w 80"/>
                  <a:gd name="T57" fmla="*/ 5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 w 106"/>
                  <a:gd name="T1" fmla="*/ 1 h 49"/>
                  <a:gd name="T2" fmla="*/ 7 w 106"/>
                  <a:gd name="T3" fmla="*/ 1 h 49"/>
                  <a:gd name="T4" fmla="*/ 7 w 106"/>
                  <a:gd name="T5" fmla="*/ 1 h 49"/>
                  <a:gd name="T6" fmla="*/ 6 w 106"/>
                  <a:gd name="T7" fmla="*/ 1 h 49"/>
                  <a:gd name="T8" fmla="*/ 5 w 106"/>
                  <a:gd name="T9" fmla="*/ 1 h 49"/>
                  <a:gd name="T10" fmla="*/ 5 w 106"/>
                  <a:gd name="T11" fmla="*/ 0 h 49"/>
                  <a:gd name="T12" fmla="*/ 4 w 106"/>
                  <a:gd name="T13" fmla="*/ 0 h 49"/>
                  <a:gd name="T14" fmla="*/ 3 w 106"/>
                  <a:gd name="T15" fmla="*/ 0 h 49"/>
                  <a:gd name="T16" fmla="*/ 2 w 106"/>
                  <a:gd name="T17" fmla="*/ 0 h 49"/>
                  <a:gd name="T18" fmla="*/ 2 w 106"/>
                  <a:gd name="T19" fmla="*/ 0 h 49"/>
                  <a:gd name="T20" fmla="*/ 0 w 106"/>
                  <a:gd name="T21" fmla="*/ 0 h 49"/>
                  <a:gd name="T22" fmla="*/ 1 w 106"/>
                  <a:gd name="T23" fmla="*/ 1 h 49"/>
                  <a:gd name="T24" fmla="*/ 2 w 106"/>
                  <a:gd name="T25" fmla="*/ 2 h 49"/>
                  <a:gd name="T26" fmla="*/ 2 w 106"/>
                  <a:gd name="T27" fmla="*/ 3 h 49"/>
                  <a:gd name="T28" fmla="*/ 3 w 106"/>
                  <a:gd name="T29" fmla="*/ 4 h 49"/>
                  <a:gd name="T30" fmla="*/ 4 w 106"/>
                  <a:gd name="T31" fmla="*/ 5 h 49"/>
                  <a:gd name="T32" fmla="*/ 5 w 106"/>
                  <a:gd name="T33" fmla="*/ 5 h 49"/>
                  <a:gd name="T34" fmla="*/ 6 w 106"/>
                  <a:gd name="T35" fmla="*/ 5 h 49"/>
                  <a:gd name="T36" fmla="*/ 7 w 106"/>
                  <a:gd name="T37" fmla="*/ 5 h 49"/>
                  <a:gd name="T38" fmla="*/ 8 w 106"/>
                  <a:gd name="T39" fmla="*/ 5 h 49"/>
                  <a:gd name="T40" fmla="*/ 8 w 106"/>
                  <a:gd name="T41" fmla="*/ 5 h 49"/>
                  <a:gd name="T42" fmla="*/ 9 w 106"/>
                  <a:gd name="T43" fmla="*/ 4 h 49"/>
                  <a:gd name="T44" fmla="*/ 10 w 106"/>
                  <a:gd name="T45" fmla="*/ 3 h 49"/>
                  <a:gd name="T46" fmla="*/ 10 w 106"/>
                  <a:gd name="T47" fmla="*/ 3 h 49"/>
                  <a:gd name="T48" fmla="*/ 10 w 106"/>
                  <a:gd name="T49" fmla="*/ 3 h 49"/>
                  <a:gd name="T50" fmla="*/ 9 w 106"/>
                  <a:gd name="T51" fmla="*/ 3 h 49"/>
                  <a:gd name="T52" fmla="*/ 9 w 106"/>
                  <a:gd name="T53" fmla="*/ 2 h 49"/>
                  <a:gd name="T54" fmla="*/ 8 w 106"/>
                  <a:gd name="T55" fmla="*/ 2 h 49"/>
                  <a:gd name="T56" fmla="*/ 8 w 106"/>
                  <a:gd name="T57" fmla="*/ 2 h 49"/>
                  <a:gd name="T58" fmla="*/ 8 w 106"/>
                  <a:gd name="T59" fmla="*/ 2 h 49"/>
                  <a:gd name="T60" fmla="*/ 8 w 106"/>
                  <a:gd name="T61" fmla="*/ 1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2 h 22"/>
                  <a:gd name="T2" fmla="*/ 1 w 47"/>
                  <a:gd name="T3" fmla="*/ 2 h 22"/>
                  <a:gd name="T4" fmla="*/ 1 w 47"/>
                  <a:gd name="T5" fmla="*/ 2 h 22"/>
                  <a:gd name="T6" fmla="*/ 2 w 47"/>
                  <a:gd name="T7" fmla="*/ 2 h 22"/>
                  <a:gd name="T8" fmla="*/ 3 w 47"/>
                  <a:gd name="T9" fmla="*/ 2 h 22"/>
                  <a:gd name="T10" fmla="*/ 4 w 47"/>
                  <a:gd name="T11" fmla="*/ 2 h 22"/>
                  <a:gd name="T12" fmla="*/ 4 w 47"/>
                  <a:gd name="T13" fmla="*/ 2 h 22"/>
                  <a:gd name="T14" fmla="*/ 4 w 47"/>
                  <a:gd name="T15" fmla="*/ 1 h 22"/>
                  <a:gd name="T16" fmla="*/ 4 w 47"/>
                  <a:gd name="T17" fmla="*/ 1 h 22"/>
                  <a:gd name="T18" fmla="*/ 4 w 47"/>
                  <a:gd name="T19" fmla="*/ 1 h 22"/>
                  <a:gd name="T20" fmla="*/ 5 w 47"/>
                  <a:gd name="T21" fmla="*/ 0 h 22"/>
                  <a:gd name="T22" fmla="*/ 0 w 47"/>
                  <a:gd name="T23" fmla="*/ 2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 w 53"/>
                  <a:gd name="T1" fmla="*/ 0 h 32"/>
                  <a:gd name="T2" fmla="*/ 4 w 53"/>
                  <a:gd name="T3" fmla="*/ 1 h 32"/>
                  <a:gd name="T4" fmla="*/ 2 w 53"/>
                  <a:gd name="T5" fmla="*/ 2 h 32"/>
                  <a:gd name="T6" fmla="*/ 1 w 53"/>
                  <a:gd name="T7" fmla="*/ 3 h 32"/>
                  <a:gd name="T8" fmla="*/ 0 w 53"/>
                  <a:gd name="T9" fmla="*/ 4 h 32"/>
                  <a:gd name="T10" fmla="*/ 1 w 53"/>
                  <a:gd name="T11" fmla="*/ 4 h 32"/>
                  <a:gd name="T12" fmla="*/ 3 w 53"/>
                  <a:gd name="T13" fmla="*/ 4 h 32"/>
                  <a:gd name="T14" fmla="*/ 4 w 53"/>
                  <a:gd name="T15" fmla="*/ 4 h 32"/>
                  <a:gd name="T16" fmla="*/ 5 w 53"/>
                  <a:gd name="T17" fmla="*/ 4 h 32"/>
                  <a:gd name="T18" fmla="*/ 5 w 53"/>
                  <a:gd name="T19" fmla="*/ 3 h 32"/>
                  <a:gd name="T20" fmla="*/ 5 w 53"/>
                  <a:gd name="T21" fmla="*/ 2 h 32"/>
                  <a:gd name="T22" fmla="*/ 5 w 53"/>
                  <a:gd name="T23" fmla="*/ 1 h 32"/>
                  <a:gd name="T24" fmla="*/ 5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 w 46"/>
                  <a:gd name="T1" fmla="*/ 0 h 34"/>
                  <a:gd name="T2" fmla="*/ 0 w 46"/>
                  <a:gd name="T3" fmla="*/ 2 h 34"/>
                  <a:gd name="T4" fmla="*/ 0 w 46"/>
                  <a:gd name="T5" fmla="*/ 4 h 34"/>
                  <a:gd name="T6" fmla="*/ 2 w 46"/>
                  <a:gd name="T7" fmla="*/ 4 h 34"/>
                  <a:gd name="T8" fmla="*/ 3 w 46"/>
                  <a:gd name="T9" fmla="*/ 4 h 34"/>
                  <a:gd name="T10" fmla="*/ 3 w 46"/>
                  <a:gd name="T11" fmla="*/ 4 h 34"/>
                  <a:gd name="T12" fmla="*/ 4 w 46"/>
                  <a:gd name="T13" fmla="*/ 3 h 34"/>
                  <a:gd name="T14" fmla="*/ 4 w 46"/>
                  <a:gd name="T15" fmla="*/ 2 h 34"/>
                  <a:gd name="T16" fmla="*/ 4 w 46"/>
                  <a:gd name="T17" fmla="*/ 2 h 34"/>
                  <a:gd name="T18" fmla="*/ 4 w 46"/>
                  <a:gd name="T19" fmla="*/ 2 h 34"/>
                  <a:gd name="T20" fmla="*/ 4 w 46"/>
                  <a:gd name="T21" fmla="*/ 1 h 34"/>
                  <a:gd name="T22" fmla="*/ 4 w 46"/>
                  <a:gd name="T23" fmla="*/ 0 h 34"/>
                  <a:gd name="T24" fmla="*/ 4 w 46"/>
                  <a:gd name="T25" fmla="*/ 0 h 34"/>
                  <a:gd name="T26" fmla="*/ 4 w 46"/>
                  <a:gd name="T27" fmla="*/ 0 h 34"/>
                  <a:gd name="T28" fmla="*/ 4 w 46"/>
                  <a:gd name="T29" fmla="*/ 0 h 34"/>
                  <a:gd name="T30" fmla="*/ 4 w 46"/>
                  <a:gd name="T31" fmla="*/ 0 h 34"/>
                  <a:gd name="T32" fmla="*/ 3 w 46"/>
                  <a:gd name="T33" fmla="*/ 0 h 34"/>
                  <a:gd name="T34" fmla="*/ 2 w 46"/>
                  <a:gd name="T35" fmla="*/ 0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3 h 25"/>
                  <a:gd name="T2" fmla="*/ 2 w 48"/>
                  <a:gd name="T3" fmla="*/ 3 h 25"/>
                  <a:gd name="T4" fmla="*/ 3 w 48"/>
                  <a:gd name="T5" fmla="*/ 3 h 25"/>
                  <a:gd name="T6" fmla="*/ 3 w 48"/>
                  <a:gd name="T7" fmla="*/ 3 h 25"/>
                  <a:gd name="T8" fmla="*/ 4 w 48"/>
                  <a:gd name="T9" fmla="*/ 2 h 25"/>
                  <a:gd name="T10" fmla="*/ 4 w 48"/>
                  <a:gd name="T11" fmla="*/ 2 h 25"/>
                  <a:gd name="T12" fmla="*/ 4 w 48"/>
                  <a:gd name="T13" fmla="*/ 2 h 25"/>
                  <a:gd name="T14" fmla="*/ 5 w 48"/>
                  <a:gd name="T15" fmla="*/ 1 h 25"/>
                  <a:gd name="T16" fmla="*/ 5 w 48"/>
                  <a:gd name="T17" fmla="*/ 0 h 25"/>
                  <a:gd name="T18" fmla="*/ 4 w 48"/>
                  <a:gd name="T19" fmla="*/ 0 h 25"/>
                  <a:gd name="T20" fmla="*/ 4 w 48"/>
                  <a:gd name="T21" fmla="*/ 0 h 25"/>
                  <a:gd name="T22" fmla="*/ 3 w 48"/>
                  <a:gd name="T23" fmla="*/ 1 h 25"/>
                  <a:gd name="T24" fmla="*/ 2 w 48"/>
                  <a:gd name="T25" fmla="*/ 1 h 25"/>
                  <a:gd name="T26" fmla="*/ 1 w 48"/>
                  <a:gd name="T27" fmla="*/ 2 h 25"/>
                  <a:gd name="T28" fmla="*/ 0 w 48"/>
                  <a:gd name="T29" fmla="*/ 3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 h 37"/>
                  <a:gd name="T4" fmla="*/ 1 w 30"/>
                  <a:gd name="T5" fmla="*/ 3 h 37"/>
                  <a:gd name="T6" fmla="*/ 1 w 30"/>
                  <a:gd name="T7" fmla="*/ 3 h 37"/>
                  <a:gd name="T8" fmla="*/ 2 w 30"/>
                  <a:gd name="T9" fmla="*/ 3 h 37"/>
                  <a:gd name="T10" fmla="*/ 2 w 30"/>
                  <a:gd name="T11" fmla="*/ 3 h 37"/>
                  <a:gd name="T12" fmla="*/ 2 w 30"/>
                  <a:gd name="T13" fmla="*/ 3 h 37"/>
                  <a:gd name="T14" fmla="*/ 2 w 30"/>
                  <a:gd name="T15" fmla="*/ 2 h 37"/>
                  <a:gd name="T16" fmla="*/ 2 w 30"/>
                  <a:gd name="T17" fmla="*/ 2 h 37"/>
                  <a:gd name="T18" fmla="*/ 2 w 30"/>
                  <a:gd name="T19" fmla="*/ 1 h 37"/>
                  <a:gd name="T20" fmla="*/ 2 w 30"/>
                  <a:gd name="T21" fmla="*/ 1 h 37"/>
                  <a:gd name="T22" fmla="*/ 2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4 w 113"/>
                  <a:gd name="T1" fmla="*/ 0 h 46"/>
                  <a:gd name="T2" fmla="*/ 2 w 113"/>
                  <a:gd name="T3" fmla="*/ 0 h 46"/>
                  <a:gd name="T4" fmla="*/ 1 w 113"/>
                  <a:gd name="T5" fmla="*/ 1 h 46"/>
                  <a:gd name="T6" fmla="*/ 1 w 113"/>
                  <a:gd name="T7" fmla="*/ 1 h 46"/>
                  <a:gd name="T8" fmla="*/ 0 w 113"/>
                  <a:gd name="T9" fmla="*/ 1 h 46"/>
                  <a:gd name="T10" fmla="*/ 0 w 113"/>
                  <a:gd name="T11" fmla="*/ 2 h 46"/>
                  <a:gd name="T12" fmla="*/ 0 w 113"/>
                  <a:gd name="T13" fmla="*/ 2 h 46"/>
                  <a:gd name="T14" fmla="*/ 1 w 113"/>
                  <a:gd name="T15" fmla="*/ 3 h 46"/>
                  <a:gd name="T16" fmla="*/ 1 w 113"/>
                  <a:gd name="T17" fmla="*/ 4 h 46"/>
                  <a:gd name="T18" fmla="*/ 2 w 113"/>
                  <a:gd name="T19" fmla="*/ 5 h 46"/>
                  <a:gd name="T20" fmla="*/ 2 w 113"/>
                  <a:gd name="T21" fmla="*/ 5 h 46"/>
                  <a:gd name="T22" fmla="*/ 3 w 113"/>
                  <a:gd name="T23" fmla="*/ 5 h 46"/>
                  <a:gd name="T24" fmla="*/ 3 w 113"/>
                  <a:gd name="T25" fmla="*/ 6 h 46"/>
                  <a:gd name="T26" fmla="*/ 4 w 113"/>
                  <a:gd name="T27" fmla="*/ 6 h 46"/>
                  <a:gd name="T28" fmla="*/ 4 w 113"/>
                  <a:gd name="T29" fmla="*/ 6 h 46"/>
                  <a:gd name="T30" fmla="*/ 6 w 113"/>
                  <a:gd name="T31" fmla="*/ 6 h 46"/>
                  <a:gd name="T32" fmla="*/ 7 w 113"/>
                  <a:gd name="T33" fmla="*/ 5 h 46"/>
                  <a:gd name="T34" fmla="*/ 8 w 113"/>
                  <a:gd name="T35" fmla="*/ 5 h 46"/>
                  <a:gd name="T36" fmla="*/ 8 w 113"/>
                  <a:gd name="T37" fmla="*/ 5 h 46"/>
                  <a:gd name="T38" fmla="*/ 9 w 113"/>
                  <a:gd name="T39" fmla="*/ 5 h 46"/>
                  <a:gd name="T40" fmla="*/ 9 w 113"/>
                  <a:gd name="T41" fmla="*/ 4 h 46"/>
                  <a:gd name="T42" fmla="*/ 10 w 113"/>
                  <a:gd name="T43" fmla="*/ 3 h 46"/>
                  <a:gd name="T44" fmla="*/ 11 w 113"/>
                  <a:gd name="T45" fmla="*/ 2 h 46"/>
                  <a:gd name="T46" fmla="*/ 11 w 113"/>
                  <a:gd name="T47" fmla="*/ 1 h 46"/>
                  <a:gd name="T48" fmla="*/ 11 w 113"/>
                  <a:gd name="T49" fmla="*/ 0 h 46"/>
                  <a:gd name="T50" fmla="*/ 10 w 113"/>
                  <a:gd name="T51" fmla="*/ 0 h 46"/>
                  <a:gd name="T52" fmla="*/ 9 w 113"/>
                  <a:gd name="T53" fmla="*/ 0 h 46"/>
                  <a:gd name="T54" fmla="*/ 8 w 113"/>
                  <a:gd name="T55" fmla="*/ 0 h 46"/>
                  <a:gd name="T56" fmla="*/ 7 w 113"/>
                  <a:gd name="T57" fmla="*/ 0 h 46"/>
                  <a:gd name="T58" fmla="*/ 5 w 113"/>
                  <a:gd name="T59" fmla="*/ 0 h 46"/>
                  <a:gd name="T60" fmla="*/ 4 w 113"/>
                  <a:gd name="T61" fmla="*/ 0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9 h 82"/>
                  <a:gd name="T2" fmla="*/ 0 w 153"/>
                  <a:gd name="T3" fmla="*/ 10 h 82"/>
                  <a:gd name="T4" fmla="*/ 1 w 153"/>
                  <a:gd name="T5" fmla="*/ 10 h 82"/>
                  <a:gd name="T6" fmla="*/ 1 w 153"/>
                  <a:gd name="T7" fmla="*/ 10 h 82"/>
                  <a:gd name="T8" fmla="*/ 1 w 153"/>
                  <a:gd name="T9" fmla="*/ 10 h 82"/>
                  <a:gd name="T10" fmla="*/ 2 w 153"/>
                  <a:gd name="T11" fmla="*/ 9 h 82"/>
                  <a:gd name="T12" fmla="*/ 4 w 153"/>
                  <a:gd name="T13" fmla="*/ 9 h 82"/>
                  <a:gd name="T14" fmla="*/ 4 w 153"/>
                  <a:gd name="T15" fmla="*/ 9 h 82"/>
                  <a:gd name="T16" fmla="*/ 5 w 153"/>
                  <a:gd name="T17" fmla="*/ 9 h 82"/>
                  <a:gd name="T18" fmla="*/ 6 w 153"/>
                  <a:gd name="T19" fmla="*/ 9 h 82"/>
                  <a:gd name="T20" fmla="*/ 7 w 153"/>
                  <a:gd name="T21" fmla="*/ 9 h 82"/>
                  <a:gd name="T22" fmla="*/ 9 w 153"/>
                  <a:gd name="T23" fmla="*/ 8 h 82"/>
                  <a:gd name="T24" fmla="*/ 11 w 153"/>
                  <a:gd name="T25" fmla="*/ 7 h 82"/>
                  <a:gd name="T26" fmla="*/ 12 w 153"/>
                  <a:gd name="T27" fmla="*/ 6 h 82"/>
                  <a:gd name="T28" fmla="*/ 12 w 153"/>
                  <a:gd name="T29" fmla="*/ 6 h 82"/>
                  <a:gd name="T30" fmla="*/ 13 w 153"/>
                  <a:gd name="T31" fmla="*/ 5 h 82"/>
                  <a:gd name="T32" fmla="*/ 14 w 153"/>
                  <a:gd name="T33" fmla="*/ 4 h 82"/>
                  <a:gd name="T34" fmla="*/ 14 w 153"/>
                  <a:gd name="T35" fmla="*/ 4 h 82"/>
                  <a:gd name="T36" fmla="*/ 15 w 153"/>
                  <a:gd name="T37" fmla="*/ 3 h 82"/>
                  <a:gd name="T38" fmla="*/ 15 w 153"/>
                  <a:gd name="T39" fmla="*/ 2 h 82"/>
                  <a:gd name="T40" fmla="*/ 16 w 153"/>
                  <a:gd name="T41" fmla="*/ 1 h 82"/>
                  <a:gd name="T42" fmla="*/ 14 w 153"/>
                  <a:gd name="T43" fmla="*/ 1 h 82"/>
                  <a:gd name="T44" fmla="*/ 12 w 153"/>
                  <a:gd name="T45" fmla="*/ 0 h 82"/>
                  <a:gd name="T46" fmla="*/ 10 w 153"/>
                  <a:gd name="T47" fmla="*/ 0 h 82"/>
                  <a:gd name="T48" fmla="*/ 8 w 153"/>
                  <a:gd name="T49" fmla="*/ 0 h 82"/>
                  <a:gd name="T50" fmla="*/ 7 w 153"/>
                  <a:gd name="T51" fmla="*/ 0 h 82"/>
                  <a:gd name="T52" fmla="*/ 6 w 153"/>
                  <a:gd name="T53" fmla="*/ 0 h 82"/>
                  <a:gd name="T54" fmla="*/ 5 w 153"/>
                  <a:gd name="T55" fmla="*/ 0 h 82"/>
                  <a:gd name="T56" fmla="*/ 4 w 153"/>
                  <a:gd name="T57" fmla="*/ 0 h 82"/>
                  <a:gd name="T58" fmla="*/ 4 w 153"/>
                  <a:gd name="T59" fmla="*/ 1 h 82"/>
                  <a:gd name="T60" fmla="*/ 4 w 153"/>
                  <a:gd name="T61" fmla="*/ 1 h 82"/>
                  <a:gd name="T62" fmla="*/ 3 w 153"/>
                  <a:gd name="T63" fmla="*/ 2 h 82"/>
                  <a:gd name="T64" fmla="*/ 3 w 153"/>
                  <a:gd name="T65" fmla="*/ 2 h 82"/>
                  <a:gd name="T66" fmla="*/ 3 w 153"/>
                  <a:gd name="T67" fmla="*/ 3 h 82"/>
                  <a:gd name="T68" fmla="*/ 4 w 153"/>
                  <a:gd name="T69" fmla="*/ 3 h 82"/>
                  <a:gd name="T70" fmla="*/ 4 w 153"/>
                  <a:gd name="T71" fmla="*/ 4 h 82"/>
                  <a:gd name="T72" fmla="*/ 4 w 153"/>
                  <a:gd name="T73" fmla="*/ 4 h 82"/>
                  <a:gd name="T74" fmla="*/ 4 w 153"/>
                  <a:gd name="T75" fmla="*/ 4 h 82"/>
                  <a:gd name="T76" fmla="*/ 5 w 153"/>
                  <a:gd name="T77" fmla="*/ 4 h 82"/>
                  <a:gd name="T78" fmla="*/ 4 w 153"/>
                  <a:gd name="T79" fmla="*/ 5 h 82"/>
                  <a:gd name="T80" fmla="*/ 4 w 153"/>
                  <a:gd name="T81" fmla="*/ 5 h 82"/>
                  <a:gd name="T82" fmla="*/ 3 w 153"/>
                  <a:gd name="T83" fmla="*/ 6 h 82"/>
                  <a:gd name="T84" fmla="*/ 2 w 153"/>
                  <a:gd name="T85" fmla="*/ 6 h 82"/>
                  <a:gd name="T86" fmla="*/ 2 w 153"/>
                  <a:gd name="T87" fmla="*/ 8 h 82"/>
                  <a:gd name="T88" fmla="*/ 1 w 153"/>
                  <a:gd name="T89" fmla="*/ 8 h 82"/>
                  <a:gd name="T90" fmla="*/ 1 w 153"/>
                  <a:gd name="T91" fmla="*/ 9 h 82"/>
                  <a:gd name="T92" fmla="*/ 0 w 153"/>
                  <a:gd name="T93" fmla="*/ 9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4 h 50"/>
                  <a:gd name="T2" fmla="*/ 1 w 86"/>
                  <a:gd name="T3" fmla="*/ 5 h 50"/>
                  <a:gd name="T4" fmla="*/ 1 w 86"/>
                  <a:gd name="T5" fmla="*/ 5 h 50"/>
                  <a:gd name="T6" fmla="*/ 2 w 86"/>
                  <a:gd name="T7" fmla="*/ 5 h 50"/>
                  <a:gd name="T8" fmla="*/ 3 w 86"/>
                  <a:gd name="T9" fmla="*/ 5 h 50"/>
                  <a:gd name="T10" fmla="*/ 4 w 86"/>
                  <a:gd name="T11" fmla="*/ 6 h 50"/>
                  <a:gd name="T12" fmla="*/ 5 w 86"/>
                  <a:gd name="T13" fmla="*/ 6 h 50"/>
                  <a:gd name="T14" fmla="*/ 7 w 86"/>
                  <a:gd name="T15" fmla="*/ 6 h 50"/>
                  <a:gd name="T16" fmla="*/ 8 w 86"/>
                  <a:gd name="T17" fmla="*/ 5 h 50"/>
                  <a:gd name="T18" fmla="*/ 8 w 86"/>
                  <a:gd name="T19" fmla="*/ 5 h 50"/>
                  <a:gd name="T20" fmla="*/ 9 w 86"/>
                  <a:gd name="T21" fmla="*/ 5 h 50"/>
                  <a:gd name="T22" fmla="*/ 9 w 86"/>
                  <a:gd name="T23" fmla="*/ 5 h 50"/>
                  <a:gd name="T24" fmla="*/ 9 w 86"/>
                  <a:gd name="T25" fmla="*/ 4 h 50"/>
                  <a:gd name="T26" fmla="*/ 10 w 86"/>
                  <a:gd name="T27" fmla="*/ 4 h 50"/>
                  <a:gd name="T28" fmla="*/ 10 w 86"/>
                  <a:gd name="T29" fmla="*/ 3 h 50"/>
                  <a:gd name="T30" fmla="*/ 10 w 86"/>
                  <a:gd name="T31" fmla="*/ 2 h 50"/>
                  <a:gd name="T32" fmla="*/ 9 w 86"/>
                  <a:gd name="T33" fmla="*/ 1 h 50"/>
                  <a:gd name="T34" fmla="*/ 9 w 86"/>
                  <a:gd name="T35" fmla="*/ 1 h 50"/>
                  <a:gd name="T36" fmla="*/ 9 w 86"/>
                  <a:gd name="T37" fmla="*/ 1 h 50"/>
                  <a:gd name="T38" fmla="*/ 9 w 86"/>
                  <a:gd name="T39" fmla="*/ 0 h 50"/>
                  <a:gd name="T40" fmla="*/ 8 w 86"/>
                  <a:gd name="T41" fmla="*/ 0 h 50"/>
                  <a:gd name="T42" fmla="*/ 0 w 86"/>
                  <a:gd name="T43" fmla="*/ 4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2 w 172"/>
                  <a:gd name="T1" fmla="*/ 7 h 74"/>
                  <a:gd name="T2" fmla="*/ 11 w 172"/>
                  <a:gd name="T3" fmla="*/ 7 h 74"/>
                  <a:gd name="T4" fmla="*/ 10 w 172"/>
                  <a:gd name="T5" fmla="*/ 7 h 74"/>
                  <a:gd name="T6" fmla="*/ 9 w 172"/>
                  <a:gd name="T7" fmla="*/ 7 h 74"/>
                  <a:gd name="T8" fmla="*/ 8 w 172"/>
                  <a:gd name="T9" fmla="*/ 7 h 74"/>
                  <a:gd name="T10" fmla="*/ 6 w 172"/>
                  <a:gd name="T11" fmla="*/ 8 h 74"/>
                  <a:gd name="T12" fmla="*/ 4 w 172"/>
                  <a:gd name="T13" fmla="*/ 8 h 74"/>
                  <a:gd name="T14" fmla="*/ 4 w 172"/>
                  <a:gd name="T15" fmla="*/ 7 h 74"/>
                  <a:gd name="T16" fmla="*/ 4 w 172"/>
                  <a:gd name="T17" fmla="*/ 6 h 74"/>
                  <a:gd name="T18" fmla="*/ 3 w 172"/>
                  <a:gd name="T19" fmla="*/ 6 h 74"/>
                  <a:gd name="T20" fmla="*/ 2 w 172"/>
                  <a:gd name="T21" fmla="*/ 5 h 74"/>
                  <a:gd name="T22" fmla="*/ 2 w 172"/>
                  <a:gd name="T23" fmla="*/ 5 h 74"/>
                  <a:gd name="T24" fmla="*/ 1 w 172"/>
                  <a:gd name="T25" fmla="*/ 5 h 74"/>
                  <a:gd name="T26" fmla="*/ 1 w 172"/>
                  <a:gd name="T27" fmla="*/ 5 h 74"/>
                  <a:gd name="T28" fmla="*/ 0 w 172"/>
                  <a:gd name="T29" fmla="*/ 4 h 74"/>
                  <a:gd name="T30" fmla="*/ 0 w 172"/>
                  <a:gd name="T31" fmla="*/ 4 h 74"/>
                  <a:gd name="T32" fmla="*/ 0 w 172"/>
                  <a:gd name="T33" fmla="*/ 3 h 74"/>
                  <a:gd name="T34" fmla="*/ 0 w 172"/>
                  <a:gd name="T35" fmla="*/ 3 h 74"/>
                  <a:gd name="T36" fmla="*/ 0 w 172"/>
                  <a:gd name="T37" fmla="*/ 2 h 74"/>
                  <a:gd name="T38" fmla="*/ 1 w 172"/>
                  <a:gd name="T39" fmla="*/ 2 h 74"/>
                  <a:gd name="T40" fmla="*/ 1 w 172"/>
                  <a:gd name="T41" fmla="*/ 2 h 74"/>
                  <a:gd name="T42" fmla="*/ 1 w 172"/>
                  <a:gd name="T43" fmla="*/ 1 h 74"/>
                  <a:gd name="T44" fmla="*/ 2 w 172"/>
                  <a:gd name="T45" fmla="*/ 1 h 74"/>
                  <a:gd name="T46" fmla="*/ 3 w 172"/>
                  <a:gd name="T47" fmla="*/ 1 h 74"/>
                  <a:gd name="T48" fmla="*/ 3 w 172"/>
                  <a:gd name="T49" fmla="*/ 0 h 74"/>
                  <a:gd name="T50" fmla="*/ 4 w 172"/>
                  <a:gd name="T51" fmla="*/ 0 h 74"/>
                  <a:gd name="T52" fmla="*/ 6 w 172"/>
                  <a:gd name="T53" fmla="*/ 0 h 74"/>
                  <a:gd name="T54" fmla="*/ 7 w 172"/>
                  <a:gd name="T55" fmla="*/ 0 h 74"/>
                  <a:gd name="T56" fmla="*/ 8 w 172"/>
                  <a:gd name="T57" fmla="*/ 0 h 74"/>
                  <a:gd name="T58" fmla="*/ 10 w 172"/>
                  <a:gd name="T59" fmla="*/ 0 h 74"/>
                  <a:gd name="T60" fmla="*/ 11 w 172"/>
                  <a:gd name="T61" fmla="*/ 0 h 74"/>
                  <a:gd name="T62" fmla="*/ 12 w 172"/>
                  <a:gd name="T63" fmla="*/ 1 h 74"/>
                  <a:gd name="T64" fmla="*/ 13 w 172"/>
                  <a:gd name="T65" fmla="*/ 1 h 74"/>
                  <a:gd name="T66" fmla="*/ 14 w 172"/>
                  <a:gd name="T67" fmla="*/ 2 h 74"/>
                  <a:gd name="T68" fmla="*/ 15 w 172"/>
                  <a:gd name="T69" fmla="*/ 2 h 74"/>
                  <a:gd name="T70" fmla="*/ 16 w 172"/>
                  <a:gd name="T71" fmla="*/ 3 h 74"/>
                  <a:gd name="T72" fmla="*/ 18 w 172"/>
                  <a:gd name="T73" fmla="*/ 3 h 74"/>
                  <a:gd name="T74" fmla="*/ 18 w 172"/>
                  <a:gd name="T75" fmla="*/ 5 h 74"/>
                  <a:gd name="T76" fmla="*/ 17 w 172"/>
                  <a:gd name="T77" fmla="*/ 5 h 74"/>
                  <a:gd name="T78" fmla="*/ 17 w 172"/>
                  <a:gd name="T79" fmla="*/ 6 h 74"/>
                  <a:gd name="T80" fmla="*/ 16 w 172"/>
                  <a:gd name="T81" fmla="*/ 6 h 74"/>
                  <a:gd name="T82" fmla="*/ 16 w 172"/>
                  <a:gd name="T83" fmla="*/ 7 h 74"/>
                  <a:gd name="T84" fmla="*/ 16 w 172"/>
                  <a:gd name="T85" fmla="*/ 7 h 74"/>
                  <a:gd name="T86" fmla="*/ 15 w 172"/>
                  <a:gd name="T87" fmla="*/ 7 h 74"/>
                  <a:gd name="T88" fmla="*/ 15 w 172"/>
                  <a:gd name="T89" fmla="*/ 7 h 74"/>
                  <a:gd name="T90" fmla="*/ 14 w 172"/>
                  <a:gd name="T91" fmla="*/ 7 h 74"/>
                  <a:gd name="T92" fmla="*/ 13 w 172"/>
                  <a:gd name="T93" fmla="*/ 7 h 74"/>
                  <a:gd name="T94" fmla="*/ 12 w 172"/>
                  <a:gd name="T95" fmla="*/ 7 h 74"/>
                  <a:gd name="T96" fmla="*/ 12 w 172"/>
                  <a:gd name="T97" fmla="*/ 7 h 74"/>
                  <a:gd name="T98" fmla="*/ 10 w 172"/>
                  <a:gd name="T99" fmla="*/ 6 h 74"/>
                  <a:gd name="T100" fmla="*/ 11 w 172"/>
                  <a:gd name="T101" fmla="*/ 6 h 74"/>
                  <a:gd name="T102" fmla="*/ 12 w 172"/>
                  <a:gd name="T103" fmla="*/ 7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1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3 w 120"/>
                  <a:gd name="T1" fmla="*/ 6 h 49"/>
                  <a:gd name="T2" fmla="*/ 5 w 120"/>
                  <a:gd name="T3" fmla="*/ 6 h 49"/>
                  <a:gd name="T4" fmla="*/ 6 w 120"/>
                  <a:gd name="T5" fmla="*/ 6 h 49"/>
                  <a:gd name="T6" fmla="*/ 8 w 120"/>
                  <a:gd name="T7" fmla="*/ 6 h 49"/>
                  <a:gd name="T8" fmla="*/ 9 w 120"/>
                  <a:gd name="T9" fmla="*/ 5 h 49"/>
                  <a:gd name="T10" fmla="*/ 10 w 120"/>
                  <a:gd name="T11" fmla="*/ 5 h 49"/>
                  <a:gd name="T12" fmla="*/ 10 w 120"/>
                  <a:gd name="T13" fmla="*/ 5 h 49"/>
                  <a:gd name="T14" fmla="*/ 10 w 120"/>
                  <a:gd name="T15" fmla="*/ 4 h 49"/>
                  <a:gd name="T16" fmla="*/ 11 w 120"/>
                  <a:gd name="T17" fmla="*/ 4 h 49"/>
                  <a:gd name="T18" fmla="*/ 11 w 120"/>
                  <a:gd name="T19" fmla="*/ 3 h 49"/>
                  <a:gd name="T20" fmla="*/ 12 w 120"/>
                  <a:gd name="T21" fmla="*/ 1 h 49"/>
                  <a:gd name="T22" fmla="*/ 10 w 120"/>
                  <a:gd name="T23" fmla="*/ 1 h 49"/>
                  <a:gd name="T24" fmla="*/ 9 w 120"/>
                  <a:gd name="T25" fmla="*/ 0 h 49"/>
                  <a:gd name="T26" fmla="*/ 7 w 120"/>
                  <a:gd name="T27" fmla="*/ 0 h 49"/>
                  <a:gd name="T28" fmla="*/ 5 w 120"/>
                  <a:gd name="T29" fmla="*/ 0 h 49"/>
                  <a:gd name="T30" fmla="*/ 3 w 120"/>
                  <a:gd name="T31" fmla="*/ 0 h 49"/>
                  <a:gd name="T32" fmla="*/ 2 w 120"/>
                  <a:gd name="T33" fmla="*/ 0 h 49"/>
                  <a:gd name="T34" fmla="*/ 1 w 120"/>
                  <a:gd name="T35" fmla="*/ 0 h 49"/>
                  <a:gd name="T36" fmla="*/ 0 w 120"/>
                  <a:gd name="T37" fmla="*/ 1 h 49"/>
                  <a:gd name="T38" fmla="*/ 0 w 120"/>
                  <a:gd name="T39" fmla="*/ 3 h 49"/>
                  <a:gd name="T40" fmla="*/ 0 w 120"/>
                  <a:gd name="T41" fmla="*/ 4 h 49"/>
                  <a:gd name="T42" fmla="*/ 1 w 120"/>
                  <a:gd name="T43" fmla="*/ 5 h 49"/>
                  <a:gd name="T44" fmla="*/ 1 w 120"/>
                  <a:gd name="T45" fmla="*/ 5 h 49"/>
                  <a:gd name="T46" fmla="*/ 1 w 120"/>
                  <a:gd name="T47" fmla="*/ 6 h 49"/>
                  <a:gd name="T48" fmla="*/ 2 w 120"/>
                  <a:gd name="T49" fmla="*/ 6 h 49"/>
                  <a:gd name="T50" fmla="*/ 3 w 120"/>
                  <a:gd name="T51" fmla="*/ 6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 w 85"/>
                  <a:gd name="T1" fmla="*/ 0 h 61"/>
                  <a:gd name="T2" fmla="*/ 2 w 85"/>
                  <a:gd name="T3" fmla="*/ 1 h 61"/>
                  <a:gd name="T4" fmla="*/ 1 w 85"/>
                  <a:gd name="T5" fmla="*/ 1 h 61"/>
                  <a:gd name="T6" fmla="*/ 1 w 85"/>
                  <a:gd name="T7" fmla="*/ 2 h 61"/>
                  <a:gd name="T8" fmla="*/ 0 w 85"/>
                  <a:gd name="T9" fmla="*/ 2 h 61"/>
                  <a:gd name="T10" fmla="*/ 0 w 85"/>
                  <a:gd name="T11" fmla="*/ 2 h 61"/>
                  <a:gd name="T12" fmla="*/ 0 w 85"/>
                  <a:gd name="T13" fmla="*/ 3 h 61"/>
                  <a:gd name="T14" fmla="*/ 0 w 85"/>
                  <a:gd name="T15" fmla="*/ 3 h 61"/>
                  <a:gd name="T16" fmla="*/ 0 w 85"/>
                  <a:gd name="T17" fmla="*/ 4 h 61"/>
                  <a:gd name="T18" fmla="*/ 0 w 85"/>
                  <a:gd name="T19" fmla="*/ 4 h 61"/>
                  <a:gd name="T20" fmla="*/ 1 w 85"/>
                  <a:gd name="T21" fmla="*/ 4 h 61"/>
                  <a:gd name="T22" fmla="*/ 1 w 85"/>
                  <a:gd name="T23" fmla="*/ 5 h 61"/>
                  <a:gd name="T24" fmla="*/ 2 w 85"/>
                  <a:gd name="T25" fmla="*/ 5 h 61"/>
                  <a:gd name="T26" fmla="*/ 2 w 85"/>
                  <a:gd name="T27" fmla="*/ 5 h 61"/>
                  <a:gd name="T28" fmla="*/ 3 w 85"/>
                  <a:gd name="T29" fmla="*/ 6 h 61"/>
                  <a:gd name="T30" fmla="*/ 4 w 85"/>
                  <a:gd name="T31" fmla="*/ 6 h 61"/>
                  <a:gd name="T32" fmla="*/ 5 w 85"/>
                  <a:gd name="T33" fmla="*/ 6 h 61"/>
                  <a:gd name="T34" fmla="*/ 5 w 85"/>
                  <a:gd name="T35" fmla="*/ 6 h 61"/>
                  <a:gd name="T36" fmla="*/ 6 w 85"/>
                  <a:gd name="T37" fmla="*/ 6 h 61"/>
                  <a:gd name="T38" fmla="*/ 6 w 85"/>
                  <a:gd name="T39" fmla="*/ 6 h 61"/>
                  <a:gd name="T40" fmla="*/ 6 w 85"/>
                  <a:gd name="T41" fmla="*/ 6 h 61"/>
                  <a:gd name="T42" fmla="*/ 7 w 85"/>
                  <a:gd name="T43" fmla="*/ 5 h 61"/>
                  <a:gd name="T44" fmla="*/ 7 w 85"/>
                  <a:gd name="T45" fmla="*/ 5 h 61"/>
                  <a:gd name="T46" fmla="*/ 7 w 85"/>
                  <a:gd name="T47" fmla="*/ 4 h 61"/>
                  <a:gd name="T48" fmla="*/ 8 w 85"/>
                  <a:gd name="T49" fmla="*/ 3 h 61"/>
                  <a:gd name="T50" fmla="*/ 8 w 85"/>
                  <a:gd name="T51" fmla="*/ 2 h 61"/>
                  <a:gd name="T52" fmla="*/ 8 w 85"/>
                  <a:gd name="T53" fmla="*/ 2 h 61"/>
                  <a:gd name="T54" fmla="*/ 3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1 h 19"/>
                  <a:gd name="T2" fmla="*/ 1 w 100"/>
                  <a:gd name="T3" fmla="*/ 1 h 19"/>
                  <a:gd name="T4" fmla="*/ 1 w 100"/>
                  <a:gd name="T5" fmla="*/ 2 h 19"/>
                  <a:gd name="T6" fmla="*/ 2 w 100"/>
                  <a:gd name="T7" fmla="*/ 2 h 19"/>
                  <a:gd name="T8" fmla="*/ 2 w 100"/>
                  <a:gd name="T9" fmla="*/ 2 h 19"/>
                  <a:gd name="T10" fmla="*/ 10 w 100"/>
                  <a:gd name="T11" fmla="*/ 1 h 19"/>
                  <a:gd name="T12" fmla="*/ 7 w 100"/>
                  <a:gd name="T13" fmla="*/ 0 h 19"/>
                  <a:gd name="T14" fmla="*/ 5 w 100"/>
                  <a:gd name="T15" fmla="*/ 0 h 19"/>
                  <a:gd name="T16" fmla="*/ 3 w 100"/>
                  <a:gd name="T17" fmla="*/ 0 h 19"/>
                  <a:gd name="T18" fmla="*/ 2 w 100"/>
                  <a:gd name="T19" fmla="*/ 0 h 19"/>
                  <a:gd name="T20" fmla="*/ 1 w 100"/>
                  <a:gd name="T21" fmla="*/ 0 h 19"/>
                  <a:gd name="T22" fmla="*/ 0 w 100"/>
                  <a:gd name="T23" fmla="*/ 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3 h 45"/>
                  <a:gd name="T2" fmla="*/ 0 w 166"/>
                  <a:gd name="T3" fmla="*/ 3 h 45"/>
                  <a:gd name="T4" fmla="*/ 0 w 166"/>
                  <a:gd name="T5" fmla="*/ 3 h 45"/>
                  <a:gd name="T6" fmla="*/ 1 w 166"/>
                  <a:gd name="T7" fmla="*/ 4 h 45"/>
                  <a:gd name="T8" fmla="*/ 1 w 166"/>
                  <a:gd name="T9" fmla="*/ 4 h 45"/>
                  <a:gd name="T10" fmla="*/ 3 w 166"/>
                  <a:gd name="T11" fmla="*/ 4 h 45"/>
                  <a:gd name="T12" fmla="*/ 4 w 166"/>
                  <a:gd name="T13" fmla="*/ 5 h 45"/>
                  <a:gd name="T14" fmla="*/ 8 w 166"/>
                  <a:gd name="T15" fmla="*/ 5 h 45"/>
                  <a:gd name="T16" fmla="*/ 9 w 166"/>
                  <a:gd name="T17" fmla="*/ 5 h 45"/>
                  <a:gd name="T18" fmla="*/ 17 w 166"/>
                  <a:gd name="T19" fmla="*/ 3 h 45"/>
                  <a:gd name="T20" fmla="*/ 16 w 166"/>
                  <a:gd name="T21" fmla="*/ 3 h 45"/>
                  <a:gd name="T22" fmla="*/ 14 w 166"/>
                  <a:gd name="T23" fmla="*/ 2 h 45"/>
                  <a:gd name="T24" fmla="*/ 11 w 166"/>
                  <a:gd name="T25" fmla="*/ 1 h 45"/>
                  <a:gd name="T26" fmla="*/ 8 w 166"/>
                  <a:gd name="T27" fmla="*/ 0 h 45"/>
                  <a:gd name="T28" fmla="*/ 7 w 166"/>
                  <a:gd name="T29" fmla="*/ 0 h 45"/>
                  <a:gd name="T30" fmla="*/ 5 w 166"/>
                  <a:gd name="T31" fmla="*/ 0 h 45"/>
                  <a:gd name="T32" fmla="*/ 4 w 166"/>
                  <a:gd name="T33" fmla="*/ 0 h 45"/>
                  <a:gd name="T34" fmla="*/ 3 w 166"/>
                  <a:gd name="T35" fmla="*/ 0 h 45"/>
                  <a:gd name="T36" fmla="*/ 2 w 166"/>
                  <a:gd name="T37" fmla="*/ 0 h 45"/>
                  <a:gd name="T38" fmla="*/ 1 w 166"/>
                  <a:gd name="T39" fmla="*/ 1 h 45"/>
                  <a:gd name="T40" fmla="*/ 1 w 166"/>
                  <a:gd name="T41" fmla="*/ 1 h 45"/>
                  <a:gd name="T42" fmla="*/ 1 w 166"/>
                  <a:gd name="T43" fmla="*/ 1 h 45"/>
                  <a:gd name="T44" fmla="*/ 0 w 166"/>
                  <a:gd name="T45" fmla="*/ 1 h 45"/>
                  <a:gd name="T46" fmla="*/ 0 w 166"/>
                  <a:gd name="T47" fmla="*/ 2 h 45"/>
                  <a:gd name="T48" fmla="*/ 0 w 166"/>
                  <a:gd name="T49" fmla="*/ 2 h 45"/>
                  <a:gd name="T50" fmla="*/ 0 w 166"/>
                  <a:gd name="T51" fmla="*/ 3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1 h 25"/>
                  <a:gd name="T4" fmla="*/ 0 w 33"/>
                  <a:gd name="T5" fmla="*/ 2 h 25"/>
                  <a:gd name="T6" fmla="*/ 1 w 33"/>
                  <a:gd name="T7" fmla="*/ 2 h 25"/>
                  <a:gd name="T8" fmla="*/ 1 w 33"/>
                  <a:gd name="T9" fmla="*/ 2 h 25"/>
                  <a:gd name="T10" fmla="*/ 2 w 33"/>
                  <a:gd name="T11" fmla="*/ 3 h 25"/>
                  <a:gd name="T12" fmla="*/ 2 w 33"/>
                  <a:gd name="T13" fmla="*/ 3 h 25"/>
                  <a:gd name="T14" fmla="*/ 3 w 33"/>
                  <a:gd name="T15" fmla="*/ 3 h 25"/>
                  <a:gd name="T16" fmla="*/ 4 w 33"/>
                  <a:gd name="T17" fmla="*/ 3 h 25"/>
                  <a:gd name="T18" fmla="*/ 4 w 33"/>
                  <a:gd name="T19" fmla="*/ 0 h 25"/>
                  <a:gd name="T20" fmla="*/ 3 w 33"/>
                  <a:gd name="T21" fmla="*/ 0 h 25"/>
                  <a:gd name="T22" fmla="*/ 2 w 33"/>
                  <a:gd name="T23" fmla="*/ 0 h 25"/>
                  <a:gd name="T24" fmla="*/ 1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 h 62"/>
                  <a:gd name="T2" fmla="*/ 1 w 48"/>
                  <a:gd name="T3" fmla="*/ 6 h 62"/>
                  <a:gd name="T4" fmla="*/ 2 w 48"/>
                  <a:gd name="T5" fmla="*/ 5 h 62"/>
                  <a:gd name="T6" fmla="*/ 3 w 48"/>
                  <a:gd name="T7" fmla="*/ 5 h 62"/>
                  <a:gd name="T8" fmla="*/ 4 w 48"/>
                  <a:gd name="T9" fmla="*/ 4 h 62"/>
                  <a:gd name="T10" fmla="*/ 5 w 48"/>
                  <a:gd name="T11" fmla="*/ 3 h 62"/>
                  <a:gd name="T12" fmla="*/ 5 w 48"/>
                  <a:gd name="T13" fmla="*/ 2 h 62"/>
                  <a:gd name="T14" fmla="*/ 5 w 48"/>
                  <a:gd name="T15" fmla="*/ 1 h 62"/>
                  <a:gd name="T16" fmla="*/ 5 w 48"/>
                  <a:gd name="T17" fmla="*/ 0 h 62"/>
                  <a:gd name="T18" fmla="*/ 4 w 48"/>
                  <a:gd name="T19" fmla="*/ 0 h 62"/>
                  <a:gd name="T20" fmla="*/ 4 w 48"/>
                  <a:gd name="T21" fmla="*/ 1 h 62"/>
                  <a:gd name="T22" fmla="*/ 3 w 48"/>
                  <a:gd name="T23" fmla="*/ 1 h 62"/>
                  <a:gd name="T24" fmla="*/ 2 w 48"/>
                  <a:gd name="T25" fmla="*/ 2 h 62"/>
                  <a:gd name="T26" fmla="*/ 1 w 48"/>
                  <a:gd name="T27" fmla="*/ 2 h 62"/>
                  <a:gd name="T28" fmla="*/ 1 w 48"/>
                  <a:gd name="T29" fmla="*/ 3 h 62"/>
                  <a:gd name="T30" fmla="*/ 0 w 48"/>
                  <a:gd name="T31" fmla="*/ 3 h 62"/>
                  <a:gd name="T32" fmla="*/ 0 w 48"/>
                  <a:gd name="T33" fmla="*/ 4 h 62"/>
                  <a:gd name="T34" fmla="*/ 0 w 48"/>
                  <a:gd name="T35" fmla="*/ 4 h 62"/>
                  <a:gd name="T36" fmla="*/ 0 w 48"/>
                  <a:gd name="T37" fmla="*/ 5 h 62"/>
                  <a:gd name="T38" fmla="*/ 0 w 48"/>
                  <a:gd name="T39" fmla="*/ 5 h 62"/>
                  <a:gd name="T40" fmla="*/ 0 w 48"/>
                  <a:gd name="T41" fmla="*/ 6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5 w 113"/>
                  <a:gd name="T1" fmla="*/ 0 h 62"/>
                  <a:gd name="T2" fmla="*/ 4 w 113"/>
                  <a:gd name="T3" fmla="*/ 1 h 62"/>
                  <a:gd name="T4" fmla="*/ 2 w 113"/>
                  <a:gd name="T5" fmla="*/ 2 h 62"/>
                  <a:gd name="T6" fmla="*/ 1 w 113"/>
                  <a:gd name="T7" fmla="*/ 3 h 62"/>
                  <a:gd name="T8" fmla="*/ 0 w 113"/>
                  <a:gd name="T9" fmla="*/ 4 h 62"/>
                  <a:gd name="T10" fmla="*/ 2 w 113"/>
                  <a:gd name="T11" fmla="*/ 5 h 62"/>
                  <a:gd name="T12" fmla="*/ 4 w 113"/>
                  <a:gd name="T13" fmla="*/ 5 h 62"/>
                  <a:gd name="T14" fmla="*/ 5 w 113"/>
                  <a:gd name="T15" fmla="*/ 6 h 62"/>
                  <a:gd name="T16" fmla="*/ 6 w 113"/>
                  <a:gd name="T17" fmla="*/ 6 h 62"/>
                  <a:gd name="T18" fmla="*/ 7 w 113"/>
                  <a:gd name="T19" fmla="*/ 6 h 62"/>
                  <a:gd name="T20" fmla="*/ 9 w 113"/>
                  <a:gd name="T21" fmla="*/ 6 h 62"/>
                  <a:gd name="T22" fmla="*/ 10 w 113"/>
                  <a:gd name="T23" fmla="*/ 6 h 62"/>
                  <a:gd name="T24" fmla="*/ 11 w 113"/>
                  <a:gd name="T25" fmla="*/ 6 h 62"/>
                  <a:gd name="T26" fmla="*/ 11 w 113"/>
                  <a:gd name="T27" fmla="*/ 6 h 62"/>
                  <a:gd name="T28" fmla="*/ 11 w 113"/>
                  <a:gd name="T29" fmla="*/ 5 h 62"/>
                  <a:gd name="T30" fmla="*/ 11 w 113"/>
                  <a:gd name="T31" fmla="*/ 5 h 62"/>
                  <a:gd name="T32" fmla="*/ 11 w 113"/>
                  <a:gd name="T33" fmla="*/ 5 h 62"/>
                  <a:gd name="T34" fmla="*/ 9 w 113"/>
                  <a:gd name="T35" fmla="*/ 4 h 62"/>
                  <a:gd name="T36" fmla="*/ 7 w 113"/>
                  <a:gd name="T37" fmla="*/ 3 h 62"/>
                  <a:gd name="T38" fmla="*/ 7 w 113"/>
                  <a:gd name="T39" fmla="*/ 3 h 62"/>
                  <a:gd name="T40" fmla="*/ 6 w 113"/>
                  <a:gd name="T41" fmla="*/ 3 h 62"/>
                  <a:gd name="T42" fmla="*/ 6 w 113"/>
                  <a:gd name="T43" fmla="*/ 2 h 62"/>
                  <a:gd name="T44" fmla="*/ 5 w 113"/>
                  <a:gd name="T45" fmla="*/ 2 h 62"/>
                  <a:gd name="T46" fmla="*/ 5 w 113"/>
                  <a:gd name="T47" fmla="*/ 2 h 62"/>
                  <a:gd name="T48" fmla="*/ 5 w 113"/>
                  <a:gd name="T49" fmla="*/ 1 h 62"/>
                  <a:gd name="T50" fmla="*/ 5 w 113"/>
                  <a:gd name="T51" fmla="*/ 1 h 62"/>
                  <a:gd name="T52" fmla="*/ 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2 w 93"/>
                  <a:gd name="T3" fmla="*/ 0 h 50"/>
                  <a:gd name="T4" fmla="*/ 3 w 93"/>
                  <a:gd name="T5" fmla="*/ 0 h 50"/>
                  <a:gd name="T6" fmla="*/ 4 w 93"/>
                  <a:gd name="T7" fmla="*/ 0 h 50"/>
                  <a:gd name="T8" fmla="*/ 6 w 93"/>
                  <a:gd name="T9" fmla="*/ 1 h 50"/>
                  <a:gd name="T10" fmla="*/ 6 w 93"/>
                  <a:gd name="T11" fmla="*/ 1 h 50"/>
                  <a:gd name="T12" fmla="*/ 7 w 93"/>
                  <a:gd name="T13" fmla="*/ 1 h 50"/>
                  <a:gd name="T14" fmla="*/ 7 w 93"/>
                  <a:gd name="T15" fmla="*/ 1 h 50"/>
                  <a:gd name="T16" fmla="*/ 8 w 93"/>
                  <a:gd name="T17" fmla="*/ 2 h 50"/>
                  <a:gd name="T18" fmla="*/ 8 w 93"/>
                  <a:gd name="T19" fmla="*/ 2 h 50"/>
                  <a:gd name="T20" fmla="*/ 9 w 93"/>
                  <a:gd name="T21" fmla="*/ 2 h 50"/>
                  <a:gd name="T22" fmla="*/ 9 w 93"/>
                  <a:gd name="T23" fmla="*/ 3 h 50"/>
                  <a:gd name="T24" fmla="*/ 9 w 93"/>
                  <a:gd name="T25" fmla="*/ 3 h 50"/>
                  <a:gd name="T26" fmla="*/ 8 w 93"/>
                  <a:gd name="T27" fmla="*/ 3 h 50"/>
                  <a:gd name="T28" fmla="*/ 7 w 93"/>
                  <a:gd name="T29" fmla="*/ 4 h 50"/>
                  <a:gd name="T30" fmla="*/ 6 w 93"/>
                  <a:gd name="T31" fmla="*/ 4 h 50"/>
                  <a:gd name="T32" fmla="*/ 5 w 93"/>
                  <a:gd name="T33" fmla="*/ 4 h 50"/>
                  <a:gd name="T34" fmla="*/ 4 w 93"/>
                  <a:gd name="T35" fmla="*/ 4 h 50"/>
                  <a:gd name="T36" fmla="*/ 3 w 93"/>
                  <a:gd name="T37" fmla="*/ 5 h 50"/>
                  <a:gd name="T38" fmla="*/ 3 w 93"/>
                  <a:gd name="T39" fmla="*/ 5 h 50"/>
                  <a:gd name="T40" fmla="*/ 3 w 93"/>
                  <a:gd name="T41" fmla="*/ 4 h 50"/>
                  <a:gd name="T42" fmla="*/ 2 w 93"/>
                  <a:gd name="T43" fmla="*/ 4 h 50"/>
                  <a:gd name="T44" fmla="*/ 2 w 93"/>
                  <a:gd name="T45" fmla="*/ 4 h 50"/>
                  <a:gd name="T46" fmla="*/ 2 w 93"/>
                  <a:gd name="T47" fmla="*/ 4 h 50"/>
                  <a:gd name="T48" fmla="*/ 2 w 93"/>
                  <a:gd name="T49" fmla="*/ 3 h 50"/>
                  <a:gd name="T50" fmla="*/ 2 w 93"/>
                  <a:gd name="T51" fmla="*/ 3 h 50"/>
                  <a:gd name="T52" fmla="*/ 2 w 93"/>
                  <a:gd name="T53" fmla="*/ 2 h 50"/>
                  <a:gd name="T54" fmla="*/ 2 w 93"/>
                  <a:gd name="T55" fmla="*/ 2 h 50"/>
                  <a:gd name="T56" fmla="*/ 2 w 93"/>
                  <a:gd name="T57" fmla="*/ 2 h 50"/>
                  <a:gd name="T58" fmla="*/ 0 w 93"/>
                  <a:gd name="T59" fmla="*/ 2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 w 1029"/>
                  <a:gd name="T1" fmla="*/ 12 h 604"/>
                  <a:gd name="T2" fmla="*/ 7 w 1029"/>
                  <a:gd name="T3" fmla="*/ 7 h 604"/>
                  <a:gd name="T4" fmla="*/ 28 w 1029"/>
                  <a:gd name="T5" fmla="*/ 0 h 604"/>
                  <a:gd name="T6" fmla="*/ 21 w 1029"/>
                  <a:gd name="T7" fmla="*/ 5 h 604"/>
                  <a:gd name="T8" fmla="*/ 19 w 1029"/>
                  <a:gd name="T9" fmla="*/ 11 h 604"/>
                  <a:gd name="T10" fmla="*/ 28 w 1029"/>
                  <a:gd name="T11" fmla="*/ 7 h 604"/>
                  <a:gd name="T12" fmla="*/ 41 w 1029"/>
                  <a:gd name="T13" fmla="*/ 2 h 604"/>
                  <a:gd name="T14" fmla="*/ 45 w 1029"/>
                  <a:gd name="T15" fmla="*/ 3 h 604"/>
                  <a:gd name="T16" fmla="*/ 45 w 1029"/>
                  <a:gd name="T17" fmla="*/ 8 h 604"/>
                  <a:gd name="T18" fmla="*/ 60 w 1029"/>
                  <a:gd name="T19" fmla="*/ 9 h 604"/>
                  <a:gd name="T20" fmla="*/ 70 w 1029"/>
                  <a:gd name="T21" fmla="*/ 10 h 604"/>
                  <a:gd name="T22" fmla="*/ 78 w 1029"/>
                  <a:gd name="T23" fmla="*/ 12 h 604"/>
                  <a:gd name="T24" fmla="*/ 78 w 1029"/>
                  <a:gd name="T25" fmla="*/ 14 h 604"/>
                  <a:gd name="T26" fmla="*/ 74 w 1029"/>
                  <a:gd name="T27" fmla="*/ 20 h 604"/>
                  <a:gd name="T28" fmla="*/ 83 w 1029"/>
                  <a:gd name="T29" fmla="*/ 18 h 604"/>
                  <a:gd name="T30" fmla="*/ 90 w 1029"/>
                  <a:gd name="T31" fmla="*/ 21 h 604"/>
                  <a:gd name="T32" fmla="*/ 88 w 1029"/>
                  <a:gd name="T33" fmla="*/ 26 h 604"/>
                  <a:gd name="T34" fmla="*/ 81 w 1029"/>
                  <a:gd name="T35" fmla="*/ 27 h 604"/>
                  <a:gd name="T36" fmla="*/ 89 w 1029"/>
                  <a:gd name="T37" fmla="*/ 30 h 604"/>
                  <a:gd name="T38" fmla="*/ 93 w 1029"/>
                  <a:gd name="T39" fmla="*/ 35 h 604"/>
                  <a:gd name="T40" fmla="*/ 101 w 1029"/>
                  <a:gd name="T41" fmla="*/ 35 h 604"/>
                  <a:gd name="T42" fmla="*/ 106 w 1029"/>
                  <a:gd name="T43" fmla="*/ 38 h 604"/>
                  <a:gd name="T44" fmla="*/ 97 w 1029"/>
                  <a:gd name="T45" fmla="*/ 44 h 604"/>
                  <a:gd name="T46" fmla="*/ 93 w 1029"/>
                  <a:gd name="T47" fmla="*/ 45 h 604"/>
                  <a:gd name="T48" fmla="*/ 90 w 1029"/>
                  <a:gd name="T49" fmla="*/ 48 h 604"/>
                  <a:gd name="T50" fmla="*/ 86 w 1029"/>
                  <a:gd name="T51" fmla="*/ 45 h 604"/>
                  <a:gd name="T52" fmla="*/ 88 w 1029"/>
                  <a:gd name="T53" fmla="*/ 42 h 604"/>
                  <a:gd name="T54" fmla="*/ 82 w 1029"/>
                  <a:gd name="T55" fmla="*/ 41 h 604"/>
                  <a:gd name="T56" fmla="*/ 78 w 1029"/>
                  <a:gd name="T57" fmla="*/ 39 h 604"/>
                  <a:gd name="T58" fmla="*/ 77 w 1029"/>
                  <a:gd name="T59" fmla="*/ 42 h 604"/>
                  <a:gd name="T60" fmla="*/ 77 w 1029"/>
                  <a:gd name="T61" fmla="*/ 48 h 604"/>
                  <a:gd name="T62" fmla="*/ 82 w 1029"/>
                  <a:gd name="T63" fmla="*/ 56 h 604"/>
                  <a:gd name="T64" fmla="*/ 80 w 1029"/>
                  <a:gd name="T65" fmla="*/ 59 h 604"/>
                  <a:gd name="T66" fmla="*/ 73 w 1029"/>
                  <a:gd name="T67" fmla="*/ 60 h 604"/>
                  <a:gd name="T68" fmla="*/ 64 w 1029"/>
                  <a:gd name="T69" fmla="*/ 55 h 604"/>
                  <a:gd name="T70" fmla="*/ 69 w 1029"/>
                  <a:gd name="T71" fmla="*/ 61 h 604"/>
                  <a:gd name="T72" fmla="*/ 69 w 1029"/>
                  <a:gd name="T73" fmla="*/ 65 h 604"/>
                  <a:gd name="T74" fmla="*/ 54 w 1029"/>
                  <a:gd name="T75" fmla="*/ 61 h 604"/>
                  <a:gd name="T76" fmla="*/ 49 w 1029"/>
                  <a:gd name="T77" fmla="*/ 56 h 604"/>
                  <a:gd name="T78" fmla="*/ 42 w 1029"/>
                  <a:gd name="T79" fmla="*/ 51 h 604"/>
                  <a:gd name="T80" fmla="*/ 38 w 1029"/>
                  <a:gd name="T81" fmla="*/ 49 h 604"/>
                  <a:gd name="T82" fmla="*/ 41 w 1029"/>
                  <a:gd name="T83" fmla="*/ 47 h 604"/>
                  <a:gd name="T84" fmla="*/ 48 w 1029"/>
                  <a:gd name="T85" fmla="*/ 43 h 604"/>
                  <a:gd name="T86" fmla="*/ 52 w 1029"/>
                  <a:gd name="T87" fmla="*/ 41 h 604"/>
                  <a:gd name="T88" fmla="*/ 60 w 1029"/>
                  <a:gd name="T89" fmla="*/ 41 h 604"/>
                  <a:gd name="T90" fmla="*/ 64 w 1029"/>
                  <a:gd name="T91" fmla="*/ 42 h 604"/>
                  <a:gd name="T92" fmla="*/ 71 w 1029"/>
                  <a:gd name="T93" fmla="*/ 42 h 604"/>
                  <a:gd name="T94" fmla="*/ 60 w 1029"/>
                  <a:gd name="T95" fmla="*/ 38 h 604"/>
                  <a:gd name="T96" fmla="*/ 56 w 1029"/>
                  <a:gd name="T97" fmla="*/ 39 h 604"/>
                  <a:gd name="T98" fmla="*/ 56 w 1029"/>
                  <a:gd name="T99" fmla="*/ 38 h 604"/>
                  <a:gd name="T100" fmla="*/ 60 w 1029"/>
                  <a:gd name="T101" fmla="*/ 33 h 604"/>
                  <a:gd name="T102" fmla="*/ 60 w 1029"/>
                  <a:gd name="T103" fmla="*/ 30 h 604"/>
                  <a:gd name="T104" fmla="*/ 54 w 1029"/>
                  <a:gd name="T105" fmla="*/ 27 h 604"/>
                  <a:gd name="T106" fmla="*/ 49 w 1029"/>
                  <a:gd name="T107" fmla="*/ 21 h 604"/>
                  <a:gd name="T108" fmla="*/ 45 w 1029"/>
                  <a:gd name="T109" fmla="*/ 18 h 604"/>
                  <a:gd name="T110" fmla="*/ 42 w 1029"/>
                  <a:gd name="T111" fmla="*/ 17 h 604"/>
                  <a:gd name="T112" fmla="*/ 39 w 1029"/>
                  <a:gd name="T113" fmla="*/ 22 h 604"/>
                  <a:gd name="T114" fmla="*/ 22 w 1029"/>
                  <a:gd name="T115" fmla="*/ 19 h 604"/>
                  <a:gd name="T116" fmla="*/ 12 w 1029"/>
                  <a:gd name="T117" fmla="*/ 20 h 604"/>
                  <a:gd name="T118" fmla="*/ 8 w 1029"/>
                  <a:gd name="T119" fmla="*/ 20 h 604"/>
                  <a:gd name="T120" fmla="*/ 2 w 1029"/>
                  <a:gd name="T121" fmla="*/ 19 h 604"/>
                  <a:gd name="T122" fmla="*/ 1 w 1029"/>
                  <a:gd name="T123" fmla="*/ 17 h 604"/>
                  <a:gd name="T124" fmla="*/ 8 w 1029"/>
                  <a:gd name="T125" fmla="*/ 16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83 w 1268"/>
                  <a:gd name="T1" fmla="*/ 4 h 321"/>
                  <a:gd name="T2" fmla="*/ 85 w 1268"/>
                  <a:gd name="T3" fmla="*/ 2 h 321"/>
                  <a:gd name="T4" fmla="*/ 88 w 1268"/>
                  <a:gd name="T5" fmla="*/ 1 h 321"/>
                  <a:gd name="T6" fmla="*/ 90 w 1268"/>
                  <a:gd name="T7" fmla="*/ 3 h 321"/>
                  <a:gd name="T8" fmla="*/ 98 w 1268"/>
                  <a:gd name="T9" fmla="*/ 2 h 321"/>
                  <a:gd name="T10" fmla="*/ 106 w 1268"/>
                  <a:gd name="T11" fmla="*/ 0 h 321"/>
                  <a:gd name="T12" fmla="*/ 113 w 1268"/>
                  <a:gd name="T13" fmla="*/ 2 h 321"/>
                  <a:gd name="T14" fmla="*/ 118 w 1268"/>
                  <a:gd name="T15" fmla="*/ 2 h 321"/>
                  <a:gd name="T16" fmla="*/ 132 w 1268"/>
                  <a:gd name="T17" fmla="*/ 3 h 321"/>
                  <a:gd name="T18" fmla="*/ 129 w 1268"/>
                  <a:gd name="T19" fmla="*/ 5 h 321"/>
                  <a:gd name="T20" fmla="*/ 121 w 1268"/>
                  <a:gd name="T21" fmla="*/ 7 h 321"/>
                  <a:gd name="T22" fmla="*/ 110 w 1268"/>
                  <a:gd name="T23" fmla="*/ 8 h 321"/>
                  <a:gd name="T24" fmla="*/ 107 w 1268"/>
                  <a:gd name="T25" fmla="*/ 10 h 321"/>
                  <a:gd name="T26" fmla="*/ 104 w 1268"/>
                  <a:gd name="T27" fmla="*/ 11 h 321"/>
                  <a:gd name="T28" fmla="*/ 98 w 1268"/>
                  <a:gd name="T29" fmla="*/ 11 h 321"/>
                  <a:gd name="T30" fmla="*/ 97 w 1268"/>
                  <a:gd name="T31" fmla="*/ 13 h 321"/>
                  <a:gd name="T32" fmla="*/ 78 w 1268"/>
                  <a:gd name="T33" fmla="*/ 14 h 321"/>
                  <a:gd name="T34" fmla="*/ 69 w 1268"/>
                  <a:gd name="T35" fmla="*/ 17 h 321"/>
                  <a:gd name="T36" fmla="*/ 66 w 1268"/>
                  <a:gd name="T37" fmla="*/ 19 h 321"/>
                  <a:gd name="T38" fmla="*/ 62 w 1268"/>
                  <a:gd name="T39" fmla="*/ 18 h 321"/>
                  <a:gd name="T40" fmla="*/ 59 w 1268"/>
                  <a:gd name="T41" fmla="*/ 19 h 321"/>
                  <a:gd name="T42" fmla="*/ 61 w 1268"/>
                  <a:gd name="T43" fmla="*/ 22 h 321"/>
                  <a:gd name="T44" fmla="*/ 57 w 1268"/>
                  <a:gd name="T45" fmla="*/ 26 h 321"/>
                  <a:gd name="T46" fmla="*/ 50 w 1268"/>
                  <a:gd name="T47" fmla="*/ 25 h 321"/>
                  <a:gd name="T48" fmla="*/ 42 w 1268"/>
                  <a:gd name="T49" fmla="*/ 26 h 321"/>
                  <a:gd name="T50" fmla="*/ 42 w 1268"/>
                  <a:gd name="T51" fmla="*/ 27 h 321"/>
                  <a:gd name="T52" fmla="*/ 41 w 1268"/>
                  <a:gd name="T53" fmla="*/ 31 h 321"/>
                  <a:gd name="T54" fmla="*/ 35 w 1268"/>
                  <a:gd name="T55" fmla="*/ 34 h 321"/>
                  <a:gd name="T56" fmla="*/ 30 w 1268"/>
                  <a:gd name="T57" fmla="*/ 32 h 321"/>
                  <a:gd name="T58" fmla="*/ 26 w 1268"/>
                  <a:gd name="T59" fmla="*/ 30 h 321"/>
                  <a:gd name="T60" fmla="*/ 10 w 1268"/>
                  <a:gd name="T61" fmla="*/ 29 h 321"/>
                  <a:gd name="T62" fmla="*/ 0 w 1268"/>
                  <a:gd name="T63" fmla="*/ 30 h 321"/>
                  <a:gd name="T64" fmla="*/ 1 w 1268"/>
                  <a:gd name="T65" fmla="*/ 28 h 321"/>
                  <a:gd name="T66" fmla="*/ 6 w 1268"/>
                  <a:gd name="T67" fmla="*/ 26 h 321"/>
                  <a:gd name="T68" fmla="*/ 15 w 1268"/>
                  <a:gd name="T69" fmla="*/ 25 h 321"/>
                  <a:gd name="T70" fmla="*/ 18 w 1268"/>
                  <a:gd name="T71" fmla="*/ 24 h 321"/>
                  <a:gd name="T72" fmla="*/ 20 w 1268"/>
                  <a:gd name="T73" fmla="*/ 23 h 321"/>
                  <a:gd name="T74" fmla="*/ 23 w 1268"/>
                  <a:gd name="T75" fmla="*/ 25 h 321"/>
                  <a:gd name="T76" fmla="*/ 26 w 1268"/>
                  <a:gd name="T77" fmla="*/ 26 h 321"/>
                  <a:gd name="T78" fmla="*/ 22 w 1268"/>
                  <a:gd name="T79" fmla="*/ 22 h 321"/>
                  <a:gd name="T80" fmla="*/ 20 w 1268"/>
                  <a:gd name="T81" fmla="*/ 21 h 321"/>
                  <a:gd name="T82" fmla="*/ 21 w 1268"/>
                  <a:gd name="T83" fmla="*/ 19 h 321"/>
                  <a:gd name="T84" fmla="*/ 25 w 1268"/>
                  <a:gd name="T85" fmla="*/ 19 h 321"/>
                  <a:gd name="T86" fmla="*/ 38 w 1268"/>
                  <a:gd name="T87" fmla="*/ 20 h 321"/>
                  <a:gd name="T88" fmla="*/ 44 w 1268"/>
                  <a:gd name="T89" fmla="*/ 19 h 321"/>
                  <a:gd name="T90" fmla="*/ 34 w 1268"/>
                  <a:gd name="T91" fmla="*/ 18 h 321"/>
                  <a:gd name="T92" fmla="*/ 31 w 1268"/>
                  <a:gd name="T93" fmla="*/ 16 h 321"/>
                  <a:gd name="T94" fmla="*/ 39 w 1268"/>
                  <a:gd name="T95" fmla="*/ 15 h 321"/>
                  <a:gd name="T96" fmla="*/ 45 w 1268"/>
                  <a:gd name="T97" fmla="*/ 17 h 321"/>
                  <a:gd name="T98" fmla="*/ 50 w 1268"/>
                  <a:gd name="T99" fmla="*/ 13 h 321"/>
                  <a:gd name="T100" fmla="*/ 69 w 1268"/>
                  <a:gd name="T101" fmla="*/ 9 h 321"/>
                  <a:gd name="T102" fmla="*/ 61 w 1268"/>
                  <a:gd name="T103" fmla="*/ 12 h 321"/>
                  <a:gd name="T104" fmla="*/ 47 w 1268"/>
                  <a:gd name="T105" fmla="*/ 12 h 321"/>
                  <a:gd name="T106" fmla="*/ 33 w 1268"/>
                  <a:gd name="T107" fmla="*/ 12 h 321"/>
                  <a:gd name="T108" fmla="*/ 26 w 1268"/>
                  <a:gd name="T109" fmla="*/ 11 h 321"/>
                  <a:gd name="T110" fmla="*/ 23 w 1268"/>
                  <a:gd name="T111" fmla="*/ 9 h 321"/>
                  <a:gd name="T112" fmla="*/ 26 w 1268"/>
                  <a:gd name="T113" fmla="*/ 8 h 321"/>
                  <a:gd name="T114" fmla="*/ 46 w 1268"/>
                  <a:gd name="T115" fmla="*/ 5 h 321"/>
                  <a:gd name="T116" fmla="*/ 64 w 1268"/>
                  <a:gd name="T117" fmla="*/ 3 h 321"/>
                  <a:gd name="T118" fmla="*/ 70 w 1268"/>
                  <a:gd name="T119" fmla="*/ 2 h 321"/>
                  <a:gd name="T120" fmla="*/ 79 w 1268"/>
                  <a:gd name="T121" fmla="*/ 3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2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1 h 117"/>
                  <a:gd name="T4" fmla="*/ 0 w 160"/>
                  <a:gd name="T5" fmla="*/ 2 h 117"/>
                  <a:gd name="T6" fmla="*/ 1 w 160"/>
                  <a:gd name="T7" fmla="*/ 3 h 117"/>
                  <a:gd name="T8" fmla="*/ 2 w 160"/>
                  <a:gd name="T9" fmla="*/ 4 h 117"/>
                  <a:gd name="T10" fmla="*/ 2 w 160"/>
                  <a:gd name="T11" fmla="*/ 5 h 117"/>
                  <a:gd name="T12" fmla="*/ 3 w 160"/>
                  <a:gd name="T13" fmla="*/ 6 h 117"/>
                  <a:gd name="T14" fmla="*/ 4 w 160"/>
                  <a:gd name="T15" fmla="*/ 7 h 117"/>
                  <a:gd name="T16" fmla="*/ 5 w 160"/>
                  <a:gd name="T17" fmla="*/ 8 h 117"/>
                  <a:gd name="T18" fmla="*/ 6 w 160"/>
                  <a:gd name="T19" fmla="*/ 9 h 117"/>
                  <a:gd name="T20" fmla="*/ 7 w 160"/>
                  <a:gd name="T21" fmla="*/ 10 h 117"/>
                  <a:gd name="T22" fmla="*/ 9 w 160"/>
                  <a:gd name="T23" fmla="*/ 10 h 117"/>
                  <a:gd name="T24" fmla="*/ 10 w 160"/>
                  <a:gd name="T25" fmla="*/ 11 h 117"/>
                  <a:gd name="T26" fmla="*/ 11 w 160"/>
                  <a:gd name="T27" fmla="*/ 12 h 117"/>
                  <a:gd name="T28" fmla="*/ 12 w 160"/>
                  <a:gd name="T29" fmla="*/ 12 h 117"/>
                  <a:gd name="T30" fmla="*/ 13 w 160"/>
                  <a:gd name="T31" fmla="*/ 12 h 117"/>
                  <a:gd name="T32" fmla="*/ 13 w 160"/>
                  <a:gd name="T33" fmla="*/ 12 h 117"/>
                  <a:gd name="T34" fmla="*/ 14 w 160"/>
                  <a:gd name="T35" fmla="*/ 12 h 117"/>
                  <a:gd name="T36" fmla="*/ 15 w 160"/>
                  <a:gd name="T37" fmla="*/ 12 h 117"/>
                  <a:gd name="T38" fmla="*/ 16 w 160"/>
                  <a:gd name="T39" fmla="*/ 12 h 117"/>
                  <a:gd name="T40" fmla="*/ 16 w 160"/>
                  <a:gd name="T41" fmla="*/ 11 h 117"/>
                  <a:gd name="T42" fmla="*/ 15 w 160"/>
                  <a:gd name="T43" fmla="*/ 10 h 117"/>
                  <a:gd name="T44" fmla="*/ 14 w 160"/>
                  <a:gd name="T45" fmla="*/ 8 h 117"/>
                  <a:gd name="T46" fmla="*/ 14 w 160"/>
                  <a:gd name="T47" fmla="*/ 8 h 117"/>
                  <a:gd name="T48" fmla="*/ 14 w 160"/>
                  <a:gd name="T49" fmla="*/ 7 h 117"/>
                  <a:gd name="T50" fmla="*/ 13 w 160"/>
                  <a:gd name="T51" fmla="*/ 6 h 117"/>
                  <a:gd name="T52" fmla="*/ 13 w 160"/>
                  <a:gd name="T53" fmla="*/ 5 h 117"/>
                  <a:gd name="T54" fmla="*/ 13 w 160"/>
                  <a:gd name="T55" fmla="*/ 5 h 117"/>
                  <a:gd name="T56" fmla="*/ 12 w 160"/>
                  <a:gd name="T57" fmla="*/ 5 h 117"/>
                  <a:gd name="T58" fmla="*/ 11 w 160"/>
                  <a:gd name="T59" fmla="*/ 4 h 117"/>
                  <a:gd name="T60" fmla="*/ 10 w 160"/>
                  <a:gd name="T61" fmla="*/ 4 h 117"/>
                  <a:gd name="T62" fmla="*/ 9 w 160"/>
                  <a:gd name="T63" fmla="*/ 3 h 117"/>
                  <a:gd name="T64" fmla="*/ 8 w 160"/>
                  <a:gd name="T65" fmla="*/ 2 h 117"/>
                  <a:gd name="T66" fmla="*/ 8 w 160"/>
                  <a:gd name="T67" fmla="*/ 2 h 117"/>
                  <a:gd name="T68" fmla="*/ 7 w 160"/>
                  <a:gd name="T69" fmla="*/ 1 h 117"/>
                  <a:gd name="T70" fmla="*/ 7 w 160"/>
                  <a:gd name="T71" fmla="*/ 1 h 117"/>
                  <a:gd name="T72" fmla="*/ 7 w 160"/>
                  <a:gd name="T73" fmla="*/ 1 h 117"/>
                  <a:gd name="T74" fmla="*/ 6 w 160"/>
                  <a:gd name="T75" fmla="*/ 1 h 117"/>
                  <a:gd name="T76" fmla="*/ 5 w 160"/>
                  <a:gd name="T77" fmla="*/ 1 h 117"/>
                  <a:gd name="T78" fmla="*/ 4 w 160"/>
                  <a:gd name="T79" fmla="*/ 0 h 117"/>
                  <a:gd name="T80" fmla="*/ 4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 w 80"/>
                  <a:gd name="T1" fmla="*/ 13 h 141"/>
                  <a:gd name="T2" fmla="*/ 8 w 80"/>
                  <a:gd name="T3" fmla="*/ 4 h 141"/>
                  <a:gd name="T4" fmla="*/ 8 w 80"/>
                  <a:gd name="T5" fmla="*/ 2 h 141"/>
                  <a:gd name="T6" fmla="*/ 7 w 80"/>
                  <a:gd name="T7" fmla="*/ 2 h 141"/>
                  <a:gd name="T8" fmla="*/ 6 w 80"/>
                  <a:gd name="T9" fmla="*/ 2 h 141"/>
                  <a:gd name="T10" fmla="*/ 6 w 80"/>
                  <a:gd name="T11" fmla="*/ 2 h 141"/>
                  <a:gd name="T12" fmla="*/ 5 w 80"/>
                  <a:gd name="T13" fmla="*/ 1 h 141"/>
                  <a:gd name="T14" fmla="*/ 5 w 80"/>
                  <a:gd name="T15" fmla="*/ 1 h 141"/>
                  <a:gd name="T16" fmla="*/ 5 w 80"/>
                  <a:gd name="T17" fmla="*/ 1 h 141"/>
                  <a:gd name="T18" fmla="*/ 4 w 80"/>
                  <a:gd name="T19" fmla="*/ 0 h 141"/>
                  <a:gd name="T20" fmla="*/ 4 w 80"/>
                  <a:gd name="T21" fmla="*/ 0 h 141"/>
                  <a:gd name="T22" fmla="*/ 0 w 80"/>
                  <a:gd name="T23" fmla="*/ 0 h 141"/>
                  <a:gd name="T24" fmla="*/ 0 w 80"/>
                  <a:gd name="T25" fmla="*/ 3 h 141"/>
                  <a:gd name="T26" fmla="*/ 0 w 80"/>
                  <a:gd name="T27" fmla="*/ 4 h 141"/>
                  <a:gd name="T28" fmla="*/ 0 w 80"/>
                  <a:gd name="T29" fmla="*/ 6 h 141"/>
                  <a:gd name="T30" fmla="*/ 0 w 80"/>
                  <a:gd name="T31" fmla="*/ 7 h 141"/>
                  <a:gd name="T32" fmla="*/ 0 w 80"/>
                  <a:gd name="T33" fmla="*/ 8 h 141"/>
                  <a:gd name="T34" fmla="*/ 0 w 80"/>
                  <a:gd name="T35" fmla="*/ 8 h 141"/>
                  <a:gd name="T36" fmla="*/ 1 w 80"/>
                  <a:gd name="T37" fmla="*/ 9 h 141"/>
                  <a:gd name="T38" fmla="*/ 1 w 80"/>
                  <a:gd name="T39" fmla="*/ 10 h 141"/>
                  <a:gd name="T40" fmla="*/ 2 w 80"/>
                  <a:gd name="T41" fmla="*/ 13 h 141"/>
                  <a:gd name="T42" fmla="*/ 3 w 80"/>
                  <a:gd name="T43" fmla="*/ 15 h 141"/>
                  <a:gd name="T44" fmla="*/ 3 w 80"/>
                  <a:gd name="T45" fmla="*/ 14 h 141"/>
                  <a:gd name="T46" fmla="*/ 4 w 80"/>
                  <a:gd name="T47" fmla="*/ 14 h 141"/>
                  <a:gd name="T48" fmla="*/ 4 w 80"/>
                  <a:gd name="T49" fmla="*/ 13 h 141"/>
                  <a:gd name="T50" fmla="*/ 4 w 80"/>
                  <a:gd name="T51" fmla="*/ 13 h 141"/>
                  <a:gd name="T52" fmla="*/ 4 w 80"/>
                  <a:gd name="T53" fmla="*/ 13 h 141"/>
                  <a:gd name="T54" fmla="*/ 4 w 80"/>
                  <a:gd name="T55" fmla="*/ 13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10 h 124"/>
                  <a:gd name="T2" fmla="*/ 0 w 259"/>
                  <a:gd name="T3" fmla="*/ 11 h 124"/>
                  <a:gd name="T4" fmla="*/ 0 w 259"/>
                  <a:gd name="T5" fmla="*/ 11 h 124"/>
                  <a:gd name="T6" fmla="*/ 0 w 259"/>
                  <a:gd name="T7" fmla="*/ 11 h 124"/>
                  <a:gd name="T8" fmla="*/ 1 w 259"/>
                  <a:gd name="T9" fmla="*/ 12 h 124"/>
                  <a:gd name="T10" fmla="*/ 1 w 259"/>
                  <a:gd name="T11" fmla="*/ 12 h 124"/>
                  <a:gd name="T12" fmla="*/ 2 w 259"/>
                  <a:gd name="T13" fmla="*/ 13 h 124"/>
                  <a:gd name="T14" fmla="*/ 3 w 259"/>
                  <a:gd name="T15" fmla="*/ 13 h 124"/>
                  <a:gd name="T16" fmla="*/ 4 w 259"/>
                  <a:gd name="T17" fmla="*/ 13 h 124"/>
                  <a:gd name="T18" fmla="*/ 5 w 259"/>
                  <a:gd name="T19" fmla="*/ 14 h 124"/>
                  <a:gd name="T20" fmla="*/ 6 w 259"/>
                  <a:gd name="T21" fmla="*/ 14 h 124"/>
                  <a:gd name="T22" fmla="*/ 7 w 259"/>
                  <a:gd name="T23" fmla="*/ 14 h 124"/>
                  <a:gd name="T24" fmla="*/ 8 w 259"/>
                  <a:gd name="T25" fmla="*/ 14 h 124"/>
                  <a:gd name="T26" fmla="*/ 8 w 259"/>
                  <a:gd name="T27" fmla="*/ 13 h 124"/>
                  <a:gd name="T28" fmla="*/ 9 w 259"/>
                  <a:gd name="T29" fmla="*/ 13 h 124"/>
                  <a:gd name="T30" fmla="*/ 10 w 259"/>
                  <a:gd name="T31" fmla="*/ 13 h 124"/>
                  <a:gd name="T32" fmla="*/ 11 w 259"/>
                  <a:gd name="T33" fmla="*/ 12 h 124"/>
                  <a:gd name="T34" fmla="*/ 12 w 259"/>
                  <a:gd name="T35" fmla="*/ 11 h 124"/>
                  <a:gd name="T36" fmla="*/ 13 w 259"/>
                  <a:gd name="T37" fmla="*/ 11 h 124"/>
                  <a:gd name="T38" fmla="*/ 13 w 259"/>
                  <a:gd name="T39" fmla="*/ 11 h 124"/>
                  <a:gd name="T40" fmla="*/ 14 w 259"/>
                  <a:gd name="T41" fmla="*/ 10 h 124"/>
                  <a:gd name="T42" fmla="*/ 15 w 259"/>
                  <a:gd name="T43" fmla="*/ 10 h 124"/>
                  <a:gd name="T44" fmla="*/ 16 w 259"/>
                  <a:gd name="T45" fmla="*/ 10 h 124"/>
                  <a:gd name="T46" fmla="*/ 17 w 259"/>
                  <a:gd name="T47" fmla="*/ 10 h 124"/>
                  <a:gd name="T48" fmla="*/ 18 w 259"/>
                  <a:gd name="T49" fmla="*/ 11 h 124"/>
                  <a:gd name="T50" fmla="*/ 19 w 259"/>
                  <a:gd name="T51" fmla="*/ 11 h 124"/>
                  <a:gd name="T52" fmla="*/ 19 w 259"/>
                  <a:gd name="T53" fmla="*/ 11 h 124"/>
                  <a:gd name="T54" fmla="*/ 21 w 259"/>
                  <a:gd name="T55" fmla="*/ 12 h 124"/>
                  <a:gd name="T56" fmla="*/ 22 w 259"/>
                  <a:gd name="T57" fmla="*/ 13 h 124"/>
                  <a:gd name="T58" fmla="*/ 27 w 259"/>
                  <a:gd name="T59" fmla="*/ 13 h 124"/>
                  <a:gd name="T60" fmla="*/ 27 w 259"/>
                  <a:gd name="T61" fmla="*/ 11 h 124"/>
                  <a:gd name="T62" fmla="*/ 26 w 259"/>
                  <a:gd name="T63" fmla="*/ 11 h 124"/>
                  <a:gd name="T64" fmla="*/ 25 w 259"/>
                  <a:gd name="T65" fmla="*/ 11 h 124"/>
                  <a:gd name="T66" fmla="*/ 24 w 259"/>
                  <a:gd name="T67" fmla="*/ 10 h 124"/>
                  <a:gd name="T68" fmla="*/ 23 w 259"/>
                  <a:gd name="T69" fmla="*/ 10 h 124"/>
                  <a:gd name="T70" fmla="*/ 24 w 259"/>
                  <a:gd name="T71" fmla="*/ 9 h 124"/>
                  <a:gd name="T72" fmla="*/ 24 w 259"/>
                  <a:gd name="T73" fmla="*/ 9 h 124"/>
                  <a:gd name="T74" fmla="*/ 25 w 259"/>
                  <a:gd name="T75" fmla="*/ 8 h 124"/>
                  <a:gd name="T76" fmla="*/ 25 w 259"/>
                  <a:gd name="T77" fmla="*/ 8 h 124"/>
                  <a:gd name="T78" fmla="*/ 24 w 259"/>
                  <a:gd name="T79" fmla="*/ 7 h 124"/>
                  <a:gd name="T80" fmla="*/ 24 w 259"/>
                  <a:gd name="T81" fmla="*/ 6 h 124"/>
                  <a:gd name="T82" fmla="*/ 23 w 259"/>
                  <a:gd name="T83" fmla="*/ 6 h 124"/>
                  <a:gd name="T84" fmla="*/ 22 w 259"/>
                  <a:gd name="T85" fmla="*/ 5 h 124"/>
                  <a:gd name="T86" fmla="*/ 20 w 259"/>
                  <a:gd name="T87" fmla="*/ 4 h 124"/>
                  <a:gd name="T88" fmla="*/ 19 w 259"/>
                  <a:gd name="T89" fmla="*/ 3 h 124"/>
                  <a:gd name="T90" fmla="*/ 17 w 259"/>
                  <a:gd name="T91" fmla="*/ 3 h 124"/>
                  <a:gd name="T92" fmla="*/ 16 w 259"/>
                  <a:gd name="T93" fmla="*/ 2 h 124"/>
                  <a:gd name="T94" fmla="*/ 15 w 259"/>
                  <a:gd name="T95" fmla="*/ 1 h 124"/>
                  <a:gd name="T96" fmla="*/ 14 w 259"/>
                  <a:gd name="T97" fmla="*/ 1 h 124"/>
                  <a:gd name="T98" fmla="*/ 14 w 259"/>
                  <a:gd name="T99" fmla="*/ 1 h 124"/>
                  <a:gd name="T100" fmla="*/ 13 w 259"/>
                  <a:gd name="T101" fmla="*/ 0 h 124"/>
                  <a:gd name="T102" fmla="*/ 13 w 259"/>
                  <a:gd name="T103" fmla="*/ 0 h 124"/>
                  <a:gd name="T104" fmla="*/ 12 w 259"/>
                  <a:gd name="T105" fmla="*/ 1 h 124"/>
                  <a:gd name="T106" fmla="*/ 11 w 259"/>
                  <a:gd name="T107" fmla="*/ 1 h 124"/>
                  <a:gd name="T108" fmla="*/ 10 w 259"/>
                  <a:gd name="T109" fmla="*/ 2 h 124"/>
                  <a:gd name="T110" fmla="*/ 8 w 259"/>
                  <a:gd name="T111" fmla="*/ 3 h 124"/>
                  <a:gd name="T112" fmla="*/ 6 w 259"/>
                  <a:gd name="T113" fmla="*/ 5 h 124"/>
                  <a:gd name="T114" fmla="*/ 4 w 259"/>
                  <a:gd name="T115" fmla="*/ 6 h 124"/>
                  <a:gd name="T116" fmla="*/ 2 w 259"/>
                  <a:gd name="T117" fmla="*/ 8 h 124"/>
                  <a:gd name="T118" fmla="*/ 1 w 259"/>
                  <a:gd name="T119" fmla="*/ 9 h 124"/>
                  <a:gd name="T120" fmla="*/ 0 w 259"/>
                  <a:gd name="T121" fmla="*/ 10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4 h 57"/>
                  <a:gd name="T2" fmla="*/ 1 w 119"/>
                  <a:gd name="T3" fmla="*/ 4 h 57"/>
                  <a:gd name="T4" fmla="*/ 1 w 119"/>
                  <a:gd name="T5" fmla="*/ 4 h 57"/>
                  <a:gd name="T6" fmla="*/ 2 w 119"/>
                  <a:gd name="T7" fmla="*/ 5 h 57"/>
                  <a:gd name="T8" fmla="*/ 3 w 119"/>
                  <a:gd name="T9" fmla="*/ 5 h 57"/>
                  <a:gd name="T10" fmla="*/ 3 w 119"/>
                  <a:gd name="T11" fmla="*/ 6 h 57"/>
                  <a:gd name="T12" fmla="*/ 4 w 119"/>
                  <a:gd name="T13" fmla="*/ 6 h 57"/>
                  <a:gd name="T14" fmla="*/ 4 w 119"/>
                  <a:gd name="T15" fmla="*/ 6 h 57"/>
                  <a:gd name="T16" fmla="*/ 5 w 119"/>
                  <a:gd name="T17" fmla="*/ 6 h 57"/>
                  <a:gd name="T18" fmla="*/ 6 w 119"/>
                  <a:gd name="T19" fmla="*/ 6 h 57"/>
                  <a:gd name="T20" fmla="*/ 6 w 119"/>
                  <a:gd name="T21" fmla="*/ 6 h 57"/>
                  <a:gd name="T22" fmla="*/ 7 w 119"/>
                  <a:gd name="T23" fmla="*/ 6 h 57"/>
                  <a:gd name="T24" fmla="*/ 8 w 119"/>
                  <a:gd name="T25" fmla="*/ 6 h 57"/>
                  <a:gd name="T26" fmla="*/ 9 w 119"/>
                  <a:gd name="T27" fmla="*/ 6 h 57"/>
                  <a:gd name="T28" fmla="*/ 9 w 119"/>
                  <a:gd name="T29" fmla="*/ 5 h 57"/>
                  <a:gd name="T30" fmla="*/ 10 w 119"/>
                  <a:gd name="T31" fmla="*/ 5 h 57"/>
                  <a:gd name="T32" fmla="*/ 10 w 119"/>
                  <a:gd name="T33" fmla="*/ 4 h 57"/>
                  <a:gd name="T34" fmla="*/ 11 w 119"/>
                  <a:gd name="T35" fmla="*/ 4 h 57"/>
                  <a:gd name="T36" fmla="*/ 11 w 119"/>
                  <a:gd name="T37" fmla="*/ 3 h 57"/>
                  <a:gd name="T38" fmla="*/ 12 w 119"/>
                  <a:gd name="T39" fmla="*/ 1 h 57"/>
                  <a:gd name="T40" fmla="*/ 12 w 119"/>
                  <a:gd name="T41" fmla="*/ 0 h 57"/>
                  <a:gd name="T42" fmla="*/ 10 w 119"/>
                  <a:gd name="T43" fmla="*/ 0 h 57"/>
                  <a:gd name="T44" fmla="*/ 8 w 119"/>
                  <a:gd name="T45" fmla="*/ 0 h 57"/>
                  <a:gd name="T46" fmla="*/ 6 w 119"/>
                  <a:gd name="T47" fmla="*/ 0 h 57"/>
                  <a:gd name="T48" fmla="*/ 4 w 119"/>
                  <a:gd name="T49" fmla="*/ 1 h 57"/>
                  <a:gd name="T50" fmla="*/ 4 w 119"/>
                  <a:gd name="T51" fmla="*/ 1 h 57"/>
                  <a:gd name="T52" fmla="*/ 3 w 119"/>
                  <a:gd name="T53" fmla="*/ 1 h 57"/>
                  <a:gd name="T54" fmla="*/ 2 w 119"/>
                  <a:gd name="T55" fmla="*/ 1 h 57"/>
                  <a:gd name="T56" fmla="*/ 2 w 119"/>
                  <a:gd name="T57" fmla="*/ 2 h 57"/>
                  <a:gd name="T58" fmla="*/ 1 w 119"/>
                  <a:gd name="T59" fmla="*/ 2 h 57"/>
                  <a:gd name="T60" fmla="*/ 1 w 119"/>
                  <a:gd name="T61" fmla="*/ 3 h 57"/>
                  <a:gd name="T62" fmla="*/ 0 w 119"/>
                  <a:gd name="T63" fmla="*/ 3 h 57"/>
                  <a:gd name="T64" fmla="*/ 0 w 119"/>
                  <a:gd name="T65" fmla="*/ 4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 h 52"/>
                  <a:gd name="T2" fmla="*/ 1 w 107"/>
                  <a:gd name="T3" fmla="*/ 6 h 52"/>
                  <a:gd name="T4" fmla="*/ 1 w 107"/>
                  <a:gd name="T5" fmla="*/ 6 h 52"/>
                  <a:gd name="T6" fmla="*/ 1 w 107"/>
                  <a:gd name="T7" fmla="*/ 6 h 52"/>
                  <a:gd name="T8" fmla="*/ 2 w 107"/>
                  <a:gd name="T9" fmla="*/ 6 h 52"/>
                  <a:gd name="T10" fmla="*/ 3 w 107"/>
                  <a:gd name="T11" fmla="*/ 5 h 52"/>
                  <a:gd name="T12" fmla="*/ 3 w 107"/>
                  <a:gd name="T13" fmla="*/ 5 h 52"/>
                  <a:gd name="T14" fmla="*/ 4 w 107"/>
                  <a:gd name="T15" fmla="*/ 5 h 52"/>
                  <a:gd name="T16" fmla="*/ 5 w 107"/>
                  <a:gd name="T17" fmla="*/ 5 h 52"/>
                  <a:gd name="T18" fmla="*/ 6 w 107"/>
                  <a:gd name="T19" fmla="*/ 5 h 52"/>
                  <a:gd name="T20" fmla="*/ 7 w 107"/>
                  <a:gd name="T21" fmla="*/ 5 h 52"/>
                  <a:gd name="T22" fmla="*/ 8 w 107"/>
                  <a:gd name="T23" fmla="*/ 4 h 52"/>
                  <a:gd name="T24" fmla="*/ 9 w 107"/>
                  <a:gd name="T25" fmla="*/ 4 h 52"/>
                  <a:gd name="T26" fmla="*/ 10 w 107"/>
                  <a:gd name="T27" fmla="*/ 3 h 52"/>
                  <a:gd name="T28" fmla="*/ 11 w 107"/>
                  <a:gd name="T29" fmla="*/ 3 h 52"/>
                  <a:gd name="T30" fmla="*/ 11 w 107"/>
                  <a:gd name="T31" fmla="*/ 0 h 52"/>
                  <a:gd name="T32" fmla="*/ 10 w 107"/>
                  <a:gd name="T33" fmla="*/ 0 h 52"/>
                  <a:gd name="T34" fmla="*/ 9 w 107"/>
                  <a:gd name="T35" fmla="*/ 0 h 52"/>
                  <a:gd name="T36" fmla="*/ 7 w 107"/>
                  <a:gd name="T37" fmla="*/ 1 h 52"/>
                  <a:gd name="T38" fmla="*/ 6 w 107"/>
                  <a:gd name="T39" fmla="*/ 1 h 52"/>
                  <a:gd name="T40" fmla="*/ 4 w 107"/>
                  <a:gd name="T41" fmla="*/ 2 h 52"/>
                  <a:gd name="T42" fmla="*/ 3 w 107"/>
                  <a:gd name="T43" fmla="*/ 3 h 52"/>
                  <a:gd name="T44" fmla="*/ 2 w 107"/>
                  <a:gd name="T45" fmla="*/ 4 h 52"/>
                  <a:gd name="T46" fmla="*/ 1 w 107"/>
                  <a:gd name="T47" fmla="*/ 4 h 52"/>
                  <a:gd name="T48" fmla="*/ 1 w 107"/>
                  <a:gd name="T49" fmla="*/ 5 h 52"/>
                  <a:gd name="T50" fmla="*/ 0 w 107"/>
                  <a:gd name="T51" fmla="*/ 5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3 w 246"/>
                  <a:gd name="T1" fmla="*/ 10 h 99"/>
                  <a:gd name="T2" fmla="*/ 2 w 246"/>
                  <a:gd name="T3" fmla="*/ 10 h 99"/>
                  <a:gd name="T4" fmla="*/ 2 w 246"/>
                  <a:gd name="T5" fmla="*/ 10 h 99"/>
                  <a:gd name="T6" fmla="*/ 1 w 246"/>
                  <a:gd name="T7" fmla="*/ 10 h 99"/>
                  <a:gd name="T8" fmla="*/ 1 w 246"/>
                  <a:gd name="T9" fmla="*/ 9 h 99"/>
                  <a:gd name="T10" fmla="*/ 1 w 246"/>
                  <a:gd name="T11" fmla="*/ 9 h 99"/>
                  <a:gd name="T12" fmla="*/ 0 w 246"/>
                  <a:gd name="T13" fmla="*/ 9 h 99"/>
                  <a:gd name="T14" fmla="*/ 0 w 246"/>
                  <a:gd name="T15" fmla="*/ 8 h 99"/>
                  <a:gd name="T16" fmla="*/ 0 w 246"/>
                  <a:gd name="T17" fmla="*/ 8 h 99"/>
                  <a:gd name="T18" fmla="*/ 0 w 246"/>
                  <a:gd name="T19" fmla="*/ 7 h 99"/>
                  <a:gd name="T20" fmla="*/ 0 w 246"/>
                  <a:gd name="T21" fmla="*/ 7 h 99"/>
                  <a:gd name="T22" fmla="*/ 0 w 246"/>
                  <a:gd name="T23" fmla="*/ 6 h 99"/>
                  <a:gd name="T24" fmla="*/ 1 w 246"/>
                  <a:gd name="T25" fmla="*/ 6 h 99"/>
                  <a:gd name="T26" fmla="*/ 1 w 246"/>
                  <a:gd name="T27" fmla="*/ 5 h 99"/>
                  <a:gd name="T28" fmla="*/ 2 w 246"/>
                  <a:gd name="T29" fmla="*/ 4 h 99"/>
                  <a:gd name="T30" fmla="*/ 3 w 246"/>
                  <a:gd name="T31" fmla="*/ 4 h 99"/>
                  <a:gd name="T32" fmla="*/ 4 w 246"/>
                  <a:gd name="T33" fmla="*/ 3 h 99"/>
                  <a:gd name="T34" fmla="*/ 5 w 246"/>
                  <a:gd name="T35" fmla="*/ 2 h 99"/>
                  <a:gd name="T36" fmla="*/ 6 w 246"/>
                  <a:gd name="T37" fmla="*/ 2 h 99"/>
                  <a:gd name="T38" fmla="*/ 7 w 246"/>
                  <a:gd name="T39" fmla="*/ 2 h 99"/>
                  <a:gd name="T40" fmla="*/ 8 w 246"/>
                  <a:gd name="T41" fmla="*/ 1 h 99"/>
                  <a:gd name="T42" fmla="*/ 10 w 246"/>
                  <a:gd name="T43" fmla="*/ 1 h 99"/>
                  <a:gd name="T44" fmla="*/ 11 w 246"/>
                  <a:gd name="T45" fmla="*/ 0 h 99"/>
                  <a:gd name="T46" fmla="*/ 13 w 246"/>
                  <a:gd name="T47" fmla="*/ 0 h 99"/>
                  <a:gd name="T48" fmla="*/ 14 w 246"/>
                  <a:gd name="T49" fmla="*/ 0 h 99"/>
                  <a:gd name="T50" fmla="*/ 17 w 246"/>
                  <a:gd name="T51" fmla="*/ 0 h 99"/>
                  <a:gd name="T52" fmla="*/ 20 w 246"/>
                  <a:gd name="T53" fmla="*/ 0 h 99"/>
                  <a:gd name="T54" fmla="*/ 22 w 246"/>
                  <a:gd name="T55" fmla="*/ 0 h 99"/>
                  <a:gd name="T56" fmla="*/ 25 w 246"/>
                  <a:gd name="T57" fmla="*/ 1 h 99"/>
                  <a:gd name="T58" fmla="*/ 25 w 246"/>
                  <a:gd name="T59" fmla="*/ 1 h 99"/>
                  <a:gd name="T60" fmla="*/ 25 w 246"/>
                  <a:gd name="T61" fmla="*/ 2 h 99"/>
                  <a:gd name="T62" fmla="*/ 24 w 246"/>
                  <a:gd name="T63" fmla="*/ 2 h 99"/>
                  <a:gd name="T64" fmla="*/ 24 w 246"/>
                  <a:gd name="T65" fmla="*/ 3 h 99"/>
                  <a:gd name="T66" fmla="*/ 22 w 246"/>
                  <a:gd name="T67" fmla="*/ 4 h 99"/>
                  <a:gd name="T68" fmla="*/ 21 w 246"/>
                  <a:gd name="T69" fmla="*/ 5 h 99"/>
                  <a:gd name="T70" fmla="*/ 19 w 246"/>
                  <a:gd name="T71" fmla="*/ 6 h 99"/>
                  <a:gd name="T72" fmla="*/ 17 w 246"/>
                  <a:gd name="T73" fmla="*/ 6 h 99"/>
                  <a:gd name="T74" fmla="*/ 16 w 246"/>
                  <a:gd name="T75" fmla="*/ 7 h 99"/>
                  <a:gd name="T76" fmla="*/ 15 w 246"/>
                  <a:gd name="T77" fmla="*/ 7 h 99"/>
                  <a:gd name="T78" fmla="*/ 14 w 246"/>
                  <a:gd name="T79" fmla="*/ 7 h 99"/>
                  <a:gd name="T80" fmla="*/ 13 w 246"/>
                  <a:gd name="T81" fmla="*/ 7 h 99"/>
                  <a:gd name="T82" fmla="*/ 13 w 246"/>
                  <a:gd name="T83" fmla="*/ 7 h 99"/>
                  <a:gd name="T84" fmla="*/ 11 w 246"/>
                  <a:gd name="T85" fmla="*/ 7 h 99"/>
                  <a:gd name="T86" fmla="*/ 10 w 246"/>
                  <a:gd name="T87" fmla="*/ 7 h 99"/>
                  <a:gd name="T88" fmla="*/ 10 w 246"/>
                  <a:gd name="T89" fmla="*/ 7 h 99"/>
                  <a:gd name="T90" fmla="*/ 9 w 246"/>
                  <a:gd name="T91" fmla="*/ 7 h 99"/>
                  <a:gd name="T92" fmla="*/ 8 w 246"/>
                  <a:gd name="T93" fmla="*/ 7 h 99"/>
                  <a:gd name="T94" fmla="*/ 7 w 246"/>
                  <a:gd name="T95" fmla="*/ 8 h 99"/>
                  <a:gd name="T96" fmla="*/ 6 w 246"/>
                  <a:gd name="T97" fmla="*/ 9 h 99"/>
                  <a:gd name="T98" fmla="*/ 5 w 246"/>
                  <a:gd name="T99" fmla="*/ 9 h 99"/>
                  <a:gd name="T100" fmla="*/ 4 w 246"/>
                  <a:gd name="T101" fmla="*/ 10 h 99"/>
                  <a:gd name="T102" fmla="*/ 4 w 246"/>
                  <a:gd name="T103" fmla="*/ 10 h 99"/>
                  <a:gd name="T104" fmla="*/ 3 w 246"/>
                  <a:gd name="T105" fmla="*/ 10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4 w 233"/>
                  <a:gd name="T1" fmla="*/ 9 h 123"/>
                  <a:gd name="T2" fmla="*/ 1 w 233"/>
                  <a:gd name="T3" fmla="*/ 8 h 123"/>
                  <a:gd name="T4" fmla="*/ 0 w 233"/>
                  <a:gd name="T5" fmla="*/ 6 h 123"/>
                  <a:gd name="T6" fmla="*/ 2 w 233"/>
                  <a:gd name="T7" fmla="*/ 4 h 123"/>
                  <a:gd name="T8" fmla="*/ 4 w 233"/>
                  <a:gd name="T9" fmla="*/ 4 h 123"/>
                  <a:gd name="T10" fmla="*/ 7 w 233"/>
                  <a:gd name="T11" fmla="*/ 4 h 123"/>
                  <a:gd name="T12" fmla="*/ 8 w 233"/>
                  <a:gd name="T13" fmla="*/ 4 h 123"/>
                  <a:gd name="T14" fmla="*/ 9 w 233"/>
                  <a:gd name="T15" fmla="*/ 4 h 123"/>
                  <a:gd name="T16" fmla="*/ 11 w 233"/>
                  <a:gd name="T17" fmla="*/ 2 h 123"/>
                  <a:gd name="T18" fmla="*/ 13 w 233"/>
                  <a:gd name="T19" fmla="*/ 1 h 123"/>
                  <a:gd name="T20" fmla="*/ 16 w 233"/>
                  <a:gd name="T21" fmla="*/ 0 h 123"/>
                  <a:gd name="T22" fmla="*/ 17 w 233"/>
                  <a:gd name="T23" fmla="*/ 1 h 123"/>
                  <a:gd name="T24" fmla="*/ 19 w 233"/>
                  <a:gd name="T25" fmla="*/ 1 h 123"/>
                  <a:gd name="T26" fmla="*/ 20 w 233"/>
                  <a:gd name="T27" fmla="*/ 1 h 123"/>
                  <a:gd name="T28" fmla="*/ 22 w 233"/>
                  <a:gd name="T29" fmla="*/ 1 h 123"/>
                  <a:gd name="T30" fmla="*/ 23 w 233"/>
                  <a:gd name="T31" fmla="*/ 0 h 123"/>
                  <a:gd name="T32" fmla="*/ 25 w 233"/>
                  <a:gd name="T33" fmla="*/ 1 h 123"/>
                  <a:gd name="T34" fmla="*/ 24 w 233"/>
                  <a:gd name="T35" fmla="*/ 2 h 123"/>
                  <a:gd name="T36" fmla="*/ 23 w 233"/>
                  <a:gd name="T37" fmla="*/ 3 h 123"/>
                  <a:gd name="T38" fmla="*/ 22 w 233"/>
                  <a:gd name="T39" fmla="*/ 3 h 123"/>
                  <a:gd name="T40" fmla="*/ 22 w 233"/>
                  <a:gd name="T41" fmla="*/ 5 h 123"/>
                  <a:gd name="T42" fmla="*/ 22 w 233"/>
                  <a:gd name="T43" fmla="*/ 7 h 123"/>
                  <a:gd name="T44" fmla="*/ 20 w 233"/>
                  <a:gd name="T45" fmla="*/ 9 h 123"/>
                  <a:gd name="T46" fmla="*/ 17 w 233"/>
                  <a:gd name="T47" fmla="*/ 10 h 123"/>
                  <a:gd name="T48" fmla="*/ 15 w 233"/>
                  <a:gd name="T49" fmla="*/ 10 h 123"/>
                  <a:gd name="T50" fmla="*/ 12 w 233"/>
                  <a:gd name="T51" fmla="*/ 11 h 123"/>
                  <a:gd name="T52" fmla="*/ 10 w 233"/>
                  <a:gd name="T53" fmla="*/ 11 h 123"/>
                  <a:gd name="T54" fmla="*/ 9 w 233"/>
                  <a:gd name="T55" fmla="*/ 12 h 123"/>
                  <a:gd name="T56" fmla="*/ 7 w 233"/>
                  <a:gd name="T57" fmla="*/ 13 h 123"/>
                  <a:gd name="T58" fmla="*/ 6 w 233"/>
                  <a:gd name="T59" fmla="*/ 13 h 123"/>
                  <a:gd name="T60" fmla="*/ 6 w 233"/>
                  <a:gd name="T61" fmla="*/ 12 h 123"/>
                  <a:gd name="T62" fmla="*/ 5 w 233"/>
                  <a:gd name="T63" fmla="*/ 11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6 h 172"/>
                  <a:gd name="T2" fmla="*/ 0 w 484"/>
                  <a:gd name="T3" fmla="*/ 17 h 172"/>
                  <a:gd name="T4" fmla="*/ 1 w 484"/>
                  <a:gd name="T5" fmla="*/ 17 h 172"/>
                  <a:gd name="T6" fmla="*/ 2 w 484"/>
                  <a:gd name="T7" fmla="*/ 18 h 172"/>
                  <a:gd name="T8" fmla="*/ 3 w 484"/>
                  <a:gd name="T9" fmla="*/ 18 h 172"/>
                  <a:gd name="T10" fmla="*/ 6 w 484"/>
                  <a:gd name="T11" fmla="*/ 18 h 172"/>
                  <a:gd name="T12" fmla="*/ 8 w 484"/>
                  <a:gd name="T13" fmla="*/ 18 h 172"/>
                  <a:gd name="T14" fmla="*/ 10 w 484"/>
                  <a:gd name="T15" fmla="*/ 18 h 172"/>
                  <a:gd name="T16" fmla="*/ 15 w 484"/>
                  <a:gd name="T17" fmla="*/ 17 h 172"/>
                  <a:gd name="T18" fmla="*/ 20 w 484"/>
                  <a:gd name="T19" fmla="*/ 14 h 172"/>
                  <a:gd name="T20" fmla="*/ 25 w 484"/>
                  <a:gd name="T21" fmla="*/ 12 h 172"/>
                  <a:gd name="T22" fmla="*/ 30 w 484"/>
                  <a:gd name="T23" fmla="*/ 11 h 172"/>
                  <a:gd name="T24" fmla="*/ 37 w 484"/>
                  <a:gd name="T25" fmla="*/ 9 h 172"/>
                  <a:gd name="T26" fmla="*/ 42 w 484"/>
                  <a:gd name="T27" fmla="*/ 8 h 172"/>
                  <a:gd name="T28" fmla="*/ 46 w 484"/>
                  <a:gd name="T29" fmla="*/ 7 h 172"/>
                  <a:gd name="T30" fmla="*/ 49 w 484"/>
                  <a:gd name="T31" fmla="*/ 6 h 172"/>
                  <a:gd name="T32" fmla="*/ 50 w 484"/>
                  <a:gd name="T33" fmla="*/ 5 h 172"/>
                  <a:gd name="T34" fmla="*/ 51 w 484"/>
                  <a:gd name="T35" fmla="*/ 4 h 172"/>
                  <a:gd name="T36" fmla="*/ 47 w 484"/>
                  <a:gd name="T37" fmla="*/ 3 h 172"/>
                  <a:gd name="T38" fmla="*/ 41 w 484"/>
                  <a:gd name="T39" fmla="*/ 2 h 172"/>
                  <a:gd name="T40" fmla="*/ 35 w 484"/>
                  <a:gd name="T41" fmla="*/ 1 h 172"/>
                  <a:gd name="T42" fmla="*/ 29 w 484"/>
                  <a:gd name="T43" fmla="*/ 0 h 172"/>
                  <a:gd name="T44" fmla="*/ 24 w 484"/>
                  <a:gd name="T45" fmla="*/ 0 h 172"/>
                  <a:gd name="T46" fmla="*/ 21 w 484"/>
                  <a:gd name="T47" fmla="*/ 0 h 172"/>
                  <a:gd name="T48" fmla="*/ 19 w 484"/>
                  <a:gd name="T49" fmla="*/ 1 h 172"/>
                  <a:gd name="T50" fmla="*/ 18 w 484"/>
                  <a:gd name="T51" fmla="*/ 1 h 172"/>
                  <a:gd name="T52" fmla="*/ 18 w 484"/>
                  <a:gd name="T53" fmla="*/ 0 h 172"/>
                  <a:gd name="T54" fmla="*/ 18 w 484"/>
                  <a:gd name="T55" fmla="*/ 1 h 172"/>
                  <a:gd name="T56" fmla="*/ 17 w 484"/>
                  <a:gd name="T57" fmla="*/ 3 h 172"/>
                  <a:gd name="T58" fmla="*/ 16 w 484"/>
                  <a:gd name="T59" fmla="*/ 4 h 172"/>
                  <a:gd name="T60" fmla="*/ 15 w 484"/>
                  <a:gd name="T61" fmla="*/ 5 h 172"/>
                  <a:gd name="T62" fmla="*/ 13 w 484"/>
                  <a:gd name="T63" fmla="*/ 6 h 172"/>
                  <a:gd name="T64" fmla="*/ 10 w 484"/>
                  <a:gd name="T65" fmla="*/ 7 h 172"/>
                  <a:gd name="T66" fmla="*/ 7 w 484"/>
                  <a:gd name="T67" fmla="*/ 8 h 172"/>
                  <a:gd name="T68" fmla="*/ 4 w 484"/>
                  <a:gd name="T69" fmla="*/ 9 h 172"/>
                  <a:gd name="T70" fmla="*/ 2 w 484"/>
                  <a:gd name="T71" fmla="*/ 10 h 172"/>
                  <a:gd name="T72" fmla="*/ 1 w 484"/>
                  <a:gd name="T73" fmla="*/ 11 h 172"/>
                  <a:gd name="T74" fmla="*/ 0 w 484"/>
                  <a:gd name="T75" fmla="*/ 13 h 172"/>
                  <a:gd name="T76" fmla="*/ 0 w 484"/>
                  <a:gd name="T77" fmla="*/ 1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3 w 684"/>
                  <a:gd name="T1" fmla="*/ 1 h 240"/>
                  <a:gd name="T2" fmla="*/ 32 w 684"/>
                  <a:gd name="T3" fmla="*/ 3 h 240"/>
                  <a:gd name="T4" fmla="*/ 31 w 684"/>
                  <a:gd name="T5" fmla="*/ 4 h 240"/>
                  <a:gd name="T6" fmla="*/ 31 w 684"/>
                  <a:gd name="T7" fmla="*/ 5 h 240"/>
                  <a:gd name="T8" fmla="*/ 35 w 684"/>
                  <a:gd name="T9" fmla="*/ 4 h 240"/>
                  <a:gd name="T10" fmla="*/ 39 w 684"/>
                  <a:gd name="T11" fmla="*/ 2 h 240"/>
                  <a:gd name="T12" fmla="*/ 39 w 684"/>
                  <a:gd name="T13" fmla="*/ 4 h 240"/>
                  <a:gd name="T14" fmla="*/ 39 w 684"/>
                  <a:gd name="T15" fmla="*/ 6 h 240"/>
                  <a:gd name="T16" fmla="*/ 42 w 684"/>
                  <a:gd name="T17" fmla="*/ 8 h 240"/>
                  <a:gd name="T18" fmla="*/ 53 w 684"/>
                  <a:gd name="T19" fmla="*/ 6 h 240"/>
                  <a:gd name="T20" fmla="*/ 54 w 684"/>
                  <a:gd name="T21" fmla="*/ 8 h 240"/>
                  <a:gd name="T22" fmla="*/ 57 w 684"/>
                  <a:gd name="T23" fmla="*/ 7 h 240"/>
                  <a:gd name="T24" fmla="*/ 58 w 684"/>
                  <a:gd name="T25" fmla="*/ 5 h 240"/>
                  <a:gd name="T26" fmla="*/ 58 w 684"/>
                  <a:gd name="T27" fmla="*/ 2 h 240"/>
                  <a:gd name="T28" fmla="*/ 59 w 684"/>
                  <a:gd name="T29" fmla="*/ 1 h 240"/>
                  <a:gd name="T30" fmla="*/ 60 w 684"/>
                  <a:gd name="T31" fmla="*/ 0 h 240"/>
                  <a:gd name="T32" fmla="*/ 65 w 684"/>
                  <a:gd name="T33" fmla="*/ 0 h 240"/>
                  <a:gd name="T34" fmla="*/ 67 w 684"/>
                  <a:gd name="T35" fmla="*/ 0 h 240"/>
                  <a:gd name="T36" fmla="*/ 68 w 684"/>
                  <a:gd name="T37" fmla="*/ 4 h 240"/>
                  <a:gd name="T38" fmla="*/ 68 w 684"/>
                  <a:gd name="T39" fmla="*/ 8 h 240"/>
                  <a:gd name="T40" fmla="*/ 67 w 684"/>
                  <a:gd name="T41" fmla="*/ 11 h 240"/>
                  <a:gd name="T42" fmla="*/ 65 w 684"/>
                  <a:gd name="T43" fmla="*/ 13 h 240"/>
                  <a:gd name="T44" fmla="*/ 68 w 684"/>
                  <a:gd name="T45" fmla="*/ 15 h 240"/>
                  <a:gd name="T46" fmla="*/ 70 w 684"/>
                  <a:gd name="T47" fmla="*/ 16 h 240"/>
                  <a:gd name="T48" fmla="*/ 71 w 684"/>
                  <a:gd name="T49" fmla="*/ 19 h 240"/>
                  <a:gd name="T50" fmla="*/ 67 w 684"/>
                  <a:gd name="T51" fmla="*/ 20 h 240"/>
                  <a:gd name="T52" fmla="*/ 63 w 684"/>
                  <a:gd name="T53" fmla="*/ 20 h 240"/>
                  <a:gd name="T54" fmla="*/ 60 w 684"/>
                  <a:gd name="T55" fmla="*/ 19 h 240"/>
                  <a:gd name="T56" fmla="*/ 59 w 684"/>
                  <a:gd name="T57" fmla="*/ 20 h 240"/>
                  <a:gd name="T58" fmla="*/ 57 w 684"/>
                  <a:gd name="T59" fmla="*/ 22 h 240"/>
                  <a:gd name="T60" fmla="*/ 55 w 684"/>
                  <a:gd name="T61" fmla="*/ 23 h 240"/>
                  <a:gd name="T62" fmla="*/ 51 w 684"/>
                  <a:gd name="T63" fmla="*/ 23 h 240"/>
                  <a:gd name="T64" fmla="*/ 47 w 684"/>
                  <a:gd name="T65" fmla="*/ 22 h 240"/>
                  <a:gd name="T66" fmla="*/ 44 w 684"/>
                  <a:gd name="T67" fmla="*/ 21 h 240"/>
                  <a:gd name="T68" fmla="*/ 35 w 684"/>
                  <a:gd name="T69" fmla="*/ 23 h 240"/>
                  <a:gd name="T70" fmla="*/ 24 w 684"/>
                  <a:gd name="T71" fmla="*/ 25 h 240"/>
                  <a:gd name="T72" fmla="*/ 18 w 684"/>
                  <a:gd name="T73" fmla="*/ 26 h 240"/>
                  <a:gd name="T74" fmla="*/ 13 w 684"/>
                  <a:gd name="T75" fmla="*/ 26 h 240"/>
                  <a:gd name="T76" fmla="*/ 10 w 684"/>
                  <a:gd name="T77" fmla="*/ 25 h 240"/>
                  <a:gd name="T78" fmla="*/ 7 w 684"/>
                  <a:gd name="T79" fmla="*/ 22 h 240"/>
                  <a:gd name="T80" fmla="*/ 3 w 684"/>
                  <a:gd name="T81" fmla="*/ 21 h 240"/>
                  <a:gd name="T82" fmla="*/ 0 w 684"/>
                  <a:gd name="T83" fmla="*/ 19 h 240"/>
                  <a:gd name="T84" fmla="*/ 7 w 684"/>
                  <a:gd name="T85" fmla="*/ 17 h 240"/>
                  <a:gd name="T86" fmla="*/ 10 w 684"/>
                  <a:gd name="T87" fmla="*/ 17 h 240"/>
                  <a:gd name="T88" fmla="*/ 16 w 684"/>
                  <a:gd name="T89" fmla="*/ 17 h 240"/>
                  <a:gd name="T90" fmla="*/ 21 w 684"/>
                  <a:gd name="T91" fmla="*/ 18 h 240"/>
                  <a:gd name="T92" fmla="*/ 23 w 684"/>
                  <a:gd name="T93" fmla="*/ 17 h 240"/>
                  <a:gd name="T94" fmla="*/ 3 w 684"/>
                  <a:gd name="T95" fmla="*/ 15 h 240"/>
                  <a:gd name="T96" fmla="*/ 5 w 684"/>
                  <a:gd name="T97" fmla="*/ 14 h 240"/>
                  <a:gd name="T98" fmla="*/ 11 w 684"/>
                  <a:gd name="T99" fmla="*/ 13 h 240"/>
                  <a:gd name="T100" fmla="*/ 17 w 684"/>
                  <a:gd name="T101" fmla="*/ 12 h 240"/>
                  <a:gd name="T102" fmla="*/ 19 w 684"/>
                  <a:gd name="T103" fmla="*/ 11 h 240"/>
                  <a:gd name="T104" fmla="*/ 17 w 684"/>
                  <a:gd name="T105" fmla="*/ 10 h 240"/>
                  <a:gd name="T106" fmla="*/ 13 w 684"/>
                  <a:gd name="T107" fmla="*/ 11 h 240"/>
                  <a:gd name="T108" fmla="*/ 7 w 684"/>
                  <a:gd name="T109" fmla="*/ 12 h 240"/>
                  <a:gd name="T110" fmla="*/ 5 w 684"/>
                  <a:gd name="T111" fmla="*/ 12 h 240"/>
                  <a:gd name="T112" fmla="*/ 6 w 684"/>
                  <a:gd name="T113" fmla="*/ 10 h 240"/>
                  <a:gd name="T114" fmla="*/ 5 w 684"/>
                  <a:gd name="T115" fmla="*/ 9 h 240"/>
                  <a:gd name="T116" fmla="*/ 6 w 684"/>
                  <a:gd name="T117" fmla="*/ 9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9 w 332"/>
                  <a:gd name="T1" fmla="*/ 4 h 287"/>
                  <a:gd name="T2" fmla="*/ 21 w 332"/>
                  <a:gd name="T3" fmla="*/ 3 h 287"/>
                  <a:gd name="T4" fmla="*/ 24 w 332"/>
                  <a:gd name="T5" fmla="*/ 1 h 287"/>
                  <a:gd name="T6" fmla="*/ 25 w 332"/>
                  <a:gd name="T7" fmla="*/ 0 h 287"/>
                  <a:gd name="T8" fmla="*/ 26 w 332"/>
                  <a:gd name="T9" fmla="*/ 0 h 287"/>
                  <a:gd name="T10" fmla="*/ 26 w 332"/>
                  <a:gd name="T11" fmla="*/ 1 h 287"/>
                  <a:gd name="T12" fmla="*/ 25 w 332"/>
                  <a:gd name="T13" fmla="*/ 4 h 287"/>
                  <a:gd name="T14" fmla="*/ 23 w 332"/>
                  <a:gd name="T15" fmla="*/ 6 h 287"/>
                  <a:gd name="T16" fmla="*/ 21 w 332"/>
                  <a:gd name="T17" fmla="*/ 7 h 287"/>
                  <a:gd name="T18" fmla="*/ 20 w 332"/>
                  <a:gd name="T19" fmla="*/ 7 h 287"/>
                  <a:gd name="T20" fmla="*/ 20 w 332"/>
                  <a:gd name="T21" fmla="*/ 8 h 287"/>
                  <a:gd name="T22" fmla="*/ 21 w 332"/>
                  <a:gd name="T23" fmla="*/ 8 h 287"/>
                  <a:gd name="T24" fmla="*/ 23 w 332"/>
                  <a:gd name="T25" fmla="*/ 7 h 287"/>
                  <a:gd name="T26" fmla="*/ 24 w 332"/>
                  <a:gd name="T27" fmla="*/ 8 h 287"/>
                  <a:gd name="T28" fmla="*/ 23 w 332"/>
                  <a:gd name="T29" fmla="*/ 9 h 287"/>
                  <a:gd name="T30" fmla="*/ 23 w 332"/>
                  <a:gd name="T31" fmla="*/ 10 h 287"/>
                  <a:gd name="T32" fmla="*/ 23 w 332"/>
                  <a:gd name="T33" fmla="*/ 11 h 287"/>
                  <a:gd name="T34" fmla="*/ 26 w 332"/>
                  <a:gd name="T35" fmla="*/ 12 h 287"/>
                  <a:gd name="T36" fmla="*/ 33 w 332"/>
                  <a:gd name="T37" fmla="*/ 13 h 287"/>
                  <a:gd name="T38" fmla="*/ 34 w 332"/>
                  <a:gd name="T39" fmla="*/ 14 h 287"/>
                  <a:gd name="T40" fmla="*/ 33 w 332"/>
                  <a:gd name="T41" fmla="*/ 15 h 287"/>
                  <a:gd name="T42" fmla="*/ 32 w 332"/>
                  <a:gd name="T43" fmla="*/ 16 h 287"/>
                  <a:gd name="T44" fmla="*/ 32 w 332"/>
                  <a:gd name="T45" fmla="*/ 16 h 287"/>
                  <a:gd name="T46" fmla="*/ 32 w 332"/>
                  <a:gd name="T47" fmla="*/ 17 h 287"/>
                  <a:gd name="T48" fmla="*/ 33 w 332"/>
                  <a:gd name="T49" fmla="*/ 17 h 287"/>
                  <a:gd name="T50" fmla="*/ 34 w 332"/>
                  <a:gd name="T51" fmla="*/ 18 h 287"/>
                  <a:gd name="T52" fmla="*/ 35 w 332"/>
                  <a:gd name="T53" fmla="*/ 19 h 287"/>
                  <a:gd name="T54" fmla="*/ 31 w 332"/>
                  <a:gd name="T55" fmla="*/ 22 h 287"/>
                  <a:gd name="T56" fmla="*/ 25 w 332"/>
                  <a:gd name="T57" fmla="*/ 25 h 287"/>
                  <a:gd name="T58" fmla="*/ 22 w 332"/>
                  <a:gd name="T59" fmla="*/ 28 h 287"/>
                  <a:gd name="T60" fmla="*/ 18 w 332"/>
                  <a:gd name="T61" fmla="*/ 26 h 287"/>
                  <a:gd name="T62" fmla="*/ 19 w 332"/>
                  <a:gd name="T63" fmla="*/ 26 h 287"/>
                  <a:gd name="T64" fmla="*/ 20 w 332"/>
                  <a:gd name="T65" fmla="*/ 25 h 287"/>
                  <a:gd name="T66" fmla="*/ 21 w 332"/>
                  <a:gd name="T67" fmla="*/ 24 h 287"/>
                  <a:gd name="T68" fmla="*/ 16 w 332"/>
                  <a:gd name="T69" fmla="*/ 24 h 287"/>
                  <a:gd name="T70" fmla="*/ 11 w 332"/>
                  <a:gd name="T71" fmla="*/ 24 h 287"/>
                  <a:gd name="T72" fmla="*/ 6 w 332"/>
                  <a:gd name="T73" fmla="*/ 24 h 287"/>
                  <a:gd name="T74" fmla="*/ 3 w 332"/>
                  <a:gd name="T75" fmla="*/ 24 h 287"/>
                  <a:gd name="T76" fmla="*/ 1 w 332"/>
                  <a:gd name="T77" fmla="*/ 24 h 287"/>
                  <a:gd name="T78" fmla="*/ 0 w 332"/>
                  <a:gd name="T79" fmla="*/ 23 h 287"/>
                  <a:gd name="T80" fmla="*/ 0 w 332"/>
                  <a:gd name="T81" fmla="*/ 22 h 287"/>
                  <a:gd name="T82" fmla="*/ 0 w 332"/>
                  <a:gd name="T83" fmla="*/ 21 h 287"/>
                  <a:gd name="T84" fmla="*/ 1 w 332"/>
                  <a:gd name="T85" fmla="*/ 21 h 287"/>
                  <a:gd name="T86" fmla="*/ 4 w 332"/>
                  <a:gd name="T87" fmla="*/ 19 h 287"/>
                  <a:gd name="T88" fmla="*/ 8 w 332"/>
                  <a:gd name="T89" fmla="*/ 17 h 287"/>
                  <a:gd name="T90" fmla="*/ 9 w 332"/>
                  <a:gd name="T91" fmla="*/ 16 h 287"/>
                  <a:gd name="T92" fmla="*/ 10 w 332"/>
                  <a:gd name="T93" fmla="*/ 15 h 287"/>
                  <a:gd name="T94" fmla="*/ 11 w 332"/>
                  <a:gd name="T95" fmla="*/ 14 h 287"/>
                  <a:gd name="T96" fmla="*/ 12 w 332"/>
                  <a:gd name="T97" fmla="*/ 12 h 287"/>
                  <a:gd name="T98" fmla="*/ 14 w 332"/>
                  <a:gd name="T99" fmla="*/ 8 h 287"/>
                  <a:gd name="T100" fmla="*/ 15 w 332"/>
                  <a:gd name="T101" fmla="*/ 7 h 287"/>
                  <a:gd name="T102" fmla="*/ 16 w 332"/>
                  <a:gd name="T103" fmla="*/ 6 h 287"/>
                  <a:gd name="T104" fmla="*/ 17 w 332"/>
                  <a:gd name="T105" fmla="*/ 5 h 287"/>
                  <a:gd name="T106" fmla="*/ 18 w 332"/>
                  <a:gd name="T107" fmla="*/ 4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3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1 w 345"/>
                  <a:gd name="T1" fmla="*/ 8 h 86"/>
                  <a:gd name="T2" fmla="*/ 12 w 345"/>
                  <a:gd name="T3" fmla="*/ 8 h 86"/>
                  <a:gd name="T4" fmla="*/ 14 w 345"/>
                  <a:gd name="T5" fmla="*/ 8 h 86"/>
                  <a:gd name="T6" fmla="*/ 15 w 345"/>
                  <a:gd name="T7" fmla="*/ 7 h 86"/>
                  <a:gd name="T8" fmla="*/ 17 w 345"/>
                  <a:gd name="T9" fmla="*/ 7 h 86"/>
                  <a:gd name="T10" fmla="*/ 20 w 345"/>
                  <a:gd name="T11" fmla="*/ 6 h 86"/>
                  <a:gd name="T12" fmla="*/ 24 w 345"/>
                  <a:gd name="T13" fmla="*/ 6 h 86"/>
                  <a:gd name="T14" fmla="*/ 25 w 345"/>
                  <a:gd name="T15" fmla="*/ 5 h 86"/>
                  <a:gd name="T16" fmla="*/ 27 w 345"/>
                  <a:gd name="T17" fmla="*/ 5 h 86"/>
                  <a:gd name="T18" fmla="*/ 29 w 345"/>
                  <a:gd name="T19" fmla="*/ 4 h 86"/>
                  <a:gd name="T20" fmla="*/ 31 w 345"/>
                  <a:gd name="T21" fmla="*/ 4 h 86"/>
                  <a:gd name="T22" fmla="*/ 32 w 345"/>
                  <a:gd name="T23" fmla="*/ 3 h 86"/>
                  <a:gd name="T24" fmla="*/ 33 w 345"/>
                  <a:gd name="T25" fmla="*/ 3 h 86"/>
                  <a:gd name="T26" fmla="*/ 34 w 345"/>
                  <a:gd name="T27" fmla="*/ 2 h 86"/>
                  <a:gd name="T28" fmla="*/ 36 w 345"/>
                  <a:gd name="T29" fmla="*/ 1 h 86"/>
                  <a:gd name="T30" fmla="*/ 35 w 345"/>
                  <a:gd name="T31" fmla="*/ 1 h 86"/>
                  <a:gd name="T32" fmla="*/ 34 w 345"/>
                  <a:gd name="T33" fmla="*/ 1 h 86"/>
                  <a:gd name="T34" fmla="*/ 33 w 345"/>
                  <a:gd name="T35" fmla="*/ 1 h 86"/>
                  <a:gd name="T36" fmla="*/ 32 w 345"/>
                  <a:gd name="T37" fmla="*/ 1 h 86"/>
                  <a:gd name="T38" fmla="*/ 31 w 345"/>
                  <a:gd name="T39" fmla="*/ 0 h 86"/>
                  <a:gd name="T40" fmla="*/ 30 w 345"/>
                  <a:gd name="T41" fmla="*/ 0 h 86"/>
                  <a:gd name="T42" fmla="*/ 29 w 345"/>
                  <a:gd name="T43" fmla="*/ 0 h 86"/>
                  <a:gd name="T44" fmla="*/ 28 w 345"/>
                  <a:gd name="T45" fmla="*/ 0 h 86"/>
                  <a:gd name="T46" fmla="*/ 27 w 345"/>
                  <a:gd name="T47" fmla="*/ 0 h 86"/>
                  <a:gd name="T48" fmla="*/ 25 w 345"/>
                  <a:gd name="T49" fmla="*/ 0 h 86"/>
                  <a:gd name="T50" fmla="*/ 23 w 345"/>
                  <a:gd name="T51" fmla="*/ 1 h 86"/>
                  <a:gd name="T52" fmla="*/ 22 w 345"/>
                  <a:gd name="T53" fmla="*/ 1 h 86"/>
                  <a:gd name="T54" fmla="*/ 17 w 345"/>
                  <a:gd name="T55" fmla="*/ 2 h 86"/>
                  <a:gd name="T56" fmla="*/ 13 w 345"/>
                  <a:gd name="T57" fmla="*/ 3 h 86"/>
                  <a:gd name="T58" fmla="*/ 11 w 345"/>
                  <a:gd name="T59" fmla="*/ 3 h 86"/>
                  <a:gd name="T60" fmla="*/ 9 w 345"/>
                  <a:gd name="T61" fmla="*/ 4 h 86"/>
                  <a:gd name="T62" fmla="*/ 7 w 345"/>
                  <a:gd name="T63" fmla="*/ 5 h 86"/>
                  <a:gd name="T64" fmla="*/ 5 w 345"/>
                  <a:gd name="T65" fmla="*/ 6 h 86"/>
                  <a:gd name="T66" fmla="*/ 3 w 345"/>
                  <a:gd name="T67" fmla="*/ 6 h 86"/>
                  <a:gd name="T68" fmla="*/ 2 w 345"/>
                  <a:gd name="T69" fmla="*/ 7 h 86"/>
                  <a:gd name="T70" fmla="*/ 1 w 345"/>
                  <a:gd name="T71" fmla="*/ 8 h 86"/>
                  <a:gd name="T72" fmla="*/ 0 w 345"/>
                  <a:gd name="T73" fmla="*/ 8 h 86"/>
                  <a:gd name="T74" fmla="*/ 11 w 345"/>
                  <a:gd name="T75" fmla="*/ 8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2 w 464"/>
                  <a:gd name="T1" fmla="*/ 9 h 130"/>
                  <a:gd name="T2" fmla="*/ 8 w 464"/>
                  <a:gd name="T3" fmla="*/ 9 h 130"/>
                  <a:gd name="T4" fmla="*/ 11 w 464"/>
                  <a:gd name="T5" fmla="*/ 9 h 130"/>
                  <a:gd name="T6" fmla="*/ 10 w 464"/>
                  <a:gd name="T7" fmla="*/ 10 h 130"/>
                  <a:gd name="T8" fmla="*/ 8 w 464"/>
                  <a:gd name="T9" fmla="*/ 11 h 130"/>
                  <a:gd name="T10" fmla="*/ 7 w 464"/>
                  <a:gd name="T11" fmla="*/ 12 h 130"/>
                  <a:gd name="T12" fmla="*/ 7 w 464"/>
                  <a:gd name="T13" fmla="*/ 13 h 130"/>
                  <a:gd name="T14" fmla="*/ 8 w 464"/>
                  <a:gd name="T15" fmla="*/ 14 h 130"/>
                  <a:gd name="T16" fmla="*/ 10 w 464"/>
                  <a:gd name="T17" fmla="*/ 14 h 130"/>
                  <a:gd name="T18" fmla="*/ 11 w 464"/>
                  <a:gd name="T19" fmla="*/ 14 h 130"/>
                  <a:gd name="T20" fmla="*/ 13 w 464"/>
                  <a:gd name="T21" fmla="*/ 14 h 130"/>
                  <a:gd name="T22" fmla="*/ 16 w 464"/>
                  <a:gd name="T23" fmla="*/ 13 h 130"/>
                  <a:gd name="T24" fmla="*/ 20 w 464"/>
                  <a:gd name="T25" fmla="*/ 12 h 130"/>
                  <a:gd name="T26" fmla="*/ 23 w 464"/>
                  <a:gd name="T27" fmla="*/ 11 h 130"/>
                  <a:gd name="T28" fmla="*/ 26 w 464"/>
                  <a:gd name="T29" fmla="*/ 11 h 130"/>
                  <a:gd name="T30" fmla="*/ 27 w 464"/>
                  <a:gd name="T31" fmla="*/ 11 h 130"/>
                  <a:gd name="T32" fmla="*/ 31 w 464"/>
                  <a:gd name="T33" fmla="*/ 11 h 130"/>
                  <a:gd name="T34" fmla="*/ 34 w 464"/>
                  <a:gd name="T35" fmla="*/ 11 h 130"/>
                  <a:gd name="T36" fmla="*/ 39 w 464"/>
                  <a:gd name="T37" fmla="*/ 10 h 130"/>
                  <a:gd name="T38" fmla="*/ 43 w 464"/>
                  <a:gd name="T39" fmla="*/ 9 h 130"/>
                  <a:gd name="T40" fmla="*/ 46 w 464"/>
                  <a:gd name="T41" fmla="*/ 7 h 130"/>
                  <a:gd name="T42" fmla="*/ 47 w 464"/>
                  <a:gd name="T43" fmla="*/ 6 h 130"/>
                  <a:gd name="T44" fmla="*/ 45 w 464"/>
                  <a:gd name="T45" fmla="*/ 5 h 130"/>
                  <a:gd name="T46" fmla="*/ 43 w 464"/>
                  <a:gd name="T47" fmla="*/ 5 h 130"/>
                  <a:gd name="T48" fmla="*/ 41 w 464"/>
                  <a:gd name="T49" fmla="*/ 5 h 130"/>
                  <a:gd name="T50" fmla="*/ 42 w 464"/>
                  <a:gd name="T51" fmla="*/ 4 h 130"/>
                  <a:gd name="T52" fmla="*/ 43 w 464"/>
                  <a:gd name="T53" fmla="*/ 2 h 130"/>
                  <a:gd name="T54" fmla="*/ 43 w 464"/>
                  <a:gd name="T55" fmla="*/ 1 h 130"/>
                  <a:gd name="T56" fmla="*/ 39 w 464"/>
                  <a:gd name="T57" fmla="*/ 0 h 130"/>
                  <a:gd name="T58" fmla="*/ 37 w 464"/>
                  <a:gd name="T59" fmla="*/ 2 h 130"/>
                  <a:gd name="T60" fmla="*/ 35 w 464"/>
                  <a:gd name="T61" fmla="*/ 5 h 130"/>
                  <a:gd name="T62" fmla="*/ 33 w 464"/>
                  <a:gd name="T63" fmla="*/ 7 h 130"/>
                  <a:gd name="T64" fmla="*/ 32 w 464"/>
                  <a:gd name="T65" fmla="*/ 7 h 130"/>
                  <a:gd name="T66" fmla="*/ 31 w 464"/>
                  <a:gd name="T67" fmla="*/ 7 h 130"/>
                  <a:gd name="T68" fmla="*/ 29 w 464"/>
                  <a:gd name="T69" fmla="*/ 7 h 130"/>
                  <a:gd name="T70" fmla="*/ 27 w 464"/>
                  <a:gd name="T71" fmla="*/ 7 h 130"/>
                  <a:gd name="T72" fmla="*/ 25 w 464"/>
                  <a:gd name="T73" fmla="*/ 6 h 130"/>
                  <a:gd name="T74" fmla="*/ 21 w 464"/>
                  <a:gd name="T75" fmla="*/ 3 h 130"/>
                  <a:gd name="T76" fmla="*/ 19 w 464"/>
                  <a:gd name="T77" fmla="*/ 3 h 130"/>
                  <a:gd name="T78" fmla="*/ 15 w 464"/>
                  <a:gd name="T79" fmla="*/ 3 h 130"/>
                  <a:gd name="T80" fmla="*/ 12 w 464"/>
                  <a:gd name="T81" fmla="*/ 4 h 130"/>
                  <a:gd name="T82" fmla="*/ 9 w 464"/>
                  <a:gd name="T83" fmla="*/ 5 h 130"/>
                  <a:gd name="T84" fmla="*/ 5 w 464"/>
                  <a:gd name="T85" fmla="*/ 6 h 130"/>
                  <a:gd name="T86" fmla="*/ 3 w 464"/>
                  <a:gd name="T87" fmla="*/ 7 h 130"/>
                  <a:gd name="T88" fmla="*/ 1 w 464"/>
                  <a:gd name="T89" fmla="*/ 8 h 130"/>
                  <a:gd name="T90" fmla="*/ 0 w 464"/>
                  <a:gd name="T91" fmla="*/ 9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 w 472"/>
                  <a:gd name="T1" fmla="*/ 0 h 92"/>
                  <a:gd name="T2" fmla="*/ 5 w 472"/>
                  <a:gd name="T3" fmla="*/ 0 h 92"/>
                  <a:gd name="T4" fmla="*/ 3 w 472"/>
                  <a:gd name="T5" fmla="*/ 0 h 92"/>
                  <a:gd name="T6" fmla="*/ 1 w 472"/>
                  <a:gd name="T7" fmla="*/ 0 h 92"/>
                  <a:gd name="T8" fmla="*/ 1 w 472"/>
                  <a:gd name="T9" fmla="*/ 1 h 92"/>
                  <a:gd name="T10" fmla="*/ 1 w 472"/>
                  <a:gd name="T11" fmla="*/ 2 h 92"/>
                  <a:gd name="T12" fmla="*/ 1 w 472"/>
                  <a:gd name="T13" fmla="*/ 3 h 92"/>
                  <a:gd name="T14" fmla="*/ 2 w 472"/>
                  <a:gd name="T15" fmla="*/ 4 h 92"/>
                  <a:gd name="T16" fmla="*/ 2 w 472"/>
                  <a:gd name="T17" fmla="*/ 5 h 92"/>
                  <a:gd name="T18" fmla="*/ 0 w 472"/>
                  <a:gd name="T19" fmla="*/ 6 h 92"/>
                  <a:gd name="T20" fmla="*/ 0 w 472"/>
                  <a:gd name="T21" fmla="*/ 6 h 92"/>
                  <a:gd name="T22" fmla="*/ 0 w 472"/>
                  <a:gd name="T23" fmla="*/ 7 h 92"/>
                  <a:gd name="T24" fmla="*/ 2 w 472"/>
                  <a:gd name="T25" fmla="*/ 8 h 92"/>
                  <a:gd name="T26" fmla="*/ 5 w 472"/>
                  <a:gd name="T27" fmla="*/ 9 h 92"/>
                  <a:gd name="T28" fmla="*/ 11 w 472"/>
                  <a:gd name="T29" fmla="*/ 10 h 92"/>
                  <a:gd name="T30" fmla="*/ 18 w 472"/>
                  <a:gd name="T31" fmla="*/ 10 h 92"/>
                  <a:gd name="T32" fmla="*/ 38 w 472"/>
                  <a:gd name="T33" fmla="*/ 10 h 92"/>
                  <a:gd name="T34" fmla="*/ 39 w 472"/>
                  <a:gd name="T35" fmla="*/ 9 h 92"/>
                  <a:gd name="T36" fmla="*/ 41 w 472"/>
                  <a:gd name="T37" fmla="*/ 8 h 92"/>
                  <a:gd name="T38" fmla="*/ 42 w 472"/>
                  <a:gd name="T39" fmla="*/ 8 h 92"/>
                  <a:gd name="T40" fmla="*/ 43 w 472"/>
                  <a:gd name="T41" fmla="*/ 8 h 92"/>
                  <a:gd name="T42" fmla="*/ 46 w 472"/>
                  <a:gd name="T43" fmla="*/ 9 h 92"/>
                  <a:gd name="T44" fmla="*/ 48 w 472"/>
                  <a:gd name="T45" fmla="*/ 9 h 92"/>
                  <a:gd name="T46" fmla="*/ 50 w 472"/>
                  <a:gd name="T47" fmla="*/ 8 h 92"/>
                  <a:gd name="T48" fmla="*/ 49 w 472"/>
                  <a:gd name="T49" fmla="*/ 4 h 92"/>
                  <a:gd name="T50" fmla="*/ 48 w 472"/>
                  <a:gd name="T51" fmla="*/ 3 h 92"/>
                  <a:gd name="T52" fmla="*/ 47 w 472"/>
                  <a:gd name="T53" fmla="*/ 2 h 92"/>
                  <a:gd name="T54" fmla="*/ 45 w 472"/>
                  <a:gd name="T55" fmla="*/ 1 h 92"/>
                  <a:gd name="T56" fmla="*/ 44 w 472"/>
                  <a:gd name="T57" fmla="*/ 1 h 92"/>
                  <a:gd name="T58" fmla="*/ 41 w 472"/>
                  <a:gd name="T59" fmla="*/ 2 h 92"/>
                  <a:gd name="T60" fmla="*/ 39 w 472"/>
                  <a:gd name="T61" fmla="*/ 2 h 92"/>
                  <a:gd name="T62" fmla="*/ 34 w 472"/>
                  <a:gd name="T63" fmla="*/ 4 h 92"/>
                  <a:gd name="T64" fmla="*/ 31 w 472"/>
                  <a:gd name="T65" fmla="*/ 4 h 92"/>
                  <a:gd name="T66" fmla="*/ 29 w 472"/>
                  <a:gd name="T67" fmla="*/ 5 h 92"/>
                  <a:gd name="T68" fmla="*/ 25 w 472"/>
                  <a:gd name="T69" fmla="*/ 5 h 92"/>
                  <a:gd name="T70" fmla="*/ 20 w 472"/>
                  <a:gd name="T71" fmla="*/ 5 h 92"/>
                  <a:gd name="T72" fmla="*/ 17 w 472"/>
                  <a:gd name="T73" fmla="*/ 5 h 92"/>
                  <a:gd name="T74" fmla="*/ 13 w 472"/>
                  <a:gd name="T75" fmla="*/ 5 h 92"/>
                  <a:gd name="T76" fmla="*/ 9 w 472"/>
                  <a:gd name="T77" fmla="*/ 5 h 92"/>
                  <a:gd name="T78" fmla="*/ 8 w 472"/>
                  <a:gd name="T79" fmla="*/ 4 h 92"/>
                  <a:gd name="T80" fmla="*/ 7 w 472"/>
                  <a:gd name="T81" fmla="*/ 3 h 92"/>
                  <a:gd name="T82" fmla="*/ 7 w 472"/>
                  <a:gd name="T83" fmla="*/ 2 h 92"/>
                  <a:gd name="T84" fmla="*/ 7 w 472"/>
                  <a:gd name="T85" fmla="*/ 1 h 92"/>
                  <a:gd name="T86" fmla="*/ 8 w 472"/>
                  <a:gd name="T87" fmla="*/ 0 h 92"/>
                  <a:gd name="T88" fmla="*/ 8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5 w 326"/>
                  <a:gd name="T1" fmla="*/ 12 h 135"/>
                  <a:gd name="T2" fmla="*/ 21 w 326"/>
                  <a:gd name="T3" fmla="*/ 11 h 135"/>
                  <a:gd name="T4" fmla="*/ 28 w 326"/>
                  <a:gd name="T5" fmla="*/ 9 h 135"/>
                  <a:gd name="T6" fmla="*/ 32 w 326"/>
                  <a:gd name="T7" fmla="*/ 8 h 135"/>
                  <a:gd name="T8" fmla="*/ 33 w 326"/>
                  <a:gd name="T9" fmla="*/ 7 h 135"/>
                  <a:gd name="T10" fmla="*/ 34 w 326"/>
                  <a:gd name="T11" fmla="*/ 6 h 135"/>
                  <a:gd name="T12" fmla="*/ 33 w 326"/>
                  <a:gd name="T13" fmla="*/ 5 h 135"/>
                  <a:gd name="T14" fmla="*/ 32 w 326"/>
                  <a:gd name="T15" fmla="*/ 5 h 135"/>
                  <a:gd name="T16" fmla="*/ 30 w 326"/>
                  <a:gd name="T17" fmla="*/ 4 h 135"/>
                  <a:gd name="T18" fmla="*/ 28 w 326"/>
                  <a:gd name="T19" fmla="*/ 4 h 135"/>
                  <a:gd name="T20" fmla="*/ 24 w 326"/>
                  <a:gd name="T21" fmla="*/ 3 h 135"/>
                  <a:gd name="T22" fmla="*/ 22 w 326"/>
                  <a:gd name="T23" fmla="*/ 3 h 135"/>
                  <a:gd name="T24" fmla="*/ 21 w 326"/>
                  <a:gd name="T25" fmla="*/ 3 h 135"/>
                  <a:gd name="T26" fmla="*/ 21 w 326"/>
                  <a:gd name="T27" fmla="*/ 2 h 135"/>
                  <a:gd name="T28" fmla="*/ 20 w 326"/>
                  <a:gd name="T29" fmla="*/ 1 h 135"/>
                  <a:gd name="T30" fmla="*/ 19 w 326"/>
                  <a:gd name="T31" fmla="*/ 1 h 135"/>
                  <a:gd name="T32" fmla="*/ 17 w 326"/>
                  <a:gd name="T33" fmla="*/ 0 h 135"/>
                  <a:gd name="T34" fmla="*/ 14 w 326"/>
                  <a:gd name="T35" fmla="*/ 0 h 135"/>
                  <a:gd name="T36" fmla="*/ 9 w 326"/>
                  <a:gd name="T37" fmla="*/ 1 h 135"/>
                  <a:gd name="T38" fmla="*/ 5 w 326"/>
                  <a:gd name="T39" fmla="*/ 2 h 135"/>
                  <a:gd name="T40" fmla="*/ 3 w 326"/>
                  <a:gd name="T41" fmla="*/ 3 h 135"/>
                  <a:gd name="T42" fmla="*/ 1 w 326"/>
                  <a:gd name="T43" fmla="*/ 4 h 135"/>
                  <a:gd name="T44" fmla="*/ 0 w 326"/>
                  <a:gd name="T45" fmla="*/ 5 h 135"/>
                  <a:gd name="T46" fmla="*/ 0 w 326"/>
                  <a:gd name="T47" fmla="*/ 6 h 135"/>
                  <a:gd name="T48" fmla="*/ 4 w 326"/>
                  <a:gd name="T49" fmla="*/ 8 h 135"/>
                  <a:gd name="T50" fmla="*/ 6 w 326"/>
                  <a:gd name="T51" fmla="*/ 9 h 135"/>
                  <a:gd name="T52" fmla="*/ 4 w 326"/>
                  <a:gd name="T53" fmla="*/ 10 h 135"/>
                  <a:gd name="T54" fmla="*/ 4 w 326"/>
                  <a:gd name="T55" fmla="*/ 11 h 135"/>
                  <a:gd name="T56" fmla="*/ 5 w 326"/>
                  <a:gd name="T57" fmla="*/ 13 h 135"/>
                  <a:gd name="T58" fmla="*/ 5 w 326"/>
                  <a:gd name="T59" fmla="*/ 14 h 135"/>
                  <a:gd name="T60" fmla="*/ 6 w 326"/>
                  <a:gd name="T61" fmla="*/ 15 h 135"/>
                  <a:gd name="T62" fmla="*/ 7 w 326"/>
                  <a:gd name="T63" fmla="*/ 15 h 135"/>
                  <a:gd name="T64" fmla="*/ 9 w 326"/>
                  <a:gd name="T65" fmla="*/ 15 h 135"/>
                  <a:gd name="T66" fmla="*/ 11 w 326"/>
                  <a:gd name="T67" fmla="*/ 14 h 135"/>
                  <a:gd name="T68" fmla="*/ 12 w 326"/>
                  <a:gd name="T69" fmla="*/ 14 h 135"/>
                  <a:gd name="T70" fmla="*/ 13 w 326"/>
                  <a:gd name="T71" fmla="*/ 12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5 w 159"/>
                  <a:gd name="T1" fmla="*/ 5 h 56"/>
                  <a:gd name="T2" fmla="*/ 4 w 159"/>
                  <a:gd name="T3" fmla="*/ 5 h 56"/>
                  <a:gd name="T4" fmla="*/ 4 w 159"/>
                  <a:gd name="T5" fmla="*/ 5 h 56"/>
                  <a:gd name="T6" fmla="*/ 3 w 159"/>
                  <a:gd name="T7" fmla="*/ 5 h 56"/>
                  <a:gd name="T8" fmla="*/ 2 w 159"/>
                  <a:gd name="T9" fmla="*/ 4 h 56"/>
                  <a:gd name="T10" fmla="*/ 1 w 159"/>
                  <a:gd name="T11" fmla="*/ 3 h 56"/>
                  <a:gd name="T12" fmla="*/ 1 w 159"/>
                  <a:gd name="T13" fmla="*/ 3 h 56"/>
                  <a:gd name="T14" fmla="*/ 0 w 159"/>
                  <a:gd name="T15" fmla="*/ 2 h 56"/>
                  <a:gd name="T16" fmla="*/ 0 w 159"/>
                  <a:gd name="T17" fmla="*/ 2 h 56"/>
                  <a:gd name="T18" fmla="*/ 0 w 159"/>
                  <a:gd name="T19" fmla="*/ 1 h 56"/>
                  <a:gd name="T20" fmla="*/ 0 w 159"/>
                  <a:gd name="T21" fmla="*/ 1 h 56"/>
                  <a:gd name="T22" fmla="*/ 2 w 159"/>
                  <a:gd name="T23" fmla="*/ 1 h 56"/>
                  <a:gd name="T24" fmla="*/ 4 w 159"/>
                  <a:gd name="T25" fmla="*/ 1 h 56"/>
                  <a:gd name="T26" fmla="*/ 5 w 159"/>
                  <a:gd name="T27" fmla="*/ 1 h 56"/>
                  <a:gd name="T28" fmla="*/ 6 w 159"/>
                  <a:gd name="T29" fmla="*/ 1 h 56"/>
                  <a:gd name="T30" fmla="*/ 9 w 159"/>
                  <a:gd name="T31" fmla="*/ 1 h 56"/>
                  <a:gd name="T32" fmla="*/ 12 w 159"/>
                  <a:gd name="T33" fmla="*/ 0 h 56"/>
                  <a:gd name="T34" fmla="*/ 13 w 159"/>
                  <a:gd name="T35" fmla="*/ 0 h 56"/>
                  <a:gd name="T36" fmla="*/ 13 w 159"/>
                  <a:gd name="T37" fmla="*/ 0 h 56"/>
                  <a:gd name="T38" fmla="*/ 14 w 159"/>
                  <a:gd name="T39" fmla="*/ 0 h 56"/>
                  <a:gd name="T40" fmla="*/ 15 w 159"/>
                  <a:gd name="T41" fmla="*/ 0 h 56"/>
                  <a:gd name="T42" fmla="*/ 15 w 159"/>
                  <a:gd name="T43" fmla="*/ 1 h 56"/>
                  <a:gd name="T44" fmla="*/ 16 w 159"/>
                  <a:gd name="T45" fmla="*/ 1 h 56"/>
                  <a:gd name="T46" fmla="*/ 16 w 159"/>
                  <a:gd name="T47" fmla="*/ 2 h 56"/>
                  <a:gd name="T48" fmla="*/ 16 w 159"/>
                  <a:gd name="T49" fmla="*/ 2 h 56"/>
                  <a:gd name="T50" fmla="*/ 16 w 159"/>
                  <a:gd name="T51" fmla="*/ 3 h 56"/>
                  <a:gd name="T52" fmla="*/ 16 w 159"/>
                  <a:gd name="T53" fmla="*/ 4 h 56"/>
                  <a:gd name="T54" fmla="*/ 15 w 159"/>
                  <a:gd name="T55" fmla="*/ 5 h 56"/>
                  <a:gd name="T56" fmla="*/ 15 w 159"/>
                  <a:gd name="T57" fmla="*/ 5 h 56"/>
                  <a:gd name="T58" fmla="*/ 14 w 159"/>
                  <a:gd name="T59" fmla="*/ 5 h 56"/>
                  <a:gd name="T60" fmla="*/ 13 w 159"/>
                  <a:gd name="T61" fmla="*/ 5 h 56"/>
                  <a:gd name="T62" fmla="*/ 13 w 159"/>
                  <a:gd name="T63" fmla="*/ 6 h 56"/>
                  <a:gd name="T64" fmla="*/ 12 w 159"/>
                  <a:gd name="T65" fmla="*/ 6 h 56"/>
                  <a:gd name="T66" fmla="*/ 8 w 159"/>
                  <a:gd name="T67" fmla="*/ 6 h 56"/>
                  <a:gd name="T68" fmla="*/ 5 w 159"/>
                  <a:gd name="T69" fmla="*/ 5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4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305 w 3734"/>
                  <a:gd name="T1" fmla="*/ 147 h 1644"/>
                  <a:gd name="T2" fmla="*/ 266 w 3734"/>
                  <a:gd name="T3" fmla="*/ 164 h 1644"/>
                  <a:gd name="T4" fmla="*/ 241 w 3734"/>
                  <a:gd name="T5" fmla="*/ 171 h 1644"/>
                  <a:gd name="T6" fmla="*/ 239 w 3734"/>
                  <a:gd name="T7" fmla="*/ 176 h 1644"/>
                  <a:gd name="T8" fmla="*/ 227 w 3734"/>
                  <a:gd name="T9" fmla="*/ 173 h 1644"/>
                  <a:gd name="T10" fmla="*/ 237 w 3734"/>
                  <a:gd name="T11" fmla="*/ 163 h 1644"/>
                  <a:gd name="T12" fmla="*/ 226 w 3734"/>
                  <a:gd name="T13" fmla="*/ 152 h 1644"/>
                  <a:gd name="T14" fmla="*/ 218 w 3734"/>
                  <a:gd name="T15" fmla="*/ 139 h 1644"/>
                  <a:gd name="T16" fmla="*/ 203 w 3734"/>
                  <a:gd name="T17" fmla="*/ 142 h 1644"/>
                  <a:gd name="T18" fmla="*/ 185 w 3734"/>
                  <a:gd name="T19" fmla="*/ 138 h 1644"/>
                  <a:gd name="T20" fmla="*/ 27 w 3734"/>
                  <a:gd name="T21" fmla="*/ 133 h 1644"/>
                  <a:gd name="T22" fmla="*/ 13 w 3734"/>
                  <a:gd name="T23" fmla="*/ 121 h 1644"/>
                  <a:gd name="T24" fmla="*/ 16 w 3734"/>
                  <a:gd name="T25" fmla="*/ 112 h 1644"/>
                  <a:gd name="T26" fmla="*/ 15 w 3734"/>
                  <a:gd name="T27" fmla="*/ 100 h 1644"/>
                  <a:gd name="T28" fmla="*/ 27 w 3734"/>
                  <a:gd name="T29" fmla="*/ 92 h 1644"/>
                  <a:gd name="T30" fmla="*/ 26 w 3734"/>
                  <a:gd name="T31" fmla="*/ 80 h 1644"/>
                  <a:gd name="T32" fmla="*/ 13 w 3734"/>
                  <a:gd name="T33" fmla="*/ 71 h 1644"/>
                  <a:gd name="T34" fmla="*/ 63 w 3734"/>
                  <a:gd name="T35" fmla="*/ 12 h 1644"/>
                  <a:gd name="T36" fmla="*/ 119 w 3734"/>
                  <a:gd name="T37" fmla="*/ 11 h 1644"/>
                  <a:gd name="T38" fmla="*/ 135 w 3734"/>
                  <a:gd name="T39" fmla="*/ 12 h 1644"/>
                  <a:gd name="T40" fmla="*/ 171 w 3734"/>
                  <a:gd name="T41" fmla="*/ 18 h 1644"/>
                  <a:gd name="T42" fmla="*/ 185 w 3734"/>
                  <a:gd name="T43" fmla="*/ 22 h 1644"/>
                  <a:gd name="T44" fmla="*/ 216 w 3734"/>
                  <a:gd name="T45" fmla="*/ 21 h 1644"/>
                  <a:gd name="T46" fmla="*/ 238 w 3734"/>
                  <a:gd name="T47" fmla="*/ 23 h 1644"/>
                  <a:gd name="T48" fmla="*/ 246 w 3734"/>
                  <a:gd name="T49" fmla="*/ 23 h 1644"/>
                  <a:gd name="T50" fmla="*/ 262 w 3734"/>
                  <a:gd name="T51" fmla="*/ 13 h 1644"/>
                  <a:gd name="T52" fmla="*/ 269 w 3734"/>
                  <a:gd name="T53" fmla="*/ 0 h 1644"/>
                  <a:gd name="T54" fmla="*/ 275 w 3734"/>
                  <a:gd name="T55" fmla="*/ 11 h 1644"/>
                  <a:gd name="T56" fmla="*/ 278 w 3734"/>
                  <a:gd name="T57" fmla="*/ 18 h 1644"/>
                  <a:gd name="T58" fmla="*/ 283 w 3734"/>
                  <a:gd name="T59" fmla="*/ 21 h 1644"/>
                  <a:gd name="T60" fmla="*/ 301 w 3734"/>
                  <a:gd name="T61" fmla="*/ 13 h 1644"/>
                  <a:gd name="T62" fmla="*/ 316 w 3734"/>
                  <a:gd name="T63" fmla="*/ 14 h 1644"/>
                  <a:gd name="T64" fmla="*/ 300 w 3734"/>
                  <a:gd name="T65" fmla="*/ 29 h 1644"/>
                  <a:gd name="T66" fmla="*/ 290 w 3734"/>
                  <a:gd name="T67" fmla="*/ 31 h 1644"/>
                  <a:gd name="T68" fmla="*/ 268 w 3734"/>
                  <a:gd name="T69" fmla="*/ 33 h 1644"/>
                  <a:gd name="T70" fmla="*/ 260 w 3734"/>
                  <a:gd name="T71" fmla="*/ 43 h 1644"/>
                  <a:gd name="T72" fmla="*/ 243 w 3734"/>
                  <a:gd name="T73" fmla="*/ 50 h 1644"/>
                  <a:gd name="T74" fmla="*/ 217 w 3734"/>
                  <a:gd name="T75" fmla="*/ 67 h 1644"/>
                  <a:gd name="T76" fmla="*/ 219 w 3734"/>
                  <a:gd name="T77" fmla="*/ 85 h 1644"/>
                  <a:gd name="T78" fmla="*/ 246 w 3734"/>
                  <a:gd name="T79" fmla="*/ 97 h 1644"/>
                  <a:gd name="T80" fmla="*/ 254 w 3734"/>
                  <a:gd name="T81" fmla="*/ 114 h 1644"/>
                  <a:gd name="T82" fmla="*/ 272 w 3734"/>
                  <a:gd name="T83" fmla="*/ 106 h 1644"/>
                  <a:gd name="T84" fmla="*/ 297 w 3734"/>
                  <a:gd name="T85" fmla="*/ 84 h 1644"/>
                  <a:gd name="T86" fmla="*/ 302 w 3734"/>
                  <a:gd name="T87" fmla="*/ 64 h 1644"/>
                  <a:gd name="T88" fmla="*/ 329 w 3734"/>
                  <a:gd name="T89" fmla="*/ 54 h 1644"/>
                  <a:gd name="T90" fmla="*/ 341 w 3734"/>
                  <a:gd name="T91" fmla="*/ 64 h 1644"/>
                  <a:gd name="T92" fmla="*/ 336 w 3734"/>
                  <a:gd name="T93" fmla="*/ 79 h 1644"/>
                  <a:gd name="T94" fmla="*/ 364 w 3734"/>
                  <a:gd name="T95" fmla="*/ 66 h 1644"/>
                  <a:gd name="T96" fmla="*/ 369 w 3734"/>
                  <a:gd name="T97" fmla="*/ 83 h 1644"/>
                  <a:gd name="T98" fmla="*/ 381 w 3734"/>
                  <a:gd name="T99" fmla="*/ 99 h 1644"/>
                  <a:gd name="T100" fmla="*/ 377 w 3734"/>
                  <a:gd name="T101" fmla="*/ 103 h 1644"/>
                  <a:gd name="T102" fmla="*/ 385 w 3734"/>
                  <a:gd name="T103" fmla="*/ 110 h 1644"/>
                  <a:gd name="T104" fmla="*/ 370 w 3734"/>
                  <a:gd name="T105" fmla="*/ 119 h 1644"/>
                  <a:gd name="T106" fmla="*/ 328 w 3734"/>
                  <a:gd name="T107" fmla="*/ 126 h 1644"/>
                  <a:gd name="T108" fmla="*/ 297 w 3734"/>
                  <a:gd name="T109" fmla="*/ 144 h 1644"/>
                  <a:gd name="T110" fmla="*/ 302 w 3734"/>
                  <a:gd name="T111" fmla="*/ 144 h 1644"/>
                  <a:gd name="T112" fmla="*/ 335 w 3734"/>
                  <a:gd name="T113" fmla="*/ 135 h 1644"/>
                  <a:gd name="T114" fmla="*/ 319 w 3734"/>
                  <a:gd name="T115" fmla="*/ 140 h 1644"/>
                  <a:gd name="T116" fmla="*/ 327 w 3734"/>
                  <a:gd name="T117" fmla="*/ 150 h 1644"/>
                  <a:gd name="T118" fmla="*/ 338 w 3734"/>
                  <a:gd name="T119" fmla="*/ 158 h 1644"/>
                  <a:gd name="T120" fmla="*/ 314 w 3734"/>
                  <a:gd name="T121" fmla="*/ 168 h 1644"/>
                  <a:gd name="T122" fmla="*/ 332 w 3734"/>
                  <a:gd name="T123" fmla="*/ 158 h 1644"/>
                  <a:gd name="T124" fmla="*/ 314 w 3734"/>
                  <a:gd name="T125" fmla="*/ 160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1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911305" y="4371016"/>
              <a:ext cx="153139" cy="178486"/>
            </a:xfrm>
            <a:custGeom>
              <a:avLst/>
              <a:gdLst>
                <a:gd name="T0" fmla="*/ 50128901 w 292"/>
                <a:gd name="T1" fmla="*/ 2656485 h 308"/>
                <a:gd name="T2" fmla="*/ 52209613 w 292"/>
                <a:gd name="T3" fmla="*/ 9829614 h 308"/>
                <a:gd name="T4" fmla="*/ 54101130 w 292"/>
                <a:gd name="T5" fmla="*/ 24174842 h 308"/>
                <a:gd name="T6" fmla="*/ 55236301 w 292"/>
                <a:gd name="T7" fmla="*/ 38255142 h 308"/>
                <a:gd name="T8" fmla="*/ 55047106 w 292"/>
                <a:gd name="T9" fmla="*/ 42771270 h 308"/>
                <a:gd name="T10" fmla="*/ 54101130 w 292"/>
                <a:gd name="T11" fmla="*/ 47553356 h 308"/>
                <a:gd name="T12" fmla="*/ 50885682 w 292"/>
                <a:gd name="T13" fmla="*/ 54725970 h 308"/>
                <a:gd name="T14" fmla="*/ 43697134 w 292"/>
                <a:gd name="T15" fmla="*/ 49147041 h 308"/>
                <a:gd name="T16" fmla="*/ 31212425 w 292"/>
                <a:gd name="T17" fmla="*/ 68540313 h 308"/>
                <a:gd name="T18" fmla="*/ 24969853 w 292"/>
                <a:gd name="T19" fmla="*/ 73853283 h 308"/>
                <a:gd name="T20" fmla="*/ 11160777 w 292"/>
                <a:gd name="T21" fmla="*/ 78635369 h 308"/>
                <a:gd name="T22" fmla="*/ 6053377 w 292"/>
                <a:gd name="T23" fmla="*/ 81823255 h 308"/>
                <a:gd name="T24" fmla="*/ 1135171 w 292"/>
                <a:gd name="T25" fmla="*/ 81823255 h 308"/>
                <a:gd name="T26" fmla="*/ 1702322 w 292"/>
                <a:gd name="T27" fmla="*/ 78900812 h 308"/>
                <a:gd name="T28" fmla="*/ 2080712 w 292"/>
                <a:gd name="T29" fmla="*/ 75978884 h 308"/>
                <a:gd name="T30" fmla="*/ 1324366 w 292"/>
                <a:gd name="T31" fmla="*/ 70399955 h 308"/>
                <a:gd name="T32" fmla="*/ 378390 w 292"/>
                <a:gd name="T33" fmla="*/ 65352427 h 308"/>
                <a:gd name="T34" fmla="*/ 0 w 292"/>
                <a:gd name="T35" fmla="*/ 60570341 h 308"/>
                <a:gd name="T36" fmla="*/ 567586 w 292"/>
                <a:gd name="T37" fmla="*/ 54460528 h 308"/>
                <a:gd name="T38" fmla="*/ 2269908 w 292"/>
                <a:gd name="T39" fmla="*/ 49943884 h 308"/>
                <a:gd name="T40" fmla="*/ 4918205 w 292"/>
                <a:gd name="T41" fmla="*/ 46224598 h 308"/>
                <a:gd name="T42" fmla="*/ 7944894 w 292"/>
                <a:gd name="T43" fmla="*/ 42771270 h 308"/>
                <a:gd name="T44" fmla="*/ 14565856 w 292"/>
                <a:gd name="T45" fmla="*/ 35864099 h 308"/>
                <a:gd name="T46" fmla="*/ 17592545 w 292"/>
                <a:gd name="T47" fmla="*/ 31613413 h 308"/>
                <a:gd name="T48" fmla="*/ 19862452 w 292"/>
                <a:gd name="T49" fmla="*/ 26034485 h 308"/>
                <a:gd name="T50" fmla="*/ 18538086 w 292"/>
                <a:gd name="T51" fmla="*/ 25503600 h 308"/>
                <a:gd name="T52" fmla="*/ 17403349 w 292"/>
                <a:gd name="T53" fmla="*/ 24174842 h 308"/>
                <a:gd name="T54" fmla="*/ 15511397 w 292"/>
                <a:gd name="T55" fmla="*/ 19393271 h 308"/>
                <a:gd name="T56" fmla="*/ 13998271 w 292"/>
                <a:gd name="T57" fmla="*/ 13282942 h 308"/>
                <a:gd name="T58" fmla="*/ 13619880 w 292"/>
                <a:gd name="T59" fmla="*/ 6375771 h 308"/>
                <a:gd name="T60" fmla="*/ 17024959 w 292"/>
                <a:gd name="T61" fmla="*/ 5047528 h 308"/>
                <a:gd name="T62" fmla="*/ 19862452 w 292"/>
                <a:gd name="T63" fmla="*/ 5312971 h 308"/>
                <a:gd name="T64" fmla="*/ 24969853 w 292"/>
                <a:gd name="T65" fmla="*/ 6375771 h 308"/>
                <a:gd name="T66" fmla="*/ 31968771 w 292"/>
                <a:gd name="T67" fmla="*/ 5578929 h 308"/>
                <a:gd name="T68" fmla="*/ 39724904 w 292"/>
                <a:gd name="T69" fmla="*/ 3187886 h 308"/>
                <a:gd name="T70" fmla="*/ 48993729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2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5039559" y="4540578"/>
              <a:ext cx="7657" cy="64255"/>
            </a:xfrm>
            <a:custGeom>
              <a:avLst/>
              <a:gdLst>
                <a:gd name="T0" fmla="*/ 2262868 w 14"/>
                <a:gd name="T1" fmla="*/ 0 h 7"/>
                <a:gd name="T2" fmla="*/ 2674257 w 14"/>
                <a:gd name="T3" fmla="*/ 199967850 h 7"/>
                <a:gd name="T4" fmla="*/ 2880179 w 14"/>
                <a:gd name="T5" fmla="*/ 466588929 h 7"/>
                <a:gd name="T6" fmla="*/ 0 w 14"/>
                <a:gd name="T7" fmla="*/ 466588929 h 7"/>
                <a:gd name="T8" fmla="*/ 2262868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3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425088" y="3682060"/>
              <a:ext cx="300535" cy="562231"/>
            </a:xfrm>
            <a:custGeom>
              <a:avLst/>
              <a:gdLst>
                <a:gd name="T0" fmla="*/ 14905745 w 581"/>
                <a:gd name="T1" fmla="*/ 31531135 h 955"/>
                <a:gd name="T2" fmla="*/ 19138485 w 581"/>
                <a:gd name="T3" fmla="*/ 41675848 h 955"/>
                <a:gd name="T4" fmla="*/ 20426710 w 581"/>
                <a:gd name="T5" fmla="*/ 49353239 h 955"/>
                <a:gd name="T6" fmla="*/ 17482195 w 581"/>
                <a:gd name="T7" fmla="*/ 64158740 h 955"/>
                <a:gd name="T8" fmla="*/ 17666227 w 581"/>
                <a:gd name="T9" fmla="*/ 89109478 h 955"/>
                <a:gd name="T10" fmla="*/ 17114131 w 581"/>
                <a:gd name="T11" fmla="*/ 99528570 h 955"/>
                <a:gd name="T12" fmla="*/ 15089777 w 581"/>
                <a:gd name="T13" fmla="*/ 108576813 h 955"/>
                <a:gd name="T14" fmla="*/ 10857467 w 581"/>
                <a:gd name="T15" fmla="*/ 117624531 h 955"/>
                <a:gd name="T16" fmla="*/ 5704567 w 581"/>
                <a:gd name="T17" fmla="*/ 126398394 h 955"/>
                <a:gd name="T18" fmla="*/ 3128546 w 581"/>
                <a:gd name="T19" fmla="*/ 131882320 h 955"/>
                <a:gd name="T20" fmla="*/ 368064 w 581"/>
                <a:gd name="T21" fmla="*/ 148607430 h 955"/>
                <a:gd name="T22" fmla="*/ 12697789 w 581"/>
                <a:gd name="T23" fmla="*/ 168896857 h 955"/>
                <a:gd name="T24" fmla="*/ 12697789 w 581"/>
                <a:gd name="T25" fmla="*/ 173832024 h 955"/>
                <a:gd name="T26" fmla="*/ 13617520 w 581"/>
                <a:gd name="T27" fmla="*/ 182332030 h 955"/>
                <a:gd name="T28" fmla="*/ 13617520 w 581"/>
                <a:gd name="T29" fmla="*/ 190831514 h 955"/>
                <a:gd name="T30" fmla="*/ 14353649 w 581"/>
                <a:gd name="T31" fmla="*/ 200976227 h 955"/>
                <a:gd name="T32" fmla="*/ 17298163 w 581"/>
                <a:gd name="T33" fmla="*/ 213314406 h 955"/>
                <a:gd name="T34" fmla="*/ 19322517 w 581"/>
                <a:gd name="T35" fmla="*/ 217153102 h 955"/>
                <a:gd name="T36" fmla="*/ 12513757 w 581"/>
                <a:gd name="T37" fmla="*/ 217701337 h 955"/>
                <a:gd name="T38" fmla="*/ 7728921 w 581"/>
                <a:gd name="T39" fmla="*/ 219894803 h 955"/>
                <a:gd name="T40" fmla="*/ 6624728 w 581"/>
                <a:gd name="T41" fmla="*/ 222637028 h 955"/>
                <a:gd name="T42" fmla="*/ 7728921 w 581"/>
                <a:gd name="T43" fmla="*/ 230862131 h 955"/>
                <a:gd name="T44" fmla="*/ 12697789 w 581"/>
                <a:gd name="T45" fmla="*/ 240184753 h 955"/>
                <a:gd name="T46" fmla="*/ 16009938 w 581"/>
                <a:gd name="T47" fmla="*/ 246490770 h 955"/>
                <a:gd name="T48" fmla="*/ 18402356 w 581"/>
                <a:gd name="T49" fmla="*/ 254167639 h 955"/>
                <a:gd name="T50" fmla="*/ 28707727 w 581"/>
                <a:gd name="T51" fmla="*/ 261845030 h 955"/>
                <a:gd name="T52" fmla="*/ 34780358 w 581"/>
                <a:gd name="T53" fmla="*/ 258280714 h 955"/>
                <a:gd name="T54" fmla="*/ 45637826 w 581"/>
                <a:gd name="T55" fmla="*/ 254716398 h 955"/>
                <a:gd name="T56" fmla="*/ 51342393 w 581"/>
                <a:gd name="T57" fmla="*/ 252522932 h 955"/>
                <a:gd name="T58" fmla="*/ 54654972 w 581"/>
                <a:gd name="T59" fmla="*/ 247861621 h 955"/>
                <a:gd name="T60" fmla="*/ 55575132 w 581"/>
                <a:gd name="T61" fmla="*/ 244571684 h 955"/>
                <a:gd name="T62" fmla="*/ 55575132 w 581"/>
                <a:gd name="T63" fmla="*/ 237991287 h 955"/>
                <a:gd name="T64" fmla="*/ 62199860 w 581"/>
                <a:gd name="T65" fmla="*/ 238813379 h 955"/>
                <a:gd name="T66" fmla="*/ 67536363 w 581"/>
                <a:gd name="T67" fmla="*/ 237442528 h 955"/>
                <a:gd name="T68" fmla="*/ 71585070 w 581"/>
                <a:gd name="T69" fmla="*/ 234700827 h 955"/>
                <a:gd name="T70" fmla="*/ 74529585 w 581"/>
                <a:gd name="T71" fmla="*/ 230862131 h 955"/>
                <a:gd name="T72" fmla="*/ 79498023 w 581"/>
                <a:gd name="T73" fmla="*/ 221265653 h 955"/>
                <a:gd name="T74" fmla="*/ 84650494 w 581"/>
                <a:gd name="T75" fmla="*/ 211943555 h 955"/>
                <a:gd name="T76" fmla="*/ 87779041 w 581"/>
                <a:gd name="T77" fmla="*/ 208379239 h 955"/>
                <a:gd name="T78" fmla="*/ 92379844 w 581"/>
                <a:gd name="T79" fmla="*/ 206185773 h 955"/>
                <a:gd name="T80" fmla="*/ 95876026 w 581"/>
                <a:gd name="T81" fmla="*/ 204266687 h 955"/>
                <a:gd name="T82" fmla="*/ 91827748 w 581"/>
                <a:gd name="T83" fmla="*/ 191105893 h 955"/>
                <a:gd name="T84" fmla="*/ 89067266 w 581"/>
                <a:gd name="T85" fmla="*/ 179041570 h 955"/>
                <a:gd name="T86" fmla="*/ 86858880 w 581"/>
                <a:gd name="T87" fmla="*/ 170815943 h 955"/>
                <a:gd name="T88" fmla="*/ 88515169 w 581"/>
                <a:gd name="T89" fmla="*/ 167251627 h 955"/>
                <a:gd name="T90" fmla="*/ 89619362 w 581"/>
                <a:gd name="T91" fmla="*/ 158752144 h 955"/>
                <a:gd name="T92" fmla="*/ 90907587 w 581"/>
                <a:gd name="T93" fmla="*/ 148333051 h 955"/>
                <a:gd name="T94" fmla="*/ 92931941 w 581"/>
                <a:gd name="T95" fmla="*/ 142300889 h 955"/>
                <a:gd name="T96" fmla="*/ 97900379 w 581"/>
                <a:gd name="T97" fmla="*/ 133253171 h 955"/>
                <a:gd name="T98" fmla="*/ 104893172 w 581"/>
                <a:gd name="T99" fmla="*/ 126398394 h 955"/>
                <a:gd name="T100" fmla="*/ 23738859 w 581"/>
                <a:gd name="T101" fmla="*/ 0 h 955"/>
                <a:gd name="T102" fmla="*/ 18034292 w 581"/>
                <a:gd name="T103" fmla="*/ 1370851 h 955"/>
                <a:gd name="T104" fmla="*/ 12697789 w 581"/>
                <a:gd name="T105" fmla="*/ 658039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4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4582" y="2987748"/>
              <a:ext cx="19142" cy="64255"/>
            </a:xfrm>
            <a:custGeom>
              <a:avLst/>
              <a:gdLst>
                <a:gd name="T0" fmla="*/ 3235678 w 45"/>
                <a:gd name="T1" fmla="*/ 0 h 36"/>
                <a:gd name="T2" fmla="*/ 0 w 45"/>
                <a:gd name="T3" fmla="*/ 45362813 h 36"/>
                <a:gd name="T4" fmla="*/ 2862439 w 45"/>
                <a:gd name="T5" fmla="*/ 90725625 h 36"/>
                <a:gd name="T6" fmla="*/ 5600347 w 45"/>
                <a:gd name="T7" fmla="*/ 37803138 h 36"/>
                <a:gd name="T8" fmla="*/ 3235678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285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1984429" y="5304498"/>
              <a:ext cx="463246" cy="1160160"/>
              <a:chOff x="1589" y="3126"/>
              <a:chExt cx="290" cy="657"/>
            </a:xfrm>
          </p:grpSpPr>
          <p:sp>
            <p:nvSpPr>
              <p:cNvPr id="400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5 w 46"/>
                  <a:gd name="T1" fmla="*/ 1 h 51"/>
                  <a:gd name="T2" fmla="*/ 2 w 46"/>
                  <a:gd name="T3" fmla="*/ 0 h 51"/>
                  <a:gd name="T4" fmla="*/ 1 w 46"/>
                  <a:gd name="T5" fmla="*/ 1 h 51"/>
                  <a:gd name="T6" fmla="*/ 1 w 46"/>
                  <a:gd name="T7" fmla="*/ 1 h 51"/>
                  <a:gd name="T8" fmla="*/ 0 w 46"/>
                  <a:gd name="T9" fmla="*/ 1 h 51"/>
                  <a:gd name="T10" fmla="*/ 0 w 46"/>
                  <a:gd name="T11" fmla="*/ 2 h 51"/>
                  <a:gd name="T12" fmla="*/ 0 w 46"/>
                  <a:gd name="T13" fmla="*/ 2 h 51"/>
                  <a:gd name="T14" fmla="*/ 0 w 46"/>
                  <a:gd name="T15" fmla="*/ 2 h 51"/>
                  <a:gd name="T16" fmla="*/ 0 w 46"/>
                  <a:gd name="T17" fmla="*/ 3 h 51"/>
                  <a:gd name="T18" fmla="*/ 0 w 46"/>
                  <a:gd name="T19" fmla="*/ 3 h 51"/>
                  <a:gd name="T20" fmla="*/ 0 w 46"/>
                  <a:gd name="T21" fmla="*/ 4 h 51"/>
                  <a:gd name="T22" fmla="*/ 1 w 46"/>
                  <a:gd name="T23" fmla="*/ 5 h 51"/>
                  <a:gd name="T24" fmla="*/ 1 w 46"/>
                  <a:gd name="T25" fmla="*/ 5 h 51"/>
                  <a:gd name="T26" fmla="*/ 1 w 46"/>
                  <a:gd name="T27" fmla="*/ 5 h 51"/>
                  <a:gd name="T28" fmla="*/ 2 w 46"/>
                  <a:gd name="T29" fmla="*/ 6 h 51"/>
                  <a:gd name="T30" fmla="*/ 2 w 46"/>
                  <a:gd name="T31" fmla="*/ 6 h 51"/>
                  <a:gd name="T32" fmla="*/ 2 w 46"/>
                  <a:gd name="T33" fmla="*/ 6 h 51"/>
                  <a:gd name="T34" fmla="*/ 2 w 46"/>
                  <a:gd name="T35" fmla="*/ 6 h 51"/>
                  <a:gd name="T36" fmla="*/ 4 w 46"/>
                  <a:gd name="T37" fmla="*/ 6 h 51"/>
                  <a:gd name="T38" fmla="*/ 5 w 46"/>
                  <a:gd name="T39" fmla="*/ 6 h 51"/>
                  <a:gd name="T40" fmla="*/ 5 w 46"/>
                  <a:gd name="T41" fmla="*/ 4 h 51"/>
                  <a:gd name="T42" fmla="*/ 5 w 46"/>
                  <a:gd name="T43" fmla="*/ 3 h 51"/>
                  <a:gd name="T44" fmla="*/ 5 w 46"/>
                  <a:gd name="T45" fmla="*/ 2 h 51"/>
                  <a:gd name="T46" fmla="*/ 5 w 46"/>
                  <a:gd name="T47" fmla="*/ 1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1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2 h 158"/>
                  <a:gd name="T4" fmla="*/ 0 w 192"/>
                  <a:gd name="T5" fmla="*/ 3 h 158"/>
                  <a:gd name="T6" fmla="*/ 0 w 192"/>
                  <a:gd name="T7" fmla="*/ 4 h 158"/>
                  <a:gd name="T8" fmla="*/ 1 w 192"/>
                  <a:gd name="T9" fmla="*/ 6 h 158"/>
                  <a:gd name="T10" fmla="*/ 1 w 192"/>
                  <a:gd name="T11" fmla="*/ 7 h 158"/>
                  <a:gd name="T12" fmla="*/ 2 w 192"/>
                  <a:gd name="T13" fmla="*/ 8 h 158"/>
                  <a:gd name="T14" fmla="*/ 2 w 192"/>
                  <a:gd name="T15" fmla="*/ 9 h 158"/>
                  <a:gd name="T16" fmla="*/ 3 w 192"/>
                  <a:gd name="T17" fmla="*/ 10 h 158"/>
                  <a:gd name="T18" fmla="*/ 5 w 192"/>
                  <a:gd name="T19" fmla="*/ 14 h 158"/>
                  <a:gd name="T20" fmla="*/ 7 w 192"/>
                  <a:gd name="T21" fmla="*/ 17 h 158"/>
                  <a:gd name="T22" fmla="*/ 8 w 192"/>
                  <a:gd name="T23" fmla="*/ 17 h 158"/>
                  <a:gd name="T24" fmla="*/ 9 w 192"/>
                  <a:gd name="T25" fmla="*/ 17 h 158"/>
                  <a:gd name="T26" fmla="*/ 9 w 192"/>
                  <a:gd name="T27" fmla="*/ 17 h 158"/>
                  <a:gd name="T28" fmla="*/ 10 w 192"/>
                  <a:gd name="T29" fmla="*/ 17 h 158"/>
                  <a:gd name="T30" fmla="*/ 11 w 192"/>
                  <a:gd name="T31" fmla="*/ 18 h 158"/>
                  <a:gd name="T32" fmla="*/ 13 w 192"/>
                  <a:gd name="T33" fmla="*/ 18 h 158"/>
                  <a:gd name="T34" fmla="*/ 16 w 192"/>
                  <a:gd name="T35" fmla="*/ 17 h 158"/>
                  <a:gd name="T36" fmla="*/ 21 w 192"/>
                  <a:gd name="T37" fmla="*/ 17 h 158"/>
                  <a:gd name="T38" fmla="*/ 20 w 192"/>
                  <a:gd name="T39" fmla="*/ 17 h 158"/>
                  <a:gd name="T40" fmla="*/ 19 w 192"/>
                  <a:gd name="T41" fmla="*/ 17 h 158"/>
                  <a:gd name="T42" fmla="*/ 18 w 192"/>
                  <a:gd name="T43" fmla="*/ 17 h 158"/>
                  <a:gd name="T44" fmla="*/ 17 w 192"/>
                  <a:gd name="T45" fmla="*/ 17 h 158"/>
                  <a:gd name="T46" fmla="*/ 16 w 192"/>
                  <a:gd name="T47" fmla="*/ 16 h 158"/>
                  <a:gd name="T48" fmla="*/ 14 w 192"/>
                  <a:gd name="T49" fmla="*/ 15 h 158"/>
                  <a:gd name="T50" fmla="*/ 12 w 192"/>
                  <a:gd name="T51" fmla="*/ 15 h 158"/>
                  <a:gd name="T52" fmla="*/ 11 w 192"/>
                  <a:gd name="T53" fmla="*/ 13 h 158"/>
                  <a:gd name="T54" fmla="*/ 10 w 192"/>
                  <a:gd name="T55" fmla="*/ 12 h 158"/>
                  <a:gd name="T56" fmla="*/ 8 w 192"/>
                  <a:gd name="T57" fmla="*/ 11 h 158"/>
                  <a:gd name="T58" fmla="*/ 7 w 192"/>
                  <a:gd name="T59" fmla="*/ 10 h 158"/>
                  <a:gd name="T60" fmla="*/ 6 w 192"/>
                  <a:gd name="T61" fmla="*/ 8 h 158"/>
                  <a:gd name="T62" fmla="*/ 5 w 192"/>
                  <a:gd name="T63" fmla="*/ 7 h 158"/>
                  <a:gd name="T64" fmla="*/ 4 w 192"/>
                  <a:gd name="T65" fmla="*/ 6 h 158"/>
                  <a:gd name="T66" fmla="*/ 3 w 192"/>
                  <a:gd name="T67" fmla="*/ 4 h 158"/>
                  <a:gd name="T68" fmla="*/ 2 w 192"/>
                  <a:gd name="T69" fmla="*/ 3 h 158"/>
                  <a:gd name="T70" fmla="*/ 2 w 192"/>
                  <a:gd name="T71" fmla="*/ 2 h 158"/>
                  <a:gd name="T72" fmla="*/ 1 w 192"/>
                  <a:gd name="T73" fmla="*/ 1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402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83 w 884"/>
                  <a:gd name="T1" fmla="*/ 46 h 1818"/>
                  <a:gd name="T2" fmla="*/ 94 w 884"/>
                  <a:gd name="T3" fmla="*/ 38 h 1818"/>
                  <a:gd name="T4" fmla="*/ 95 w 884"/>
                  <a:gd name="T5" fmla="*/ 26 h 1818"/>
                  <a:gd name="T6" fmla="*/ 91 w 884"/>
                  <a:gd name="T7" fmla="*/ 21 h 1818"/>
                  <a:gd name="T8" fmla="*/ 91 w 884"/>
                  <a:gd name="T9" fmla="*/ 29 h 1818"/>
                  <a:gd name="T10" fmla="*/ 83 w 884"/>
                  <a:gd name="T11" fmla="*/ 36 h 1818"/>
                  <a:gd name="T12" fmla="*/ 72 w 884"/>
                  <a:gd name="T13" fmla="*/ 37 h 1818"/>
                  <a:gd name="T14" fmla="*/ 67 w 884"/>
                  <a:gd name="T15" fmla="*/ 32 h 1818"/>
                  <a:gd name="T16" fmla="*/ 71 w 884"/>
                  <a:gd name="T17" fmla="*/ 24 h 1818"/>
                  <a:gd name="T18" fmla="*/ 58 w 884"/>
                  <a:gd name="T19" fmla="*/ 16 h 1818"/>
                  <a:gd name="T20" fmla="*/ 46 w 884"/>
                  <a:gd name="T21" fmla="*/ 10 h 1818"/>
                  <a:gd name="T22" fmla="*/ 40 w 884"/>
                  <a:gd name="T23" fmla="*/ 1 h 1818"/>
                  <a:gd name="T24" fmla="*/ 31 w 884"/>
                  <a:gd name="T25" fmla="*/ 2 h 1818"/>
                  <a:gd name="T26" fmla="*/ 25 w 884"/>
                  <a:gd name="T27" fmla="*/ 3 h 1818"/>
                  <a:gd name="T28" fmla="*/ 18 w 884"/>
                  <a:gd name="T29" fmla="*/ 1 h 1818"/>
                  <a:gd name="T30" fmla="*/ 10 w 884"/>
                  <a:gd name="T31" fmla="*/ 6 h 1818"/>
                  <a:gd name="T32" fmla="*/ 7 w 884"/>
                  <a:gd name="T33" fmla="*/ 13 h 1818"/>
                  <a:gd name="T34" fmla="*/ 3 w 884"/>
                  <a:gd name="T35" fmla="*/ 20 h 1818"/>
                  <a:gd name="T36" fmla="*/ 6 w 884"/>
                  <a:gd name="T37" fmla="*/ 28 h 1818"/>
                  <a:gd name="T38" fmla="*/ 6 w 884"/>
                  <a:gd name="T39" fmla="*/ 35 h 1818"/>
                  <a:gd name="T40" fmla="*/ 0 w 884"/>
                  <a:gd name="T41" fmla="*/ 48 h 1818"/>
                  <a:gd name="T42" fmla="*/ 1 w 884"/>
                  <a:gd name="T43" fmla="*/ 68 h 1818"/>
                  <a:gd name="T44" fmla="*/ 8 w 884"/>
                  <a:gd name="T45" fmla="*/ 77 h 1818"/>
                  <a:gd name="T46" fmla="*/ 7 w 884"/>
                  <a:gd name="T47" fmla="*/ 84 h 1818"/>
                  <a:gd name="T48" fmla="*/ 7 w 884"/>
                  <a:gd name="T49" fmla="*/ 90 h 1818"/>
                  <a:gd name="T50" fmla="*/ 9 w 884"/>
                  <a:gd name="T51" fmla="*/ 94 h 1818"/>
                  <a:gd name="T52" fmla="*/ 6 w 884"/>
                  <a:gd name="T53" fmla="*/ 100 h 1818"/>
                  <a:gd name="T54" fmla="*/ 9 w 884"/>
                  <a:gd name="T55" fmla="*/ 109 h 1818"/>
                  <a:gd name="T56" fmla="*/ 9 w 884"/>
                  <a:gd name="T57" fmla="*/ 117 h 1818"/>
                  <a:gd name="T58" fmla="*/ 9 w 884"/>
                  <a:gd name="T59" fmla="*/ 128 h 1818"/>
                  <a:gd name="T60" fmla="*/ 15 w 884"/>
                  <a:gd name="T61" fmla="*/ 141 h 1818"/>
                  <a:gd name="T62" fmla="*/ 21 w 884"/>
                  <a:gd name="T63" fmla="*/ 155 h 1818"/>
                  <a:gd name="T64" fmla="*/ 23 w 884"/>
                  <a:gd name="T65" fmla="*/ 163 h 1818"/>
                  <a:gd name="T66" fmla="*/ 25 w 884"/>
                  <a:gd name="T67" fmla="*/ 170 h 1818"/>
                  <a:gd name="T68" fmla="*/ 23 w 884"/>
                  <a:gd name="T69" fmla="*/ 177 h 1818"/>
                  <a:gd name="T70" fmla="*/ 22 w 884"/>
                  <a:gd name="T71" fmla="*/ 183 h 1818"/>
                  <a:gd name="T72" fmla="*/ 25 w 884"/>
                  <a:gd name="T73" fmla="*/ 191 h 1818"/>
                  <a:gd name="T74" fmla="*/ 33 w 884"/>
                  <a:gd name="T75" fmla="*/ 197 h 1818"/>
                  <a:gd name="T76" fmla="*/ 42 w 884"/>
                  <a:gd name="T77" fmla="*/ 200 h 1818"/>
                  <a:gd name="T78" fmla="*/ 49 w 884"/>
                  <a:gd name="T79" fmla="*/ 198 h 1818"/>
                  <a:gd name="T80" fmla="*/ 49 w 884"/>
                  <a:gd name="T81" fmla="*/ 189 h 1818"/>
                  <a:gd name="T82" fmla="*/ 51 w 884"/>
                  <a:gd name="T83" fmla="*/ 179 h 1818"/>
                  <a:gd name="T84" fmla="*/ 53 w 884"/>
                  <a:gd name="T85" fmla="*/ 168 h 1818"/>
                  <a:gd name="T86" fmla="*/ 45 w 884"/>
                  <a:gd name="T87" fmla="*/ 165 h 1818"/>
                  <a:gd name="T88" fmla="*/ 43 w 884"/>
                  <a:gd name="T89" fmla="*/ 159 h 1818"/>
                  <a:gd name="T90" fmla="*/ 49 w 884"/>
                  <a:gd name="T91" fmla="*/ 155 h 1818"/>
                  <a:gd name="T92" fmla="*/ 52 w 884"/>
                  <a:gd name="T93" fmla="*/ 148 h 1818"/>
                  <a:gd name="T94" fmla="*/ 49 w 884"/>
                  <a:gd name="T95" fmla="*/ 136 h 1818"/>
                  <a:gd name="T96" fmla="*/ 46 w 884"/>
                  <a:gd name="T97" fmla="*/ 127 h 1818"/>
                  <a:gd name="T98" fmla="*/ 56 w 884"/>
                  <a:gd name="T99" fmla="*/ 130 h 1818"/>
                  <a:gd name="T100" fmla="*/ 61 w 884"/>
                  <a:gd name="T101" fmla="*/ 128 h 1818"/>
                  <a:gd name="T102" fmla="*/ 60 w 884"/>
                  <a:gd name="T103" fmla="*/ 120 h 1818"/>
                  <a:gd name="T104" fmla="*/ 61 w 884"/>
                  <a:gd name="T105" fmla="*/ 114 h 1818"/>
                  <a:gd name="T106" fmla="*/ 73 w 884"/>
                  <a:gd name="T107" fmla="*/ 114 h 1818"/>
                  <a:gd name="T108" fmla="*/ 86 w 884"/>
                  <a:gd name="T109" fmla="*/ 108 h 1818"/>
                  <a:gd name="T110" fmla="*/ 88 w 884"/>
                  <a:gd name="T111" fmla="*/ 98 h 1818"/>
                  <a:gd name="T112" fmla="*/ 84 w 884"/>
                  <a:gd name="T113" fmla="*/ 95 h 1818"/>
                  <a:gd name="T114" fmla="*/ 82 w 884"/>
                  <a:gd name="T115" fmla="*/ 90 h 1818"/>
                  <a:gd name="T116" fmla="*/ 74 w 884"/>
                  <a:gd name="T117" fmla="*/ 84 h 1818"/>
                  <a:gd name="T118" fmla="*/ 75 w 884"/>
                  <a:gd name="T119" fmla="*/ 59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6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252040" y="3002027"/>
              <a:ext cx="149311" cy="123156"/>
            </a:xfrm>
            <a:custGeom>
              <a:avLst/>
              <a:gdLst>
                <a:gd name="T0" fmla="*/ 6500147 w 279"/>
                <a:gd name="T1" fmla="*/ 25083665 h 204"/>
                <a:gd name="T2" fmla="*/ 11621353 w 279"/>
                <a:gd name="T3" fmla="*/ 40940901 h 204"/>
                <a:gd name="T4" fmla="*/ 11621353 w 279"/>
                <a:gd name="T5" fmla="*/ 51608507 h 204"/>
                <a:gd name="T6" fmla="*/ 20091161 w 279"/>
                <a:gd name="T7" fmla="*/ 56509795 h 204"/>
                <a:gd name="T8" fmla="*/ 24030926 w 279"/>
                <a:gd name="T9" fmla="*/ 58239851 h 204"/>
                <a:gd name="T10" fmla="*/ 27379527 w 279"/>
                <a:gd name="T11" fmla="*/ 58816536 h 204"/>
                <a:gd name="T12" fmla="*/ 28758023 w 279"/>
                <a:gd name="T13" fmla="*/ 57951508 h 204"/>
                <a:gd name="T14" fmla="*/ 29742854 w 279"/>
                <a:gd name="T15" fmla="*/ 55933110 h 204"/>
                <a:gd name="T16" fmla="*/ 31515903 w 279"/>
                <a:gd name="T17" fmla="*/ 49590645 h 204"/>
                <a:gd name="T18" fmla="*/ 33879674 w 279"/>
                <a:gd name="T19" fmla="*/ 42959300 h 204"/>
                <a:gd name="T20" fmla="*/ 35652280 w 279"/>
                <a:gd name="T21" fmla="*/ 40652559 h 204"/>
                <a:gd name="T22" fmla="*/ 37818995 w 279"/>
                <a:gd name="T23" fmla="*/ 39210845 h 204"/>
                <a:gd name="T24" fmla="*/ 41167596 w 279"/>
                <a:gd name="T25" fmla="*/ 39787531 h 204"/>
                <a:gd name="T26" fmla="*/ 43334312 w 279"/>
                <a:gd name="T27" fmla="*/ 40940901 h 204"/>
                <a:gd name="T28" fmla="*/ 44909863 w 279"/>
                <a:gd name="T29" fmla="*/ 42670957 h 204"/>
                <a:gd name="T30" fmla="*/ 45501027 w 279"/>
                <a:gd name="T31" fmla="*/ 44400477 h 204"/>
                <a:gd name="T32" fmla="*/ 46091748 w 279"/>
                <a:gd name="T33" fmla="*/ 47283903 h 204"/>
                <a:gd name="T34" fmla="*/ 45501027 w 279"/>
                <a:gd name="T35" fmla="*/ 48148931 h 204"/>
                <a:gd name="T36" fmla="*/ 46091748 w 279"/>
                <a:gd name="T37" fmla="*/ 44112671 h 204"/>
                <a:gd name="T38" fmla="*/ 46879524 w 279"/>
                <a:gd name="T39" fmla="*/ 40364216 h 204"/>
                <a:gd name="T40" fmla="*/ 48258464 w 279"/>
                <a:gd name="T41" fmla="*/ 33732871 h 204"/>
                <a:gd name="T42" fmla="*/ 50031513 w 279"/>
                <a:gd name="T43" fmla="*/ 33156186 h 204"/>
                <a:gd name="T44" fmla="*/ 52001174 w 279"/>
                <a:gd name="T45" fmla="*/ 31715010 h 204"/>
                <a:gd name="T46" fmla="*/ 54955665 w 279"/>
                <a:gd name="T47" fmla="*/ 28543240 h 204"/>
                <a:gd name="T48" fmla="*/ 49637404 w 279"/>
                <a:gd name="T49" fmla="*/ 21623553 h 204"/>
                <a:gd name="T50" fmla="*/ 44713252 w 279"/>
                <a:gd name="T51" fmla="*/ 16722264 h 204"/>
                <a:gd name="T52" fmla="*/ 40182766 w 279"/>
                <a:gd name="T53" fmla="*/ 12686004 h 204"/>
                <a:gd name="T54" fmla="*/ 36440055 w 279"/>
                <a:gd name="T55" fmla="*/ 8937549 h 204"/>
                <a:gd name="T56" fmla="*/ 28758023 w 279"/>
                <a:gd name="T57" fmla="*/ 19605691 h 204"/>
                <a:gd name="T58" fmla="*/ 15561119 w 279"/>
                <a:gd name="T59" fmla="*/ 7208030 h 204"/>
                <a:gd name="T60" fmla="*/ 10242413 w 279"/>
                <a:gd name="T61" fmla="*/ 3459575 h 204"/>
                <a:gd name="T62" fmla="*/ 9060972 w 279"/>
                <a:gd name="T63" fmla="*/ 17875635 h 204"/>
                <a:gd name="T64" fmla="*/ 0 w 279"/>
                <a:gd name="T65" fmla="*/ 1614557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7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608855" y="2521900"/>
              <a:ext cx="252680" cy="169561"/>
            </a:xfrm>
            <a:custGeom>
              <a:avLst/>
              <a:gdLst>
                <a:gd name="T0" fmla="*/ 47042895 w 485"/>
                <a:gd name="T1" fmla="*/ 5371706 h 291"/>
                <a:gd name="T2" fmla="*/ 56003426 w 485"/>
                <a:gd name="T3" fmla="*/ 11817753 h 291"/>
                <a:gd name="T4" fmla="*/ 69444006 w 485"/>
                <a:gd name="T5" fmla="*/ 11817753 h 291"/>
                <a:gd name="T6" fmla="*/ 79337790 w 485"/>
                <a:gd name="T7" fmla="*/ 35184802 h 291"/>
                <a:gd name="T8" fmla="*/ 90538562 w 485"/>
                <a:gd name="T9" fmla="*/ 44853873 h 291"/>
                <a:gd name="T10" fmla="*/ 76910899 w 485"/>
                <a:gd name="T11" fmla="*/ 46465644 h 291"/>
                <a:gd name="T12" fmla="*/ 80831428 w 485"/>
                <a:gd name="T13" fmla="*/ 56403170 h 291"/>
                <a:gd name="T14" fmla="*/ 73177452 w 485"/>
                <a:gd name="T15" fmla="*/ 64729443 h 291"/>
                <a:gd name="T16" fmla="*/ 71870897 w 485"/>
                <a:gd name="T17" fmla="*/ 78158967 h 291"/>
                <a:gd name="T18" fmla="*/ 53203233 w 485"/>
                <a:gd name="T19" fmla="*/ 71444464 h 291"/>
                <a:gd name="T20" fmla="*/ 32295328 w 485"/>
                <a:gd name="T21" fmla="*/ 68221441 h 291"/>
                <a:gd name="T22" fmla="*/ 11200772 w 485"/>
                <a:gd name="T23" fmla="*/ 71444464 h 291"/>
                <a:gd name="T24" fmla="*/ 2800193 w 485"/>
                <a:gd name="T25" fmla="*/ 72787261 h 291"/>
                <a:gd name="T26" fmla="*/ 1493206 w 485"/>
                <a:gd name="T27" fmla="*/ 69026808 h 291"/>
                <a:gd name="T28" fmla="*/ 559952 w 485"/>
                <a:gd name="T29" fmla="*/ 65535329 h 291"/>
                <a:gd name="T30" fmla="*/ 0 w 485"/>
                <a:gd name="T31" fmla="*/ 61506420 h 291"/>
                <a:gd name="T32" fmla="*/ 933254 w 485"/>
                <a:gd name="T33" fmla="*/ 58820826 h 291"/>
                <a:gd name="T34" fmla="*/ 2613542 w 485"/>
                <a:gd name="T35" fmla="*/ 55597803 h 291"/>
                <a:gd name="T36" fmla="*/ 4293399 w 485"/>
                <a:gd name="T37" fmla="*/ 50763008 h 291"/>
                <a:gd name="T38" fmla="*/ 5787036 w 485"/>
                <a:gd name="T39" fmla="*/ 44585417 h 291"/>
                <a:gd name="T40" fmla="*/ 7653976 w 485"/>
                <a:gd name="T41" fmla="*/ 36796573 h 291"/>
                <a:gd name="T42" fmla="*/ 8960531 w 485"/>
                <a:gd name="T43" fmla="*/ 33842005 h 291"/>
                <a:gd name="T44" fmla="*/ 11200772 w 485"/>
                <a:gd name="T45" fmla="*/ 31961779 h 291"/>
                <a:gd name="T46" fmla="*/ 16240773 w 485"/>
                <a:gd name="T47" fmla="*/ 29813097 h 291"/>
                <a:gd name="T48" fmla="*/ 16614507 w 485"/>
                <a:gd name="T49" fmla="*/ 28470300 h 291"/>
                <a:gd name="T50" fmla="*/ 17547760 w 485"/>
                <a:gd name="T51" fmla="*/ 26858529 h 291"/>
                <a:gd name="T52" fmla="*/ 18854315 w 485"/>
                <a:gd name="T53" fmla="*/ 25515732 h 291"/>
                <a:gd name="T54" fmla="*/ 19788001 w 485"/>
                <a:gd name="T55" fmla="*/ 24978821 h 291"/>
                <a:gd name="T56" fmla="*/ 19788001 w 485"/>
                <a:gd name="T57" fmla="*/ 20412482 h 291"/>
                <a:gd name="T58" fmla="*/ 20347953 w 485"/>
                <a:gd name="T59" fmla="*/ 18801229 h 291"/>
                <a:gd name="T60" fmla="*/ 21094556 w 485"/>
                <a:gd name="T61" fmla="*/ 17995344 h 291"/>
                <a:gd name="T62" fmla="*/ 22774845 w 485"/>
                <a:gd name="T63" fmla="*/ 18532774 h 291"/>
                <a:gd name="T64" fmla="*/ 23894749 w 485"/>
                <a:gd name="T65" fmla="*/ 18532774 h 291"/>
                <a:gd name="T66" fmla="*/ 24641352 w 485"/>
                <a:gd name="T67" fmla="*/ 17726888 h 291"/>
                <a:gd name="T68" fmla="*/ 25014653 w 485"/>
                <a:gd name="T69" fmla="*/ 15040776 h 291"/>
                <a:gd name="T70" fmla="*/ 25948339 w 485"/>
                <a:gd name="T71" fmla="*/ 11817753 h 291"/>
                <a:gd name="T72" fmla="*/ 26881592 w 485"/>
                <a:gd name="T73" fmla="*/ 10474956 h 291"/>
                <a:gd name="T74" fmla="*/ 39762221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8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436573" y="2894936"/>
              <a:ext cx="99541" cy="98168"/>
            </a:xfrm>
            <a:custGeom>
              <a:avLst/>
              <a:gdLst>
                <a:gd name="T0" fmla="*/ 16939615 w 186"/>
                <a:gd name="T1" fmla="*/ 40668397 h 166"/>
                <a:gd name="T2" fmla="*/ 16348894 w 186"/>
                <a:gd name="T3" fmla="*/ 37625591 h 166"/>
                <a:gd name="T4" fmla="*/ 15364064 w 186"/>
                <a:gd name="T5" fmla="*/ 35135593 h 166"/>
                <a:gd name="T6" fmla="*/ 14575845 w 186"/>
                <a:gd name="T7" fmla="*/ 32645594 h 166"/>
                <a:gd name="T8" fmla="*/ 13788069 w 186"/>
                <a:gd name="T9" fmla="*/ 30432262 h 166"/>
                <a:gd name="T10" fmla="*/ 11818408 w 186"/>
                <a:gd name="T11" fmla="*/ 26282265 h 166"/>
                <a:gd name="T12" fmla="*/ 9651693 w 186"/>
                <a:gd name="T13" fmla="*/ 22686127 h 166"/>
                <a:gd name="T14" fmla="*/ 7287922 w 186"/>
                <a:gd name="T15" fmla="*/ 19366129 h 166"/>
                <a:gd name="T16" fmla="*/ 4924152 w 186"/>
                <a:gd name="T17" fmla="*/ 15492798 h 166"/>
                <a:gd name="T18" fmla="*/ 2560825 w 186"/>
                <a:gd name="T19" fmla="*/ 10512801 h 166"/>
                <a:gd name="T20" fmla="*/ 0 w 186"/>
                <a:gd name="T21" fmla="*/ 4979997 h 166"/>
                <a:gd name="T22" fmla="*/ 0 w 186"/>
                <a:gd name="T23" fmla="*/ 0 h 166"/>
                <a:gd name="T24" fmla="*/ 1378940 w 186"/>
                <a:gd name="T25" fmla="*/ 553333 h 166"/>
                <a:gd name="T26" fmla="*/ 2757436 w 186"/>
                <a:gd name="T27" fmla="*/ 829999 h 166"/>
                <a:gd name="T28" fmla="*/ 3939322 w 186"/>
                <a:gd name="T29" fmla="*/ 1106666 h 166"/>
                <a:gd name="T30" fmla="*/ 5318262 w 186"/>
                <a:gd name="T31" fmla="*/ 1106666 h 166"/>
                <a:gd name="T32" fmla="*/ 6500147 w 186"/>
                <a:gd name="T33" fmla="*/ 1106666 h 166"/>
                <a:gd name="T34" fmla="*/ 7879087 w 186"/>
                <a:gd name="T35" fmla="*/ 829999 h 166"/>
                <a:gd name="T36" fmla="*/ 9257583 w 186"/>
                <a:gd name="T37" fmla="*/ 553333 h 166"/>
                <a:gd name="T38" fmla="*/ 10439468 w 186"/>
                <a:gd name="T39" fmla="*/ 0 h 166"/>
                <a:gd name="T40" fmla="*/ 27576138 w 186"/>
                <a:gd name="T41" fmla="*/ 3319998 h 166"/>
                <a:gd name="T42" fmla="*/ 36637110 w 186"/>
                <a:gd name="T43" fmla="*/ 25175599 h 166"/>
                <a:gd name="T44" fmla="*/ 33682619 w 186"/>
                <a:gd name="T45" fmla="*/ 30985595 h 166"/>
                <a:gd name="T46" fmla="*/ 30531073 w 186"/>
                <a:gd name="T47" fmla="*/ 35688926 h 166"/>
                <a:gd name="T48" fmla="*/ 29349188 w 186"/>
                <a:gd name="T49" fmla="*/ 37902258 h 166"/>
                <a:gd name="T50" fmla="*/ 28364358 w 186"/>
                <a:gd name="T51" fmla="*/ 40115064 h 166"/>
                <a:gd name="T52" fmla="*/ 27970248 w 186"/>
                <a:gd name="T53" fmla="*/ 41498396 h 166"/>
                <a:gd name="T54" fmla="*/ 27773193 w 186"/>
                <a:gd name="T55" fmla="*/ 43158395 h 166"/>
                <a:gd name="T56" fmla="*/ 27576138 w 186"/>
                <a:gd name="T57" fmla="*/ 44541728 h 166"/>
                <a:gd name="T58" fmla="*/ 27576138 w 186"/>
                <a:gd name="T59" fmla="*/ 45925060 h 166"/>
                <a:gd name="T60" fmla="*/ 16939615 w 186"/>
                <a:gd name="T61" fmla="*/ 4066839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89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464904" y="4510235"/>
              <a:ext cx="99541" cy="64255"/>
            </a:xfrm>
            <a:custGeom>
              <a:avLst/>
              <a:gdLst>
                <a:gd name="T0" fmla="*/ 30136963 w 186"/>
                <a:gd name="T1" fmla="*/ 6341452 h 104"/>
                <a:gd name="T2" fmla="*/ 28758023 w 186"/>
                <a:gd name="T3" fmla="*/ 6341452 h 104"/>
                <a:gd name="T4" fmla="*/ 27773193 w 186"/>
                <a:gd name="T5" fmla="*/ 6039216 h 104"/>
                <a:gd name="T6" fmla="*/ 26788363 w 186"/>
                <a:gd name="T7" fmla="*/ 5435295 h 104"/>
                <a:gd name="T8" fmla="*/ 26197642 w 186"/>
                <a:gd name="T9" fmla="*/ 4529687 h 104"/>
                <a:gd name="T10" fmla="*/ 25606477 w 186"/>
                <a:gd name="T11" fmla="*/ 3925765 h 104"/>
                <a:gd name="T12" fmla="*/ 24621647 w 186"/>
                <a:gd name="T13" fmla="*/ 3321844 h 104"/>
                <a:gd name="T14" fmla="*/ 23636817 w 186"/>
                <a:gd name="T15" fmla="*/ 3019608 h 104"/>
                <a:gd name="T16" fmla="*/ 22257877 w 186"/>
                <a:gd name="T17" fmla="*/ 2717922 h 104"/>
                <a:gd name="T18" fmla="*/ 19697495 w 186"/>
                <a:gd name="T19" fmla="*/ 2415687 h 104"/>
                <a:gd name="T20" fmla="*/ 17333725 w 186"/>
                <a:gd name="T21" fmla="*/ 1811765 h 104"/>
                <a:gd name="T22" fmla="*/ 14772899 w 186"/>
                <a:gd name="T23" fmla="*/ 906157 h 104"/>
                <a:gd name="T24" fmla="*/ 12606184 w 186"/>
                <a:gd name="T25" fmla="*/ 302236 h 104"/>
                <a:gd name="T26" fmla="*/ 11818408 w 186"/>
                <a:gd name="T27" fmla="*/ 0 h 104"/>
                <a:gd name="T28" fmla="*/ 10636523 w 186"/>
                <a:gd name="T29" fmla="*/ 0 h 104"/>
                <a:gd name="T30" fmla="*/ 10045802 w 186"/>
                <a:gd name="T31" fmla="*/ 302236 h 104"/>
                <a:gd name="T32" fmla="*/ 9060972 w 186"/>
                <a:gd name="T33" fmla="*/ 603922 h 104"/>
                <a:gd name="T34" fmla="*/ 8666862 w 186"/>
                <a:gd name="T35" fmla="*/ 1207843 h 104"/>
                <a:gd name="T36" fmla="*/ 8272753 w 186"/>
                <a:gd name="T37" fmla="*/ 1811765 h 104"/>
                <a:gd name="T38" fmla="*/ 8076142 w 186"/>
                <a:gd name="T39" fmla="*/ 3019608 h 104"/>
                <a:gd name="T40" fmla="*/ 7879087 w 186"/>
                <a:gd name="T41" fmla="*/ 4529687 h 104"/>
                <a:gd name="T42" fmla="*/ 6697202 w 186"/>
                <a:gd name="T43" fmla="*/ 8153217 h 104"/>
                <a:gd name="T44" fmla="*/ 3939322 w 186"/>
                <a:gd name="T45" fmla="*/ 14192433 h 104"/>
                <a:gd name="T46" fmla="*/ 1378940 w 186"/>
                <a:gd name="T47" fmla="*/ 19929963 h 104"/>
                <a:gd name="T48" fmla="*/ 0 w 186"/>
                <a:gd name="T49" fmla="*/ 23251807 h 104"/>
                <a:gd name="T50" fmla="*/ 1575995 w 186"/>
                <a:gd name="T51" fmla="*/ 23251807 h 104"/>
                <a:gd name="T52" fmla="*/ 3151546 w 186"/>
                <a:gd name="T53" fmla="*/ 23553493 h 104"/>
                <a:gd name="T54" fmla="*/ 4136376 w 186"/>
                <a:gd name="T55" fmla="*/ 23855729 h 104"/>
                <a:gd name="T56" fmla="*/ 4924152 w 186"/>
                <a:gd name="T57" fmla="*/ 24459650 h 104"/>
                <a:gd name="T58" fmla="*/ 6500147 w 186"/>
                <a:gd name="T59" fmla="*/ 25667494 h 104"/>
                <a:gd name="T60" fmla="*/ 7879087 w 186"/>
                <a:gd name="T61" fmla="*/ 26875337 h 104"/>
                <a:gd name="T62" fmla="*/ 8863917 w 186"/>
                <a:gd name="T63" fmla="*/ 28385416 h 104"/>
                <a:gd name="T64" fmla="*/ 10242413 w 186"/>
                <a:gd name="T65" fmla="*/ 29593259 h 104"/>
                <a:gd name="T66" fmla="*/ 11030633 w 186"/>
                <a:gd name="T67" fmla="*/ 30197181 h 104"/>
                <a:gd name="T68" fmla="*/ 12015463 w 186"/>
                <a:gd name="T69" fmla="*/ 30498867 h 104"/>
                <a:gd name="T70" fmla="*/ 13000294 w 186"/>
                <a:gd name="T71" fmla="*/ 30801102 h 104"/>
                <a:gd name="T72" fmla="*/ 14575845 w 186"/>
                <a:gd name="T73" fmla="*/ 30801102 h 104"/>
                <a:gd name="T74" fmla="*/ 21075991 w 186"/>
                <a:gd name="T75" fmla="*/ 31102788 h 104"/>
                <a:gd name="T76" fmla="*/ 25803532 w 186"/>
                <a:gd name="T77" fmla="*/ 31405024 h 104"/>
                <a:gd name="T78" fmla="*/ 26591308 w 186"/>
                <a:gd name="T79" fmla="*/ 31102788 h 104"/>
                <a:gd name="T80" fmla="*/ 27379527 w 186"/>
                <a:gd name="T81" fmla="*/ 30801102 h 104"/>
                <a:gd name="T82" fmla="*/ 27970248 w 186"/>
                <a:gd name="T83" fmla="*/ 30197181 h 104"/>
                <a:gd name="T84" fmla="*/ 28560969 w 186"/>
                <a:gd name="T85" fmla="*/ 29291024 h 104"/>
                <a:gd name="T86" fmla="*/ 28955078 w 186"/>
                <a:gd name="T87" fmla="*/ 28385416 h 104"/>
                <a:gd name="T88" fmla="*/ 29546243 w 186"/>
                <a:gd name="T89" fmla="*/ 26573651 h 104"/>
                <a:gd name="T90" fmla="*/ 29939909 w 186"/>
                <a:gd name="T91" fmla="*/ 25063572 h 104"/>
                <a:gd name="T92" fmla="*/ 30136963 w 186"/>
                <a:gd name="T93" fmla="*/ 23251807 h 104"/>
                <a:gd name="T94" fmla="*/ 36637110 w 186"/>
                <a:gd name="T95" fmla="*/ 8153217 h 104"/>
                <a:gd name="T96" fmla="*/ 30136963 w 186"/>
                <a:gd name="T97" fmla="*/ 6341452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0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627997" y="2934203"/>
              <a:ext cx="160796" cy="108877"/>
            </a:xfrm>
            <a:custGeom>
              <a:avLst/>
              <a:gdLst>
                <a:gd name="T0" fmla="*/ 14524002 w 311"/>
                <a:gd name="T1" fmla="*/ 11121763 h 179"/>
                <a:gd name="T2" fmla="*/ 21142621 w 311"/>
                <a:gd name="T3" fmla="*/ 7609627 h 179"/>
                <a:gd name="T4" fmla="*/ 27209832 w 311"/>
                <a:gd name="T5" fmla="*/ 4097492 h 179"/>
                <a:gd name="T6" fmla="*/ 32725634 w 311"/>
                <a:gd name="T7" fmla="*/ 1170712 h 179"/>
                <a:gd name="T8" fmla="*/ 38792415 w 311"/>
                <a:gd name="T9" fmla="*/ 0 h 179"/>
                <a:gd name="T10" fmla="*/ 43388917 w 311"/>
                <a:gd name="T11" fmla="*/ 585356 h 179"/>
                <a:gd name="T12" fmla="*/ 47065690 w 311"/>
                <a:gd name="T13" fmla="*/ 1756068 h 179"/>
                <a:gd name="T14" fmla="*/ 53684309 w 311"/>
                <a:gd name="T15" fmla="*/ 3512136 h 179"/>
                <a:gd name="T16" fmla="*/ 52765009 w 311"/>
                <a:gd name="T17" fmla="*/ 8194983 h 179"/>
                <a:gd name="T18" fmla="*/ 51110354 w 311"/>
                <a:gd name="T19" fmla="*/ 12292475 h 179"/>
                <a:gd name="T20" fmla="*/ 49455699 w 311"/>
                <a:gd name="T21" fmla="*/ 15511933 h 179"/>
                <a:gd name="T22" fmla="*/ 48720344 w 311"/>
                <a:gd name="T23" fmla="*/ 18146035 h 179"/>
                <a:gd name="T24" fmla="*/ 48904290 w 311"/>
                <a:gd name="T25" fmla="*/ 19316747 h 179"/>
                <a:gd name="T26" fmla="*/ 49823591 w 311"/>
                <a:gd name="T27" fmla="*/ 20780136 h 179"/>
                <a:gd name="T28" fmla="*/ 52397546 w 311"/>
                <a:gd name="T29" fmla="*/ 23121560 h 179"/>
                <a:gd name="T30" fmla="*/ 57177564 w 311"/>
                <a:gd name="T31" fmla="*/ 27218511 h 179"/>
                <a:gd name="T32" fmla="*/ 52765009 w 311"/>
                <a:gd name="T33" fmla="*/ 31316003 h 179"/>
                <a:gd name="T34" fmla="*/ 51662191 w 311"/>
                <a:gd name="T35" fmla="*/ 33657426 h 179"/>
                <a:gd name="T36" fmla="*/ 51110354 w 311"/>
                <a:gd name="T37" fmla="*/ 37754918 h 179"/>
                <a:gd name="T38" fmla="*/ 46330335 w 311"/>
                <a:gd name="T39" fmla="*/ 39803664 h 179"/>
                <a:gd name="T40" fmla="*/ 38792415 w 311"/>
                <a:gd name="T41" fmla="*/ 43315800 h 179"/>
                <a:gd name="T42" fmla="*/ 35115643 w 311"/>
                <a:gd name="T43" fmla="*/ 49169359 h 179"/>
                <a:gd name="T44" fmla="*/ 32725634 w 311"/>
                <a:gd name="T45" fmla="*/ 51510783 h 179"/>
                <a:gd name="T46" fmla="*/ 30335195 w 311"/>
                <a:gd name="T47" fmla="*/ 52388817 h 179"/>
                <a:gd name="T48" fmla="*/ 27761240 w 311"/>
                <a:gd name="T49" fmla="*/ 51218105 h 179"/>
                <a:gd name="T50" fmla="*/ 25187714 w 311"/>
                <a:gd name="T51" fmla="*/ 48876681 h 179"/>
                <a:gd name="T52" fmla="*/ 22061921 w 311"/>
                <a:gd name="T53" fmla="*/ 46242579 h 179"/>
                <a:gd name="T54" fmla="*/ 18017257 w 311"/>
                <a:gd name="T55" fmla="*/ 45364546 h 179"/>
                <a:gd name="T56" fmla="*/ 12133992 w 311"/>
                <a:gd name="T57" fmla="*/ 45364546 h 179"/>
                <a:gd name="T58" fmla="*/ 9376520 w 311"/>
                <a:gd name="T59" fmla="*/ 45949901 h 179"/>
                <a:gd name="T60" fmla="*/ 7170028 w 311"/>
                <a:gd name="T61" fmla="*/ 47120613 h 179"/>
                <a:gd name="T62" fmla="*/ 6618619 w 311"/>
                <a:gd name="T63" fmla="*/ 41559732 h 179"/>
                <a:gd name="T64" fmla="*/ 5883265 w 311"/>
                <a:gd name="T65" fmla="*/ 35998850 h 179"/>
                <a:gd name="T66" fmla="*/ 3860718 w 311"/>
                <a:gd name="T67" fmla="*/ 37462240 h 179"/>
                <a:gd name="T68" fmla="*/ 2390009 w 311"/>
                <a:gd name="T69" fmla="*/ 37754918 h 179"/>
                <a:gd name="T70" fmla="*/ 1286763 w 311"/>
                <a:gd name="T71" fmla="*/ 36876884 h 179"/>
                <a:gd name="T72" fmla="*/ 551409 w 311"/>
                <a:gd name="T73" fmla="*/ 35413494 h 179"/>
                <a:gd name="T74" fmla="*/ 0 w 311"/>
                <a:gd name="T75" fmla="*/ 30730647 h 179"/>
                <a:gd name="T76" fmla="*/ 0 w 311"/>
                <a:gd name="T77" fmla="*/ 25462984 h 179"/>
                <a:gd name="T78" fmla="*/ 551409 w 311"/>
                <a:gd name="T79" fmla="*/ 23999594 h 179"/>
                <a:gd name="T80" fmla="*/ 2390009 w 311"/>
                <a:gd name="T81" fmla="*/ 22828882 h 179"/>
                <a:gd name="T82" fmla="*/ 3860718 w 311"/>
                <a:gd name="T83" fmla="*/ 21072814 h 179"/>
                <a:gd name="T84" fmla="*/ 4596073 w 311"/>
                <a:gd name="T85" fmla="*/ 19902102 h 179"/>
                <a:gd name="T86" fmla="*/ 4780019 w 311"/>
                <a:gd name="T87" fmla="*/ 18146035 h 179"/>
                <a:gd name="T88" fmla="*/ 4412556 w 311"/>
                <a:gd name="T89" fmla="*/ 14926577 h 179"/>
                <a:gd name="T90" fmla="*/ 3493255 w 311"/>
                <a:gd name="T91" fmla="*/ 12585153 h 179"/>
                <a:gd name="T92" fmla="*/ 1470709 w 311"/>
                <a:gd name="T93" fmla="*/ 8487661 h 179"/>
                <a:gd name="T94" fmla="*/ 183946 w 311"/>
                <a:gd name="T95" fmla="*/ 5268204 h 179"/>
                <a:gd name="T96" fmla="*/ 183946 w 311"/>
                <a:gd name="T97" fmla="*/ 3804814 h 179"/>
                <a:gd name="T98" fmla="*/ 1103246 w 311"/>
                <a:gd name="T99" fmla="*/ 1756068 h 179"/>
                <a:gd name="T100" fmla="*/ 0 w 311"/>
                <a:gd name="T101" fmla="*/ 1756068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1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50815" y="3976561"/>
              <a:ext cx="214395" cy="185626"/>
            </a:xfrm>
            <a:custGeom>
              <a:avLst/>
              <a:gdLst>
                <a:gd name="T0" fmla="*/ 1156359 w 405"/>
                <a:gd name="T1" fmla="*/ 71880018 h 314"/>
                <a:gd name="T2" fmla="*/ 2505443 w 405"/>
                <a:gd name="T3" fmla="*/ 65521565 h 314"/>
                <a:gd name="T4" fmla="*/ 3276349 w 405"/>
                <a:gd name="T5" fmla="*/ 55845338 h 314"/>
                <a:gd name="T6" fmla="*/ 4432708 w 405"/>
                <a:gd name="T7" fmla="*/ 47827998 h 314"/>
                <a:gd name="T8" fmla="*/ 6167245 w 405"/>
                <a:gd name="T9" fmla="*/ 44786793 h 314"/>
                <a:gd name="T10" fmla="*/ 9251307 w 405"/>
                <a:gd name="T11" fmla="*/ 41469019 h 314"/>
                <a:gd name="T12" fmla="*/ 13876741 w 405"/>
                <a:gd name="T13" fmla="*/ 38980951 h 314"/>
                <a:gd name="T14" fmla="*/ 17923996 w 405"/>
                <a:gd name="T15" fmla="*/ 37046021 h 314"/>
                <a:gd name="T16" fmla="*/ 20043987 w 405"/>
                <a:gd name="T17" fmla="*/ 34557954 h 314"/>
                <a:gd name="T18" fmla="*/ 21778524 w 405"/>
                <a:gd name="T19" fmla="*/ 31516749 h 314"/>
                <a:gd name="T20" fmla="*/ 23706228 w 405"/>
                <a:gd name="T21" fmla="*/ 25710907 h 314"/>
                <a:gd name="T22" fmla="*/ 26211671 w 405"/>
                <a:gd name="T23" fmla="*/ 19075885 h 314"/>
                <a:gd name="T24" fmla="*/ 28331662 w 405"/>
                <a:gd name="T25" fmla="*/ 15205500 h 314"/>
                <a:gd name="T26" fmla="*/ 29873473 w 405"/>
                <a:gd name="T27" fmla="*/ 14099750 h 314"/>
                <a:gd name="T28" fmla="*/ 32764369 w 405"/>
                <a:gd name="T29" fmla="*/ 14099750 h 314"/>
                <a:gd name="T30" fmla="*/ 36426171 w 405"/>
                <a:gd name="T31" fmla="*/ 13270044 h 314"/>
                <a:gd name="T32" fmla="*/ 41052044 w 405"/>
                <a:gd name="T33" fmla="*/ 9676227 h 314"/>
                <a:gd name="T34" fmla="*/ 45677479 w 405"/>
                <a:gd name="T35" fmla="*/ 5529273 h 314"/>
                <a:gd name="T36" fmla="*/ 49532007 w 405"/>
                <a:gd name="T37" fmla="*/ 3041205 h 314"/>
                <a:gd name="T38" fmla="*/ 54350167 w 405"/>
                <a:gd name="T39" fmla="*/ 1105749 h 314"/>
                <a:gd name="T40" fmla="*/ 60517852 w 405"/>
                <a:gd name="T41" fmla="*/ 0 h 314"/>
                <a:gd name="T42" fmla="*/ 63986927 w 405"/>
                <a:gd name="T43" fmla="*/ 3870386 h 314"/>
                <a:gd name="T44" fmla="*/ 64950560 w 405"/>
                <a:gd name="T45" fmla="*/ 9399658 h 314"/>
                <a:gd name="T46" fmla="*/ 66106918 w 405"/>
                <a:gd name="T47" fmla="*/ 13823182 h 314"/>
                <a:gd name="T48" fmla="*/ 67841456 w 405"/>
                <a:gd name="T49" fmla="*/ 17140430 h 314"/>
                <a:gd name="T50" fmla="*/ 70925518 w 405"/>
                <a:gd name="T51" fmla="*/ 20458204 h 314"/>
                <a:gd name="T52" fmla="*/ 73623687 w 405"/>
                <a:gd name="T53" fmla="*/ 23499409 h 314"/>
                <a:gd name="T54" fmla="*/ 75165499 w 405"/>
                <a:gd name="T55" fmla="*/ 25710907 h 314"/>
                <a:gd name="T56" fmla="*/ 76321857 w 405"/>
                <a:gd name="T57" fmla="*/ 31793318 h 314"/>
                <a:gd name="T58" fmla="*/ 76707310 w 405"/>
                <a:gd name="T59" fmla="*/ 39534089 h 314"/>
                <a:gd name="T60" fmla="*/ 76707310 w 405"/>
                <a:gd name="T61" fmla="*/ 46998291 h 314"/>
                <a:gd name="T62" fmla="*/ 77478216 w 405"/>
                <a:gd name="T63" fmla="*/ 54186451 h 314"/>
                <a:gd name="T64" fmla="*/ 76707310 w 405"/>
                <a:gd name="T65" fmla="*/ 59992292 h 314"/>
                <a:gd name="T66" fmla="*/ 73623687 w 405"/>
                <a:gd name="T67" fmla="*/ 62480360 h 314"/>
                <a:gd name="T68" fmla="*/ 70347338 w 405"/>
                <a:gd name="T69" fmla="*/ 66627314 h 314"/>
                <a:gd name="T70" fmla="*/ 69961446 w 405"/>
                <a:gd name="T71" fmla="*/ 65521565 h 314"/>
                <a:gd name="T72" fmla="*/ 68997814 w 405"/>
                <a:gd name="T73" fmla="*/ 64415816 h 314"/>
                <a:gd name="T74" fmla="*/ 65914192 w 405"/>
                <a:gd name="T75" fmla="*/ 62756929 h 314"/>
                <a:gd name="T76" fmla="*/ 61481484 w 405"/>
                <a:gd name="T77" fmla="*/ 61651179 h 314"/>
                <a:gd name="T78" fmla="*/ 29295294 w 405"/>
                <a:gd name="T79" fmla="*/ 66627314 h 314"/>
                <a:gd name="T80" fmla="*/ 28909841 w 405"/>
                <a:gd name="T81" fmla="*/ 71050838 h 314"/>
                <a:gd name="T82" fmla="*/ 28909841 w 405"/>
                <a:gd name="T83" fmla="*/ 75750404 h 314"/>
                <a:gd name="T84" fmla="*/ 29295294 w 405"/>
                <a:gd name="T85" fmla="*/ 86808949 h 314"/>
                <a:gd name="T86" fmla="*/ 26789850 w 405"/>
                <a:gd name="T87" fmla="*/ 86255811 h 314"/>
                <a:gd name="T88" fmla="*/ 24284407 w 405"/>
                <a:gd name="T89" fmla="*/ 84320882 h 314"/>
                <a:gd name="T90" fmla="*/ 19273081 w 405"/>
                <a:gd name="T91" fmla="*/ 80173927 h 314"/>
                <a:gd name="T92" fmla="*/ 17153090 w 405"/>
                <a:gd name="T93" fmla="*/ 84873493 h 314"/>
                <a:gd name="T94" fmla="*/ 15804005 w 405"/>
                <a:gd name="T95" fmla="*/ 86255811 h 314"/>
                <a:gd name="T96" fmla="*/ 14069468 w 405"/>
                <a:gd name="T97" fmla="*/ 86808949 h 314"/>
                <a:gd name="T98" fmla="*/ 11564024 w 405"/>
                <a:gd name="T99" fmla="*/ 85979768 h 314"/>
                <a:gd name="T100" fmla="*/ 9058581 w 405"/>
                <a:gd name="T101" fmla="*/ 83491175 h 314"/>
                <a:gd name="T102" fmla="*/ 5396340 w 405"/>
                <a:gd name="T103" fmla="*/ 80450496 h 314"/>
                <a:gd name="T104" fmla="*/ 0 w 405"/>
                <a:gd name="T105" fmla="*/ 78515040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2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70033" y="4053311"/>
              <a:ext cx="233537" cy="392669"/>
            </a:xfrm>
            <a:custGeom>
              <a:avLst/>
              <a:gdLst>
                <a:gd name="T0" fmla="*/ 61234220 w 453"/>
                <a:gd name="T1" fmla="*/ 10050052 h 661"/>
                <a:gd name="T2" fmla="*/ 58675402 w 453"/>
                <a:gd name="T3" fmla="*/ 27358797 h 661"/>
                <a:gd name="T4" fmla="*/ 50632545 w 453"/>
                <a:gd name="T5" fmla="*/ 45225497 h 661"/>
                <a:gd name="T6" fmla="*/ 46245571 w 453"/>
                <a:gd name="T7" fmla="*/ 61138300 h 661"/>
                <a:gd name="T8" fmla="*/ 42407129 w 453"/>
                <a:gd name="T9" fmla="*/ 75934664 h 661"/>
                <a:gd name="T10" fmla="*/ 38203142 w 453"/>
                <a:gd name="T11" fmla="*/ 91846938 h 661"/>
                <a:gd name="T12" fmla="*/ 35826882 w 453"/>
                <a:gd name="T13" fmla="*/ 101060058 h 661"/>
                <a:gd name="T14" fmla="*/ 32902090 w 453"/>
                <a:gd name="T15" fmla="*/ 106084820 h 661"/>
                <a:gd name="T16" fmla="*/ 30525831 w 453"/>
                <a:gd name="T17" fmla="*/ 108876706 h 661"/>
                <a:gd name="T18" fmla="*/ 25773311 w 453"/>
                <a:gd name="T19" fmla="*/ 106643303 h 661"/>
                <a:gd name="T20" fmla="*/ 22117428 w 453"/>
                <a:gd name="T21" fmla="*/ 103292933 h 661"/>
                <a:gd name="T22" fmla="*/ 17182350 w 453"/>
                <a:gd name="T23" fmla="*/ 102455473 h 661"/>
                <a:gd name="T24" fmla="*/ 11698312 w 453"/>
                <a:gd name="T25" fmla="*/ 106084820 h 661"/>
                <a:gd name="T26" fmla="*/ 8042857 w 453"/>
                <a:gd name="T27" fmla="*/ 112506053 h 661"/>
                <a:gd name="T28" fmla="*/ 3838442 w 453"/>
                <a:gd name="T29" fmla="*/ 126743406 h 661"/>
                <a:gd name="T30" fmla="*/ 1279623 w 453"/>
                <a:gd name="T31" fmla="*/ 134560054 h 661"/>
                <a:gd name="T32" fmla="*/ 182987 w 453"/>
                <a:gd name="T33" fmla="*/ 139585345 h 661"/>
                <a:gd name="T34" fmla="*/ 1462182 w 453"/>
                <a:gd name="T35" fmla="*/ 144331129 h 661"/>
                <a:gd name="T36" fmla="*/ 3655883 w 453"/>
                <a:gd name="T37" fmla="*/ 146844038 h 661"/>
                <a:gd name="T38" fmla="*/ 10053571 w 453"/>
                <a:gd name="T39" fmla="*/ 146844038 h 661"/>
                <a:gd name="T40" fmla="*/ 12977935 w 453"/>
                <a:gd name="T41" fmla="*/ 152985766 h 661"/>
                <a:gd name="T42" fmla="*/ 13343481 w 453"/>
                <a:gd name="T43" fmla="*/ 164710738 h 661"/>
                <a:gd name="T44" fmla="*/ 12246844 w 453"/>
                <a:gd name="T45" fmla="*/ 175877756 h 661"/>
                <a:gd name="T46" fmla="*/ 79147662 w 453"/>
                <a:gd name="T47" fmla="*/ 184531865 h 661"/>
                <a:gd name="T48" fmla="*/ 80792830 w 453"/>
                <a:gd name="T49" fmla="*/ 162477335 h 661"/>
                <a:gd name="T50" fmla="*/ 75857752 w 453"/>
                <a:gd name="T51" fmla="*/ 158569011 h 661"/>
                <a:gd name="T52" fmla="*/ 68180441 w 453"/>
                <a:gd name="T53" fmla="*/ 155498147 h 661"/>
                <a:gd name="T54" fmla="*/ 64524558 w 453"/>
                <a:gd name="T55" fmla="*/ 153264743 h 661"/>
                <a:gd name="T56" fmla="*/ 62148298 w 453"/>
                <a:gd name="T57" fmla="*/ 149914902 h 661"/>
                <a:gd name="T58" fmla="*/ 60868675 w 453"/>
                <a:gd name="T59" fmla="*/ 143773174 h 661"/>
                <a:gd name="T60" fmla="*/ 60868675 w 453"/>
                <a:gd name="T61" fmla="*/ 129535293 h 661"/>
                <a:gd name="T62" fmla="*/ 61600194 w 453"/>
                <a:gd name="T63" fmla="*/ 119485241 h 661"/>
                <a:gd name="T64" fmla="*/ 64159012 w 453"/>
                <a:gd name="T65" fmla="*/ 110830604 h 661"/>
                <a:gd name="T66" fmla="*/ 68180441 w 453"/>
                <a:gd name="T67" fmla="*/ 101618012 h 661"/>
                <a:gd name="T68" fmla="*/ 71653337 w 453"/>
                <a:gd name="T69" fmla="*/ 92126444 h 661"/>
                <a:gd name="T70" fmla="*/ 72932960 w 453"/>
                <a:gd name="T71" fmla="*/ 82913852 h 661"/>
                <a:gd name="T72" fmla="*/ 71105232 w 453"/>
                <a:gd name="T73" fmla="*/ 74538721 h 661"/>
                <a:gd name="T74" fmla="*/ 68180441 w 453"/>
                <a:gd name="T75" fmla="*/ 68675970 h 661"/>
                <a:gd name="T76" fmla="*/ 62696830 w 453"/>
                <a:gd name="T77" fmla="*/ 60579817 h 661"/>
                <a:gd name="T78" fmla="*/ 60868675 w 453"/>
                <a:gd name="T79" fmla="*/ 53600629 h 661"/>
                <a:gd name="T80" fmla="*/ 61234220 w 453"/>
                <a:gd name="T81" fmla="*/ 48296361 h 661"/>
                <a:gd name="T82" fmla="*/ 64524558 w 453"/>
                <a:gd name="T83" fmla="*/ 45783980 h 661"/>
                <a:gd name="T84" fmla="*/ 74212583 w 453"/>
                <a:gd name="T85" fmla="*/ 45225497 h 661"/>
                <a:gd name="T86" fmla="*/ 72201869 w 453"/>
                <a:gd name="T87" fmla="*/ 42154634 h 661"/>
                <a:gd name="T88" fmla="*/ 69277077 w 453"/>
                <a:gd name="T89" fmla="*/ 32663065 h 661"/>
                <a:gd name="T90" fmla="*/ 67814895 w 453"/>
                <a:gd name="T91" fmla="*/ 20379609 h 661"/>
                <a:gd name="T92" fmla="*/ 68180441 w 453"/>
                <a:gd name="T93" fmla="*/ 12562433 h 661"/>
                <a:gd name="T94" fmla="*/ 67083804 w 453"/>
                <a:gd name="T95" fmla="*/ 3070864 h 661"/>
                <a:gd name="T96" fmla="*/ 63427921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3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7225622" y="3782012"/>
              <a:ext cx="66999" cy="64255"/>
            </a:xfrm>
            <a:custGeom>
              <a:avLst/>
              <a:gdLst>
                <a:gd name="T0" fmla="*/ 0 w 126"/>
                <a:gd name="T1" fmla="*/ 16589829 h 105"/>
                <a:gd name="T2" fmla="*/ 777882 w 126"/>
                <a:gd name="T3" fmla="*/ 14516100 h 105"/>
                <a:gd name="T4" fmla="*/ 1944705 w 126"/>
                <a:gd name="T5" fmla="*/ 12146280 h 105"/>
                <a:gd name="T6" fmla="*/ 3111528 w 126"/>
                <a:gd name="T7" fmla="*/ 9775916 h 105"/>
                <a:gd name="T8" fmla="*/ 4666851 w 126"/>
                <a:gd name="T9" fmla="*/ 7406096 h 105"/>
                <a:gd name="T10" fmla="*/ 7194968 w 126"/>
                <a:gd name="T11" fmla="*/ 3258639 h 105"/>
                <a:gd name="T12" fmla="*/ 9139673 w 126"/>
                <a:gd name="T13" fmla="*/ 0 h 105"/>
                <a:gd name="T14" fmla="*/ 21973844 w 126"/>
                <a:gd name="T15" fmla="*/ 0 h 105"/>
                <a:gd name="T16" fmla="*/ 22168314 w 126"/>
                <a:gd name="T17" fmla="*/ 1184910 h 105"/>
                <a:gd name="T18" fmla="*/ 22362785 w 126"/>
                <a:gd name="T19" fmla="*/ 2369820 h 105"/>
                <a:gd name="T20" fmla="*/ 22751726 w 126"/>
                <a:gd name="T21" fmla="*/ 3554730 h 105"/>
                <a:gd name="T22" fmla="*/ 23140667 w 126"/>
                <a:gd name="T23" fmla="*/ 4147457 h 105"/>
                <a:gd name="T24" fmla="*/ 24113019 w 126"/>
                <a:gd name="T25" fmla="*/ 5925094 h 105"/>
                <a:gd name="T26" fmla="*/ 24501960 w 126"/>
                <a:gd name="T27" fmla="*/ 7110004 h 105"/>
                <a:gd name="T28" fmla="*/ 24501960 w 126"/>
                <a:gd name="T29" fmla="*/ 9479824 h 105"/>
                <a:gd name="T30" fmla="*/ 24307490 w 126"/>
                <a:gd name="T31" fmla="*/ 12146280 h 105"/>
                <a:gd name="T32" fmla="*/ 24113019 w 126"/>
                <a:gd name="T33" fmla="*/ 14220009 h 105"/>
                <a:gd name="T34" fmla="*/ 23724078 w 126"/>
                <a:gd name="T35" fmla="*/ 16293737 h 105"/>
                <a:gd name="T36" fmla="*/ 23140667 w 126"/>
                <a:gd name="T37" fmla="*/ 18367466 h 105"/>
                <a:gd name="T38" fmla="*/ 22557255 w 126"/>
                <a:gd name="T39" fmla="*/ 20441194 h 105"/>
                <a:gd name="T40" fmla="*/ 21779373 w 126"/>
                <a:gd name="T41" fmla="*/ 22218287 h 105"/>
                <a:gd name="T42" fmla="*/ 21001491 w 126"/>
                <a:gd name="T43" fmla="*/ 23995924 h 105"/>
                <a:gd name="T44" fmla="*/ 20224050 w 126"/>
                <a:gd name="T45" fmla="*/ 25477470 h 105"/>
                <a:gd name="T46" fmla="*/ 19251698 w 126"/>
                <a:gd name="T47" fmla="*/ 26662380 h 105"/>
                <a:gd name="T48" fmla="*/ 18084875 w 126"/>
                <a:gd name="T49" fmla="*/ 27847290 h 105"/>
                <a:gd name="T50" fmla="*/ 17112522 w 126"/>
                <a:gd name="T51" fmla="*/ 29328291 h 105"/>
                <a:gd name="T52" fmla="*/ 15751229 w 126"/>
                <a:gd name="T53" fmla="*/ 29921019 h 105"/>
                <a:gd name="T54" fmla="*/ 14389935 w 126"/>
                <a:gd name="T55" fmla="*/ 30513201 h 105"/>
                <a:gd name="T56" fmla="*/ 13028642 w 126"/>
                <a:gd name="T57" fmla="*/ 31105929 h 105"/>
                <a:gd name="T58" fmla="*/ 11667789 w 126"/>
                <a:gd name="T59" fmla="*/ 31105929 h 105"/>
                <a:gd name="T60" fmla="*/ 9334143 w 126"/>
                <a:gd name="T61" fmla="*/ 30809837 h 105"/>
                <a:gd name="T62" fmla="*/ 7389438 w 126"/>
                <a:gd name="T63" fmla="*/ 30217110 h 105"/>
                <a:gd name="T64" fmla="*/ 6028145 w 126"/>
                <a:gd name="T65" fmla="*/ 29032200 h 105"/>
                <a:gd name="T66" fmla="*/ 4666851 w 126"/>
                <a:gd name="T67" fmla="*/ 27254563 h 105"/>
                <a:gd name="T68" fmla="*/ 3889410 w 126"/>
                <a:gd name="T69" fmla="*/ 25477470 h 105"/>
                <a:gd name="T70" fmla="*/ 3111528 w 126"/>
                <a:gd name="T71" fmla="*/ 23107106 h 105"/>
                <a:gd name="T72" fmla="*/ 2722587 w 126"/>
                <a:gd name="T73" fmla="*/ 20737286 h 105"/>
                <a:gd name="T74" fmla="*/ 2528117 w 126"/>
                <a:gd name="T75" fmla="*/ 18367466 h 105"/>
                <a:gd name="T76" fmla="*/ 0 w 126"/>
                <a:gd name="T77" fmla="*/ 16589829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4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1624551" y="4078299"/>
              <a:ext cx="359877" cy="589004"/>
            </a:xfrm>
            <a:custGeom>
              <a:avLst/>
              <a:gdLst>
                <a:gd name="T0" fmla="*/ 127747945 w 684"/>
                <a:gd name="T1" fmla="*/ 157887946 h 998"/>
                <a:gd name="T2" fmla="*/ 129461414 w 684"/>
                <a:gd name="T3" fmla="*/ 151550528 h 998"/>
                <a:gd name="T4" fmla="*/ 127747945 w 684"/>
                <a:gd name="T5" fmla="*/ 135293081 h 998"/>
                <a:gd name="T6" fmla="*/ 125463319 w 684"/>
                <a:gd name="T7" fmla="*/ 116555888 h 998"/>
                <a:gd name="T8" fmla="*/ 129080498 w 684"/>
                <a:gd name="T9" fmla="*/ 107187555 h 998"/>
                <a:gd name="T10" fmla="*/ 106043997 w 684"/>
                <a:gd name="T11" fmla="*/ 99472209 h 998"/>
                <a:gd name="T12" fmla="*/ 101474745 w 684"/>
                <a:gd name="T13" fmla="*/ 89828290 h 998"/>
                <a:gd name="T14" fmla="*/ 87957666 w 684"/>
                <a:gd name="T15" fmla="*/ 85419446 h 998"/>
                <a:gd name="T16" fmla="*/ 76534535 w 684"/>
                <a:gd name="T17" fmla="*/ 74397599 h 998"/>
                <a:gd name="T18" fmla="*/ 71394127 w 684"/>
                <a:gd name="T19" fmla="*/ 55384821 h 998"/>
                <a:gd name="T20" fmla="*/ 71394127 w 684"/>
                <a:gd name="T21" fmla="*/ 36647628 h 998"/>
                <a:gd name="T22" fmla="*/ 75201982 w 684"/>
                <a:gd name="T23" fmla="*/ 23146036 h 998"/>
                <a:gd name="T24" fmla="*/ 82817257 w 684"/>
                <a:gd name="T25" fmla="*/ 13226007 h 998"/>
                <a:gd name="T26" fmla="*/ 88147906 w 684"/>
                <a:gd name="T27" fmla="*/ 3030916 h 998"/>
                <a:gd name="T28" fmla="*/ 74059669 w 684"/>
                <a:gd name="T29" fmla="*/ 10746262 h 998"/>
                <a:gd name="T30" fmla="*/ 63778852 w 684"/>
                <a:gd name="T31" fmla="*/ 18737193 h 998"/>
                <a:gd name="T32" fmla="*/ 57876611 w 684"/>
                <a:gd name="T33" fmla="*/ 21492523 h 998"/>
                <a:gd name="T34" fmla="*/ 52926879 w 684"/>
                <a:gd name="T35" fmla="*/ 23146036 h 998"/>
                <a:gd name="T36" fmla="*/ 45882761 w 684"/>
                <a:gd name="T37" fmla="*/ 22319280 h 998"/>
                <a:gd name="T38" fmla="*/ 41313508 w 684"/>
                <a:gd name="T39" fmla="*/ 29759040 h 998"/>
                <a:gd name="T40" fmla="*/ 37315413 w 684"/>
                <a:gd name="T41" fmla="*/ 48220647 h 998"/>
                <a:gd name="T42" fmla="*/ 29890378 w 684"/>
                <a:gd name="T43" fmla="*/ 62548995 h 998"/>
                <a:gd name="T44" fmla="*/ 20370958 w 684"/>
                <a:gd name="T45" fmla="*/ 78255272 h 998"/>
                <a:gd name="T46" fmla="*/ 17134695 w 684"/>
                <a:gd name="T47" fmla="*/ 87348020 h 998"/>
                <a:gd name="T48" fmla="*/ 16372862 w 684"/>
                <a:gd name="T49" fmla="*/ 98094281 h 998"/>
                <a:gd name="T50" fmla="*/ 18467248 w 684"/>
                <a:gd name="T51" fmla="*/ 105258456 h 998"/>
                <a:gd name="T52" fmla="*/ 18467248 w 684"/>
                <a:gd name="T53" fmla="*/ 124271234 h 998"/>
                <a:gd name="T54" fmla="*/ 18086332 w 684"/>
                <a:gd name="T55" fmla="*/ 144661940 h 998"/>
                <a:gd name="T56" fmla="*/ 13707756 w 684"/>
                <a:gd name="T57" fmla="*/ 155132616 h 998"/>
                <a:gd name="T58" fmla="*/ 7044118 w 684"/>
                <a:gd name="T59" fmla="*/ 163123547 h 998"/>
                <a:gd name="T60" fmla="*/ 2094386 w 684"/>
                <a:gd name="T61" fmla="*/ 168634208 h 998"/>
                <a:gd name="T62" fmla="*/ 5711565 w 684"/>
                <a:gd name="T63" fmla="*/ 184064899 h 998"/>
                <a:gd name="T64" fmla="*/ 23417417 w 684"/>
                <a:gd name="T65" fmla="*/ 199771175 h 998"/>
                <a:gd name="T66" fmla="*/ 33317317 w 684"/>
                <a:gd name="T67" fmla="*/ 200597407 h 998"/>
                <a:gd name="T68" fmla="*/ 44549771 w 684"/>
                <a:gd name="T69" fmla="*/ 205557422 h 998"/>
                <a:gd name="T70" fmla="*/ 56924974 w 684"/>
                <a:gd name="T71" fmla="*/ 219059014 h 998"/>
                <a:gd name="T72" fmla="*/ 64159332 w 684"/>
                <a:gd name="T73" fmla="*/ 234214119 h 998"/>
                <a:gd name="T74" fmla="*/ 69870897 w 684"/>
                <a:gd name="T75" fmla="*/ 242756221 h 998"/>
                <a:gd name="T76" fmla="*/ 78438245 w 684"/>
                <a:gd name="T77" fmla="*/ 244133624 h 998"/>
                <a:gd name="T78" fmla="*/ 87957666 w 684"/>
                <a:gd name="T79" fmla="*/ 241378293 h 998"/>
                <a:gd name="T80" fmla="*/ 93669231 w 684"/>
                <a:gd name="T81" fmla="*/ 241929464 h 998"/>
                <a:gd name="T82" fmla="*/ 98047806 w 684"/>
                <a:gd name="T83" fmla="*/ 249093639 h 998"/>
                <a:gd name="T84" fmla="*/ 97667326 w 684"/>
                <a:gd name="T85" fmla="*/ 254053654 h 998"/>
                <a:gd name="T86" fmla="*/ 92907398 w 684"/>
                <a:gd name="T87" fmla="*/ 258186912 h 998"/>
                <a:gd name="T88" fmla="*/ 92907398 w 684"/>
                <a:gd name="T89" fmla="*/ 265351086 h 998"/>
                <a:gd name="T90" fmla="*/ 97286410 w 684"/>
                <a:gd name="T91" fmla="*/ 273892663 h 998"/>
                <a:gd name="T92" fmla="*/ 103188215 w 684"/>
                <a:gd name="T93" fmla="*/ 265075501 h 998"/>
                <a:gd name="T94" fmla="*/ 107757467 w 684"/>
                <a:gd name="T95" fmla="*/ 237245035 h 998"/>
                <a:gd name="T96" fmla="*/ 108709540 w 684"/>
                <a:gd name="T97" fmla="*/ 221263698 h 998"/>
                <a:gd name="T98" fmla="*/ 105663081 w 684"/>
                <a:gd name="T99" fmla="*/ 212446010 h 998"/>
                <a:gd name="T100" fmla="*/ 99571036 w 684"/>
                <a:gd name="T101" fmla="*/ 206384178 h 998"/>
                <a:gd name="T102" fmla="*/ 99190119 w 684"/>
                <a:gd name="T103" fmla="*/ 199220004 h 998"/>
                <a:gd name="T104" fmla="*/ 107757467 w 684"/>
                <a:gd name="T105" fmla="*/ 192882061 h 998"/>
                <a:gd name="T106" fmla="*/ 105853757 w 684"/>
                <a:gd name="T107" fmla="*/ 183238142 h 998"/>
                <a:gd name="T108" fmla="*/ 105853757 w 684"/>
                <a:gd name="T109" fmla="*/ 178829298 h 998"/>
                <a:gd name="T110" fmla="*/ 124701486 w 684"/>
                <a:gd name="T111" fmla="*/ 173043051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5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340861" y="4379940"/>
              <a:ext cx="225881" cy="308782"/>
            </a:xfrm>
            <a:custGeom>
              <a:avLst/>
              <a:gdLst>
                <a:gd name="T0" fmla="*/ 81796400 w 429"/>
                <a:gd name="T1" fmla="*/ 6043608 h 524"/>
                <a:gd name="T2" fmla="*/ 81605582 w 429"/>
                <a:gd name="T3" fmla="*/ 11812055 h 524"/>
                <a:gd name="T4" fmla="*/ 80843182 w 429"/>
                <a:gd name="T5" fmla="*/ 14833597 h 524"/>
                <a:gd name="T6" fmla="*/ 79127128 w 429"/>
                <a:gd name="T7" fmla="*/ 18404939 h 524"/>
                <a:gd name="T8" fmla="*/ 78745928 w 429"/>
                <a:gd name="T9" fmla="*/ 22250919 h 524"/>
                <a:gd name="T10" fmla="*/ 78936310 w 429"/>
                <a:gd name="T11" fmla="*/ 43952038 h 524"/>
                <a:gd name="T12" fmla="*/ 77792274 w 429"/>
                <a:gd name="T13" fmla="*/ 56862645 h 524"/>
                <a:gd name="T14" fmla="*/ 75504201 w 429"/>
                <a:gd name="T15" fmla="*/ 66202957 h 524"/>
                <a:gd name="T16" fmla="*/ 70928493 w 429"/>
                <a:gd name="T17" fmla="*/ 76366660 h 524"/>
                <a:gd name="T18" fmla="*/ 64445477 w 429"/>
                <a:gd name="T19" fmla="*/ 84882534 h 524"/>
                <a:gd name="T20" fmla="*/ 60822987 w 429"/>
                <a:gd name="T21" fmla="*/ 91474895 h 524"/>
                <a:gd name="T22" fmla="*/ 59488132 w 429"/>
                <a:gd name="T23" fmla="*/ 113176538 h 524"/>
                <a:gd name="T24" fmla="*/ 57962896 w 429"/>
                <a:gd name="T25" fmla="*/ 120593336 h 524"/>
                <a:gd name="T26" fmla="*/ 55293624 w 429"/>
                <a:gd name="T27" fmla="*/ 123065602 h 524"/>
                <a:gd name="T28" fmla="*/ 51289498 w 429"/>
                <a:gd name="T29" fmla="*/ 124988592 h 524"/>
                <a:gd name="T30" fmla="*/ 48239026 w 429"/>
                <a:gd name="T31" fmla="*/ 129658487 h 524"/>
                <a:gd name="T32" fmla="*/ 44616099 w 429"/>
                <a:gd name="T33" fmla="*/ 137349923 h 524"/>
                <a:gd name="T34" fmla="*/ 42518845 w 429"/>
                <a:gd name="T35" fmla="*/ 138723637 h 524"/>
                <a:gd name="T36" fmla="*/ 38324337 w 429"/>
                <a:gd name="T37" fmla="*/ 138448999 h 524"/>
                <a:gd name="T38" fmla="*/ 36036265 w 429"/>
                <a:gd name="T39" fmla="*/ 136800647 h 524"/>
                <a:gd name="T40" fmla="*/ 27646812 w 429"/>
                <a:gd name="T41" fmla="*/ 137349923 h 524"/>
                <a:gd name="T42" fmla="*/ 23452304 w 429"/>
                <a:gd name="T43" fmla="*/ 137349923 h 524"/>
                <a:gd name="T44" fmla="*/ 21545432 w 429"/>
                <a:gd name="T45" fmla="*/ 135701571 h 524"/>
                <a:gd name="T46" fmla="*/ 18113323 w 429"/>
                <a:gd name="T47" fmla="*/ 135426933 h 524"/>
                <a:gd name="T48" fmla="*/ 14872033 w 429"/>
                <a:gd name="T49" fmla="*/ 137899199 h 524"/>
                <a:gd name="T50" fmla="*/ 11821561 w 429"/>
                <a:gd name="T51" fmla="*/ 142569093 h 524"/>
                <a:gd name="T52" fmla="*/ 5148163 w 429"/>
                <a:gd name="T53" fmla="*/ 134877657 h 524"/>
                <a:gd name="T54" fmla="*/ 1144036 w 429"/>
                <a:gd name="T55" fmla="*/ 122790964 h 524"/>
                <a:gd name="T56" fmla="*/ 4766526 w 429"/>
                <a:gd name="T57" fmla="*/ 118121070 h 524"/>
                <a:gd name="T58" fmla="*/ 8008253 w 429"/>
                <a:gd name="T59" fmla="*/ 116472718 h 524"/>
                <a:gd name="T60" fmla="*/ 11630743 w 429"/>
                <a:gd name="T61" fmla="*/ 117571794 h 524"/>
                <a:gd name="T62" fmla="*/ 11058725 w 429"/>
                <a:gd name="T63" fmla="*/ 114824366 h 524"/>
                <a:gd name="T64" fmla="*/ 8579834 w 429"/>
                <a:gd name="T65" fmla="*/ 106034377 h 524"/>
                <a:gd name="T66" fmla="*/ 8961471 w 429"/>
                <a:gd name="T67" fmla="*/ 100540045 h 524"/>
                <a:gd name="T68" fmla="*/ 10867907 w 429"/>
                <a:gd name="T69" fmla="*/ 97793141 h 524"/>
                <a:gd name="T70" fmla="*/ 13537615 w 429"/>
                <a:gd name="T71" fmla="*/ 96694589 h 524"/>
                <a:gd name="T72" fmla="*/ 16969287 w 429"/>
                <a:gd name="T73" fmla="*/ 92573971 h 524"/>
                <a:gd name="T74" fmla="*/ 19829377 w 429"/>
                <a:gd name="T75" fmla="*/ 91474895 h 524"/>
                <a:gd name="T76" fmla="*/ 21926631 w 429"/>
                <a:gd name="T77" fmla="*/ 93947161 h 524"/>
                <a:gd name="T78" fmla="*/ 25739940 w 429"/>
                <a:gd name="T79" fmla="*/ 98617055 h 524"/>
                <a:gd name="T80" fmla="*/ 29362866 w 429"/>
                <a:gd name="T81" fmla="*/ 96419951 h 524"/>
                <a:gd name="T82" fmla="*/ 34511029 w 429"/>
                <a:gd name="T83" fmla="*/ 96969227 h 524"/>
                <a:gd name="T84" fmla="*/ 37942701 w 429"/>
                <a:gd name="T85" fmla="*/ 93397885 h 524"/>
                <a:gd name="T86" fmla="*/ 40040391 w 429"/>
                <a:gd name="T87" fmla="*/ 86530362 h 524"/>
                <a:gd name="T88" fmla="*/ 40612409 w 429"/>
                <a:gd name="T89" fmla="*/ 79662840 h 524"/>
                <a:gd name="T90" fmla="*/ 40993609 w 429"/>
                <a:gd name="T91" fmla="*/ 73894394 h 524"/>
                <a:gd name="T92" fmla="*/ 38324337 w 429"/>
                <a:gd name="T93" fmla="*/ 64829243 h 524"/>
                <a:gd name="T94" fmla="*/ 35845447 w 429"/>
                <a:gd name="T95" fmla="*/ 55764093 h 524"/>
                <a:gd name="T96" fmla="*/ 39468373 w 429"/>
                <a:gd name="T97" fmla="*/ 48621932 h 524"/>
                <a:gd name="T98" fmla="*/ 40040391 w 429"/>
                <a:gd name="T99" fmla="*/ 45050590 h 524"/>
                <a:gd name="T100" fmla="*/ 38133519 w 429"/>
                <a:gd name="T101" fmla="*/ 42578324 h 524"/>
                <a:gd name="T102" fmla="*/ 37561501 w 429"/>
                <a:gd name="T103" fmla="*/ 37633792 h 524"/>
                <a:gd name="T104" fmla="*/ 35845447 w 429"/>
                <a:gd name="T105" fmla="*/ 35436164 h 524"/>
                <a:gd name="T106" fmla="*/ 30697284 w 429"/>
                <a:gd name="T107" fmla="*/ 36260602 h 524"/>
                <a:gd name="T108" fmla="*/ 26121576 w 429"/>
                <a:gd name="T109" fmla="*/ 35985964 h 524"/>
                <a:gd name="T110" fmla="*/ 23833504 w 429"/>
                <a:gd name="T111" fmla="*/ 32689260 h 524"/>
                <a:gd name="T112" fmla="*/ 23452304 w 429"/>
                <a:gd name="T113" fmla="*/ 28294003 h 524"/>
                <a:gd name="T114" fmla="*/ 25167922 w 429"/>
                <a:gd name="T115" fmla="*/ 20877205 h 524"/>
                <a:gd name="T116" fmla="*/ 58344096 w 429"/>
                <a:gd name="T117" fmla="*/ 10438340 h 524"/>
                <a:gd name="T118" fmla="*/ 61585823 w 429"/>
                <a:gd name="T119" fmla="*/ 4669894 h 524"/>
                <a:gd name="T120" fmla="*/ 65399131 w 429"/>
                <a:gd name="T121" fmla="*/ 1922990 h 524"/>
                <a:gd name="T122" fmla="*/ 71309693 w 429"/>
                <a:gd name="T123" fmla="*/ 1373714 h 524"/>
                <a:gd name="T124" fmla="*/ 77792274 w 429"/>
                <a:gd name="T125" fmla="*/ 1098552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6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79146" y="2853884"/>
              <a:ext cx="153139" cy="128510"/>
            </a:xfrm>
            <a:custGeom>
              <a:avLst/>
              <a:gdLst>
                <a:gd name="T0" fmla="*/ 48993729 w 292"/>
                <a:gd name="T1" fmla="*/ 24432522 h 223"/>
                <a:gd name="T2" fmla="*/ 31401620 w 292"/>
                <a:gd name="T3" fmla="*/ 20229050 h 223"/>
                <a:gd name="T4" fmla="*/ 28753322 w 292"/>
                <a:gd name="T5" fmla="*/ 20754420 h 223"/>
                <a:gd name="T6" fmla="*/ 26293784 w 292"/>
                <a:gd name="T7" fmla="*/ 20754420 h 223"/>
                <a:gd name="T8" fmla="*/ 23834682 w 292"/>
                <a:gd name="T9" fmla="*/ 20229050 h 223"/>
                <a:gd name="T10" fmla="*/ 22510750 w 292"/>
                <a:gd name="T11" fmla="*/ 24432522 h 223"/>
                <a:gd name="T12" fmla="*/ 27239760 w 292"/>
                <a:gd name="T13" fmla="*/ 34415576 h 223"/>
                <a:gd name="T14" fmla="*/ 31779575 w 292"/>
                <a:gd name="T15" fmla="*/ 41245898 h 223"/>
                <a:gd name="T16" fmla="*/ 35752240 w 292"/>
                <a:gd name="T17" fmla="*/ 48602103 h 223"/>
                <a:gd name="T18" fmla="*/ 37265801 w 292"/>
                <a:gd name="T19" fmla="*/ 53068004 h 223"/>
                <a:gd name="T20" fmla="*/ 38778928 w 292"/>
                <a:gd name="T21" fmla="*/ 58322216 h 223"/>
                <a:gd name="T22" fmla="*/ 33103942 w 292"/>
                <a:gd name="T23" fmla="*/ 58585157 h 223"/>
                <a:gd name="T24" fmla="*/ 30455644 w 292"/>
                <a:gd name="T25" fmla="*/ 58322216 h 223"/>
                <a:gd name="T26" fmla="*/ 27618151 w 292"/>
                <a:gd name="T27" fmla="*/ 56746106 h 223"/>
                <a:gd name="T28" fmla="*/ 25348243 w 292"/>
                <a:gd name="T29" fmla="*/ 54907055 h 223"/>
                <a:gd name="T30" fmla="*/ 24023877 w 292"/>
                <a:gd name="T31" fmla="*/ 52017264 h 223"/>
                <a:gd name="T32" fmla="*/ 22889140 w 292"/>
                <a:gd name="T33" fmla="*/ 49127473 h 223"/>
                <a:gd name="T34" fmla="*/ 21375579 w 292"/>
                <a:gd name="T35" fmla="*/ 47288422 h 223"/>
                <a:gd name="T36" fmla="*/ 17214154 w 292"/>
                <a:gd name="T37" fmla="*/ 38093678 h 223"/>
                <a:gd name="T38" fmla="*/ 12863099 w 292"/>
                <a:gd name="T39" fmla="*/ 29686734 h 223"/>
                <a:gd name="T40" fmla="*/ 10403997 w 292"/>
                <a:gd name="T41" fmla="*/ 26008632 h 223"/>
                <a:gd name="T42" fmla="*/ 7944894 w 292"/>
                <a:gd name="T43" fmla="*/ 22855900 h 223"/>
                <a:gd name="T44" fmla="*/ 5107401 w 292"/>
                <a:gd name="T45" fmla="*/ 20754420 h 223"/>
                <a:gd name="T46" fmla="*/ 2459103 w 292"/>
                <a:gd name="T47" fmla="*/ 19703680 h 223"/>
                <a:gd name="T48" fmla="*/ 756781 w 292"/>
                <a:gd name="T49" fmla="*/ 17076317 h 223"/>
                <a:gd name="T50" fmla="*/ 189195 w 292"/>
                <a:gd name="T51" fmla="*/ 15237266 h 223"/>
                <a:gd name="T52" fmla="*/ 0 w 292"/>
                <a:gd name="T53" fmla="*/ 12872845 h 223"/>
                <a:gd name="T54" fmla="*/ 7566503 w 292"/>
                <a:gd name="T55" fmla="*/ 14449468 h 223"/>
                <a:gd name="T56" fmla="*/ 13241490 w 292"/>
                <a:gd name="T57" fmla="*/ 14449468 h 223"/>
                <a:gd name="T58" fmla="*/ 17214154 w 292"/>
                <a:gd name="T59" fmla="*/ 13135787 h 223"/>
                <a:gd name="T60" fmla="*/ 20051647 w 292"/>
                <a:gd name="T61" fmla="*/ 10771365 h 223"/>
                <a:gd name="T62" fmla="*/ 24023877 w 292"/>
                <a:gd name="T63" fmla="*/ 5254212 h 223"/>
                <a:gd name="T64" fmla="*/ 26105024 w 292"/>
                <a:gd name="T65" fmla="*/ 2364421 h 223"/>
                <a:gd name="T66" fmla="*/ 28753322 w 292"/>
                <a:gd name="T67" fmla="*/ 0 h 223"/>
                <a:gd name="T68" fmla="*/ 32536356 w 292"/>
                <a:gd name="T69" fmla="*/ 3678102 h 223"/>
                <a:gd name="T70" fmla="*/ 36698216 w 292"/>
                <a:gd name="T71" fmla="*/ 6830322 h 223"/>
                <a:gd name="T72" fmla="*/ 41238031 w 292"/>
                <a:gd name="T73" fmla="*/ 8932314 h 223"/>
                <a:gd name="T74" fmla="*/ 46534627 w 292"/>
                <a:gd name="T75" fmla="*/ 9720626 h 223"/>
                <a:gd name="T76" fmla="*/ 49561315 w 292"/>
                <a:gd name="T77" fmla="*/ 8932314 h 223"/>
                <a:gd name="T78" fmla="*/ 52777199 w 292"/>
                <a:gd name="T79" fmla="*/ 8144003 h 223"/>
                <a:gd name="T80" fmla="*/ 53911935 w 292"/>
                <a:gd name="T81" fmla="*/ 12347475 h 223"/>
                <a:gd name="T82" fmla="*/ 54290325 w 292"/>
                <a:gd name="T83" fmla="*/ 12872845 h 223"/>
                <a:gd name="T84" fmla="*/ 55236301 w 292"/>
                <a:gd name="T85" fmla="*/ 1812705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7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319804" y="2695031"/>
              <a:ext cx="202910" cy="87459"/>
            </a:xfrm>
            <a:custGeom>
              <a:avLst/>
              <a:gdLst>
                <a:gd name="T0" fmla="*/ 73925117 w 379"/>
                <a:gd name="T1" fmla="*/ 26321978 h 147"/>
                <a:gd name="T2" fmla="*/ 70968094 w 379"/>
                <a:gd name="T3" fmla="*/ 28282023 h 147"/>
                <a:gd name="T4" fmla="*/ 69785285 w 379"/>
                <a:gd name="T5" fmla="*/ 30242069 h 147"/>
                <a:gd name="T6" fmla="*/ 68405341 w 379"/>
                <a:gd name="T7" fmla="*/ 32762506 h 147"/>
                <a:gd name="T8" fmla="*/ 65645454 w 379"/>
                <a:gd name="T9" fmla="*/ 35562874 h 147"/>
                <a:gd name="T10" fmla="*/ 63082701 w 379"/>
                <a:gd name="T11" fmla="*/ 36682598 h 147"/>
                <a:gd name="T12" fmla="*/ 61308488 w 379"/>
                <a:gd name="T13" fmla="*/ 36962529 h 147"/>
                <a:gd name="T14" fmla="*/ 59337139 w 379"/>
                <a:gd name="T15" fmla="*/ 36402667 h 147"/>
                <a:gd name="T16" fmla="*/ 57365791 w 379"/>
                <a:gd name="T17" fmla="*/ 35282414 h 147"/>
                <a:gd name="T18" fmla="*/ 55394443 w 379"/>
                <a:gd name="T19" fmla="*/ 33322368 h 147"/>
                <a:gd name="T20" fmla="*/ 54211634 w 379"/>
                <a:gd name="T21" fmla="*/ 32482575 h 147"/>
                <a:gd name="T22" fmla="*/ 53028825 w 379"/>
                <a:gd name="T23" fmla="*/ 33042437 h 147"/>
                <a:gd name="T24" fmla="*/ 52634555 w 379"/>
                <a:gd name="T25" fmla="*/ 34442621 h 147"/>
                <a:gd name="T26" fmla="*/ 52437420 w 379"/>
                <a:gd name="T27" fmla="*/ 39203035 h 147"/>
                <a:gd name="T28" fmla="*/ 50663207 w 379"/>
                <a:gd name="T29" fmla="*/ 40603219 h 147"/>
                <a:gd name="T30" fmla="*/ 48100454 w 379"/>
                <a:gd name="T31" fmla="*/ 39203035 h 147"/>
                <a:gd name="T32" fmla="*/ 45143432 w 379"/>
                <a:gd name="T33" fmla="*/ 36682598 h 147"/>
                <a:gd name="T34" fmla="*/ 22276236 w 379"/>
                <a:gd name="T35" fmla="*/ 39482966 h 147"/>
                <a:gd name="T36" fmla="*/ 15770786 w 379"/>
                <a:gd name="T37" fmla="*/ 34722552 h 147"/>
                <a:gd name="T38" fmla="*/ 11433820 w 379"/>
                <a:gd name="T39" fmla="*/ 30522530 h 147"/>
                <a:gd name="T40" fmla="*/ 8871067 w 379"/>
                <a:gd name="T41" fmla="*/ 26321978 h 147"/>
                <a:gd name="T42" fmla="*/ 7293989 w 379"/>
                <a:gd name="T43" fmla="*/ 22961748 h 147"/>
                <a:gd name="T44" fmla="*/ 5125506 w 379"/>
                <a:gd name="T45" fmla="*/ 16521219 h 147"/>
                <a:gd name="T46" fmla="*/ 3154157 w 379"/>
                <a:gd name="T47" fmla="*/ 13440920 h 147"/>
                <a:gd name="T48" fmla="*/ 0 w 379"/>
                <a:gd name="T49" fmla="*/ 10080690 h 147"/>
                <a:gd name="T50" fmla="*/ 5716910 w 379"/>
                <a:gd name="T51" fmla="*/ 11200943 h 147"/>
                <a:gd name="T52" fmla="*/ 10251011 w 379"/>
                <a:gd name="T53" fmla="*/ 10640552 h 147"/>
                <a:gd name="T54" fmla="*/ 14193708 w 379"/>
                <a:gd name="T55" fmla="*/ 9240897 h 147"/>
                <a:gd name="T56" fmla="*/ 17150730 w 379"/>
                <a:gd name="T57" fmla="*/ 7000391 h 147"/>
                <a:gd name="T58" fmla="*/ 23459045 w 379"/>
                <a:gd name="T59" fmla="*/ 2239977 h 147"/>
                <a:gd name="T60" fmla="*/ 27204606 w 379"/>
                <a:gd name="T61" fmla="*/ 559862 h 147"/>
                <a:gd name="T62" fmla="*/ 31344438 w 379"/>
                <a:gd name="T63" fmla="*/ 0 h 147"/>
                <a:gd name="T64" fmla="*/ 39426522 w 379"/>
                <a:gd name="T65" fmla="*/ 6440529 h 147"/>
                <a:gd name="T66" fmla="*/ 48100454 w 379"/>
                <a:gd name="T67" fmla="*/ 12601127 h 147"/>
                <a:gd name="T68" fmla="*/ 57562926 w 379"/>
                <a:gd name="T69" fmla="*/ 18761196 h 147"/>
                <a:gd name="T70" fmla="*/ 65645454 w 379"/>
                <a:gd name="T71" fmla="*/ 22401886 h 147"/>
                <a:gd name="T72" fmla="*/ 69785285 w 379"/>
                <a:gd name="T73" fmla="*/ 24082001 h 147"/>
                <a:gd name="T74" fmla="*/ 74713656 w 379"/>
                <a:gd name="T75" fmla="*/ 25762116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8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75777" y="2532609"/>
              <a:ext cx="36370" cy="678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7295724 h 67"/>
                <a:gd name="T4" fmla="*/ 0 w 61"/>
                <a:gd name="T5" fmla="*/ 14592347 h 67"/>
                <a:gd name="T6" fmla="*/ 244263 w 61"/>
                <a:gd name="T7" fmla="*/ 19456163 h 67"/>
                <a:gd name="T8" fmla="*/ 489020 w 61"/>
                <a:gd name="T9" fmla="*/ 24319979 h 67"/>
                <a:gd name="T10" fmla="*/ 733283 w 61"/>
                <a:gd name="T11" fmla="*/ 29183794 h 67"/>
                <a:gd name="T12" fmla="*/ 1467060 w 61"/>
                <a:gd name="T13" fmla="*/ 34048510 h 67"/>
                <a:gd name="T14" fmla="*/ 2934120 w 61"/>
                <a:gd name="T15" fmla="*/ 44587378 h 67"/>
                <a:gd name="T16" fmla="*/ 5134462 w 61"/>
                <a:gd name="T17" fmla="*/ 54315009 h 67"/>
                <a:gd name="T18" fmla="*/ 6845785 w 61"/>
                <a:gd name="T19" fmla="*/ 52693437 h 67"/>
                <a:gd name="T20" fmla="*/ 8557108 w 61"/>
                <a:gd name="T21" fmla="*/ 49451194 h 67"/>
                <a:gd name="T22" fmla="*/ 10268430 w 61"/>
                <a:gd name="T23" fmla="*/ 47019286 h 67"/>
                <a:gd name="T24" fmla="*/ 11735490 w 61"/>
                <a:gd name="T25" fmla="*/ 42965806 h 67"/>
                <a:gd name="T26" fmla="*/ 12957793 w 61"/>
                <a:gd name="T27" fmla="*/ 38101990 h 67"/>
                <a:gd name="T28" fmla="*/ 13935833 w 61"/>
                <a:gd name="T29" fmla="*/ 32426938 h 67"/>
                <a:gd name="T30" fmla="*/ 14424853 w 61"/>
                <a:gd name="T31" fmla="*/ 25941551 h 67"/>
                <a:gd name="T32" fmla="*/ 14913873 w 61"/>
                <a:gd name="T33" fmla="*/ 19456163 h 67"/>
                <a:gd name="T34" fmla="*/ 12957793 w 61"/>
                <a:gd name="T35" fmla="*/ 11349203 h 67"/>
                <a:gd name="T36" fmla="*/ 10024168 w 61"/>
                <a:gd name="T37" fmla="*/ 0 h 67"/>
                <a:gd name="T38" fmla="*/ 6845785 w 61"/>
                <a:gd name="T39" fmla="*/ 2431908 h 67"/>
                <a:gd name="T40" fmla="*/ 4400685 w 61"/>
                <a:gd name="T41" fmla="*/ 3242244 h 67"/>
                <a:gd name="T42" fmla="*/ 3178383 w 61"/>
                <a:gd name="T43" fmla="*/ 3242244 h 67"/>
                <a:gd name="T44" fmla="*/ 2445100 w 61"/>
                <a:gd name="T45" fmla="*/ 2431908 h 67"/>
                <a:gd name="T46" fmla="*/ 1467060 w 61"/>
                <a:gd name="T47" fmla="*/ 1621572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99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41320" y="2537963"/>
              <a:ext cx="30628" cy="66040"/>
            </a:xfrm>
            <a:custGeom>
              <a:avLst/>
              <a:gdLst>
                <a:gd name="T0" fmla="*/ 0 w 60"/>
                <a:gd name="T1" fmla="*/ 6843511 h 55"/>
                <a:gd name="T2" fmla="*/ 0 w 60"/>
                <a:gd name="T3" fmla="*/ 27372976 h 55"/>
                <a:gd name="T4" fmla="*/ 896197 w 60"/>
                <a:gd name="T5" fmla="*/ 36497657 h 55"/>
                <a:gd name="T6" fmla="*/ 1791970 w 60"/>
                <a:gd name="T7" fmla="*/ 45622339 h 55"/>
                <a:gd name="T8" fmla="*/ 2867237 w 60"/>
                <a:gd name="T9" fmla="*/ 51324196 h 55"/>
                <a:gd name="T10" fmla="*/ 3763433 w 60"/>
                <a:gd name="T11" fmla="*/ 55886537 h 55"/>
                <a:gd name="T12" fmla="*/ 4838700 w 60"/>
                <a:gd name="T13" fmla="*/ 59308293 h 55"/>
                <a:gd name="T14" fmla="*/ 5913967 w 60"/>
                <a:gd name="T15" fmla="*/ 61589463 h 55"/>
                <a:gd name="T16" fmla="*/ 7168303 w 60"/>
                <a:gd name="T17" fmla="*/ 62730048 h 55"/>
                <a:gd name="T18" fmla="*/ 8243570 w 60"/>
                <a:gd name="T19" fmla="*/ 62730048 h 55"/>
                <a:gd name="T20" fmla="*/ 9498330 w 60"/>
                <a:gd name="T21" fmla="*/ 59308293 h 55"/>
                <a:gd name="T22" fmla="*/ 10752667 w 60"/>
                <a:gd name="T23" fmla="*/ 55886537 h 55"/>
                <a:gd name="T24" fmla="*/ 8960697 w 60"/>
                <a:gd name="T25" fmla="*/ 38778828 h 55"/>
                <a:gd name="T26" fmla="*/ 7526867 w 60"/>
                <a:gd name="T27" fmla="*/ 25091806 h 55"/>
                <a:gd name="T28" fmla="*/ 6989233 w 60"/>
                <a:gd name="T29" fmla="*/ 19388880 h 55"/>
                <a:gd name="T30" fmla="*/ 6272530 w 60"/>
                <a:gd name="T31" fmla="*/ 13687022 h 55"/>
                <a:gd name="T32" fmla="*/ 6093037 w 60"/>
                <a:gd name="T33" fmla="*/ 6843511 h 55"/>
                <a:gd name="T34" fmla="*/ 5913967 w 60"/>
                <a:gd name="T35" fmla="*/ 0 h 55"/>
                <a:gd name="T36" fmla="*/ 4121997 w 60"/>
                <a:gd name="T37" fmla="*/ 1140585 h 55"/>
                <a:gd name="T38" fmla="*/ 2688167 w 60"/>
                <a:gd name="T39" fmla="*/ 3421755 h 55"/>
                <a:gd name="T40" fmla="*/ 1254337 w 60"/>
                <a:gd name="T41" fmla="*/ 5702926 h 55"/>
                <a:gd name="T42" fmla="*/ 0 w 60"/>
                <a:gd name="T43" fmla="*/ 6843511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0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204949" y="2477278"/>
              <a:ext cx="63171" cy="87459"/>
            </a:xfrm>
            <a:custGeom>
              <a:avLst/>
              <a:gdLst>
                <a:gd name="T0" fmla="*/ 14103723 w 120"/>
                <a:gd name="T1" fmla="*/ 35636365 h 148"/>
                <a:gd name="T2" fmla="*/ 13341477 w 120"/>
                <a:gd name="T3" fmla="*/ 36188765 h 148"/>
                <a:gd name="T4" fmla="*/ 12769575 w 120"/>
                <a:gd name="T5" fmla="*/ 36464702 h 148"/>
                <a:gd name="T6" fmla="*/ 12197673 w 120"/>
                <a:gd name="T7" fmla="*/ 36741165 h 148"/>
                <a:gd name="T8" fmla="*/ 11435427 w 120"/>
                <a:gd name="T9" fmla="*/ 36741165 h 148"/>
                <a:gd name="T10" fmla="*/ 10673182 w 120"/>
                <a:gd name="T11" fmla="*/ 36741165 h 148"/>
                <a:gd name="T12" fmla="*/ 10101280 w 120"/>
                <a:gd name="T13" fmla="*/ 36464702 h 148"/>
                <a:gd name="T14" fmla="*/ 9529377 w 120"/>
                <a:gd name="T15" fmla="*/ 36188765 h 148"/>
                <a:gd name="T16" fmla="*/ 8957911 w 120"/>
                <a:gd name="T17" fmla="*/ 35636365 h 148"/>
                <a:gd name="T18" fmla="*/ 7814107 w 120"/>
                <a:gd name="T19" fmla="*/ 35359902 h 148"/>
                <a:gd name="T20" fmla="*/ 6479959 w 120"/>
                <a:gd name="T21" fmla="*/ 34531039 h 148"/>
                <a:gd name="T22" fmla="*/ 4955468 w 120"/>
                <a:gd name="T23" fmla="*/ 33149777 h 148"/>
                <a:gd name="T24" fmla="*/ 3621321 w 120"/>
                <a:gd name="T25" fmla="*/ 31768514 h 148"/>
                <a:gd name="T26" fmla="*/ 2096393 w 120"/>
                <a:gd name="T27" fmla="*/ 29834852 h 148"/>
                <a:gd name="T28" fmla="*/ 1143368 w 120"/>
                <a:gd name="T29" fmla="*/ 27901189 h 148"/>
                <a:gd name="T30" fmla="*/ 571902 w 120"/>
                <a:gd name="T31" fmla="*/ 26796389 h 148"/>
                <a:gd name="T32" fmla="*/ 381123 w 120"/>
                <a:gd name="T33" fmla="*/ 25967527 h 148"/>
                <a:gd name="T34" fmla="*/ 190780 w 120"/>
                <a:gd name="T35" fmla="*/ 24862727 h 148"/>
                <a:gd name="T36" fmla="*/ 0 w 120"/>
                <a:gd name="T37" fmla="*/ 24033864 h 148"/>
                <a:gd name="T38" fmla="*/ 381123 w 120"/>
                <a:gd name="T39" fmla="*/ 20166013 h 148"/>
                <a:gd name="T40" fmla="*/ 1524927 w 120"/>
                <a:gd name="T41" fmla="*/ 15193889 h 148"/>
                <a:gd name="T42" fmla="*/ 2668295 w 120"/>
                <a:gd name="T43" fmla="*/ 9668838 h 148"/>
                <a:gd name="T44" fmla="*/ 3811664 w 120"/>
                <a:gd name="T45" fmla="*/ 4972650 h 148"/>
                <a:gd name="T46" fmla="*/ 6098836 w 120"/>
                <a:gd name="T47" fmla="*/ 4696188 h 148"/>
                <a:gd name="T48" fmla="*/ 8004886 w 120"/>
                <a:gd name="T49" fmla="*/ 4420251 h 148"/>
                <a:gd name="T50" fmla="*/ 9720157 w 120"/>
                <a:gd name="T51" fmla="*/ 3867325 h 148"/>
                <a:gd name="T52" fmla="*/ 11054305 w 120"/>
                <a:gd name="T53" fmla="*/ 3038988 h 148"/>
                <a:gd name="T54" fmla="*/ 13341477 w 120"/>
                <a:gd name="T55" fmla="*/ 1381263 h 148"/>
                <a:gd name="T56" fmla="*/ 15247091 w 120"/>
                <a:gd name="T57" fmla="*/ 0 h 148"/>
                <a:gd name="T58" fmla="*/ 16200116 w 120"/>
                <a:gd name="T59" fmla="*/ 552400 h 148"/>
                <a:gd name="T60" fmla="*/ 17725043 w 120"/>
                <a:gd name="T61" fmla="*/ 1933663 h 148"/>
                <a:gd name="T62" fmla="*/ 18678068 w 120"/>
                <a:gd name="T63" fmla="*/ 2762525 h 148"/>
                <a:gd name="T64" fmla="*/ 19440314 w 120"/>
                <a:gd name="T65" fmla="*/ 3591388 h 148"/>
                <a:gd name="T66" fmla="*/ 20202559 w 120"/>
                <a:gd name="T67" fmla="*/ 4420251 h 148"/>
                <a:gd name="T68" fmla="*/ 20393339 w 120"/>
                <a:gd name="T69" fmla="*/ 4972650 h 148"/>
                <a:gd name="T70" fmla="*/ 19059191 w 120"/>
                <a:gd name="T71" fmla="*/ 7735176 h 148"/>
                <a:gd name="T72" fmla="*/ 17725043 w 120"/>
                <a:gd name="T73" fmla="*/ 10221238 h 148"/>
                <a:gd name="T74" fmla="*/ 18106166 w 120"/>
                <a:gd name="T75" fmla="*/ 11602501 h 148"/>
                <a:gd name="T76" fmla="*/ 18678068 w 120"/>
                <a:gd name="T77" fmla="*/ 13536163 h 148"/>
                <a:gd name="T78" fmla="*/ 19440314 w 120"/>
                <a:gd name="T79" fmla="*/ 15469826 h 148"/>
                <a:gd name="T80" fmla="*/ 20393339 w 120"/>
                <a:gd name="T81" fmla="*/ 17403488 h 148"/>
                <a:gd name="T82" fmla="*/ 21917830 w 120"/>
                <a:gd name="T83" fmla="*/ 20718939 h 148"/>
                <a:gd name="T84" fmla="*/ 22870855 w 120"/>
                <a:gd name="T85" fmla="*/ 21823739 h 148"/>
                <a:gd name="T86" fmla="*/ 21536707 w 120"/>
                <a:gd name="T87" fmla="*/ 22376139 h 148"/>
                <a:gd name="T88" fmla="*/ 20393339 w 120"/>
                <a:gd name="T89" fmla="*/ 23205001 h 148"/>
                <a:gd name="T90" fmla="*/ 19059191 w 120"/>
                <a:gd name="T91" fmla="*/ 24033864 h 148"/>
                <a:gd name="T92" fmla="*/ 18296509 w 120"/>
                <a:gd name="T93" fmla="*/ 25138664 h 148"/>
                <a:gd name="T94" fmla="*/ 17153141 w 120"/>
                <a:gd name="T95" fmla="*/ 26243464 h 148"/>
                <a:gd name="T96" fmla="*/ 16581239 w 120"/>
                <a:gd name="T97" fmla="*/ 27348789 h 148"/>
                <a:gd name="T98" fmla="*/ 15628214 w 120"/>
                <a:gd name="T99" fmla="*/ 28730052 h 148"/>
                <a:gd name="T100" fmla="*/ 15247091 w 120"/>
                <a:gd name="T101" fmla="*/ 30111314 h 148"/>
                <a:gd name="T102" fmla="*/ 14865968 w 120"/>
                <a:gd name="T103" fmla="*/ 31492577 h 148"/>
                <a:gd name="T104" fmla="*/ 14675625 w 120"/>
                <a:gd name="T105" fmla="*/ 33149777 h 148"/>
                <a:gd name="T106" fmla="*/ 14484845 w 120"/>
                <a:gd name="T107" fmla="*/ 34531039 h 148"/>
                <a:gd name="T108" fmla="*/ 14294502 w 120"/>
                <a:gd name="T109" fmla="*/ 35912302 h 148"/>
                <a:gd name="T110" fmla="*/ 14484845 w 120"/>
                <a:gd name="T111" fmla="*/ 37293564 h 148"/>
                <a:gd name="T112" fmla="*/ 14675625 w 120"/>
                <a:gd name="T113" fmla="*/ 38674827 h 148"/>
                <a:gd name="T114" fmla="*/ 14865968 w 120"/>
                <a:gd name="T115" fmla="*/ 39780152 h 148"/>
                <a:gd name="T116" fmla="*/ 15247091 w 120"/>
                <a:gd name="T117" fmla="*/ 40884952 h 148"/>
                <a:gd name="T118" fmla="*/ 14103723 w 120"/>
                <a:gd name="T119" fmla="*/ 35636365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1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725623" y="3382203"/>
              <a:ext cx="329250" cy="346263"/>
            </a:xfrm>
            <a:custGeom>
              <a:avLst/>
              <a:gdLst>
                <a:gd name="T0" fmla="*/ 3932180 w 631"/>
                <a:gd name="T1" fmla="*/ 541037 h 592"/>
                <a:gd name="T2" fmla="*/ 5991955 w 631"/>
                <a:gd name="T3" fmla="*/ 1082595 h 592"/>
                <a:gd name="T4" fmla="*/ 10111505 w 631"/>
                <a:gd name="T5" fmla="*/ 2165189 h 592"/>
                <a:gd name="T6" fmla="*/ 14605795 w 631"/>
                <a:gd name="T7" fmla="*/ 2977265 h 592"/>
                <a:gd name="T8" fmla="*/ 19473961 w 631"/>
                <a:gd name="T9" fmla="*/ 5141934 h 592"/>
                <a:gd name="T10" fmla="*/ 24342559 w 631"/>
                <a:gd name="T11" fmla="*/ 8660236 h 592"/>
                <a:gd name="T12" fmla="*/ 27338753 w 631"/>
                <a:gd name="T13" fmla="*/ 10825425 h 592"/>
                <a:gd name="T14" fmla="*/ 29772835 w 631"/>
                <a:gd name="T15" fmla="*/ 11637501 h 592"/>
                <a:gd name="T16" fmla="*/ 35390482 w 631"/>
                <a:gd name="T17" fmla="*/ 11637501 h 592"/>
                <a:gd name="T18" fmla="*/ 42506226 w 631"/>
                <a:gd name="T19" fmla="*/ 10013349 h 592"/>
                <a:gd name="T20" fmla="*/ 51868682 w 631"/>
                <a:gd name="T21" fmla="*/ 6224529 h 592"/>
                <a:gd name="T22" fmla="*/ 74713577 w 631"/>
                <a:gd name="T23" fmla="*/ 10284388 h 592"/>
                <a:gd name="T24" fmla="*/ 75462625 w 631"/>
                <a:gd name="T25" fmla="*/ 18674106 h 592"/>
                <a:gd name="T26" fmla="*/ 76773352 w 631"/>
                <a:gd name="T27" fmla="*/ 25710710 h 592"/>
                <a:gd name="T28" fmla="*/ 78084078 w 631"/>
                <a:gd name="T29" fmla="*/ 32205757 h 592"/>
                <a:gd name="T30" fmla="*/ 79956483 w 631"/>
                <a:gd name="T31" fmla="*/ 37889249 h 592"/>
                <a:gd name="T32" fmla="*/ 84263403 w 631"/>
                <a:gd name="T33" fmla="*/ 47361561 h 592"/>
                <a:gd name="T34" fmla="*/ 88382953 w 631"/>
                <a:gd name="T35" fmla="*/ 55210241 h 592"/>
                <a:gd name="T36" fmla="*/ 90255358 w 631"/>
                <a:gd name="T37" fmla="*/ 60081657 h 592"/>
                <a:gd name="T38" fmla="*/ 90817036 w 631"/>
                <a:gd name="T39" fmla="*/ 64953072 h 592"/>
                <a:gd name="T40" fmla="*/ 91940392 w 631"/>
                <a:gd name="T41" fmla="*/ 69012411 h 592"/>
                <a:gd name="T42" fmla="*/ 92876811 w 631"/>
                <a:gd name="T43" fmla="*/ 70636563 h 592"/>
                <a:gd name="T44" fmla="*/ 94562278 w 631"/>
                <a:gd name="T45" fmla="*/ 71989676 h 592"/>
                <a:gd name="T46" fmla="*/ 96059942 w 631"/>
                <a:gd name="T47" fmla="*/ 73072271 h 592"/>
                <a:gd name="T48" fmla="*/ 97183731 w 631"/>
                <a:gd name="T49" fmla="*/ 75236940 h 592"/>
                <a:gd name="T50" fmla="*/ 99805184 w 631"/>
                <a:gd name="T51" fmla="*/ 82003026 h 592"/>
                <a:gd name="T52" fmla="*/ 101303281 w 631"/>
                <a:gd name="T53" fmla="*/ 89580667 h 592"/>
                <a:gd name="T54" fmla="*/ 102052329 w 631"/>
                <a:gd name="T55" fmla="*/ 96888311 h 592"/>
                <a:gd name="T56" fmla="*/ 102614007 w 631"/>
                <a:gd name="T57" fmla="*/ 99594537 h 592"/>
                <a:gd name="T58" fmla="*/ 104299042 w 631"/>
                <a:gd name="T59" fmla="*/ 103112839 h 592"/>
                <a:gd name="T60" fmla="*/ 109167640 w 631"/>
                <a:gd name="T61" fmla="*/ 112314633 h 592"/>
                <a:gd name="T62" fmla="*/ 114597917 w 631"/>
                <a:gd name="T63" fmla="*/ 120974869 h 592"/>
                <a:gd name="T64" fmla="*/ 118155788 w 631"/>
                <a:gd name="T65" fmla="*/ 125305247 h 592"/>
                <a:gd name="T66" fmla="*/ 114597917 w 631"/>
                <a:gd name="T67" fmla="*/ 130176663 h 592"/>
                <a:gd name="T68" fmla="*/ 116845062 w 631"/>
                <a:gd name="T69" fmla="*/ 134236002 h 592"/>
                <a:gd name="T70" fmla="*/ 117219370 w 631"/>
                <a:gd name="T71" fmla="*/ 137213267 h 592"/>
                <a:gd name="T72" fmla="*/ 117219370 w 631"/>
                <a:gd name="T73" fmla="*/ 139648975 h 592"/>
                <a:gd name="T74" fmla="*/ 118155788 w 631"/>
                <a:gd name="T75" fmla="*/ 143708314 h 592"/>
                <a:gd name="T76" fmla="*/ 117219370 w 631"/>
                <a:gd name="T77" fmla="*/ 145873503 h 592"/>
                <a:gd name="T78" fmla="*/ 115534335 w 631"/>
                <a:gd name="T79" fmla="*/ 148309211 h 592"/>
                <a:gd name="T80" fmla="*/ 110853107 w 631"/>
                <a:gd name="T81" fmla="*/ 153992702 h 592"/>
                <a:gd name="T82" fmla="*/ 104486412 w 631"/>
                <a:gd name="T83" fmla="*/ 160217231 h 592"/>
                <a:gd name="T84" fmla="*/ 8613408 w 631"/>
                <a:gd name="T85" fmla="*/ 47091042 h 592"/>
                <a:gd name="T86" fmla="*/ 4681228 w 631"/>
                <a:gd name="T87" fmla="*/ 42490145 h 592"/>
                <a:gd name="T88" fmla="*/ 2059775 w 631"/>
                <a:gd name="T89" fmla="*/ 37347691 h 592"/>
                <a:gd name="T90" fmla="*/ 374308 w 631"/>
                <a:gd name="T91" fmla="*/ 31664720 h 592"/>
                <a:gd name="T92" fmla="*/ 0 w 631"/>
                <a:gd name="T93" fmla="*/ 25169153 h 592"/>
                <a:gd name="T94" fmla="*/ 561678 w 631"/>
                <a:gd name="T95" fmla="*/ 24086558 h 592"/>
                <a:gd name="T96" fmla="*/ 1872405 w 631"/>
                <a:gd name="T97" fmla="*/ 22462927 h 592"/>
                <a:gd name="T98" fmla="*/ 3183131 w 631"/>
                <a:gd name="T99" fmla="*/ 20839295 h 592"/>
                <a:gd name="T100" fmla="*/ 3745242 w 631"/>
                <a:gd name="T101" fmla="*/ 18674106 h 592"/>
                <a:gd name="T102" fmla="*/ 3370502 w 631"/>
                <a:gd name="T103" fmla="*/ 14343728 h 592"/>
                <a:gd name="T104" fmla="*/ 2434083 w 631"/>
                <a:gd name="T105" fmla="*/ 11366983 h 592"/>
                <a:gd name="T106" fmla="*/ 1685467 w 631"/>
                <a:gd name="T107" fmla="*/ 9201794 h 592"/>
                <a:gd name="T108" fmla="*/ 1310727 w 631"/>
                <a:gd name="T109" fmla="*/ 7036604 h 592"/>
                <a:gd name="T110" fmla="*/ 2434083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2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237492" y="2971685"/>
              <a:ext cx="21056" cy="64255"/>
            </a:xfrm>
            <a:custGeom>
              <a:avLst/>
              <a:gdLst>
                <a:gd name="T0" fmla="*/ 1334097 w 40"/>
                <a:gd name="T1" fmla="*/ 11706532 h 93"/>
                <a:gd name="T2" fmla="*/ 1905977 w 40"/>
                <a:gd name="T3" fmla="*/ 11328605 h 93"/>
                <a:gd name="T4" fmla="*/ 2668194 w 40"/>
                <a:gd name="T5" fmla="*/ 9818124 h 93"/>
                <a:gd name="T6" fmla="*/ 3811518 w 40"/>
                <a:gd name="T7" fmla="*/ 7552403 h 93"/>
                <a:gd name="T8" fmla="*/ 4764507 w 40"/>
                <a:gd name="T9" fmla="*/ 5664610 h 93"/>
                <a:gd name="T10" fmla="*/ 6670047 w 40"/>
                <a:gd name="T11" fmla="*/ 1510481 h 93"/>
                <a:gd name="T12" fmla="*/ 7623036 w 40"/>
                <a:gd name="T13" fmla="*/ 0 h 93"/>
                <a:gd name="T14" fmla="*/ 7051156 w 40"/>
                <a:gd name="T15" fmla="*/ 9818124 h 93"/>
                <a:gd name="T16" fmla="*/ 6670047 w 40"/>
                <a:gd name="T17" fmla="*/ 20014176 h 93"/>
                <a:gd name="T18" fmla="*/ 6479712 w 40"/>
                <a:gd name="T19" fmla="*/ 24546232 h 93"/>
                <a:gd name="T20" fmla="*/ 6479712 w 40"/>
                <a:gd name="T21" fmla="*/ 29077674 h 93"/>
                <a:gd name="T22" fmla="*/ 6670047 w 40"/>
                <a:gd name="T23" fmla="*/ 30965468 h 93"/>
                <a:gd name="T24" fmla="*/ 6860820 w 40"/>
                <a:gd name="T25" fmla="*/ 32475948 h 93"/>
                <a:gd name="T26" fmla="*/ 7051156 w 40"/>
                <a:gd name="T27" fmla="*/ 33986429 h 93"/>
                <a:gd name="T28" fmla="*/ 7623036 w 40"/>
                <a:gd name="T29" fmla="*/ 35119597 h 93"/>
                <a:gd name="T30" fmla="*/ 4954843 w 40"/>
                <a:gd name="T31" fmla="*/ 35119597 h 93"/>
                <a:gd name="T32" fmla="*/ 2477421 w 40"/>
                <a:gd name="T33" fmla="*/ 35119597 h 93"/>
                <a:gd name="T34" fmla="*/ 2096313 w 40"/>
                <a:gd name="T35" fmla="*/ 34741669 h 93"/>
                <a:gd name="T36" fmla="*/ 1524433 w 40"/>
                <a:gd name="T37" fmla="*/ 34364356 h 93"/>
                <a:gd name="T38" fmla="*/ 1143324 w 40"/>
                <a:gd name="T39" fmla="*/ 33231189 h 93"/>
                <a:gd name="T40" fmla="*/ 762216 w 40"/>
                <a:gd name="T41" fmla="*/ 32475948 h 93"/>
                <a:gd name="T42" fmla="*/ 190772 w 40"/>
                <a:gd name="T43" fmla="*/ 30210227 h 93"/>
                <a:gd name="T44" fmla="*/ 0 w 40"/>
                <a:gd name="T45" fmla="*/ 27567194 h 93"/>
                <a:gd name="T46" fmla="*/ 190772 w 40"/>
                <a:gd name="T47" fmla="*/ 24168305 h 93"/>
                <a:gd name="T48" fmla="*/ 571881 w 40"/>
                <a:gd name="T49" fmla="*/ 18881623 h 93"/>
                <a:gd name="T50" fmla="*/ 1143324 w 40"/>
                <a:gd name="T51" fmla="*/ 13972253 h 93"/>
                <a:gd name="T52" fmla="*/ 1334097 w 40"/>
                <a:gd name="T53" fmla="*/ 11706532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3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68043" y="2691462"/>
              <a:ext cx="356049" cy="306996"/>
            </a:xfrm>
            <a:custGeom>
              <a:avLst/>
              <a:gdLst>
                <a:gd name="T0" fmla="*/ 29464799 w 664"/>
                <a:gd name="T1" fmla="*/ 123647372 h 518"/>
                <a:gd name="T2" fmla="*/ 29860129 w 664"/>
                <a:gd name="T3" fmla="*/ 119757200 h 518"/>
                <a:gd name="T4" fmla="*/ 28871580 w 664"/>
                <a:gd name="T5" fmla="*/ 111143474 h 518"/>
                <a:gd name="T6" fmla="*/ 29860129 w 664"/>
                <a:gd name="T7" fmla="*/ 98084515 h 518"/>
                <a:gd name="T8" fmla="*/ 28871580 w 664"/>
                <a:gd name="T9" fmla="*/ 82802149 h 518"/>
                <a:gd name="T10" fmla="*/ 26498708 w 664"/>
                <a:gd name="T11" fmla="*/ 69742663 h 518"/>
                <a:gd name="T12" fmla="*/ 21554630 w 664"/>
                <a:gd name="T13" fmla="*/ 66964195 h 518"/>
                <a:gd name="T14" fmla="*/ 3955084 w 664"/>
                <a:gd name="T15" fmla="*/ 53349120 h 518"/>
                <a:gd name="T16" fmla="*/ 4746190 w 664"/>
                <a:gd name="T17" fmla="*/ 47513863 h 518"/>
                <a:gd name="T18" fmla="*/ 7119062 w 664"/>
                <a:gd name="T19" fmla="*/ 44179806 h 518"/>
                <a:gd name="T20" fmla="*/ 9491935 w 664"/>
                <a:gd name="T21" fmla="*/ 41123017 h 518"/>
                <a:gd name="T22" fmla="*/ 19774976 w 664"/>
                <a:gd name="T23" fmla="*/ 43068103 h 518"/>
                <a:gd name="T24" fmla="*/ 24718609 w 664"/>
                <a:gd name="T25" fmla="*/ 42234720 h 518"/>
                <a:gd name="T26" fmla="*/ 29069468 w 664"/>
                <a:gd name="T27" fmla="*/ 43623691 h 518"/>
                <a:gd name="T28" fmla="*/ 32628777 w 664"/>
                <a:gd name="T29" fmla="*/ 26118972 h 518"/>
                <a:gd name="T30" fmla="*/ 36583861 w 664"/>
                <a:gd name="T31" fmla="*/ 30286411 h 518"/>
                <a:gd name="T32" fmla="*/ 40934276 w 664"/>
                <a:gd name="T33" fmla="*/ 30564732 h 518"/>
                <a:gd name="T34" fmla="*/ 46669014 w 664"/>
                <a:gd name="T35" fmla="*/ 27507943 h 518"/>
                <a:gd name="T36" fmla="*/ 52205865 w 664"/>
                <a:gd name="T37" fmla="*/ 22228800 h 518"/>
                <a:gd name="T38" fmla="*/ 57149943 w 664"/>
                <a:gd name="T39" fmla="*/ 15837954 h 518"/>
                <a:gd name="T40" fmla="*/ 60907139 w 664"/>
                <a:gd name="T41" fmla="*/ 8891520 h 518"/>
                <a:gd name="T42" fmla="*/ 62884681 w 664"/>
                <a:gd name="T43" fmla="*/ 3334056 h 518"/>
                <a:gd name="T44" fmla="*/ 73167722 w 664"/>
                <a:gd name="T45" fmla="*/ 1111176 h 518"/>
                <a:gd name="T46" fmla="*/ 79891009 w 664"/>
                <a:gd name="T47" fmla="*/ 8891520 h 518"/>
                <a:gd name="T48" fmla="*/ 90371938 w 664"/>
                <a:gd name="T49" fmla="*/ 16949658 h 518"/>
                <a:gd name="T50" fmla="*/ 101050309 w 664"/>
                <a:gd name="T51" fmla="*/ 25007268 h 518"/>
                <a:gd name="T52" fmla="*/ 109158365 w 664"/>
                <a:gd name="T53" fmla="*/ 29730823 h 518"/>
                <a:gd name="T54" fmla="*/ 114299885 w 664"/>
                <a:gd name="T55" fmla="*/ 32231497 h 518"/>
                <a:gd name="T56" fmla="*/ 123198602 w 664"/>
                <a:gd name="T57" fmla="*/ 33620994 h 518"/>
                <a:gd name="T58" fmla="*/ 130119777 w 664"/>
                <a:gd name="T59" fmla="*/ 37788960 h 518"/>
                <a:gd name="T60" fmla="*/ 127549017 w 664"/>
                <a:gd name="T61" fmla="*/ 46124892 h 518"/>
                <a:gd name="T62" fmla="*/ 122605384 w 664"/>
                <a:gd name="T63" fmla="*/ 65574697 h 518"/>
                <a:gd name="T64" fmla="*/ 118254525 w 664"/>
                <a:gd name="T65" fmla="*/ 75577921 h 518"/>
                <a:gd name="T66" fmla="*/ 115683764 w 664"/>
                <a:gd name="T67" fmla="*/ 79467565 h 518"/>
                <a:gd name="T68" fmla="*/ 118452412 w 664"/>
                <a:gd name="T69" fmla="*/ 82802149 h 518"/>
                <a:gd name="T70" fmla="*/ 122209609 w 664"/>
                <a:gd name="T71" fmla="*/ 85302823 h 518"/>
                <a:gd name="T72" fmla="*/ 123198602 w 664"/>
                <a:gd name="T73" fmla="*/ 92804845 h 518"/>
                <a:gd name="T74" fmla="*/ 122605384 w 664"/>
                <a:gd name="T75" fmla="*/ 96417223 h 518"/>
                <a:gd name="T76" fmla="*/ 122209609 w 664"/>
                <a:gd name="T77" fmla="*/ 103363657 h 518"/>
                <a:gd name="T78" fmla="*/ 123000715 w 664"/>
                <a:gd name="T79" fmla="*/ 110865680 h 518"/>
                <a:gd name="T80" fmla="*/ 124978257 w 664"/>
                <a:gd name="T81" fmla="*/ 117534320 h 518"/>
                <a:gd name="T82" fmla="*/ 120232067 w 664"/>
                <a:gd name="T83" fmla="*/ 126981428 h 518"/>
                <a:gd name="T84" fmla="*/ 112519786 w 664"/>
                <a:gd name="T85" fmla="*/ 134483978 h 518"/>
                <a:gd name="T86" fmla="*/ 107180823 w 664"/>
                <a:gd name="T87" fmla="*/ 135872948 h 518"/>
                <a:gd name="T88" fmla="*/ 100654978 w 664"/>
                <a:gd name="T89" fmla="*/ 133650068 h 518"/>
                <a:gd name="T90" fmla="*/ 94327022 w 664"/>
                <a:gd name="T91" fmla="*/ 127815338 h 518"/>
                <a:gd name="T92" fmla="*/ 91558374 w 664"/>
                <a:gd name="T93" fmla="*/ 126703634 h 518"/>
                <a:gd name="T94" fmla="*/ 87603290 w 664"/>
                <a:gd name="T95" fmla="*/ 126981428 h 518"/>
                <a:gd name="T96" fmla="*/ 83648206 w 664"/>
                <a:gd name="T97" fmla="*/ 129204308 h 518"/>
                <a:gd name="T98" fmla="*/ 80286784 w 664"/>
                <a:gd name="T99" fmla="*/ 132538892 h 518"/>
                <a:gd name="T100" fmla="*/ 76727031 w 664"/>
                <a:gd name="T101" fmla="*/ 139763120 h 518"/>
                <a:gd name="T102" fmla="*/ 76133813 w 664"/>
                <a:gd name="T103" fmla="*/ 143653292 h 518"/>
                <a:gd name="T104" fmla="*/ 65850772 w 664"/>
                <a:gd name="T105" fmla="*/ 143097704 h 518"/>
                <a:gd name="T106" fmla="*/ 62686794 w 664"/>
                <a:gd name="T107" fmla="*/ 140874824 h 518"/>
                <a:gd name="T108" fmla="*/ 60709252 w 664"/>
                <a:gd name="T109" fmla="*/ 138929738 h 518"/>
                <a:gd name="T110" fmla="*/ 58534267 w 664"/>
                <a:gd name="T111" fmla="*/ 141152618 h 518"/>
                <a:gd name="T112" fmla="*/ 56754167 w 664"/>
                <a:gd name="T113" fmla="*/ 143375498 h 518"/>
                <a:gd name="T114" fmla="*/ 52996971 w 664"/>
                <a:gd name="T115" fmla="*/ 143375498 h 518"/>
                <a:gd name="T116" fmla="*/ 44889360 w 664"/>
                <a:gd name="T117" fmla="*/ 140597029 h 518"/>
                <a:gd name="T118" fmla="*/ 36583861 w 664"/>
                <a:gd name="T119" fmla="*/ 135317360 h 518"/>
                <a:gd name="T120" fmla="*/ 31640228 w 664"/>
                <a:gd name="T121" fmla="*/ 130316012 h 518"/>
                <a:gd name="T122" fmla="*/ 28871580 w 664"/>
                <a:gd name="T123" fmla="*/ 125036869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4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106558" y="2955621"/>
              <a:ext cx="181852" cy="92813"/>
            </a:xfrm>
            <a:custGeom>
              <a:avLst/>
              <a:gdLst>
                <a:gd name="T0" fmla="*/ 60943044 w 352"/>
                <a:gd name="T1" fmla="*/ 26490457 h 153"/>
                <a:gd name="T2" fmla="*/ 64614373 w 352"/>
                <a:gd name="T3" fmla="*/ 44539232 h 153"/>
                <a:gd name="T4" fmla="*/ 59841516 w 352"/>
                <a:gd name="T5" fmla="*/ 41045694 h 153"/>
                <a:gd name="T6" fmla="*/ 54885714 w 352"/>
                <a:gd name="T7" fmla="*/ 37552696 h 153"/>
                <a:gd name="T8" fmla="*/ 48827956 w 352"/>
                <a:gd name="T9" fmla="*/ 41045694 h 153"/>
                <a:gd name="T10" fmla="*/ 42586824 w 352"/>
                <a:gd name="T11" fmla="*/ 41045694 h 153"/>
                <a:gd name="T12" fmla="*/ 41669099 w 352"/>
                <a:gd name="T13" fmla="*/ 39299195 h 153"/>
                <a:gd name="T14" fmla="*/ 41485296 w 352"/>
                <a:gd name="T15" fmla="*/ 39299195 h 153"/>
                <a:gd name="T16" fmla="*/ 40200395 w 352"/>
                <a:gd name="T17" fmla="*/ 37552696 h 153"/>
                <a:gd name="T18" fmla="*/ 39098868 w 352"/>
                <a:gd name="T19" fmla="*/ 36388364 h 153"/>
                <a:gd name="T20" fmla="*/ 37630593 w 352"/>
                <a:gd name="T21" fmla="*/ 35224031 h 153"/>
                <a:gd name="T22" fmla="*/ 36161890 w 352"/>
                <a:gd name="T23" fmla="*/ 34350512 h 153"/>
                <a:gd name="T24" fmla="*/ 33224912 w 352"/>
                <a:gd name="T25" fmla="*/ 32894826 h 153"/>
                <a:gd name="T26" fmla="*/ 29920758 w 352"/>
                <a:gd name="T27" fmla="*/ 32021846 h 153"/>
                <a:gd name="T28" fmla="*/ 23129077 w 352"/>
                <a:gd name="T29" fmla="*/ 31148327 h 153"/>
                <a:gd name="T30" fmla="*/ 15786417 w 352"/>
                <a:gd name="T31" fmla="*/ 30274808 h 153"/>
                <a:gd name="T32" fmla="*/ 15603044 w 352"/>
                <a:gd name="T33" fmla="*/ 27363976 h 153"/>
                <a:gd name="T34" fmla="*/ 15052066 w 352"/>
                <a:gd name="T35" fmla="*/ 24453144 h 153"/>
                <a:gd name="T36" fmla="*/ 14684890 w 352"/>
                <a:gd name="T37" fmla="*/ 21833126 h 153"/>
                <a:gd name="T38" fmla="*/ 13767165 w 352"/>
                <a:gd name="T39" fmla="*/ 19503921 h 153"/>
                <a:gd name="T40" fmla="*/ 13032813 w 352"/>
                <a:gd name="T41" fmla="*/ 17175256 h 153"/>
                <a:gd name="T42" fmla="*/ 12298890 w 352"/>
                <a:gd name="T43" fmla="*/ 15137404 h 153"/>
                <a:gd name="T44" fmla="*/ 11197363 w 352"/>
                <a:gd name="T45" fmla="*/ 12808739 h 153"/>
                <a:gd name="T46" fmla="*/ 10279637 w 352"/>
                <a:gd name="T47" fmla="*/ 10770887 h 153"/>
                <a:gd name="T48" fmla="*/ 8077011 w 352"/>
                <a:gd name="T49" fmla="*/ 7568702 h 153"/>
                <a:gd name="T50" fmla="*/ 5323407 w 352"/>
                <a:gd name="T51" fmla="*/ 4657870 h 153"/>
                <a:gd name="T52" fmla="*/ 2753604 w 352"/>
                <a:gd name="T53" fmla="*/ 2037852 h 153"/>
                <a:gd name="T54" fmla="*/ 0 w 352"/>
                <a:gd name="T55" fmla="*/ 0 h 153"/>
                <a:gd name="T56" fmla="*/ 1284901 w 352"/>
                <a:gd name="T57" fmla="*/ 0 h 153"/>
                <a:gd name="T58" fmla="*/ 11013989 w 352"/>
                <a:gd name="T59" fmla="*/ 5240037 h 153"/>
                <a:gd name="T60" fmla="*/ 19457747 w 352"/>
                <a:gd name="T61" fmla="*/ 8733035 h 153"/>
                <a:gd name="T62" fmla="*/ 24597352 w 352"/>
                <a:gd name="T63" fmla="*/ 5240037 h 153"/>
                <a:gd name="T64" fmla="*/ 33041538 w 352"/>
                <a:gd name="T65" fmla="*/ 10480073 h 153"/>
                <a:gd name="T66" fmla="*/ 37813967 w 352"/>
                <a:gd name="T67" fmla="*/ 16010923 h 153"/>
                <a:gd name="T68" fmla="*/ 45156626 w 352"/>
                <a:gd name="T69" fmla="*/ 14264424 h 153"/>
                <a:gd name="T70" fmla="*/ 52499285 w 352"/>
                <a:gd name="T71" fmla="*/ 17757422 h 153"/>
                <a:gd name="T72" fmla="*/ 57455516 w 352"/>
                <a:gd name="T73" fmla="*/ 22997459 h 153"/>
                <a:gd name="T74" fmla="*/ 60943044 w 352"/>
                <a:gd name="T75" fmla="*/ 2649045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5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562913" y="3023446"/>
              <a:ext cx="178024" cy="194550"/>
            </a:xfrm>
            <a:custGeom>
              <a:avLst/>
              <a:gdLst>
                <a:gd name="T0" fmla="*/ 45757657 w 331"/>
                <a:gd name="T1" fmla="*/ 11200903 h 327"/>
                <a:gd name="T2" fmla="*/ 38396325 w 331"/>
                <a:gd name="T3" fmla="*/ 15680841 h 327"/>
                <a:gd name="T4" fmla="*/ 36208086 w 331"/>
                <a:gd name="T5" fmla="*/ 18761129 h 327"/>
                <a:gd name="T6" fmla="*/ 36009155 w 331"/>
                <a:gd name="T7" fmla="*/ 22681736 h 327"/>
                <a:gd name="T8" fmla="*/ 36605947 w 331"/>
                <a:gd name="T9" fmla="*/ 26321884 h 327"/>
                <a:gd name="T10" fmla="*/ 35213432 w 331"/>
                <a:gd name="T11" fmla="*/ 28561853 h 327"/>
                <a:gd name="T12" fmla="*/ 33423054 w 331"/>
                <a:gd name="T13" fmla="*/ 29402172 h 327"/>
                <a:gd name="T14" fmla="*/ 31831162 w 331"/>
                <a:gd name="T15" fmla="*/ 27441604 h 327"/>
                <a:gd name="T16" fmla="*/ 29642923 w 331"/>
                <a:gd name="T17" fmla="*/ 23801456 h 327"/>
                <a:gd name="T18" fmla="*/ 25067068 w 331"/>
                <a:gd name="T19" fmla="*/ 20721168 h 327"/>
                <a:gd name="T20" fmla="*/ 25265998 w 331"/>
                <a:gd name="T21" fmla="*/ 26881744 h 327"/>
                <a:gd name="T22" fmla="*/ 27653614 w 331"/>
                <a:gd name="T23" fmla="*/ 32482461 h 327"/>
                <a:gd name="T24" fmla="*/ 30637577 w 331"/>
                <a:gd name="T25" fmla="*/ 36122609 h 327"/>
                <a:gd name="T26" fmla="*/ 31632231 w 331"/>
                <a:gd name="T27" fmla="*/ 36402539 h 327"/>
                <a:gd name="T28" fmla="*/ 31632231 w 331"/>
                <a:gd name="T29" fmla="*/ 49563481 h 327"/>
                <a:gd name="T30" fmla="*/ 31632231 w 331"/>
                <a:gd name="T31" fmla="*/ 66364571 h 327"/>
                <a:gd name="T32" fmla="*/ 31035438 w 331"/>
                <a:gd name="T33" fmla="*/ 70284649 h 327"/>
                <a:gd name="T34" fmla="*/ 29245061 w 331"/>
                <a:gd name="T35" fmla="*/ 72525147 h 327"/>
                <a:gd name="T36" fmla="*/ 28847199 w 331"/>
                <a:gd name="T37" fmla="*/ 73924797 h 327"/>
                <a:gd name="T38" fmla="*/ 32229023 w 331"/>
                <a:gd name="T39" fmla="*/ 77285015 h 327"/>
                <a:gd name="T40" fmla="*/ 33224123 w 331"/>
                <a:gd name="T41" fmla="*/ 80085373 h 327"/>
                <a:gd name="T42" fmla="*/ 30836508 w 331"/>
                <a:gd name="T43" fmla="*/ 82605801 h 327"/>
                <a:gd name="T44" fmla="*/ 27852545 w 331"/>
                <a:gd name="T45" fmla="*/ 83165661 h 327"/>
                <a:gd name="T46" fmla="*/ 25862791 w 331"/>
                <a:gd name="T47" fmla="*/ 85966019 h 327"/>
                <a:gd name="T48" fmla="*/ 25067068 w 331"/>
                <a:gd name="T49" fmla="*/ 89886097 h 327"/>
                <a:gd name="T50" fmla="*/ 24072414 w 331"/>
                <a:gd name="T51" fmla="*/ 84005451 h 327"/>
                <a:gd name="T52" fmla="*/ 24669206 w 331"/>
                <a:gd name="T53" fmla="*/ 80645233 h 327"/>
                <a:gd name="T54" fmla="*/ 21685244 w 331"/>
                <a:gd name="T55" fmla="*/ 80085373 h 327"/>
                <a:gd name="T56" fmla="*/ 18501905 w 331"/>
                <a:gd name="T57" fmla="*/ 81765482 h 327"/>
                <a:gd name="T58" fmla="*/ 15716873 w 331"/>
                <a:gd name="T59" fmla="*/ 82885731 h 327"/>
                <a:gd name="T60" fmla="*/ 14522842 w 331"/>
                <a:gd name="T61" fmla="*/ 67764750 h 327"/>
                <a:gd name="T62" fmla="*/ 15716873 w 331"/>
                <a:gd name="T63" fmla="*/ 60483925 h 327"/>
                <a:gd name="T64" fmla="*/ 9549572 w 331"/>
                <a:gd name="T65" fmla="*/ 59083746 h 327"/>
                <a:gd name="T66" fmla="*/ 5570509 w 331"/>
                <a:gd name="T67" fmla="*/ 55443598 h 327"/>
                <a:gd name="T68" fmla="*/ 2586101 w 331"/>
                <a:gd name="T69" fmla="*/ 48443232 h 327"/>
                <a:gd name="T70" fmla="*/ 0 w 331"/>
                <a:gd name="T71" fmla="*/ 36402539 h 327"/>
                <a:gd name="T72" fmla="*/ 5570509 w 331"/>
                <a:gd name="T73" fmla="*/ 31082281 h 327"/>
                <a:gd name="T74" fmla="*/ 9947433 w 331"/>
                <a:gd name="T75" fmla="*/ 22681736 h 327"/>
                <a:gd name="T76" fmla="*/ 14522842 w 331"/>
                <a:gd name="T77" fmla="*/ 15400911 h 327"/>
                <a:gd name="T78" fmla="*/ 22878829 w 331"/>
                <a:gd name="T79" fmla="*/ 11480833 h 327"/>
                <a:gd name="T80" fmla="*/ 35810224 w 331"/>
                <a:gd name="T81" fmla="*/ 3920078 h 327"/>
                <a:gd name="T82" fmla="*/ 43370041 w 331"/>
                <a:gd name="T83" fmla="*/ 1960039 h 327"/>
                <a:gd name="T84" fmla="*/ 49537343 w 331"/>
                <a:gd name="T85" fmla="*/ 3920078 h 327"/>
                <a:gd name="T86" fmla="*/ 53914267 w 331"/>
                <a:gd name="T87" fmla="*/ 7560755 h 327"/>
                <a:gd name="T88" fmla="*/ 58092260 w 331"/>
                <a:gd name="T89" fmla="*/ 8400545 h 327"/>
                <a:gd name="T90" fmla="*/ 61076223 w 331"/>
                <a:gd name="T91" fmla="*/ 5600187 h 327"/>
                <a:gd name="T92" fmla="*/ 65055285 w 331"/>
                <a:gd name="T93" fmla="*/ 1680109 h 327"/>
                <a:gd name="T94" fmla="*/ 65652078 w 331"/>
                <a:gd name="T95" fmla="*/ 8960405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6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664367" y="3239414"/>
              <a:ext cx="84227" cy="64255"/>
            </a:xfrm>
            <a:custGeom>
              <a:avLst/>
              <a:gdLst>
                <a:gd name="T0" fmla="*/ 0 w 153"/>
                <a:gd name="T1" fmla="*/ 0 h 49"/>
                <a:gd name="T2" fmla="*/ 9170894 w 153"/>
                <a:gd name="T3" fmla="*/ 2721040 h 49"/>
                <a:gd name="T4" fmla="*/ 17299060 w 153"/>
                <a:gd name="T5" fmla="*/ 8161953 h 49"/>
                <a:gd name="T6" fmla="*/ 21467690 w 153"/>
                <a:gd name="T7" fmla="*/ 10882993 h 49"/>
                <a:gd name="T8" fmla="*/ 25219502 w 153"/>
                <a:gd name="T9" fmla="*/ 9521890 h 49"/>
                <a:gd name="T10" fmla="*/ 27095408 w 153"/>
                <a:gd name="T11" fmla="*/ 8161953 h 49"/>
                <a:gd name="T12" fmla="*/ 28554041 w 153"/>
                <a:gd name="T13" fmla="*/ 6802016 h 49"/>
                <a:gd name="T14" fmla="*/ 30221767 w 153"/>
                <a:gd name="T15" fmla="*/ 4080977 h 49"/>
                <a:gd name="T16" fmla="*/ 31889036 w 153"/>
                <a:gd name="T17" fmla="*/ 0 h 49"/>
                <a:gd name="T18" fmla="*/ 31889036 w 153"/>
                <a:gd name="T19" fmla="*/ 12242930 h 49"/>
                <a:gd name="T20" fmla="*/ 31889036 w 153"/>
                <a:gd name="T21" fmla="*/ 34007749 h 49"/>
                <a:gd name="T22" fmla="*/ 29804949 w 153"/>
                <a:gd name="T23" fmla="*/ 42169702 h 49"/>
                <a:gd name="T24" fmla="*/ 27720406 w 153"/>
                <a:gd name="T25" fmla="*/ 48971718 h 49"/>
                <a:gd name="T26" fmla="*/ 25844500 w 153"/>
                <a:gd name="T27" fmla="*/ 54412632 h 49"/>
                <a:gd name="T28" fmla="*/ 23760413 w 153"/>
                <a:gd name="T29" fmla="*/ 59853545 h 49"/>
                <a:gd name="T30" fmla="*/ 22093144 w 153"/>
                <a:gd name="T31" fmla="*/ 62574585 h 49"/>
                <a:gd name="T32" fmla="*/ 20634055 w 153"/>
                <a:gd name="T33" fmla="*/ 65295624 h 49"/>
                <a:gd name="T34" fmla="*/ 19174966 w 153"/>
                <a:gd name="T35" fmla="*/ 66655561 h 49"/>
                <a:gd name="T36" fmla="*/ 18133151 w 153"/>
                <a:gd name="T37" fmla="*/ 66655561 h 49"/>
                <a:gd name="T38" fmla="*/ 15006793 w 153"/>
                <a:gd name="T39" fmla="*/ 65295624 h 49"/>
                <a:gd name="T40" fmla="*/ 12505433 w 153"/>
                <a:gd name="T41" fmla="*/ 62574585 h 49"/>
                <a:gd name="T42" fmla="*/ 10421346 w 153"/>
                <a:gd name="T43" fmla="*/ 58493608 h 49"/>
                <a:gd name="T44" fmla="*/ 8545440 w 153"/>
                <a:gd name="T45" fmla="*/ 51691592 h 49"/>
                <a:gd name="T46" fmla="*/ 4585447 w 153"/>
                <a:gd name="T47" fmla="*/ 39448662 h 49"/>
                <a:gd name="T48" fmla="*/ 0 w 153"/>
                <a:gd name="T49" fmla="*/ 25845796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7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554107" y="4062235"/>
              <a:ext cx="225881" cy="178486"/>
            </a:xfrm>
            <a:custGeom>
              <a:avLst/>
              <a:gdLst>
                <a:gd name="T0" fmla="*/ 37512491 w 426"/>
                <a:gd name="T1" fmla="*/ 4510305 h 299"/>
                <a:gd name="T2" fmla="*/ 41766439 w 426"/>
                <a:gd name="T3" fmla="*/ 6201869 h 299"/>
                <a:gd name="T4" fmla="*/ 44473417 w 426"/>
                <a:gd name="T5" fmla="*/ 8174829 h 299"/>
                <a:gd name="T6" fmla="*/ 48920847 w 426"/>
                <a:gd name="T7" fmla="*/ 9866392 h 299"/>
                <a:gd name="T8" fmla="*/ 53948281 w 426"/>
                <a:gd name="T9" fmla="*/ 10430247 h 299"/>
                <a:gd name="T10" fmla="*/ 58008748 w 426"/>
                <a:gd name="T11" fmla="*/ 10430247 h 299"/>
                <a:gd name="T12" fmla="*/ 61682693 w 426"/>
                <a:gd name="T13" fmla="*/ 9584465 h 299"/>
                <a:gd name="T14" fmla="*/ 63616186 w 426"/>
                <a:gd name="T15" fmla="*/ 8174829 h 299"/>
                <a:gd name="T16" fmla="*/ 70577112 w 426"/>
                <a:gd name="T17" fmla="*/ 7047120 h 299"/>
                <a:gd name="T18" fmla="*/ 71931041 w 426"/>
                <a:gd name="T19" fmla="*/ 13812843 h 299"/>
                <a:gd name="T20" fmla="*/ 74058015 w 426"/>
                <a:gd name="T21" fmla="*/ 20859962 h 299"/>
                <a:gd name="T22" fmla="*/ 75604546 w 426"/>
                <a:gd name="T23" fmla="*/ 23679235 h 299"/>
                <a:gd name="T24" fmla="*/ 77344997 w 426"/>
                <a:gd name="T25" fmla="*/ 25934122 h 299"/>
                <a:gd name="T26" fmla="*/ 79665453 w 426"/>
                <a:gd name="T27" fmla="*/ 27343758 h 299"/>
                <a:gd name="T28" fmla="*/ 82178950 w 426"/>
                <a:gd name="T29" fmla="*/ 27907613 h 299"/>
                <a:gd name="T30" fmla="*/ 82178950 w 426"/>
                <a:gd name="T31" fmla="*/ 33827023 h 299"/>
                <a:gd name="T32" fmla="*/ 82178950 w 426"/>
                <a:gd name="T33" fmla="*/ 40028892 h 299"/>
                <a:gd name="T34" fmla="*/ 80438938 w 426"/>
                <a:gd name="T35" fmla="*/ 44539197 h 299"/>
                <a:gd name="T36" fmla="*/ 79665453 w 426"/>
                <a:gd name="T37" fmla="*/ 47921793 h 299"/>
                <a:gd name="T38" fmla="*/ 79665453 w 426"/>
                <a:gd name="T39" fmla="*/ 51022462 h 299"/>
                <a:gd name="T40" fmla="*/ 80245457 w 426"/>
                <a:gd name="T41" fmla="*/ 53559808 h 299"/>
                <a:gd name="T42" fmla="*/ 81792427 w 426"/>
                <a:gd name="T43" fmla="*/ 59479749 h 299"/>
                <a:gd name="T44" fmla="*/ 82372431 w 426"/>
                <a:gd name="T45" fmla="*/ 63708127 h 299"/>
                <a:gd name="T46" fmla="*/ 82178950 w 426"/>
                <a:gd name="T47" fmla="*/ 69627538 h 299"/>
                <a:gd name="T48" fmla="*/ 82372431 w 426"/>
                <a:gd name="T49" fmla="*/ 77239043 h 299"/>
                <a:gd name="T50" fmla="*/ 81792427 w 426"/>
                <a:gd name="T51" fmla="*/ 80339712 h 299"/>
                <a:gd name="T52" fmla="*/ 79665453 w 426"/>
                <a:gd name="T53" fmla="*/ 83440380 h 299"/>
                <a:gd name="T54" fmla="*/ 73477572 w 426"/>
                <a:gd name="T55" fmla="*/ 84004235 h 299"/>
                <a:gd name="T56" fmla="*/ 71544079 w 426"/>
                <a:gd name="T57" fmla="*/ 84286162 h 299"/>
                <a:gd name="T58" fmla="*/ 69610586 w 426"/>
                <a:gd name="T59" fmla="*/ 83440380 h 299"/>
                <a:gd name="T60" fmla="*/ 67870134 w 426"/>
                <a:gd name="T61" fmla="*/ 81749348 h 299"/>
                <a:gd name="T62" fmla="*/ 65356637 w 426"/>
                <a:gd name="T63" fmla="*/ 78366221 h 299"/>
                <a:gd name="T64" fmla="*/ 62649659 w 426"/>
                <a:gd name="T65" fmla="*/ 73573988 h 299"/>
                <a:gd name="T66" fmla="*/ 60135722 w 426"/>
                <a:gd name="T67" fmla="*/ 71319101 h 299"/>
                <a:gd name="T68" fmla="*/ 56848740 w 426"/>
                <a:gd name="T69" fmla="*/ 70755247 h 299"/>
                <a:gd name="T70" fmla="*/ 53754800 w 426"/>
                <a:gd name="T71" fmla="*/ 65399160 h 299"/>
                <a:gd name="T72" fmla="*/ 52981314 w 426"/>
                <a:gd name="T73" fmla="*/ 59197822 h 299"/>
                <a:gd name="T74" fmla="*/ 52014348 w 426"/>
                <a:gd name="T75" fmla="*/ 55532768 h 299"/>
                <a:gd name="T76" fmla="*/ 50467817 w 426"/>
                <a:gd name="T77" fmla="*/ 51868244 h 299"/>
                <a:gd name="T78" fmla="*/ 48533885 w 426"/>
                <a:gd name="T79" fmla="*/ 48767575 h 299"/>
                <a:gd name="T80" fmla="*/ 46020388 w 426"/>
                <a:gd name="T81" fmla="*/ 46512688 h 299"/>
                <a:gd name="T82" fmla="*/ 42926447 w 426"/>
                <a:gd name="T83" fmla="*/ 45384979 h 299"/>
                <a:gd name="T84" fmla="*/ 39445984 w 426"/>
                <a:gd name="T85" fmla="*/ 45384979 h 299"/>
                <a:gd name="T86" fmla="*/ 36352043 w 426"/>
                <a:gd name="T87" fmla="*/ 45948834 h 299"/>
                <a:gd name="T88" fmla="*/ 33451584 w 426"/>
                <a:gd name="T89" fmla="*/ 47357939 h 299"/>
                <a:gd name="T90" fmla="*/ 30938087 w 426"/>
                <a:gd name="T91" fmla="*/ 49613357 h 299"/>
                <a:gd name="T92" fmla="*/ 27264142 w 426"/>
                <a:gd name="T93" fmla="*/ 53841735 h 299"/>
                <a:gd name="T94" fmla="*/ 22816713 w 426"/>
                <a:gd name="T95" fmla="*/ 60606927 h 299"/>
                <a:gd name="T96" fmla="*/ 20303216 w 426"/>
                <a:gd name="T97" fmla="*/ 61452709 h 299"/>
                <a:gd name="T98" fmla="*/ 19336249 w 426"/>
                <a:gd name="T99" fmla="*/ 56660477 h 299"/>
                <a:gd name="T100" fmla="*/ 17402756 w 426"/>
                <a:gd name="T101" fmla="*/ 52432099 h 299"/>
                <a:gd name="T102" fmla="*/ 14695338 w 426"/>
                <a:gd name="T103" fmla="*/ 48203721 h 299"/>
                <a:gd name="T104" fmla="*/ 9668345 w 426"/>
                <a:gd name="T105" fmla="*/ 43129561 h 299"/>
                <a:gd name="T106" fmla="*/ 4640911 w 426"/>
                <a:gd name="T107" fmla="*/ 37773474 h 299"/>
                <a:gd name="T108" fmla="*/ 1546970 w 426"/>
                <a:gd name="T109" fmla="*/ 33545096 h 299"/>
                <a:gd name="T110" fmla="*/ 2900459 w 426"/>
                <a:gd name="T111" fmla="*/ 28471467 h 299"/>
                <a:gd name="T112" fmla="*/ 8894859 w 426"/>
                <a:gd name="T113" fmla="*/ 21705744 h 299"/>
                <a:gd name="T114" fmla="*/ 14502297 w 426"/>
                <a:gd name="T115" fmla="*/ 13530916 h 299"/>
                <a:gd name="T116" fmla="*/ 18949727 w 426"/>
                <a:gd name="T117" fmla="*/ 4792232 h 299"/>
                <a:gd name="T118" fmla="*/ 34612031 w 426"/>
                <a:gd name="T119" fmla="*/ 3664523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8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6019650" y="3234059"/>
              <a:ext cx="834609" cy="983459"/>
            </a:xfrm>
            <a:custGeom>
              <a:avLst/>
              <a:gdLst>
                <a:gd name="T0" fmla="*/ 89937815 w 1594"/>
                <a:gd name="T1" fmla="*/ 29354740 h 1670"/>
                <a:gd name="T2" fmla="*/ 91446302 w 1594"/>
                <a:gd name="T3" fmla="*/ 50753781 h 1670"/>
                <a:gd name="T4" fmla="*/ 108981058 w 1594"/>
                <a:gd name="T5" fmla="*/ 78737265 h 1670"/>
                <a:gd name="T6" fmla="*/ 132172860 w 1594"/>
                <a:gd name="T7" fmla="*/ 125924626 h 1670"/>
                <a:gd name="T8" fmla="*/ 149896503 w 1594"/>
                <a:gd name="T9" fmla="*/ 136898346 h 1670"/>
                <a:gd name="T10" fmla="*/ 165357414 w 1594"/>
                <a:gd name="T11" fmla="*/ 135252629 h 1670"/>
                <a:gd name="T12" fmla="*/ 175350601 w 1594"/>
                <a:gd name="T13" fmla="*/ 147323668 h 1670"/>
                <a:gd name="T14" fmla="*/ 207780912 w 1594"/>
                <a:gd name="T15" fmla="*/ 155553827 h 1670"/>
                <a:gd name="T16" fmla="*/ 211363244 w 1594"/>
                <a:gd name="T17" fmla="*/ 126473548 h 1670"/>
                <a:gd name="T18" fmla="*/ 222299127 w 1594"/>
                <a:gd name="T19" fmla="*/ 147872590 h 1670"/>
                <a:gd name="T20" fmla="*/ 234366159 w 1594"/>
                <a:gd name="T21" fmla="*/ 153908109 h 1670"/>
                <a:gd name="T22" fmla="*/ 244924703 w 1594"/>
                <a:gd name="T23" fmla="*/ 136624409 h 1670"/>
                <a:gd name="T24" fmla="*/ 264722624 w 1594"/>
                <a:gd name="T25" fmla="*/ 112207346 h 1670"/>
                <a:gd name="T26" fmla="*/ 292062115 w 1594"/>
                <a:gd name="T27" fmla="*/ 117420007 h 1670"/>
                <a:gd name="T28" fmla="*/ 297718726 w 1594"/>
                <a:gd name="T29" fmla="*/ 136624409 h 1670"/>
                <a:gd name="T30" fmla="*/ 283577416 w 1594"/>
                <a:gd name="T31" fmla="*/ 148695448 h 1670"/>
                <a:gd name="T32" fmla="*/ 279995083 w 1594"/>
                <a:gd name="T33" fmla="*/ 186280871 h 1670"/>
                <a:gd name="T34" fmla="*/ 269436105 w 1594"/>
                <a:gd name="T35" fmla="*/ 193139249 h 1670"/>
                <a:gd name="T36" fmla="*/ 265476868 w 1594"/>
                <a:gd name="T37" fmla="*/ 223317372 h 1670"/>
                <a:gd name="T38" fmla="*/ 249072826 w 1594"/>
                <a:gd name="T39" fmla="*/ 206856530 h 1670"/>
                <a:gd name="T40" fmla="*/ 249450165 w 1594"/>
                <a:gd name="T41" fmla="*/ 191493532 h 1670"/>
                <a:gd name="T42" fmla="*/ 230972279 w 1594"/>
                <a:gd name="T43" fmla="*/ 175032690 h 1670"/>
                <a:gd name="T44" fmla="*/ 223807614 w 1594"/>
                <a:gd name="T45" fmla="*/ 161315410 h 1670"/>
                <a:gd name="T46" fmla="*/ 213248636 w 1594"/>
                <a:gd name="T47" fmla="*/ 157748990 h 1670"/>
                <a:gd name="T48" fmla="*/ 212494392 w 1594"/>
                <a:gd name="T49" fmla="*/ 171466271 h 1670"/>
                <a:gd name="T50" fmla="*/ 210609000 w 1594"/>
                <a:gd name="T51" fmla="*/ 187378190 h 1670"/>
                <a:gd name="T52" fmla="*/ 218716795 w 1594"/>
                <a:gd name="T53" fmla="*/ 201643869 h 1670"/>
                <a:gd name="T54" fmla="*/ 216642516 w 1594"/>
                <a:gd name="T55" fmla="*/ 231273593 h 1670"/>
                <a:gd name="T56" fmla="*/ 202690092 w 1594"/>
                <a:gd name="T57" fmla="*/ 237034652 h 1670"/>
                <a:gd name="T58" fmla="*/ 197787724 w 1594"/>
                <a:gd name="T59" fmla="*/ 257061914 h 1670"/>
                <a:gd name="T60" fmla="*/ 179875629 w 1594"/>
                <a:gd name="T61" fmla="*/ 274620075 h 1670"/>
                <a:gd name="T62" fmla="*/ 171956721 w 1594"/>
                <a:gd name="T63" fmla="*/ 288062895 h 1670"/>
                <a:gd name="T64" fmla="*/ 147067980 w 1594"/>
                <a:gd name="T65" fmla="*/ 325922778 h 1670"/>
                <a:gd name="T66" fmla="*/ 136320983 w 1594"/>
                <a:gd name="T67" fmla="*/ 338268278 h 1670"/>
                <a:gd name="T68" fmla="*/ 140280220 w 1594"/>
                <a:gd name="T69" fmla="*/ 368720861 h 1670"/>
                <a:gd name="T70" fmla="*/ 134246704 w 1594"/>
                <a:gd name="T71" fmla="*/ 396429360 h 1670"/>
                <a:gd name="T72" fmla="*/ 136132097 w 1594"/>
                <a:gd name="T73" fmla="*/ 418102862 h 1670"/>
                <a:gd name="T74" fmla="*/ 130664372 w 1594"/>
                <a:gd name="T75" fmla="*/ 432369065 h 1670"/>
                <a:gd name="T76" fmla="*/ 112186486 w 1594"/>
                <a:gd name="T77" fmla="*/ 456237206 h 1670"/>
                <a:gd name="T78" fmla="*/ 97291366 w 1594"/>
                <a:gd name="T79" fmla="*/ 419474643 h 1670"/>
                <a:gd name="T80" fmla="*/ 79001932 w 1594"/>
                <a:gd name="T81" fmla="*/ 365977300 h 1670"/>
                <a:gd name="T82" fmla="*/ 56753260 w 1594"/>
                <a:gd name="T83" fmla="*/ 305621056 h 1670"/>
                <a:gd name="T84" fmla="*/ 48834352 w 1594"/>
                <a:gd name="T85" fmla="*/ 236211794 h 1670"/>
                <a:gd name="T86" fmla="*/ 43366194 w 1594"/>
                <a:gd name="T87" fmla="*/ 223317372 h 1670"/>
                <a:gd name="T88" fmla="*/ 30921823 w 1594"/>
                <a:gd name="T89" fmla="*/ 246911052 h 1670"/>
                <a:gd name="T90" fmla="*/ 16969399 w 1594"/>
                <a:gd name="T91" fmla="*/ 240326611 h 1670"/>
                <a:gd name="T92" fmla="*/ 9615848 w 1594"/>
                <a:gd name="T93" fmla="*/ 218928093 h 1670"/>
                <a:gd name="T94" fmla="*/ 5656611 w 1594"/>
                <a:gd name="T95" fmla="*/ 211520793 h 1670"/>
                <a:gd name="T96" fmla="*/ 6033516 w 1594"/>
                <a:gd name="T97" fmla="*/ 194236569 h 1670"/>
                <a:gd name="T98" fmla="*/ 29979127 w 1594"/>
                <a:gd name="T99" fmla="*/ 180793749 h 1670"/>
                <a:gd name="T100" fmla="*/ 17346304 w 1594"/>
                <a:gd name="T101" fmla="*/ 156102749 h 1670"/>
                <a:gd name="T102" fmla="*/ 11124336 w 1594"/>
                <a:gd name="T103" fmla="*/ 137172807 h 1670"/>
                <a:gd name="T104" fmla="*/ 30544918 w 1594"/>
                <a:gd name="T105" fmla="*/ 125924626 h 1670"/>
                <a:gd name="T106" fmla="*/ 50908197 w 1594"/>
                <a:gd name="T107" fmla="*/ 80657443 h 1670"/>
                <a:gd name="T108" fmla="*/ 51662441 w 1594"/>
                <a:gd name="T109" fmla="*/ 63099282 h 1670"/>
                <a:gd name="T110" fmla="*/ 42800402 w 1594"/>
                <a:gd name="T111" fmla="*/ 38957203 h 1670"/>
                <a:gd name="T112" fmla="*/ 60712932 w 1594"/>
                <a:gd name="T113" fmla="*/ 14814600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09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55103" y="4128275"/>
              <a:ext cx="191424" cy="232032"/>
            </a:xfrm>
            <a:custGeom>
              <a:avLst/>
              <a:gdLst>
                <a:gd name="T0" fmla="*/ 10363854 w 359"/>
                <a:gd name="T1" fmla="*/ 104805501 h 394"/>
                <a:gd name="T2" fmla="*/ 10363854 w 359"/>
                <a:gd name="T3" fmla="*/ 98220881 h 394"/>
                <a:gd name="T4" fmla="*/ 10363854 w 359"/>
                <a:gd name="T5" fmla="*/ 91362317 h 394"/>
                <a:gd name="T6" fmla="*/ 9777054 w 359"/>
                <a:gd name="T7" fmla="*/ 85600579 h 394"/>
                <a:gd name="T8" fmla="*/ 8408444 w 359"/>
                <a:gd name="T9" fmla="*/ 80387777 h 394"/>
                <a:gd name="T10" fmla="*/ 6843938 w 359"/>
                <a:gd name="T11" fmla="*/ 75997856 h 394"/>
                <a:gd name="T12" fmla="*/ 2542211 w 359"/>
                <a:gd name="T13" fmla="*/ 67218537 h 394"/>
                <a:gd name="T14" fmla="*/ 0 w 359"/>
                <a:gd name="T15" fmla="*/ 50756727 h 394"/>
                <a:gd name="T16" fmla="*/ 6453033 w 359"/>
                <a:gd name="T17" fmla="*/ 49659377 h 394"/>
                <a:gd name="T18" fmla="*/ 7821643 w 359"/>
                <a:gd name="T19" fmla="*/ 46366806 h 394"/>
                <a:gd name="T20" fmla="*/ 8017096 w 359"/>
                <a:gd name="T21" fmla="*/ 41154003 h 394"/>
                <a:gd name="T22" fmla="*/ 7430738 w 359"/>
                <a:gd name="T23" fmla="*/ 29356582 h 394"/>
                <a:gd name="T24" fmla="*/ 6061685 w 359"/>
                <a:gd name="T25" fmla="*/ 17833628 h 394"/>
                <a:gd name="T26" fmla="*/ 6257138 w 359"/>
                <a:gd name="T27" fmla="*/ 12894771 h 394"/>
                <a:gd name="T28" fmla="*/ 7039391 w 359"/>
                <a:gd name="T29" fmla="*/ 9877191 h 394"/>
                <a:gd name="T30" fmla="*/ 23464930 w 359"/>
                <a:gd name="T31" fmla="*/ 8505374 h 394"/>
                <a:gd name="T32" fmla="*/ 23855836 w 359"/>
                <a:gd name="T33" fmla="*/ 6035683 h 394"/>
                <a:gd name="T34" fmla="*/ 25029436 w 359"/>
                <a:gd name="T35" fmla="*/ 3840984 h 394"/>
                <a:gd name="T36" fmla="*/ 27375752 w 359"/>
                <a:gd name="T37" fmla="*/ 0 h 394"/>
                <a:gd name="T38" fmla="*/ 27766657 w 359"/>
                <a:gd name="T39" fmla="*/ 4938334 h 394"/>
                <a:gd name="T40" fmla="*/ 27766657 w 359"/>
                <a:gd name="T41" fmla="*/ 7133556 h 394"/>
                <a:gd name="T42" fmla="*/ 27375752 w 359"/>
                <a:gd name="T43" fmla="*/ 8505374 h 394"/>
                <a:gd name="T44" fmla="*/ 32851079 w 359"/>
                <a:gd name="T45" fmla="*/ 8505374 h 394"/>
                <a:gd name="T46" fmla="*/ 36370554 w 359"/>
                <a:gd name="T47" fmla="*/ 8505374 h 394"/>
                <a:gd name="T48" fmla="*/ 41845881 w 359"/>
                <a:gd name="T49" fmla="*/ 10425604 h 394"/>
                <a:gd name="T50" fmla="*/ 45561250 w 359"/>
                <a:gd name="T51" fmla="*/ 13443707 h 394"/>
                <a:gd name="T52" fmla="*/ 48103019 w 359"/>
                <a:gd name="T53" fmla="*/ 15912874 h 394"/>
                <a:gd name="T54" fmla="*/ 50645230 w 359"/>
                <a:gd name="T55" fmla="*/ 16735755 h 394"/>
                <a:gd name="T56" fmla="*/ 52405188 w 359"/>
                <a:gd name="T57" fmla="*/ 16187343 h 394"/>
                <a:gd name="T58" fmla="*/ 53773799 w 359"/>
                <a:gd name="T59" fmla="*/ 14815525 h 394"/>
                <a:gd name="T60" fmla="*/ 55924662 w 359"/>
                <a:gd name="T61" fmla="*/ 10151136 h 394"/>
                <a:gd name="T62" fmla="*/ 61009084 w 359"/>
                <a:gd name="T63" fmla="*/ 14266589 h 394"/>
                <a:gd name="T64" fmla="*/ 63550853 w 359"/>
                <a:gd name="T65" fmla="*/ 16187343 h 394"/>
                <a:gd name="T66" fmla="*/ 66093064 w 359"/>
                <a:gd name="T67" fmla="*/ 16735755 h 394"/>
                <a:gd name="T68" fmla="*/ 69026180 w 359"/>
                <a:gd name="T69" fmla="*/ 44172107 h 394"/>
                <a:gd name="T70" fmla="*/ 66093064 w 359"/>
                <a:gd name="T71" fmla="*/ 50756727 h 394"/>
                <a:gd name="T72" fmla="*/ 63159948 w 359"/>
                <a:gd name="T73" fmla="*/ 56518465 h 394"/>
                <a:gd name="T74" fmla="*/ 61595442 w 359"/>
                <a:gd name="T75" fmla="*/ 61456799 h 394"/>
                <a:gd name="T76" fmla="*/ 61204537 w 359"/>
                <a:gd name="T77" fmla="*/ 65572252 h 394"/>
                <a:gd name="T78" fmla="*/ 61204537 w 359"/>
                <a:gd name="T79" fmla="*/ 69962173 h 394"/>
                <a:gd name="T80" fmla="*/ 62768600 w 359"/>
                <a:gd name="T81" fmla="*/ 74900506 h 394"/>
                <a:gd name="T82" fmla="*/ 64724011 w 359"/>
                <a:gd name="T83" fmla="*/ 80387777 h 394"/>
                <a:gd name="T84" fmla="*/ 65897611 w 359"/>
                <a:gd name="T85" fmla="*/ 84777174 h 394"/>
                <a:gd name="T86" fmla="*/ 65897611 w 359"/>
                <a:gd name="T87" fmla="*/ 88069746 h 394"/>
                <a:gd name="T88" fmla="*/ 64528558 w 359"/>
                <a:gd name="T89" fmla="*/ 92459667 h 394"/>
                <a:gd name="T90" fmla="*/ 63746306 w 359"/>
                <a:gd name="T91" fmla="*/ 96300651 h 394"/>
                <a:gd name="T92" fmla="*/ 62377695 w 359"/>
                <a:gd name="T93" fmla="*/ 98220881 h 394"/>
                <a:gd name="T94" fmla="*/ 60226831 w 359"/>
                <a:gd name="T95" fmla="*/ 97672469 h 394"/>
                <a:gd name="T96" fmla="*/ 58271421 w 359"/>
                <a:gd name="T97" fmla="*/ 96026183 h 394"/>
                <a:gd name="T98" fmla="*/ 56120557 w 359"/>
                <a:gd name="T99" fmla="*/ 93282548 h 394"/>
                <a:gd name="T100" fmla="*/ 54165146 w 359"/>
                <a:gd name="T101" fmla="*/ 91910730 h 394"/>
                <a:gd name="T102" fmla="*/ 52013841 w 359"/>
                <a:gd name="T103" fmla="*/ 91362317 h 394"/>
                <a:gd name="T104" fmla="*/ 48103019 w 359"/>
                <a:gd name="T105" fmla="*/ 91362317 h 394"/>
                <a:gd name="T106" fmla="*/ 43214492 w 359"/>
                <a:gd name="T107" fmla="*/ 92185198 h 394"/>
                <a:gd name="T108" fmla="*/ 35392848 w 359"/>
                <a:gd name="T109" fmla="*/ 94105429 h 394"/>
                <a:gd name="T110" fmla="*/ 25615794 w 359"/>
                <a:gd name="T111" fmla="*/ 98495350 h 394"/>
                <a:gd name="T112" fmla="*/ 16816445 w 359"/>
                <a:gd name="T113" fmla="*/ 102885271 h 394"/>
                <a:gd name="T114" fmla="*/ 10363854 w 359"/>
                <a:gd name="T115" fmla="*/ 108098073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0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043387" y="4347813"/>
              <a:ext cx="231624" cy="305212"/>
            </a:xfrm>
            <a:custGeom>
              <a:avLst/>
              <a:gdLst>
                <a:gd name="T0" fmla="*/ 75039669 w 449"/>
                <a:gd name="T1" fmla="*/ 28288209 h 523"/>
                <a:gd name="T2" fmla="*/ 74124577 w 449"/>
                <a:gd name="T3" fmla="*/ 26402502 h 523"/>
                <a:gd name="T4" fmla="*/ 74673889 w 449"/>
                <a:gd name="T5" fmla="*/ 24786181 h 523"/>
                <a:gd name="T6" fmla="*/ 77236061 w 449"/>
                <a:gd name="T7" fmla="*/ 20744860 h 523"/>
                <a:gd name="T8" fmla="*/ 80713324 w 449"/>
                <a:gd name="T9" fmla="*/ 16164765 h 523"/>
                <a:gd name="T10" fmla="*/ 81811520 w 449"/>
                <a:gd name="T11" fmla="*/ 13470378 h 523"/>
                <a:gd name="T12" fmla="*/ 82177728 w 449"/>
                <a:gd name="T13" fmla="*/ 9968350 h 523"/>
                <a:gd name="T14" fmla="*/ 79066244 w 449"/>
                <a:gd name="T15" fmla="*/ 9160189 h 523"/>
                <a:gd name="T16" fmla="*/ 77236061 w 449"/>
                <a:gd name="T17" fmla="*/ 7273963 h 523"/>
                <a:gd name="T18" fmla="*/ 75222773 w 449"/>
                <a:gd name="T19" fmla="*/ 5657642 h 523"/>
                <a:gd name="T20" fmla="*/ 71379302 w 449"/>
                <a:gd name="T21" fmla="*/ 4849481 h 523"/>
                <a:gd name="T22" fmla="*/ 68999806 w 449"/>
                <a:gd name="T23" fmla="*/ 5388255 h 523"/>
                <a:gd name="T24" fmla="*/ 67352727 w 449"/>
                <a:gd name="T25" fmla="*/ 6465802 h 523"/>
                <a:gd name="T26" fmla="*/ 64973659 w 449"/>
                <a:gd name="T27" fmla="*/ 9968350 h 523"/>
                <a:gd name="T28" fmla="*/ 62227956 w 449"/>
                <a:gd name="T29" fmla="*/ 13470378 h 523"/>
                <a:gd name="T30" fmla="*/ 59665784 w 449"/>
                <a:gd name="T31" fmla="*/ 14548444 h 523"/>
                <a:gd name="T32" fmla="*/ 56737405 w 449"/>
                <a:gd name="T33" fmla="*/ 14817831 h 523"/>
                <a:gd name="T34" fmla="*/ 52527726 w 449"/>
                <a:gd name="T35" fmla="*/ 14548444 h 523"/>
                <a:gd name="T36" fmla="*/ 48867358 w 449"/>
                <a:gd name="T37" fmla="*/ 13470378 h 523"/>
                <a:gd name="T38" fmla="*/ 43010599 w 449"/>
                <a:gd name="T39" fmla="*/ 9698963 h 523"/>
                <a:gd name="T40" fmla="*/ 37702725 w 449"/>
                <a:gd name="T41" fmla="*/ 5118868 h 523"/>
                <a:gd name="T42" fmla="*/ 34591669 w 449"/>
                <a:gd name="T43" fmla="*/ 3233161 h 523"/>
                <a:gd name="T44" fmla="*/ 31113978 w 449"/>
                <a:gd name="T45" fmla="*/ 1616321 h 523"/>
                <a:gd name="T46" fmla="*/ 24525231 w 449"/>
                <a:gd name="T47" fmla="*/ 2155094 h 523"/>
                <a:gd name="T48" fmla="*/ 21779956 w 449"/>
                <a:gd name="T49" fmla="*/ 1616321 h 523"/>
                <a:gd name="T50" fmla="*/ 18851576 w 449"/>
                <a:gd name="T51" fmla="*/ 0 h 523"/>
                <a:gd name="T52" fmla="*/ 9517126 w 449"/>
                <a:gd name="T53" fmla="*/ 0 h 523"/>
                <a:gd name="T54" fmla="*/ 915092 w 449"/>
                <a:gd name="T55" fmla="*/ 0 h 523"/>
                <a:gd name="T56" fmla="*/ 915092 w 449"/>
                <a:gd name="T57" fmla="*/ 4849481 h 523"/>
                <a:gd name="T58" fmla="*/ 915092 w 449"/>
                <a:gd name="T59" fmla="*/ 9968350 h 523"/>
                <a:gd name="T60" fmla="*/ 2745275 w 449"/>
                <a:gd name="T61" fmla="*/ 16164765 h 523"/>
                <a:gd name="T62" fmla="*/ 4209679 w 449"/>
                <a:gd name="T63" fmla="*/ 24516794 h 523"/>
                <a:gd name="T64" fmla="*/ 5673655 w 449"/>
                <a:gd name="T65" fmla="*/ 34484625 h 523"/>
                <a:gd name="T66" fmla="*/ 6954955 w 449"/>
                <a:gd name="T67" fmla="*/ 46339201 h 523"/>
                <a:gd name="T68" fmla="*/ 6771851 w 449"/>
                <a:gd name="T69" fmla="*/ 55498872 h 523"/>
                <a:gd name="T70" fmla="*/ 5307875 w 449"/>
                <a:gd name="T71" fmla="*/ 61964674 h 523"/>
                <a:gd name="T72" fmla="*/ 1281300 w 449"/>
                <a:gd name="T73" fmla="*/ 72471797 h 523"/>
                <a:gd name="T74" fmla="*/ 1830184 w 449"/>
                <a:gd name="T75" fmla="*/ 86481468 h 523"/>
                <a:gd name="T76" fmla="*/ 5124771 w 449"/>
                <a:gd name="T77" fmla="*/ 91330949 h 523"/>
                <a:gd name="T78" fmla="*/ 15373885 w 449"/>
                <a:gd name="T79" fmla="*/ 98874299 h 523"/>
                <a:gd name="T80" fmla="*/ 24891439 w 449"/>
                <a:gd name="T81" fmla="*/ 106687554 h 523"/>
                <a:gd name="T82" fmla="*/ 31113978 w 449"/>
                <a:gd name="T83" fmla="*/ 113153357 h 523"/>
                <a:gd name="T84" fmla="*/ 34591669 w 449"/>
                <a:gd name="T85" fmla="*/ 117464064 h 523"/>
                <a:gd name="T86" fmla="*/ 36238749 w 449"/>
                <a:gd name="T87" fmla="*/ 121504866 h 523"/>
                <a:gd name="T88" fmla="*/ 36787633 w 449"/>
                <a:gd name="T89" fmla="*/ 125007414 h 523"/>
                <a:gd name="T90" fmla="*/ 38252036 w 449"/>
                <a:gd name="T91" fmla="*/ 129048735 h 523"/>
                <a:gd name="T92" fmla="*/ 40265324 w 449"/>
                <a:gd name="T93" fmla="*/ 132550763 h 523"/>
                <a:gd name="T94" fmla="*/ 42644392 w 449"/>
                <a:gd name="T95" fmla="*/ 135514537 h 523"/>
                <a:gd name="T96" fmla="*/ 45206991 w 449"/>
                <a:gd name="T97" fmla="*/ 137939018 h 523"/>
                <a:gd name="T98" fmla="*/ 48318474 w 449"/>
                <a:gd name="T99" fmla="*/ 139825245 h 523"/>
                <a:gd name="T100" fmla="*/ 51429530 w 449"/>
                <a:gd name="T101" fmla="*/ 140902792 h 523"/>
                <a:gd name="T102" fmla="*/ 55639209 w 449"/>
                <a:gd name="T103" fmla="*/ 135245150 h 523"/>
                <a:gd name="T104" fmla="*/ 61312864 w 449"/>
                <a:gd name="T105" fmla="*/ 124468640 h 523"/>
                <a:gd name="T106" fmla="*/ 66803843 w 449"/>
                <a:gd name="T107" fmla="*/ 115039064 h 523"/>
                <a:gd name="T108" fmla="*/ 72111290 w 449"/>
                <a:gd name="T109" fmla="*/ 105070714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1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022331" y="3319733"/>
              <a:ext cx="122511" cy="146359"/>
            </a:xfrm>
            <a:custGeom>
              <a:avLst/>
              <a:gdLst>
                <a:gd name="T0" fmla="*/ 2425363 w 226"/>
                <a:gd name="T1" fmla="*/ 63843958 h 246"/>
                <a:gd name="T2" fmla="*/ 7275639 w 226"/>
                <a:gd name="T3" fmla="*/ 67204167 h 246"/>
                <a:gd name="T4" fmla="*/ 10711607 w 226"/>
                <a:gd name="T5" fmla="*/ 68604342 h 246"/>
                <a:gd name="T6" fmla="*/ 13742973 w 226"/>
                <a:gd name="T7" fmla="*/ 68604342 h 246"/>
                <a:gd name="T8" fmla="*/ 17178492 w 226"/>
                <a:gd name="T9" fmla="*/ 67484096 h 246"/>
                <a:gd name="T10" fmla="*/ 22231069 w 226"/>
                <a:gd name="T11" fmla="*/ 63843958 h 246"/>
                <a:gd name="T12" fmla="*/ 28496552 w 226"/>
                <a:gd name="T13" fmla="*/ 57403471 h 246"/>
                <a:gd name="T14" fmla="*/ 32538524 w 226"/>
                <a:gd name="T15" fmla="*/ 51523371 h 246"/>
                <a:gd name="T16" fmla="*/ 32134372 w 226"/>
                <a:gd name="T17" fmla="*/ 48443092 h 246"/>
                <a:gd name="T18" fmla="*/ 30113161 w 226"/>
                <a:gd name="T19" fmla="*/ 44802954 h 246"/>
                <a:gd name="T20" fmla="*/ 28900704 w 226"/>
                <a:gd name="T21" fmla="*/ 40602429 h 246"/>
                <a:gd name="T22" fmla="*/ 28496552 w 226"/>
                <a:gd name="T23" fmla="*/ 36402433 h 246"/>
                <a:gd name="T24" fmla="*/ 28496552 w 226"/>
                <a:gd name="T25" fmla="*/ 32481837 h 246"/>
                <a:gd name="T26" fmla="*/ 29506708 w 226"/>
                <a:gd name="T27" fmla="*/ 29401558 h 246"/>
                <a:gd name="T28" fmla="*/ 31527919 w 226"/>
                <a:gd name="T29" fmla="*/ 26321808 h 246"/>
                <a:gd name="T30" fmla="*/ 33953281 w 226"/>
                <a:gd name="T31" fmla="*/ 24081317 h 246"/>
                <a:gd name="T32" fmla="*/ 41228920 w 226"/>
                <a:gd name="T33" fmla="*/ 19881321 h 246"/>
                <a:gd name="T34" fmla="*/ 45472743 w 226"/>
                <a:gd name="T35" fmla="*/ 13720762 h 246"/>
                <a:gd name="T36" fmla="*/ 44664439 w 226"/>
                <a:gd name="T37" fmla="*/ 8400521 h 246"/>
                <a:gd name="T38" fmla="*/ 43249681 w 226"/>
                <a:gd name="T39" fmla="*/ 4760383 h 246"/>
                <a:gd name="T40" fmla="*/ 42845529 w 226"/>
                <a:gd name="T41" fmla="*/ 1680104 h 246"/>
                <a:gd name="T42" fmla="*/ 40824768 w 226"/>
                <a:gd name="T43" fmla="*/ 279929 h 246"/>
                <a:gd name="T44" fmla="*/ 36580496 w 226"/>
                <a:gd name="T45" fmla="*/ 1960033 h 246"/>
                <a:gd name="T46" fmla="*/ 31123766 w 226"/>
                <a:gd name="T47" fmla="*/ 5600171 h 246"/>
                <a:gd name="T48" fmla="*/ 24454131 w 226"/>
                <a:gd name="T49" fmla="*/ 10640483 h 246"/>
                <a:gd name="T50" fmla="*/ 20210308 w 226"/>
                <a:gd name="T51" fmla="*/ 14280621 h 246"/>
                <a:gd name="T52" fmla="*/ 17583094 w 226"/>
                <a:gd name="T53" fmla="*/ 15400867 h 246"/>
                <a:gd name="T54" fmla="*/ 15157731 w 226"/>
                <a:gd name="T55" fmla="*/ 15120937 h 246"/>
                <a:gd name="T56" fmla="*/ 11924064 w 226"/>
                <a:gd name="T57" fmla="*/ 13160904 h 246"/>
                <a:gd name="T58" fmla="*/ 7275639 w 226"/>
                <a:gd name="T59" fmla="*/ 8680450 h 246"/>
                <a:gd name="T60" fmla="*/ 4850276 w 226"/>
                <a:gd name="T61" fmla="*/ 10920942 h 246"/>
                <a:gd name="T62" fmla="*/ 3637819 w 226"/>
                <a:gd name="T63" fmla="*/ 26601737 h 246"/>
                <a:gd name="T64" fmla="*/ 2021211 w 226"/>
                <a:gd name="T65" fmla="*/ 45642742 h 246"/>
                <a:gd name="T66" fmla="*/ 606453 w 226"/>
                <a:gd name="T67" fmla="*/ 59363504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2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382208" y="3435749"/>
              <a:ext cx="26799" cy="62470"/>
            </a:xfrm>
            <a:custGeom>
              <a:avLst/>
              <a:gdLst>
                <a:gd name="T0" fmla="*/ 3704537 w 60"/>
                <a:gd name="T1" fmla="*/ 0 h 81"/>
                <a:gd name="T2" fmla="*/ 3979016 w 60"/>
                <a:gd name="T3" fmla="*/ 941124 h 81"/>
                <a:gd name="T4" fmla="*/ 4390549 w 60"/>
                <a:gd name="T5" fmla="*/ 1411686 h 81"/>
                <a:gd name="T6" fmla="*/ 4939506 w 60"/>
                <a:gd name="T7" fmla="*/ 1411686 h 81"/>
                <a:gd name="T8" fmla="*/ 5488464 w 60"/>
                <a:gd name="T9" fmla="*/ 941124 h 81"/>
                <a:gd name="T10" fmla="*/ 6448954 w 60"/>
                <a:gd name="T11" fmla="*/ 470562 h 81"/>
                <a:gd name="T12" fmla="*/ 7272020 w 60"/>
                <a:gd name="T13" fmla="*/ 0 h 81"/>
                <a:gd name="T14" fmla="*/ 7272020 w 60"/>
                <a:gd name="T15" fmla="*/ 12233929 h 81"/>
                <a:gd name="T16" fmla="*/ 7409445 w 60"/>
                <a:gd name="T17" fmla="*/ 22115048 h 81"/>
                <a:gd name="T18" fmla="*/ 7409445 w 60"/>
                <a:gd name="T19" fmla="*/ 26819983 h 81"/>
                <a:gd name="T20" fmla="*/ 7683553 w 60"/>
                <a:gd name="T21" fmla="*/ 30584480 h 81"/>
                <a:gd name="T22" fmla="*/ 7958032 w 60"/>
                <a:gd name="T23" fmla="*/ 34348291 h 81"/>
                <a:gd name="T24" fmla="*/ 8232510 w 60"/>
                <a:gd name="T25" fmla="*/ 38112788 h 81"/>
                <a:gd name="T26" fmla="*/ 2744047 w 60"/>
                <a:gd name="T27" fmla="*/ 38112788 h 81"/>
                <a:gd name="T28" fmla="*/ 1920981 w 60"/>
                <a:gd name="T29" fmla="*/ 37642226 h 81"/>
                <a:gd name="T30" fmla="*/ 960490 w 60"/>
                <a:gd name="T31" fmla="*/ 36230540 h 81"/>
                <a:gd name="T32" fmla="*/ 686012 w 60"/>
                <a:gd name="T33" fmla="*/ 34818853 h 81"/>
                <a:gd name="T34" fmla="*/ 274479 w 60"/>
                <a:gd name="T35" fmla="*/ 33877729 h 81"/>
                <a:gd name="T36" fmla="*/ 137054 w 60"/>
                <a:gd name="T37" fmla="*/ 32937291 h 81"/>
                <a:gd name="T38" fmla="*/ 0 w 60"/>
                <a:gd name="T39" fmla="*/ 31996167 h 81"/>
                <a:gd name="T40" fmla="*/ 960490 w 60"/>
                <a:gd name="T41" fmla="*/ 5646060 h 81"/>
                <a:gd name="T42" fmla="*/ 2744047 w 60"/>
                <a:gd name="T43" fmla="*/ 2823373 h 81"/>
                <a:gd name="T44" fmla="*/ 4665028 w 60"/>
                <a:gd name="T45" fmla="*/ 0 h 81"/>
                <a:gd name="T46" fmla="*/ 370453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3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522713" y="2462999"/>
              <a:ext cx="195253" cy="74964"/>
            </a:xfrm>
            <a:custGeom>
              <a:avLst/>
              <a:gdLst>
                <a:gd name="T0" fmla="*/ 47881223 w 370"/>
                <a:gd name="T1" fmla="*/ 31256103 h 129"/>
                <a:gd name="T2" fmla="*/ 49413383 w 370"/>
                <a:gd name="T3" fmla="*/ 31790020 h 129"/>
                <a:gd name="T4" fmla="*/ 53052319 w 370"/>
                <a:gd name="T5" fmla="*/ 32858887 h 129"/>
                <a:gd name="T6" fmla="*/ 56499571 w 370"/>
                <a:gd name="T7" fmla="*/ 33927238 h 129"/>
                <a:gd name="T8" fmla="*/ 58031732 w 370"/>
                <a:gd name="T9" fmla="*/ 34461672 h 129"/>
                <a:gd name="T10" fmla="*/ 70864069 w 370"/>
                <a:gd name="T11" fmla="*/ 25912799 h 129"/>
                <a:gd name="T12" fmla="*/ 68565610 w 370"/>
                <a:gd name="T13" fmla="*/ 20036096 h 129"/>
                <a:gd name="T14" fmla="*/ 66075903 w 370"/>
                <a:gd name="T15" fmla="*/ 12822791 h 129"/>
                <a:gd name="T16" fmla="*/ 64160812 w 370"/>
                <a:gd name="T17" fmla="*/ 7212788 h 129"/>
                <a:gd name="T18" fmla="*/ 63203266 w 370"/>
                <a:gd name="T19" fmla="*/ 4808353 h 129"/>
                <a:gd name="T20" fmla="*/ 57457555 w 370"/>
                <a:gd name="T21" fmla="*/ 4007219 h 129"/>
                <a:gd name="T22" fmla="*/ 49221699 w 370"/>
                <a:gd name="T23" fmla="*/ 2404435 h 129"/>
                <a:gd name="T24" fmla="*/ 40986281 w 370"/>
                <a:gd name="T25" fmla="*/ 534434 h 129"/>
                <a:gd name="T26" fmla="*/ 35048885 w 370"/>
                <a:gd name="T27" fmla="*/ 0 h 129"/>
                <a:gd name="T28" fmla="*/ 34283024 w 370"/>
                <a:gd name="T29" fmla="*/ 0 h 129"/>
                <a:gd name="T30" fmla="*/ 33708409 w 370"/>
                <a:gd name="T31" fmla="*/ 267217 h 129"/>
                <a:gd name="T32" fmla="*/ 32942110 w 370"/>
                <a:gd name="T33" fmla="*/ 534434 h 129"/>
                <a:gd name="T34" fmla="*/ 32559179 w 370"/>
                <a:gd name="T35" fmla="*/ 801651 h 129"/>
                <a:gd name="T36" fmla="*/ 31027018 w 370"/>
                <a:gd name="T37" fmla="*/ 1870001 h 129"/>
                <a:gd name="T38" fmla="*/ 28728558 w 370"/>
                <a:gd name="T39" fmla="*/ 3205569 h 129"/>
                <a:gd name="T40" fmla="*/ 28153944 w 370"/>
                <a:gd name="T41" fmla="*/ 5610003 h 129"/>
                <a:gd name="T42" fmla="*/ 26813467 w 370"/>
                <a:gd name="T43" fmla="*/ 9350006 h 129"/>
                <a:gd name="T44" fmla="*/ 25664237 w 370"/>
                <a:gd name="T45" fmla="*/ 12822791 h 129"/>
                <a:gd name="T46" fmla="*/ 25089622 w 370"/>
                <a:gd name="T47" fmla="*/ 14692792 h 129"/>
                <a:gd name="T48" fmla="*/ 23365778 w 370"/>
                <a:gd name="T49" fmla="*/ 14425576 h 129"/>
                <a:gd name="T50" fmla="*/ 21259440 w 370"/>
                <a:gd name="T51" fmla="*/ 13090008 h 129"/>
                <a:gd name="T52" fmla="*/ 18769296 w 370"/>
                <a:gd name="T53" fmla="*/ 11754441 h 129"/>
                <a:gd name="T54" fmla="*/ 16087905 w 370"/>
                <a:gd name="T55" fmla="*/ 10151656 h 129"/>
                <a:gd name="T56" fmla="*/ 11491423 w 370"/>
                <a:gd name="T57" fmla="*/ 6945571 h 129"/>
                <a:gd name="T58" fmla="*/ 8427102 w 370"/>
                <a:gd name="T59" fmla="*/ 4808353 h 129"/>
                <a:gd name="T60" fmla="*/ 6128642 w 370"/>
                <a:gd name="T61" fmla="*/ 6678871 h 129"/>
                <a:gd name="T62" fmla="*/ 4021867 w 370"/>
                <a:gd name="T63" fmla="*/ 8815572 h 129"/>
                <a:gd name="T64" fmla="*/ 3064321 w 370"/>
                <a:gd name="T65" fmla="*/ 9884440 h 129"/>
                <a:gd name="T66" fmla="*/ 2298460 w 370"/>
                <a:gd name="T67" fmla="*/ 10952790 h 129"/>
                <a:gd name="T68" fmla="*/ 1723845 w 370"/>
                <a:gd name="T69" fmla="*/ 12288874 h 129"/>
                <a:gd name="T70" fmla="*/ 957546 w 370"/>
                <a:gd name="T71" fmla="*/ 13891659 h 129"/>
                <a:gd name="T72" fmla="*/ 574615 w 370"/>
                <a:gd name="T73" fmla="*/ 15227226 h 129"/>
                <a:gd name="T74" fmla="*/ 191684 w 370"/>
                <a:gd name="T75" fmla="*/ 16830010 h 129"/>
                <a:gd name="T76" fmla="*/ 0 w 370"/>
                <a:gd name="T77" fmla="*/ 18432795 h 129"/>
                <a:gd name="T78" fmla="*/ 0 w 370"/>
                <a:gd name="T79" fmla="*/ 20036096 h 129"/>
                <a:gd name="T80" fmla="*/ 191684 w 370"/>
                <a:gd name="T81" fmla="*/ 21906097 h 129"/>
                <a:gd name="T82" fmla="*/ 574615 w 370"/>
                <a:gd name="T83" fmla="*/ 23508881 h 129"/>
                <a:gd name="T84" fmla="*/ 1149230 w 370"/>
                <a:gd name="T85" fmla="*/ 25646099 h 129"/>
                <a:gd name="T86" fmla="*/ 2106776 w 370"/>
                <a:gd name="T87" fmla="*/ 27516101 h 129"/>
                <a:gd name="T88" fmla="*/ 3830620 w 370"/>
                <a:gd name="T89" fmla="*/ 26981667 h 129"/>
                <a:gd name="T90" fmla="*/ 6320327 w 370"/>
                <a:gd name="T91" fmla="*/ 26447233 h 129"/>
                <a:gd name="T92" fmla="*/ 9576332 w 370"/>
                <a:gd name="T93" fmla="*/ 25912799 h 129"/>
                <a:gd name="T94" fmla="*/ 13215268 w 370"/>
                <a:gd name="T95" fmla="*/ 25378883 h 129"/>
                <a:gd name="T96" fmla="*/ 19535595 w 370"/>
                <a:gd name="T97" fmla="*/ 24577232 h 129"/>
                <a:gd name="T98" fmla="*/ 22408232 w 370"/>
                <a:gd name="T99" fmla="*/ 24310015 h 129"/>
                <a:gd name="T100" fmla="*/ 26238852 w 370"/>
                <a:gd name="T101" fmla="*/ 24577232 h 129"/>
                <a:gd name="T102" fmla="*/ 29111927 w 370"/>
                <a:gd name="T103" fmla="*/ 25111666 h 129"/>
                <a:gd name="T104" fmla="*/ 31792880 w 370"/>
                <a:gd name="T105" fmla="*/ 25912799 h 129"/>
                <a:gd name="T106" fmla="*/ 33899655 w 370"/>
                <a:gd name="T107" fmla="*/ 26714450 h 129"/>
                <a:gd name="T108" fmla="*/ 36198115 w 370"/>
                <a:gd name="T109" fmla="*/ 27782801 h 129"/>
                <a:gd name="T110" fmla="*/ 38496575 w 370"/>
                <a:gd name="T111" fmla="*/ 28851668 h 129"/>
                <a:gd name="T112" fmla="*/ 41560896 w 370"/>
                <a:gd name="T113" fmla="*/ 29386102 h 129"/>
                <a:gd name="T114" fmla="*/ 45391516 w 370"/>
                <a:gd name="T115" fmla="*/ 29653319 h 129"/>
                <a:gd name="T116" fmla="*/ 45391516 w 370"/>
                <a:gd name="T117" fmla="*/ 31256103 h 129"/>
                <a:gd name="T118" fmla="*/ 47881223 w 370"/>
                <a:gd name="T119" fmla="*/ 3125610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4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018502" y="3273326"/>
              <a:ext cx="36370" cy="64255"/>
            </a:xfrm>
            <a:custGeom>
              <a:avLst/>
              <a:gdLst>
                <a:gd name="T0" fmla="*/ 3838115 w 80"/>
                <a:gd name="T1" fmla="*/ 369651 h 94"/>
                <a:gd name="T2" fmla="*/ 4833083 w 80"/>
                <a:gd name="T3" fmla="*/ 0 h 94"/>
                <a:gd name="T4" fmla="*/ 5828052 w 80"/>
                <a:gd name="T5" fmla="*/ 0 h 94"/>
                <a:gd name="T6" fmla="*/ 6680883 w 80"/>
                <a:gd name="T7" fmla="*/ 739302 h 94"/>
                <a:gd name="T8" fmla="*/ 7675852 w 80"/>
                <a:gd name="T9" fmla="*/ 1478604 h 94"/>
                <a:gd name="T10" fmla="*/ 8529060 w 80"/>
                <a:gd name="T11" fmla="*/ 2217906 h 94"/>
                <a:gd name="T12" fmla="*/ 9381890 w 80"/>
                <a:gd name="T13" fmla="*/ 2957209 h 94"/>
                <a:gd name="T14" fmla="*/ 10376859 w 80"/>
                <a:gd name="T15" fmla="*/ 2957209 h 94"/>
                <a:gd name="T16" fmla="*/ 11371828 w 80"/>
                <a:gd name="T17" fmla="*/ 2587557 h 94"/>
                <a:gd name="T18" fmla="*/ 11371828 w 80"/>
                <a:gd name="T19" fmla="*/ 14046132 h 94"/>
                <a:gd name="T20" fmla="*/ 10661136 w 80"/>
                <a:gd name="T21" fmla="*/ 16264039 h 94"/>
                <a:gd name="T22" fmla="*/ 9808305 w 80"/>
                <a:gd name="T23" fmla="*/ 18851596 h 94"/>
                <a:gd name="T24" fmla="*/ 9097613 w 80"/>
                <a:gd name="T25" fmla="*/ 21808805 h 94"/>
                <a:gd name="T26" fmla="*/ 8244406 w 80"/>
                <a:gd name="T27" fmla="*/ 25135664 h 94"/>
                <a:gd name="T28" fmla="*/ 7249437 w 80"/>
                <a:gd name="T29" fmla="*/ 31049473 h 94"/>
                <a:gd name="T30" fmla="*/ 6680883 w 80"/>
                <a:gd name="T31" fmla="*/ 34745984 h 94"/>
                <a:gd name="T32" fmla="*/ 6112329 w 80"/>
                <a:gd name="T33" fmla="*/ 34376333 h 94"/>
                <a:gd name="T34" fmla="*/ 5685914 w 80"/>
                <a:gd name="T35" fmla="*/ 34006682 h 94"/>
                <a:gd name="T36" fmla="*/ 5259499 w 80"/>
                <a:gd name="T37" fmla="*/ 33637031 h 94"/>
                <a:gd name="T38" fmla="*/ 4833083 w 80"/>
                <a:gd name="T39" fmla="*/ 32897729 h 94"/>
                <a:gd name="T40" fmla="*/ 4122391 w 80"/>
                <a:gd name="T41" fmla="*/ 31049473 h 94"/>
                <a:gd name="T42" fmla="*/ 3269561 w 80"/>
                <a:gd name="T43" fmla="*/ 28831567 h 94"/>
                <a:gd name="T44" fmla="*/ 2700630 w 80"/>
                <a:gd name="T45" fmla="*/ 26613661 h 94"/>
                <a:gd name="T46" fmla="*/ 1847800 w 80"/>
                <a:gd name="T47" fmla="*/ 24026711 h 94"/>
                <a:gd name="T48" fmla="*/ 994969 w 80"/>
                <a:gd name="T49" fmla="*/ 22178456 h 94"/>
                <a:gd name="T50" fmla="*/ 0 w 80"/>
                <a:gd name="T51" fmla="*/ 20699852 h 94"/>
                <a:gd name="T52" fmla="*/ 1137107 w 80"/>
                <a:gd name="T53" fmla="*/ 15155086 h 94"/>
                <a:gd name="T54" fmla="*/ 1847800 w 80"/>
                <a:gd name="T55" fmla="*/ 10719273 h 94"/>
                <a:gd name="T56" fmla="*/ 2700630 w 80"/>
                <a:gd name="T57" fmla="*/ 6284068 h 94"/>
                <a:gd name="T58" fmla="*/ 3838115 w 80"/>
                <a:gd name="T59" fmla="*/ 369651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5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796450" y="5534746"/>
              <a:ext cx="74655" cy="64255"/>
            </a:xfrm>
            <a:custGeom>
              <a:avLst/>
              <a:gdLst>
                <a:gd name="T0" fmla="*/ 631044 w 135"/>
                <a:gd name="T1" fmla="*/ 18704379 h 98"/>
                <a:gd name="T2" fmla="*/ 2313674 w 135"/>
                <a:gd name="T3" fmla="*/ 18364394 h 98"/>
                <a:gd name="T4" fmla="*/ 3785804 w 135"/>
                <a:gd name="T5" fmla="*/ 18024410 h 98"/>
                <a:gd name="T6" fmla="*/ 5047892 w 135"/>
                <a:gd name="T7" fmla="*/ 17003874 h 98"/>
                <a:gd name="T8" fmla="*/ 6520022 w 135"/>
                <a:gd name="T9" fmla="*/ 15983922 h 98"/>
                <a:gd name="T10" fmla="*/ 8833696 w 135"/>
                <a:gd name="T11" fmla="*/ 12922898 h 98"/>
                <a:gd name="T12" fmla="*/ 10936869 w 135"/>
                <a:gd name="T13" fmla="*/ 9522473 h 98"/>
                <a:gd name="T14" fmla="*/ 12829542 w 135"/>
                <a:gd name="T15" fmla="*/ 6121465 h 98"/>
                <a:gd name="T16" fmla="*/ 14932716 w 135"/>
                <a:gd name="T17" fmla="*/ 2720457 h 98"/>
                <a:gd name="T18" fmla="*/ 15984303 w 135"/>
                <a:gd name="T19" fmla="*/ 1700504 h 98"/>
                <a:gd name="T20" fmla="*/ 17246390 w 135"/>
                <a:gd name="T21" fmla="*/ 679968 h 98"/>
                <a:gd name="T22" fmla="*/ 18508019 w 135"/>
                <a:gd name="T23" fmla="*/ 0 h 98"/>
                <a:gd name="T24" fmla="*/ 20190650 w 135"/>
                <a:gd name="T25" fmla="*/ 0 h 98"/>
                <a:gd name="T26" fmla="*/ 21452737 w 135"/>
                <a:gd name="T27" fmla="*/ 0 h 98"/>
                <a:gd name="T28" fmla="*/ 23135368 w 135"/>
                <a:gd name="T29" fmla="*/ 1019953 h 98"/>
                <a:gd name="T30" fmla="*/ 24607498 w 135"/>
                <a:gd name="T31" fmla="*/ 2040488 h 98"/>
                <a:gd name="T32" fmla="*/ 25869585 w 135"/>
                <a:gd name="T33" fmla="*/ 3740992 h 98"/>
                <a:gd name="T34" fmla="*/ 26921172 w 135"/>
                <a:gd name="T35" fmla="*/ 5441496 h 98"/>
                <a:gd name="T36" fmla="*/ 27762258 w 135"/>
                <a:gd name="T37" fmla="*/ 8161953 h 98"/>
                <a:gd name="T38" fmla="*/ 28182801 w 135"/>
                <a:gd name="T39" fmla="*/ 10202441 h 98"/>
                <a:gd name="T40" fmla="*/ 28393302 w 135"/>
                <a:gd name="T41" fmla="*/ 12582914 h 98"/>
                <a:gd name="T42" fmla="*/ 28182801 w 135"/>
                <a:gd name="T43" fmla="*/ 13603449 h 98"/>
                <a:gd name="T44" fmla="*/ 27762258 w 135"/>
                <a:gd name="T45" fmla="*/ 14623402 h 98"/>
                <a:gd name="T46" fmla="*/ 27131214 w 135"/>
                <a:gd name="T47" fmla="*/ 15983922 h 98"/>
                <a:gd name="T48" fmla="*/ 26079627 w 135"/>
                <a:gd name="T49" fmla="*/ 17343859 h 98"/>
                <a:gd name="T50" fmla="*/ 23766412 w 135"/>
                <a:gd name="T51" fmla="*/ 20744867 h 98"/>
                <a:gd name="T52" fmla="*/ 21032194 w 135"/>
                <a:gd name="T53" fmla="*/ 24485859 h 98"/>
                <a:gd name="T54" fmla="*/ 18297977 w 135"/>
                <a:gd name="T55" fmla="*/ 27886284 h 98"/>
                <a:gd name="T56" fmla="*/ 15563760 w 135"/>
                <a:gd name="T57" fmla="*/ 30947308 h 98"/>
                <a:gd name="T58" fmla="*/ 13250085 w 135"/>
                <a:gd name="T59" fmla="*/ 32647812 h 98"/>
                <a:gd name="T60" fmla="*/ 11567455 w 135"/>
                <a:gd name="T61" fmla="*/ 33327781 h 98"/>
                <a:gd name="T62" fmla="*/ 10726369 w 135"/>
                <a:gd name="T63" fmla="*/ 32987796 h 98"/>
                <a:gd name="T64" fmla="*/ 9043738 w 135"/>
                <a:gd name="T65" fmla="*/ 31287292 h 98"/>
                <a:gd name="T66" fmla="*/ 6730064 w 135"/>
                <a:gd name="T67" fmla="*/ 28906820 h 98"/>
                <a:gd name="T68" fmla="*/ 4416848 w 135"/>
                <a:gd name="T69" fmla="*/ 26186363 h 98"/>
                <a:gd name="T70" fmla="*/ 2313674 w 135"/>
                <a:gd name="T71" fmla="*/ 23125339 h 98"/>
                <a:gd name="T72" fmla="*/ 1051587 w 135"/>
                <a:gd name="T73" fmla="*/ 21084851 h 98"/>
                <a:gd name="T74" fmla="*/ 210501 w 135"/>
                <a:gd name="T75" fmla="*/ 20064898 h 98"/>
                <a:gd name="T76" fmla="*/ 0 w 135"/>
                <a:gd name="T77" fmla="*/ 19384347 h 98"/>
                <a:gd name="T78" fmla="*/ 0 w 135"/>
                <a:gd name="T79" fmla="*/ 19044363 h 98"/>
                <a:gd name="T80" fmla="*/ 631044 w 135"/>
                <a:gd name="T81" fmla="*/ 18704379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6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520800" y="2516545"/>
              <a:ext cx="158881" cy="94598"/>
            </a:xfrm>
            <a:custGeom>
              <a:avLst/>
              <a:gdLst>
                <a:gd name="T0" fmla="*/ 34242917 w 312"/>
                <a:gd name="T1" fmla="*/ 45672278 h 155"/>
                <a:gd name="T2" fmla="*/ 34599772 w 312"/>
                <a:gd name="T3" fmla="*/ 44493803 h 155"/>
                <a:gd name="T4" fmla="*/ 35134844 w 312"/>
                <a:gd name="T5" fmla="*/ 43609540 h 155"/>
                <a:gd name="T6" fmla="*/ 35669916 w 312"/>
                <a:gd name="T7" fmla="*/ 42725819 h 155"/>
                <a:gd name="T8" fmla="*/ 36204988 w 312"/>
                <a:gd name="T9" fmla="*/ 41841556 h 155"/>
                <a:gd name="T10" fmla="*/ 37631565 w 312"/>
                <a:gd name="T11" fmla="*/ 40368327 h 155"/>
                <a:gd name="T12" fmla="*/ 39236781 w 312"/>
                <a:gd name="T13" fmla="*/ 38895098 h 155"/>
                <a:gd name="T14" fmla="*/ 42447213 w 312"/>
                <a:gd name="T15" fmla="*/ 36243393 h 155"/>
                <a:gd name="T16" fmla="*/ 45122150 w 312"/>
                <a:gd name="T17" fmla="*/ 34475410 h 155"/>
                <a:gd name="T18" fmla="*/ 45479006 w 312"/>
                <a:gd name="T19" fmla="*/ 32117917 h 155"/>
                <a:gd name="T20" fmla="*/ 46370933 w 312"/>
                <a:gd name="T21" fmla="*/ 28581950 h 155"/>
                <a:gd name="T22" fmla="*/ 47084222 w 312"/>
                <a:gd name="T23" fmla="*/ 26813966 h 155"/>
                <a:gd name="T24" fmla="*/ 47619294 w 312"/>
                <a:gd name="T25" fmla="*/ 25340737 h 155"/>
                <a:gd name="T26" fmla="*/ 47975727 w 312"/>
                <a:gd name="T27" fmla="*/ 24162262 h 155"/>
                <a:gd name="T28" fmla="*/ 48510799 w 312"/>
                <a:gd name="T29" fmla="*/ 23867508 h 155"/>
                <a:gd name="T30" fmla="*/ 55644951 w 312"/>
                <a:gd name="T31" fmla="*/ 12964852 h 155"/>
                <a:gd name="T32" fmla="*/ 55644951 w 312"/>
                <a:gd name="T33" fmla="*/ 11491622 h 155"/>
                <a:gd name="T34" fmla="*/ 55288095 w 312"/>
                <a:gd name="T35" fmla="*/ 10313147 h 155"/>
                <a:gd name="T36" fmla="*/ 54574807 w 312"/>
                <a:gd name="T37" fmla="*/ 9428884 h 155"/>
                <a:gd name="T38" fmla="*/ 53861518 w 312"/>
                <a:gd name="T39" fmla="*/ 8839918 h 155"/>
                <a:gd name="T40" fmla="*/ 51899447 w 312"/>
                <a:gd name="T41" fmla="*/ 8250409 h 155"/>
                <a:gd name="T42" fmla="*/ 49937798 w 312"/>
                <a:gd name="T43" fmla="*/ 7955655 h 155"/>
                <a:gd name="T44" fmla="*/ 47797510 w 312"/>
                <a:gd name="T45" fmla="*/ 7955655 h 155"/>
                <a:gd name="T46" fmla="*/ 46192294 w 312"/>
                <a:gd name="T47" fmla="*/ 7955655 h 155"/>
                <a:gd name="T48" fmla="*/ 45657222 w 312"/>
                <a:gd name="T49" fmla="*/ 7660901 h 155"/>
                <a:gd name="T50" fmla="*/ 45122150 w 312"/>
                <a:gd name="T51" fmla="*/ 7366689 h 155"/>
                <a:gd name="T52" fmla="*/ 44943934 w 312"/>
                <a:gd name="T53" fmla="*/ 6777180 h 155"/>
                <a:gd name="T54" fmla="*/ 45122150 w 312"/>
                <a:gd name="T55" fmla="*/ 5893460 h 155"/>
                <a:gd name="T56" fmla="*/ 41377069 w 312"/>
                <a:gd name="T57" fmla="*/ 5598705 h 155"/>
                <a:gd name="T58" fmla="*/ 38523492 w 312"/>
                <a:gd name="T59" fmla="*/ 5009197 h 155"/>
                <a:gd name="T60" fmla="*/ 36026349 w 312"/>
                <a:gd name="T61" fmla="*/ 3830722 h 155"/>
                <a:gd name="T62" fmla="*/ 33707845 w 312"/>
                <a:gd name="T63" fmla="*/ 2651704 h 155"/>
                <a:gd name="T64" fmla="*/ 31567979 w 312"/>
                <a:gd name="T65" fmla="*/ 1767984 h 155"/>
                <a:gd name="T66" fmla="*/ 29070836 w 312"/>
                <a:gd name="T67" fmla="*/ 883720 h 155"/>
                <a:gd name="T68" fmla="*/ 26039043 w 312"/>
                <a:gd name="T69" fmla="*/ 294754 h 155"/>
                <a:gd name="T70" fmla="*/ 22472178 w 312"/>
                <a:gd name="T71" fmla="*/ 0 h 155"/>
                <a:gd name="T72" fmla="*/ 19618602 w 312"/>
                <a:gd name="T73" fmla="*/ 294754 h 155"/>
                <a:gd name="T74" fmla="*/ 13197738 w 312"/>
                <a:gd name="T75" fmla="*/ 1178475 h 155"/>
                <a:gd name="T76" fmla="*/ 9452657 w 312"/>
                <a:gd name="T77" fmla="*/ 1767984 h 155"/>
                <a:gd name="T78" fmla="*/ 6064008 w 312"/>
                <a:gd name="T79" fmla="*/ 2357492 h 155"/>
                <a:gd name="T80" fmla="*/ 3210432 w 312"/>
                <a:gd name="T81" fmla="*/ 2946458 h 155"/>
                <a:gd name="T82" fmla="*/ 1248360 w 312"/>
                <a:gd name="T83" fmla="*/ 3535967 h 155"/>
                <a:gd name="T84" fmla="*/ 1605216 w 312"/>
                <a:gd name="T85" fmla="*/ 5009197 h 155"/>
                <a:gd name="T86" fmla="*/ 1961649 w 312"/>
                <a:gd name="T87" fmla="*/ 5598705 h 155"/>
                <a:gd name="T88" fmla="*/ 2318504 w 312"/>
                <a:gd name="T89" fmla="*/ 5598705 h 155"/>
                <a:gd name="T90" fmla="*/ 2675360 w 312"/>
                <a:gd name="T91" fmla="*/ 5893460 h 155"/>
                <a:gd name="T92" fmla="*/ 3210432 w 312"/>
                <a:gd name="T93" fmla="*/ 5893460 h 155"/>
                <a:gd name="T94" fmla="*/ 3388648 w 312"/>
                <a:gd name="T95" fmla="*/ 5893460 h 155"/>
                <a:gd name="T96" fmla="*/ 3566865 w 312"/>
                <a:gd name="T97" fmla="*/ 6482426 h 155"/>
                <a:gd name="T98" fmla="*/ 3566865 w 312"/>
                <a:gd name="T99" fmla="*/ 7660901 h 155"/>
                <a:gd name="T100" fmla="*/ 3566865 w 312"/>
                <a:gd name="T101" fmla="*/ 8839918 h 155"/>
                <a:gd name="T102" fmla="*/ 3388648 w 312"/>
                <a:gd name="T103" fmla="*/ 10313147 h 155"/>
                <a:gd name="T104" fmla="*/ 3210432 w 312"/>
                <a:gd name="T105" fmla="*/ 11491622 h 155"/>
                <a:gd name="T106" fmla="*/ 2675360 w 312"/>
                <a:gd name="T107" fmla="*/ 12375886 h 155"/>
                <a:gd name="T108" fmla="*/ 2140288 w 312"/>
                <a:gd name="T109" fmla="*/ 13259606 h 155"/>
                <a:gd name="T110" fmla="*/ 1605216 w 312"/>
                <a:gd name="T111" fmla="*/ 14143869 h 155"/>
                <a:gd name="T112" fmla="*/ 713289 w 312"/>
                <a:gd name="T113" fmla="*/ 14438081 h 155"/>
                <a:gd name="T114" fmla="*/ 0 w 312"/>
                <a:gd name="T115" fmla="*/ 14732835 h 155"/>
                <a:gd name="T116" fmla="*/ 13197738 w 312"/>
                <a:gd name="T117" fmla="*/ 20036786 h 155"/>
                <a:gd name="T118" fmla="*/ 15516242 w 312"/>
                <a:gd name="T119" fmla="*/ 32707426 h 155"/>
                <a:gd name="T120" fmla="*/ 29605908 w 312"/>
                <a:gd name="T121" fmla="*/ 36243393 h 155"/>
                <a:gd name="T122" fmla="*/ 34242917 w 312"/>
                <a:gd name="T123" fmla="*/ 4567227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7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66664" y="2725374"/>
              <a:ext cx="22971" cy="67825"/>
            </a:xfrm>
            <a:custGeom>
              <a:avLst/>
              <a:gdLst>
                <a:gd name="T0" fmla="*/ 0 w 46"/>
                <a:gd name="T1" fmla="*/ 36391660 h 50"/>
                <a:gd name="T2" fmla="*/ 342900 w 46"/>
                <a:gd name="T3" fmla="*/ 26201561 h 50"/>
                <a:gd name="T4" fmla="*/ 171450 w 46"/>
                <a:gd name="T5" fmla="*/ 20378992 h 50"/>
                <a:gd name="T6" fmla="*/ 342900 w 46"/>
                <a:gd name="T7" fmla="*/ 18923953 h 50"/>
                <a:gd name="T8" fmla="*/ 514350 w 46"/>
                <a:gd name="T9" fmla="*/ 18923953 h 50"/>
                <a:gd name="T10" fmla="*/ 1029114 w 46"/>
                <a:gd name="T11" fmla="*/ 17467707 h 50"/>
                <a:gd name="T12" fmla="*/ 2229678 w 46"/>
                <a:gd name="T13" fmla="*/ 17467707 h 50"/>
                <a:gd name="T14" fmla="*/ 7889185 w 46"/>
                <a:gd name="T15" fmla="*/ 0 h 50"/>
                <a:gd name="T16" fmla="*/ 7889185 w 46"/>
                <a:gd name="T17" fmla="*/ 72782113 h 50"/>
                <a:gd name="T18" fmla="*/ 6860071 w 46"/>
                <a:gd name="T19" fmla="*/ 71327074 h 50"/>
                <a:gd name="T20" fmla="*/ 5659507 w 46"/>
                <a:gd name="T21" fmla="*/ 65504505 h 50"/>
                <a:gd name="T22" fmla="*/ 4287492 w 46"/>
                <a:gd name="T23" fmla="*/ 59681936 h 50"/>
                <a:gd name="T24" fmla="*/ 2915478 w 46"/>
                <a:gd name="T25" fmla="*/ 53859367 h 50"/>
                <a:gd name="T26" fmla="*/ 857664 w 46"/>
                <a:gd name="T27" fmla="*/ 40757983 h 50"/>
                <a:gd name="T28" fmla="*/ 0 w 46"/>
                <a:gd name="T29" fmla="*/ 36391660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8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007017" y="4844004"/>
              <a:ext cx="84227" cy="271299"/>
            </a:xfrm>
            <a:custGeom>
              <a:avLst/>
              <a:gdLst>
                <a:gd name="T0" fmla="*/ 1770655 w 166"/>
                <a:gd name="T1" fmla="*/ 78964896 h 456"/>
                <a:gd name="T2" fmla="*/ 3364161 w 166"/>
                <a:gd name="T3" fmla="*/ 81204858 h 456"/>
                <a:gd name="T4" fmla="*/ 6551173 w 166"/>
                <a:gd name="T5" fmla="*/ 84005208 h 456"/>
                <a:gd name="T6" fmla="*/ 10269212 w 166"/>
                <a:gd name="T7" fmla="*/ 85685313 h 456"/>
                <a:gd name="T8" fmla="*/ 12394167 w 166"/>
                <a:gd name="T9" fmla="*/ 87365417 h 456"/>
                <a:gd name="T10" fmla="*/ 14164823 w 166"/>
                <a:gd name="T11" fmla="*/ 89605379 h 456"/>
                <a:gd name="T12" fmla="*/ 15226879 w 166"/>
                <a:gd name="T13" fmla="*/ 92685658 h 456"/>
                <a:gd name="T14" fmla="*/ 15226879 w 166"/>
                <a:gd name="T15" fmla="*/ 97166113 h 456"/>
                <a:gd name="T16" fmla="*/ 13810523 w 166"/>
                <a:gd name="T17" fmla="*/ 101646567 h 456"/>
                <a:gd name="T18" fmla="*/ 12039868 w 166"/>
                <a:gd name="T19" fmla="*/ 105006775 h 456"/>
                <a:gd name="T20" fmla="*/ 10977811 w 166"/>
                <a:gd name="T21" fmla="*/ 108646912 h 456"/>
                <a:gd name="T22" fmla="*/ 10623512 w 166"/>
                <a:gd name="T23" fmla="*/ 112007121 h 456"/>
                <a:gd name="T24" fmla="*/ 11331690 w 166"/>
                <a:gd name="T25" fmla="*/ 115086871 h 456"/>
                <a:gd name="T26" fmla="*/ 13456645 w 166"/>
                <a:gd name="T27" fmla="*/ 118727537 h 456"/>
                <a:gd name="T28" fmla="*/ 18413891 w 166"/>
                <a:gd name="T29" fmla="*/ 124607637 h 456"/>
                <a:gd name="T30" fmla="*/ 21247023 w 166"/>
                <a:gd name="T31" fmla="*/ 124047779 h 456"/>
                <a:gd name="T32" fmla="*/ 21247023 w 166"/>
                <a:gd name="T33" fmla="*/ 118447079 h 456"/>
                <a:gd name="T34" fmla="*/ 23194829 w 166"/>
                <a:gd name="T35" fmla="*/ 115647258 h 456"/>
                <a:gd name="T36" fmla="*/ 25673662 w 166"/>
                <a:gd name="T37" fmla="*/ 113967154 h 456"/>
                <a:gd name="T38" fmla="*/ 27090018 w 166"/>
                <a:gd name="T39" fmla="*/ 112566979 h 456"/>
                <a:gd name="T40" fmla="*/ 28329224 w 166"/>
                <a:gd name="T41" fmla="*/ 110046558 h 456"/>
                <a:gd name="T42" fmla="*/ 29391702 w 166"/>
                <a:gd name="T43" fmla="*/ 105006775 h 456"/>
                <a:gd name="T44" fmla="*/ 29214552 w 166"/>
                <a:gd name="T45" fmla="*/ 98005900 h 456"/>
                <a:gd name="T46" fmla="*/ 27975346 w 166"/>
                <a:gd name="T47" fmla="*/ 91845871 h 456"/>
                <a:gd name="T48" fmla="*/ 26204690 w 166"/>
                <a:gd name="T49" fmla="*/ 85965242 h 456"/>
                <a:gd name="T50" fmla="*/ 24965063 w 166"/>
                <a:gd name="T51" fmla="*/ 79524754 h 456"/>
                <a:gd name="T52" fmla="*/ 23903007 w 166"/>
                <a:gd name="T53" fmla="*/ 75324758 h 456"/>
                <a:gd name="T54" fmla="*/ 20892724 w 166"/>
                <a:gd name="T55" fmla="*/ 70284446 h 456"/>
                <a:gd name="T56" fmla="*/ 17174684 w 166"/>
                <a:gd name="T57" fmla="*/ 62723712 h 456"/>
                <a:gd name="T58" fmla="*/ 15050150 w 166"/>
                <a:gd name="T59" fmla="*/ 57683400 h 456"/>
                <a:gd name="T60" fmla="*/ 14164823 w 166"/>
                <a:gd name="T61" fmla="*/ 54603121 h 456"/>
                <a:gd name="T62" fmla="*/ 14341552 w 166"/>
                <a:gd name="T63" fmla="*/ 49563338 h 456"/>
                <a:gd name="T64" fmla="*/ 15581179 w 166"/>
                <a:gd name="T65" fmla="*/ 41162817 h 456"/>
                <a:gd name="T66" fmla="*/ 16997535 w 166"/>
                <a:gd name="T67" fmla="*/ 36122504 h 456"/>
                <a:gd name="T68" fmla="*/ 17351834 w 166"/>
                <a:gd name="T69" fmla="*/ 31642050 h 456"/>
                <a:gd name="T70" fmla="*/ 16820385 w 166"/>
                <a:gd name="T71" fmla="*/ 22961600 h 456"/>
                <a:gd name="T72" fmla="*/ 16289357 w 166"/>
                <a:gd name="T73" fmla="*/ 12601046 h 456"/>
                <a:gd name="T74" fmla="*/ 15758328 w 166"/>
                <a:gd name="T75" fmla="*/ 5040313 h 456"/>
                <a:gd name="T76" fmla="*/ 12571317 w 166"/>
                <a:gd name="T77" fmla="*/ 2239963 h 456"/>
                <a:gd name="T78" fmla="*/ 5842995 w 166"/>
                <a:gd name="T79" fmla="*/ 1120246 h 456"/>
                <a:gd name="T80" fmla="*/ 2124534 w 166"/>
                <a:gd name="T81" fmla="*/ 2800350 h 456"/>
                <a:gd name="T82" fmla="*/ 3895189 w 166"/>
                <a:gd name="T83" fmla="*/ 7000346 h 456"/>
                <a:gd name="T84" fmla="*/ 5842995 w 166"/>
                <a:gd name="T85" fmla="*/ 8400521 h 456"/>
                <a:gd name="T86" fmla="*/ 7082201 w 166"/>
                <a:gd name="T87" fmla="*/ 12320588 h 456"/>
                <a:gd name="T88" fmla="*/ 7082201 w 166"/>
                <a:gd name="T89" fmla="*/ 17921288 h 456"/>
                <a:gd name="T90" fmla="*/ 7082201 w 166"/>
                <a:gd name="T91" fmla="*/ 21841354 h 456"/>
                <a:gd name="T92" fmla="*/ 6374023 w 166"/>
                <a:gd name="T93" fmla="*/ 23801388 h 456"/>
                <a:gd name="T94" fmla="*/ 5134817 w 166"/>
                <a:gd name="T95" fmla="*/ 26601737 h 456"/>
                <a:gd name="T96" fmla="*/ 2655983 w 166"/>
                <a:gd name="T97" fmla="*/ 30521804 h 456"/>
                <a:gd name="T98" fmla="*/ 531028 w 166"/>
                <a:gd name="T99" fmla="*/ 34161942 h 456"/>
                <a:gd name="T100" fmla="*/ 1239206 w 166"/>
                <a:gd name="T101" fmla="*/ 77564721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19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94460" y="3237629"/>
              <a:ext cx="17228" cy="64255"/>
            </a:xfrm>
            <a:custGeom>
              <a:avLst/>
              <a:gdLst>
                <a:gd name="T0" fmla="*/ 7559940 w 27"/>
                <a:gd name="T1" fmla="*/ 0 h 19"/>
                <a:gd name="T2" fmla="*/ 7559940 w 27"/>
                <a:gd name="T3" fmla="*/ 108569961 h 19"/>
                <a:gd name="T4" fmla="*/ 7559940 w 27"/>
                <a:gd name="T5" fmla="*/ 171901184 h 19"/>
                <a:gd name="T6" fmla="*/ 2519803 w 27"/>
                <a:gd name="T7" fmla="*/ 171901184 h 19"/>
                <a:gd name="T8" fmla="*/ 0 w 27"/>
                <a:gd name="T9" fmla="*/ 171901184 h 19"/>
                <a:gd name="T10" fmla="*/ 2519803 w 27"/>
                <a:gd name="T11" fmla="*/ 108569961 h 19"/>
                <a:gd name="T12" fmla="*/ 7559940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0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779222" y="5059973"/>
              <a:ext cx="227795" cy="244525"/>
            </a:xfrm>
            <a:custGeom>
              <a:avLst/>
              <a:gdLst>
                <a:gd name="T0" fmla="*/ 52831806 w 438"/>
                <a:gd name="T1" fmla="*/ 2295399 h 406"/>
                <a:gd name="T2" fmla="*/ 59528729 w 438"/>
                <a:gd name="T3" fmla="*/ 7747573 h 406"/>
                <a:gd name="T4" fmla="*/ 67527771 w 438"/>
                <a:gd name="T5" fmla="*/ 13486872 h 406"/>
                <a:gd name="T6" fmla="*/ 73480687 w 438"/>
                <a:gd name="T7" fmla="*/ 16643648 h 406"/>
                <a:gd name="T8" fmla="*/ 77387046 w 438"/>
                <a:gd name="T9" fmla="*/ 17504489 h 406"/>
                <a:gd name="T10" fmla="*/ 79061384 w 438"/>
                <a:gd name="T11" fmla="*/ 23243254 h 406"/>
                <a:gd name="T12" fmla="*/ 79805391 w 438"/>
                <a:gd name="T13" fmla="*/ 34434727 h 406"/>
                <a:gd name="T14" fmla="*/ 80735723 w 438"/>
                <a:gd name="T15" fmla="*/ 45051950 h 406"/>
                <a:gd name="T16" fmla="*/ 81479730 w 438"/>
                <a:gd name="T17" fmla="*/ 55956298 h 406"/>
                <a:gd name="T18" fmla="*/ 81479730 w 438"/>
                <a:gd name="T19" fmla="*/ 63990996 h 406"/>
                <a:gd name="T20" fmla="*/ 80921617 w 438"/>
                <a:gd name="T21" fmla="*/ 68008613 h 406"/>
                <a:gd name="T22" fmla="*/ 79061384 w 438"/>
                <a:gd name="T23" fmla="*/ 74321629 h 406"/>
                <a:gd name="T24" fmla="*/ 75712707 w 438"/>
                <a:gd name="T25" fmla="*/ 82356327 h 406"/>
                <a:gd name="T26" fmla="*/ 72736681 w 438"/>
                <a:gd name="T27" fmla="*/ 88095091 h 406"/>
                <a:gd name="T28" fmla="*/ 70876017 w 438"/>
                <a:gd name="T29" fmla="*/ 91825583 h 406"/>
                <a:gd name="T30" fmla="*/ 69573898 w 438"/>
                <a:gd name="T31" fmla="*/ 95269484 h 406"/>
                <a:gd name="T32" fmla="*/ 69202110 w 438"/>
                <a:gd name="T33" fmla="*/ 101008248 h 406"/>
                <a:gd name="T34" fmla="*/ 66783765 w 438"/>
                <a:gd name="T35" fmla="*/ 106747548 h 406"/>
                <a:gd name="T36" fmla="*/ 59714623 w 438"/>
                <a:gd name="T37" fmla="*/ 115069372 h 406"/>
                <a:gd name="T38" fmla="*/ 38135410 w 438"/>
                <a:gd name="T39" fmla="*/ 111338881 h 406"/>
                <a:gd name="T40" fmla="*/ 33856833 w 438"/>
                <a:gd name="T41" fmla="*/ 108756356 h 406"/>
                <a:gd name="T42" fmla="*/ 30694481 w 438"/>
                <a:gd name="T43" fmla="*/ 106173296 h 406"/>
                <a:gd name="T44" fmla="*/ 27903917 w 438"/>
                <a:gd name="T45" fmla="*/ 103017057 h 406"/>
                <a:gd name="T46" fmla="*/ 25857790 w 438"/>
                <a:gd name="T47" fmla="*/ 99286565 h 406"/>
                <a:gd name="T48" fmla="*/ 23067226 w 438"/>
                <a:gd name="T49" fmla="*/ 92399834 h 406"/>
                <a:gd name="T50" fmla="*/ 20090768 w 438"/>
                <a:gd name="T51" fmla="*/ 84938851 h 406"/>
                <a:gd name="T52" fmla="*/ 17486529 w 438"/>
                <a:gd name="T53" fmla="*/ 80060393 h 406"/>
                <a:gd name="T54" fmla="*/ 13393845 w 438"/>
                <a:gd name="T55" fmla="*/ 74321629 h 406"/>
                <a:gd name="T56" fmla="*/ 8185367 w 438"/>
                <a:gd name="T57" fmla="*/ 67147772 h 406"/>
                <a:gd name="T58" fmla="*/ 4464471 w 438"/>
                <a:gd name="T59" fmla="*/ 61121347 h 406"/>
                <a:gd name="T60" fmla="*/ 2418345 w 438"/>
                <a:gd name="T61" fmla="*/ 55956298 h 406"/>
                <a:gd name="T62" fmla="*/ 744007 w 438"/>
                <a:gd name="T63" fmla="*/ 50504124 h 406"/>
                <a:gd name="T64" fmla="*/ 0 w 438"/>
                <a:gd name="T65" fmla="*/ 44191109 h 406"/>
                <a:gd name="T66" fmla="*/ 3348677 w 438"/>
                <a:gd name="T67" fmla="*/ 40460617 h 406"/>
                <a:gd name="T68" fmla="*/ 7440929 w 438"/>
                <a:gd name="T69" fmla="*/ 40460617 h 406"/>
                <a:gd name="T70" fmla="*/ 9859275 w 438"/>
                <a:gd name="T71" fmla="*/ 40460617 h 406"/>
                <a:gd name="T72" fmla="*/ 11719507 w 438"/>
                <a:gd name="T73" fmla="*/ 39599776 h 406"/>
                <a:gd name="T74" fmla="*/ 14324177 w 438"/>
                <a:gd name="T75" fmla="*/ 37590967 h 406"/>
                <a:gd name="T76" fmla="*/ 18416861 w 438"/>
                <a:gd name="T77" fmla="*/ 30991362 h 406"/>
                <a:gd name="T78" fmla="*/ 21765107 w 438"/>
                <a:gd name="T79" fmla="*/ 24964936 h 406"/>
                <a:gd name="T80" fmla="*/ 24183452 w 438"/>
                <a:gd name="T81" fmla="*/ 22956664 h 406"/>
                <a:gd name="T82" fmla="*/ 27903917 w 438"/>
                <a:gd name="T83" fmla="*/ 20373604 h 406"/>
                <a:gd name="T84" fmla="*/ 33298720 w 438"/>
                <a:gd name="T85" fmla="*/ 17217364 h 406"/>
                <a:gd name="T86" fmla="*/ 37763622 w 438"/>
                <a:gd name="T87" fmla="*/ 14347714 h 406"/>
                <a:gd name="T88" fmla="*/ 39251636 w 438"/>
                <a:gd name="T89" fmla="*/ 12338905 h 406"/>
                <a:gd name="T90" fmla="*/ 39065742 w 438"/>
                <a:gd name="T91" fmla="*/ 10904348 h 406"/>
                <a:gd name="T92" fmla="*/ 39251636 w 438"/>
                <a:gd name="T93" fmla="*/ 8608414 h 406"/>
                <a:gd name="T94" fmla="*/ 39623855 w 438"/>
                <a:gd name="T95" fmla="*/ 4878458 h 406"/>
                <a:gd name="T96" fmla="*/ 40367861 w 438"/>
                <a:gd name="T97" fmla="*/ 3443366 h 406"/>
                <a:gd name="T98" fmla="*/ 41855875 w 438"/>
                <a:gd name="T99" fmla="*/ 3443366 h 406"/>
                <a:gd name="T100" fmla="*/ 43158426 w 438"/>
                <a:gd name="T101" fmla="*/ 2582524 h 406"/>
                <a:gd name="T102" fmla="*/ 43902432 w 438"/>
                <a:gd name="T103" fmla="*/ 1147967 h 406"/>
                <a:gd name="T104" fmla="*/ 45390446 w 438"/>
                <a:gd name="T105" fmla="*/ 573716 h 406"/>
                <a:gd name="T106" fmla="*/ 46692565 w 438"/>
                <a:gd name="T107" fmla="*/ 860841 h 406"/>
                <a:gd name="T108" fmla="*/ 49110910 w 438"/>
                <a:gd name="T109" fmla="*/ 28712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B050"/>
                </a:solidFill>
              </a:endParaRPr>
            </a:p>
          </p:txBody>
        </p:sp>
        <p:sp>
          <p:nvSpPr>
            <p:cNvPr id="321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673939" y="4808307"/>
              <a:ext cx="354134" cy="337339"/>
            </a:xfrm>
            <a:custGeom>
              <a:avLst/>
              <a:gdLst>
                <a:gd name="T0" fmla="*/ 96256131 w 678"/>
                <a:gd name="T1" fmla="*/ 2185991 h 574"/>
                <a:gd name="T2" fmla="*/ 103573615 w 678"/>
                <a:gd name="T3" fmla="*/ 7104210 h 574"/>
                <a:gd name="T4" fmla="*/ 121023735 w 678"/>
                <a:gd name="T5" fmla="*/ 17213504 h 574"/>
                <a:gd name="T6" fmla="*/ 123838018 w 678"/>
                <a:gd name="T7" fmla="*/ 24044334 h 574"/>
                <a:gd name="T8" fmla="*/ 127215419 w 678"/>
                <a:gd name="T9" fmla="*/ 25683566 h 574"/>
                <a:gd name="T10" fmla="*/ 127215419 w 678"/>
                <a:gd name="T11" fmla="*/ 34700388 h 574"/>
                <a:gd name="T12" fmla="*/ 127027858 w 678"/>
                <a:gd name="T13" fmla="*/ 39345227 h 574"/>
                <a:gd name="T14" fmla="*/ 125151380 w 678"/>
                <a:gd name="T15" fmla="*/ 43170450 h 574"/>
                <a:gd name="T16" fmla="*/ 121398857 w 678"/>
                <a:gd name="T17" fmla="*/ 48634905 h 574"/>
                <a:gd name="T18" fmla="*/ 119709940 w 678"/>
                <a:gd name="T19" fmla="*/ 94537583 h 574"/>
                <a:gd name="T20" fmla="*/ 86499052 w 678"/>
                <a:gd name="T21" fmla="*/ 106013252 h 574"/>
                <a:gd name="T22" fmla="*/ 86499052 w 678"/>
                <a:gd name="T23" fmla="*/ 113390319 h 574"/>
                <a:gd name="T24" fmla="*/ 85373252 w 678"/>
                <a:gd name="T25" fmla="*/ 118855297 h 574"/>
                <a:gd name="T26" fmla="*/ 83309212 w 678"/>
                <a:gd name="T27" fmla="*/ 118855297 h 574"/>
                <a:gd name="T28" fmla="*/ 81432734 w 678"/>
                <a:gd name="T29" fmla="*/ 120221149 h 574"/>
                <a:gd name="T30" fmla="*/ 79744251 w 678"/>
                <a:gd name="T31" fmla="*/ 121587525 h 574"/>
                <a:gd name="T32" fmla="*/ 77680212 w 678"/>
                <a:gd name="T33" fmla="*/ 122133761 h 574"/>
                <a:gd name="T34" fmla="*/ 77117528 w 678"/>
                <a:gd name="T35" fmla="*/ 126505743 h 574"/>
                <a:gd name="T36" fmla="*/ 76929534 w 678"/>
                <a:gd name="T37" fmla="*/ 129511350 h 574"/>
                <a:gd name="T38" fmla="*/ 75616172 w 678"/>
                <a:gd name="T39" fmla="*/ 131970198 h 574"/>
                <a:gd name="T40" fmla="*/ 68486249 w 678"/>
                <a:gd name="T41" fmla="*/ 136068801 h 574"/>
                <a:gd name="T42" fmla="*/ 61919009 w 678"/>
                <a:gd name="T43" fmla="*/ 140166881 h 574"/>
                <a:gd name="T44" fmla="*/ 58729170 w 678"/>
                <a:gd name="T45" fmla="*/ 143445868 h 574"/>
                <a:gd name="T46" fmla="*/ 51974369 w 678"/>
                <a:gd name="T47" fmla="*/ 154101921 h 574"/>
                <a:gd name="T48" fmla="*/ 48409407 w 678"/>
                <a:gd name="T49" fmla="*/ 156560769 h 574"/>
                <a:gd name="T50" fmla="*/ 44656884 w 678"/>
                <a:gd name="T51" fmla="*/ 156834149 h 574"/>
                <a:gd name="T52" fmla="*/ 36213167 w 678"/>
                <a:gd name="T53" fmla="*/ 156834149 h 574"/>
                <a:gd name="T54" fmla="*/ 34899805 w 678"/>
                <a:gd name="T55" fmla="*/ 152735546 h 574"/>
                <a:gd name="T56" fmla="*/ 30959721 w 678"/>
                <a:gd name="T57" fmla="*/ 149457082 h 574"/>
                <a:gd name="T58" fmla="*/ 24955165 w 678"/>
                <a:gd name="T59" fmla="*/ 148910323 h 574"/>
                <a:gd name="T60" fmla="*/ 17450119 w 678"/>
                <a:gd name="T61" fmla="*/ 151915930 h 574"/>
                <a:gd name="T62" fmla="*/ 6192118 w 678"/>
                <a:gd name="T63" fmla="*/ 143992104 h 574"/>
                <a:gd name="T64" fmla="*/ 0 w 678"/>
                <a:gd name="T65" fmla="*/ 77870838 h 574"/>
                <a:gd name="T66" fmla="*/ 13697163 w 678"/>
                <a:gd name="T67" fmla="*/ 78143695 h 574"/>
                <a:gd name="T68" fmla="*/ 19326164 w 678"/>
                <a:gd name="T69" fmla="*/ 77050699 h 574"/>
                <a:gd name="T70" fmla="*/ 22328442 w 678"/>
                <a:gd name="T71" fmla="*/ 75138088 h 574"/>
                <a:gd name="T72" fmla="*/ 24204920 w 678"/>
                <a:gd name="T73" fmla="*/ 69947012 h 574"/>
                <a:gd name="T74" fmla="*/ 24580043 w 678"/>
                <a:gd name="T75" fmla="*/ 62569945 h 574"/>
                <a:gd name="T76" fmla="*/ 23641804 w 678"/>
                <a:gd name="T77" fmla="*/ 50547517 h 574"/>
                <a:gd name="T78" fmla="*/ 24392481 w 678"/>
                <a:gd name="T79" fmla="*/ 45083062 h 574"/>
                <a:gd name="T80" fmla="*/ 26268526 w 678"/>
                <a:gd name="T81" fmla="*/ 46722294 h 574"/>
                <a:gd name="T82" fmla="*/ 32648205 w 678"/>
                <a:gd name="T83" fmla="*/ 47815289 h 574"/>
                <a:gd name="T84" fmla="*/ 35274928 w 678"/>
                <a:gd name="T85" fmla="*/ 50820896 h 574"/>
                <a:gd name="T86" fmla="*/ 36588722 w 678"/>
                <a:gd name="T87" fmla="*/ 54919499 h 574"/>
                <a:gd name="T88" fmla="*/ 39027884 w 678"/>
                <a:gd name="T89" fmla="*/ 57378347 h 574"/>
                <a:gd name="T90" fmla="*/ 45219568 w 678"/>
                <a:gd name="T91" fmla="*/ 59290959 h 574"/>
                <a:gd name="T92" fmla="*/ 50473446 w 678"/>
                <a:gd name="T93" fmla="*/ 58471343 h 574"/>
                <a:gd name="T94" fmla="*/ 56477570 w 678"/>
                <a:gd name="T95" fmla="*/ 54372740 h 574"/>
                <a:gd name="T96" fmla="*/ 59854970 w 678"/>
                <a:gd name="T97" fmla="*/ 53553124 h 574"/>
                <a:gd name="T98" fmla="*/ 62106570 w 678"/>
                <a:gd name="T99" fmla="*/ 52733508 h 574"/>
                <a:gd name="T100" fmla="*/ 64358171 w 678"/>
                <a:gd name="T101" fmla="*/ 51913892 h 574"/>
                <a:gd name="T102" fmla="*/ 66985327 w 678"/>
                <a:gd name="T103" fmla="*/ 49727901 h 574"/>
                <a:gd name="T104" fmla="*/ 69048933 w 678"/>
                <a:gd name="T105" fmla="*/ 45902678 h 574"/>
                <a:gd name="T106" fmla="*/ 71863650 w 678"/>
                <a:gd name="T107" fmla="*/ 34427008 h 574"/>
                <a:gd name="T108" fmla="*/ 75616172 w 678"/>
                <a:gd name="T109" fmla="*/ 12842045 h 574"/>
                <a:gd name="T110" fmla="*/ 77680212 w 678"/>
                <a:gd name="T111" fmla="*/ 2732228 h 574"/>
                <a:gd name="T112" fmla="*/ 80870051 w 678"/>
                <a:gd name="T113" fmla="*/ 1639232 h 574"/>
                <a:gd name="T114" fmla="*/ 84998129 w 678"/>
                <a:gd name="T115" fmla="*/ 2185991 h 574"/>
                <a:gd name="T116" fmla="*/ 90439136 w 678"/>
                <a:gd name="T117" fmla="*/ 273380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2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356175" y="5115303"/>
              <a:ext cx="423047" cy="428367"/>
            </a:xfrm>
            <a:custGeom>
              <a:avLst/>
              <a:gdLst>
                <a:gd name="T0" fmla="*/ 149519799 w 810"/>
                <a:gd name="T1" fmla="*/ 11535338 h 727"/>
                <a:gd name="T2" fmla="*/ 143704135 w 810"/>
                <a:gd name="T3" fmla="*/ 7140999 h 727"/>
                <a:gd name="T4" fmla="*/ 134699318 w 810"/>
                <a:gd name="T5" fmla="*/ 9063293 h 727"/>
                <a:gd name="T6" fmla="*/ 118940673 w 810"/>
                <a:gd name="T7" fmla="*/ 12084565 h 727"/>
                <a:gd name="T8" fmla="*/ 113312555 w 810"/>
                <a:gd name="T9" fmla="*/ 15105838 h 727"/>
                <a:gd name="T10" fmla="*/ 52528962 w 810"/>
                <a:gd name="T11" fmla="*/ 10986111 h 727"/>
                <a:gd name="T12" fmla="*/ 43524145 w 810"/>
                <a:gd name="T13" fmla="*/ 10162271 h 727"/>
                <a:gd name="T14" fmla="*/ 32267908 w 810"/>
                <a:gd name="T15" fmla="*/ 4668953 h 727"/>
                <a:gd name="T16" fmla="*/ 21761856 w 810"/>
                <a:gd name="T17" fmla="*/ 0 h 727"/>
                <a:gd name="T18" fmla="*/ 15571099 w 810"/>
                <a:gd name="T19" fmla="*/ 1373067 h 727"/>
                <a:gd name="T20" fmla="*/ 9942980 w 810"/>
                <a:gd name="T21" fmla="*/ 6591772 h 727"/>
                <a:gd name="T22" fmla="*/ 0 w 810"/>
                <a:gd name="T23" fmla="*/ 15105838 h 727"/>
                <a:gd name="T24" fmla="*/ 1313257 w 810"/>
                <a:gd name="T25" fmla="*/ 18676337 h 727"/>
                <a:gd name="T26" fmla="*/ 4877501 w 810"/>
                <a:gd name="T27" fmla="*/ 20324018 h 727"/>
                <a:gd name="T28" fmla="*/ 6753829 w 810"/>
                <a:gd name="T29" fmla="*/ 35429856 h 727"/>
                <a:gd name="T30" fmla="*/ 11256237 w 810"/>
                <a:gd name="T31" fmla="*/ 52733125 h 727"/>
                <a:gd name="T32" fmla="*/ 20448600 w 810"/>
                <a:gd name="T33" fmla="*/ 75803802 h 727"/>
                <a:gd name="T34" fmla="*/ 24951441 w 810"/>
                <a:gd name="T35" fmla="*/ 82395050 h 727"/>
                <a:gd name="T36" fmla="*/ 29828941 w 810"/>
                <a:gd name="T37" fmla="*/ 82944801 h 727"/>
                <a:gd name="T38" fmla="*/ 29828941 w 810"/>
                <a:gd name="T39" fmla="*/ 91184253 h 727"/>
                <a:gd name="T40" fmla="*/ 28515685 w 810"/>
                <a:gd name="T41" fmla="*/ 98599865 h 727"/>
                <a:gd name="T42" fmla="*/ 27389975 w 810"/>
                <a:gd name="T43" fmla="*/ 108212385 h 727"/>
                <a:gd name="T44" fmla="*/ 28140592 w 810"/>
                <a:gd name="T45" fmla="*/ 116726451 h 727"/>
                <a:gd name="T46" fmla="*/ 32455454 w 810"/>
                <a:gd name="T47" fmla="*/ 132931267 h 727"/>
                <a:gd name="T48" fmla="*/ 33581165 w 810"/>
                <a:gd name="T49" fmla="*/ 142269173 h 727"/>
                <a:gd name="T50" fmla="*/ 35081967 w 810"/>
                <a:gd name="T51" fmla="*/ 166438304 h 727"/>
                <a:gd name="T52" fmla="*/ 38271119 w 810"/>
                <a:gd name="T53" fmla="*/ 177699029 h 727"/>
                <a:gd name="T54" fmla="*/ 43336599 w 810"/>
                <a:gd name="T55" fmla="*/ 189508981 h 727"/>
                <a:gd name="T56" fmla="*/ 45962679 w 810"/>
                <a:gd name="T57" fmla="*/ 192255640 h 727"/>
                <a:gd name="T58" fmla="*/ 48589192 w 810"/>
                <a:gd name="T59" fmla="*/ 196375366 h 727"/>
                <a:gd name="T60" fmla="*/ 49714902 w 810"/>
                <a:gd name="T61" fmla="*/ 186213095 h 727"/>
                <a:gd name="T62" fmla="*/ 57781988 w 810"/>
                <a:gd name="T63" fmla="*/ 191157186 h 727"/>
                <a:gd name="T64" fmla="*/ 61533778 w 810"/>
                <a:gd name="T65" fmla="*/ 195826139 h 727"/>
                <a:gd name="T66" fmla="*/ 69788409 w 810"/>
                <a:gd name="T67" fmla="*/ 199396638 h 727"/>
                <a:gd name="T68" fmla="*/ 76354692 w 810"/>
                <a:gd name="T69" fmla="*/ 198572798 h 727"/>
                <a:gd name="T70" fmla="*/ 80482008 w 810"/>
                <a:gd name="T71" fmla="*/ 195002298 h 727"/>
                <a:gd name="T72" fmla="*/ 84796870 w 810"/>
                <a:gd name="T73" fmla="*/ 185389254 h 727"/>
                <a:gd name="T74" fmla="*/ 86860311 w 810"/>
                <a:gd name="T75" fmla="*/ 145290446 h 727"/>
                <a:gd name="T76" fmla="*/ 87235403 w 810"/>
                <a:gd name="T77" fmla="*/ 131832289 h 727"/>
                <a:gd name="T78" fmla="*/ 88361114 w 810"/>
                <a:gd name="T79" fmla="*/ 128811541 h 727"/>
                <a:gd name="T80" fmla="*/ 86860311 w 810"/>
                <a:gd name="T81" fmla="*/ 117001065 h 727"/>
                <a:gd name="T82" fmla="*/ 87986021 w 810"/>
                <a:gd name="T83" fmla="*/ 101071387 h 727"/>
                <a:gd name="T84" fmla="*/ 93801686 w 810"/>
                <a:gd name="T85" fmla="*/ 90635026 h 727"/>
                <a:gd name="T86" fmla="*/ 98491640 w 810"/>
                <a:gd name="T87" fmla="*/ 87888367 h 727"/>
                <a:gd name="T88" fmla="*/ 100930607 w 810"/>
                <a:gd name="T89" fmla="*/ 63719237 h 727"/>
                <a:gd name="T90" fmla="*/ 103369574 w 810"/>
                <a:gd name="T91" fmla="*/ 40648560 h 727"/>
                <a:gd name="T92" fmla="*/ 101493246 w 810"/>
                <a:gd name="T93" fmla="*/ 34056788 h 727"/>
                <a:gd name="T94" fmla="*/ 99617351 w 810"/>
                <a:gd name="T95" fmla="*/ 27190403 h 727"/>
                <a:gd name="T96" fmla="*/ 101118154 w 810"/>
                <a:gd name="T97" fmla="*/ 23619904 h 727"/>
                <a:gd name="T98" fmla="*/ 115751521 w 810"/>
                <a:gd name="T99" fmla="*/ 21972223 h 727"/>
                <a:gd name="T100" fmla="*/ 132823423 w 810"/>
                <a:gd name="T101" fmla="*/ 17303270 h 727"/>
                <a:gd name="T102" fmla="*/ 150645510 w 810"/>
                <a:gd name="T103" fmla="*/ 16753519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3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487109" y="3910511"/>
              <a:ext cx="195253" cy="158853"/>
            </a:xfrm>
            <a:custGeom>
              <a:avLst/>
              <a:gdLst>
                <a:gd name="T0" fmla="*/ 39951999 w 365"/>
                <a:gd name="T1" fmla="*/ 67953272 h 271"/>
                <a:gd name="T2" fmla="*/ 32079782 w 365"/>
                <a:gd name="T3" fmla="*/ 66866240 h 271"/>
                <a:gd name="T4" fmla="*/ 23813622 w 365"/>
                <a:gd name="T5" fmla="*/ 67137868 h 271"/>
                <a:gd name="T6" fmla="*/ 18106320 w 365"/>
                <a:gd name="T7" fmla="*/ 67953272 h 271"/>
                <a:gd name="T8" fmla="*/ 14563934 w 365"/>
                <a:gd name="T9" fmla="*/ 69312452 h 271"/>
                <a:gd name="T10" fmla="*/ 5116830 w 365"/>
                <a:gd name="T11" fmla="*/ 73661620 h 271"/>
                <a:gd name="T12" fmla="*/ 3936330 w 365"/>
                <a:gd name="T13" fmla="*/ 73389992 h 271"/>
                <a:gd name="T14" fmla="*/ 3345858 w 365"/>
                <a:gd name="T15" fmla="*/ 72302440 h 271"/>
                <a:gd name="T16" fmla="*/ 3542387 w 365"/>
                <a:gd name="T17" fmla="*/ 69040824 h 271"/>
                <a:gd name="T18" fmla="*/ 5116830 w 365"/>
                <a:gd name="T19" fmla="*/ 61973818 h 271"/>
                <a:gd name="T20" fmla="*/ 12005075 w 365"/>
                <a:gd name="T21" fmla="*/ 61430041 h 271"/>
                <a:gd name="T22" fmla="*/ 17515849 w 365"/>
                <a:gd name="T23" fmla="*/ 60342489 h 271"/>
                <a:gd name="T24" fmla="*/ 22632679 w 365"/>
                <a:gd name="T25" fmla="*/ 59255457 h 271"/>
                <a:gd name="T26" fmla="*/ 28733924 w 365"/>
                <a:gd name="T27" fmla="*/ 58711681 h 271"/>
                <a:gd name="T28" fmla="*/ 35819141 w 365"/>
                <a:gd name="T29" fmla="*/ 59255457 h 271"/>
                <a:gd name="T30" fmla="*/ 39164556 w 365"/>
                <a:gd name="T31" fmla="*/ 59255457 h 271"/>
                <a:gd name="T32" fmla="*/ 43100886 w 365"/>
                <a:gd name="T33" fmla="*/ 58711681 h 271"/>
                <a:gd name="T34" fmla="*/ 42313442 w 365"/>
                <a:gd name="T35" fmla="*/ 56537097 h 271"/>
                <a:gd name="T36" fmla="*/ 41329471 w 365"/>
                <a:gd name="T37" fmla="*/ 54634662 h 271"/>
                <a:gd name="T38" fmla="*/ 38377556 w 365"/>
                <a:gd name="T39" fmla="*/ 52731705 h 271"/>
                <a:gd name="T40" fmla="*/ 34441226 w 365"/>
                <a:gd name="T41" fmla="*/ 51916302 h 271"/>
                <a:gd name="T42" fmla="*/ 29914867 w 365"/>
                <a:gd name="T43" fmla="*/ 51644674 h 271"/>
                <a:gd name="T44" fmla="*/ 18303292 w 365"/>
                <a:gd name="T45" fmla="*/ 52188451 h 271"/>
                <a:gd name="T46" fmla="*/ 12595547 w 365"/>
                <a:gd name="T47" fmla="*/ 53275482 h 271"/>
                <a:gd name="T48" fmla="*/ 6494745 w 365"/>
                <a:gd name="T49" fmla="*/ 55178438 h 271"/>
                <a:gd name="T50" fmla="*/ 7478717 w 365"/>
                <a:gd name="T51" fmla="*/ 49742239 h 271"/>
                <a:gd name="T52" fmla="*/ 7675689 w 365"/>
                <a:gd name="T53" fmla="*/ 46752251 h 271"/>
                <a:gd name="T54" fmla="*/ 5116830 w 365"/>
                <a:gd name="T55" fmla="*/ 44577667 h 271"/>
                <a:gd name="T56" fmla="*/ 2558415 w 365"/>
                <a:gd name="T57" fmla="*/ 43490115 h 271"/>
                <a:gd name="T58" fmla="*/ 2164915 w 365"/>
                <a:gd name="T59" fmla="*/ 39956872 h 271"/>
                <a:gd name="T60" fmla="*/ 1180943 w 365"/>
                <a:gd name="T61" fmla="*/ 38869319 h 271"/>
                <a:gd name="T62" fmla="*/ 393500 w 365"/>
                <a:gd name="T63" fmla="*/ 38325543 h 271"/>
                <a:gd name="T64" fmla="*/ 0 w 365"/>
                <a:gd name="T65" fmla="*/ 36694735 h 271"/>
                <a:gd name="T66" fmla="*/ 983972 w 365"/>
                <a:gd name="T67" fmla="*/ 31258536 h 271"/>
                <a:gd name="T68" fmla="*/ 3345858 w 365"/>
                <a:gd name="T69" fmla="*/ 25006933 h 271"/>
                <a:gd name="T70" fmla="*/ 5904273 w 365"/>
                <a:gd name="T71" fmla="*/ 18755330 h 271"/>
                <a:gd name="T72" fmla="*/ 7675689 w 365"/>
                <a:gd name="T73" fmla="*/ 13319131 h 271"/>
                <a:gd name="T74" fmla="*/ 9446660 w 365"/>
                <a:gd name="T75" fmla="*/ 11416175 h 271"/>
                <a:gd name="T76" fmla="*/ 9643632 w 365"/>
                <a:gd name="T77" fmla="*/ 13046982 h 271"/>
                <a:gd name="T78" fmla="*/ 10234104 w 365"/>
                <a:gd name="T79" fmla="*/ 9785367 h 271"/>
                <a:gd name="T80" fmla="*/ 14760462 w 365"/>
                <a:gd name="T81" fmla="*/ 8426187 h 271"/>
                <a:gd name="T82" fmla="*/ 22436151 w 365"/>
                <a:gd name="T83" fmla="*/ 4892423 h 271"/>
                <a:gd name="T84" fmla="*/ 32473282 w 365"/>
                <a:gd name="T85" fmla="*/ 0 h 271"/>
                <a:gd name="T86" fmla="*/ 36212641 w 365"/>
                <a:gd name="T87" fmla="*/ 4077019 h 271"/>
                <a:gd name="T88" fmla="*/ 39755027 w 365"/>
                <a:gd name="T89" fmla="*/ 6523752 h 271"/>
                <a:gd name="T90" fmla="*/ 43297858 w 365"/>
                <a:gd name="T91" fmla="*/ 7882411 h 271"/>
                <a:gd name="T92" fmla="*/ 47037216 w 365"/>
                <a:gd name="T93" fmla="*/ 8154559 h 271"/>
                <a:gd name="T94" fmla="*/ 47430716 w 365"/>
                <a:gd name="T95" fmla="*/ 14134535 h 271"/>
                <a:gd name="T96" fmla="*/ 48611660 w 365"/>
                <a:gd name="T97" fmla="*/ 18755330 h 271"/>
                <a:gd name="T98" fmla="*/ 49989131 w 365"/>
                <a:gd name="T99" fmla="*/ 22832349 h 271"/>
                <a:gd name="T100" fmla="*/ 51957074 w 365"/>
                <a:gd name="T101" fmla="*/ 25822337 h 271"/>
                <a:gd name="T102" fmla="*/ 60026263 w 365"/>
                <a:gd name="T103" fmla="*/ 35063928 h 271"/>
                <a:gd name="T104" fmla="*/ 69276395 w 365"/>
                <a:gd name="T105" fmla="*/ 63604625 h 271"/>
                <a:gd name="T106" fmla="*/ 70653867 w 365"/>
                <a:gd name="T107" fmla="*/ 69856228 h 271"/>
                <a:gd name="T108" fmla="*/ 71834810 w 365"/>
                <a:gd name="T109" fmla="*/ 73661620 h 271"/>
                <a:gd name="T110" fmla="*/ 63175150 w 365"/>
                <a:gd name="T111" fmla="*/ 70400004 h 271"/>
                <a:gd name="T112" fmla="*/ 54121989 w 365"/>
                <a:gd name="T113" fmla="*/ 68497048 h 271"/>
                <a:gd name="T114" fmla="*/ 48808188 w 365"/>
                <a:gd name="T115" fmla="*/ 68225421 h 271"/>
                <a:gd name="T116" fmla="*/ 43100886 w 365"/>
                <a:gd name="T117" fmla="*/ 68497048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4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901733" y="4544147"/>
              <a:ext cx="325421" cy="376606"/>
            </a:xfrm>
            <a:custGeom>
              <a:avLst/>
              <a:gdLst>
                <a:gd name="T0" fmla="*/ 27309274 w 624"/>
                <a:gd name="T1" fmla="*/ 3287348 h 640"/>
                <a:gd name="T2" fmla="*/ 44704967 w 624"/>
                <a:gd name="T3" fmla="*/ 3287348 h 640"/>
                <a:gd name="T4" fmla="*/ 53683068 w 624"/>
                <a:gd name="T5" fmla="*/ 1369685 h 640"/>
                <a:gd name="T6" fmla="*/ 60977910 w 624"/>
                <a:gd name="T7" fmla="*/ 6026194 h 640"/>
                <a:gd name="T8" fmla="*/ 74071605 w 624"/>
                <a:gd name="T9" fmla="*/ 18079105 h 640"/>
                <a:gd name="T10" fmla="*/ 86978031 w 624"/>
                <a:gd name="T11" fmla="*/ 30405743 h 640"/>
                <a:gd name="T12" fmla="*/ 87726242 w 624"/>
                <a:gd name="T13" fmla="*/ 35884482 h 640"/>
                <a:gd name="T14" fmla="*/ 89783607 w 624"/>
                <a:gd name="T15" fmla="*/ 41910675 h 640"/>
                <a:gd name="T16" fmla="*/ 92963720 w 624"/>
                <a:gd name="T17" fmla="*/ 46567708 h 640"/>
                <a:gd name="T18" fmla="*/ 97078449 w 624"/>
                <a:gd name="T19" fmla="*/ 50128260 h 640"/>
                <a:gd name="T20" fmla="*/ 101567716 w 624"/>
                <a:gd name="T21" fmla="*/ 52045923 h 640"/>
                <a:gd name="T22" fmla="*/ 103625513 w 624"/>
                <a:gd name="T23" fmla="*/ 53415608 h 640"/>
                <a:gd name="T24" fmla="*/ 105682877 w 624"/>
                <a:gd name="T25" fmla="*/ 56154977 h 640"/>
                <a:gd name="T26" fmla="*/ 104934666 w 624"/>
                <a:gd name="T27" fmla="*/ 62181171 h 640"/>
                <a:gd name="T28" fmla="*/ 100445399 w 624"/>
                <a:gd name="T29" fmla="*/ 69029594 h 640"/>
                <a:gd name="T30" fmla="*/ 98200766 w 624"/>
                <a:gd name="T31" fmla="*/ 74234081 h 640"/>
                <a:gd name="T32" fmla="*/ 99697188 w 624"/>
                <a:gd name="T33" fmla="*/ 78616863 h 640"/>
                <a:gd name="T34" fmla="*/ 102315927 w 624"/>
                <a:gd name="T35" fmla="*/ 81904211 h 640"/>
                <a:gd name="T36" fmla="*/ 103251407 w 624"/>
                <a:gd name="T37" fmla="*/ 116418484 h 640"/>
                <a:gd name="T38" fmla="*/ 102877301 w 624"/>
                <a:gd name="T39" fmla="*/ 120253811 h 640"/>
                <a:gd name="T40" fmla="*/ 104373724 w 624"/>
                <a:gd name="T41" fmla="*/ 126553732 h 640"/>
                <a:gd name="T42" fmla="*/ 104373724 w 624"/>
                <a:gd name="T43" fmla="*/ 133950134 h 640"/>
                <a:gd name="T44" fmla="*/ 104934666 w 624"/>
                <a:gd name="T45" fmla="*/ 141072284 h 640"/>
                <a:gd name="T46" fmla="*/ 111107192 w 624"/>
                <a:gd name="T47" fmla="*/ 150385303 h 640"/>
                <a:gd name="T48" fmla="*/ 115222353 w 624"/>
                <a:gd name="T49" fmla="*/ 158603410 h 640"/>
                <a:gd name="T50" fmla="*/ 107553405 w 624"/>
                <a:gd name="T51" fmla="*/ 164355877 h 640"/>
                <a:gd name="T52" fmla="*/ 91841403 w 624"/>
                <a:gd name="T53" fmla="*/ 172847712 h 640"/>
                <a:gd name="T54" fmla="*/ 82862870 w 624"/>
                <a:gd name="T55" fmla="*/ 174764852 h 640"/>
                <a:gd name="T56" fmla="*/ 73323394 w 624"/>
                <a:gd name="T57" fmla="*/ 172025482 h 640"/>
                <a:gd name="T58" fmla="*/ 63409813 w 624"/>
                <a:gd name="T59" fmla="*/ 173395167 h 640"/>
                <a:gd name="T60" fmla="*/ 57237287 w 624"/>
                <a:gd name="T61" fmla="*/ 172025482 h 640"/>
                <a:gd name="T62" fmla="*/ 55927701 w 624"/>
                <a:gd name="T63" fmla="*/ 168190679 h 640"/>
                <a:gd name="T64" fmla="*/ 54992654 w 624"/>
                <a:gd name="T65" fmla="*/ 156959998 h 640"/>
                <a:gd name="T66" fmla="*/ 53870337 w 624"/>
                <a:gd name="T67" fmla="*/ 144907087 h 640"/>
                <a:gd name="T68" fmla="*/ 47323273 w 624"/>
                <a:gd name="T69" fmla="*/ 141619740 h 640"/>
                <a:gd name="T70" fmla="*/ 34604116 w 624"/>
                <a:gd name="T71" fmla="*/ 137511209 h 640"/>
                <a:gd name="T72" fmla="*/ 16834318 w 624"/>
                <a:gd name="T73" fmla="*/ 125732026 h 640"/>
                <a:gd name="T74" fmla="*/ 12719157 w 624"/>
                <a:gd name="T75" fmla="*/ 122170950 h 640"/>
                <a:gd name="T76" fmla="*/ 12345051 w 624"/>
                <a:gd name="T77" fmla="*/ 117240714 h 640"/>
                <a:gd name="T78" fmla="*/ 12158215 w 624"/>
                <a:gd name="T79" fmla="*/ 110118563 h 640"/>
                <a:gd name="T80" fmla="*/ 9913581 w 624"/>
                <a:gd name="T81" fmla="*/ 103270140 h 640"/>
                <a:gd name="T82" fmla="*/ 7668948 w 624"/>
                <a:gd name="T83" fmla="*/ 97791924 h 640"/>
                <a:gd name="T84" fmla="*/ 5050209 w 624"/>
                <a:gd name="T85" fmla="*/ 95052555 h 640"/>
                <a:gd name="T86" fmla="*/ 2244633 w 624"/>
                <a:gd name="T87" fmla="*/ 90943501 h 640"/>
                <a:gd name="T88" fmla="*/ 935048 w 624"/>
                <a:gd name="T89" fmla="*/ 84369329 h 640"/>
                <a:gd name="T90" fmla="*/ 0 w 624"/>
                <a:gd name="T91" fmla="*/ 71768440 h 640"/>
                <a:gd name="T92" fmla="*/ 0 w 624"/>
                <a:gd name="T93" fmla="*/ 64098834 h 640"/>
                <a:gd name="T94" fmla="*/ 1870528 w 624"/>
                <a:gd name="T95" fmla="*/ 58072117 h 640"/>
                <a:gd name="T96" fmla="*/ 7108006 w 624"/>
                <a:gd name="T97" fmla="*/ 53415608 h 640"/>
                <a:gd name="T98" fmla="*/ 11410004 w 624"/>
                <a:gd name="T99" fmla="*/ 47389414 h 640"/>
                <a:gd name="T100" fmla="*/ 14402848 w 624"/>
                <a:gd name="T101" fmla="*/ 21092201 h 640"/>
                <a:gd name="T102" fmla="*/ 15712001 w 624"/>
                <a:gd name="T103" fmla="*/ 11778660 h 640"/>
                <a:gd name="T104" fmla="*/ 15337896 w 624"/>
                <a:gd name="T105" fmla="*/ 2191391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00B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srgbClr val="00B050"/>
                </a:solidFill>
              </a:endParaRPr>
            </a:p>
          </p:txBody>
        </p:sp>
        <p:sp>
          <p:nvSpPr>
            <p:cNvPr id="325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993234" y="2873517"/>
              <a:ext cx="22971" cy="64255"/>
            </a:xfrm>
            <a:custGeom>
              <a:avLst/>
              <a:gdLst>
                <a:gd name="T0" fmla="*/ 1744907 w 52"/>
                <a:gd name="T1" fmla="*/ 65322450 h 50"/>
                <a:gd name="T2" fmla="*/ 0 w 52"/>
                <a:gd name="T3" fmla="*/ 41806368 h 50"/>
                <a:gd name="T4" fmla="*/ 268532 w 52"/>
                <a:gd name="T5" fmla="*/ 32661225 h 50"/>
                <a:gd name="T6" fmla="*/ 805229 w 52"/>
                <a:gd name="T7" fmla="*/ 23516082 h 50"/>
                <a:gd name="T8" fmla="*/ 1610458 w 52"/>
                <a:gd name="T9" fmla="*/ 16983837 h 50"/>
                <a:gd name="T10" fmla="*/ 2415687 w 52"/>
                <a:gd name="T11" fmla="*/ 11758041 h 50"/>
                <a:gd name="T12" fmla="*/ 3489447 w 52"/>
                <a:gd name="T13" fmla="*/ 6532245 h 50"/>
                <a:gd name="T14" fmla="*/ 4563208 w 52"/>
                <a:gd name="T15" fmla="*/ 3919347 h 50"/>
                <a:gd name="T16" fmla="*/ 5771051 w 52"/>
                <a:gd name="T17" fmla="*/ 1306449 h 50"/>
                <a:gd name="T18" fmla="*/ 6978894 w 52"/>
                <a:gd name="T19" fmla="*/ 0 h 50"/>
                <a:gd name="T20" fmla="*/ 5368437 w 52"/>
                <a:gd name="T21" fmla="*/ 14370939 h 50"/>
                <a:gd name="T22" fmla="*/ 3623530 w 52"/>
                <a:gd name="T23" fmla="*/ 28741878 h 50"/>
                <a:gd name="T24" fmla="*/ 2952750 w 52"/>
                <a:gd name="T25" fmla="*/ 39193470 h 50"/>
                <a:gd name="T26" fmla="*/ 2281604 w 52"/>
                <a:gd name="T27" fmla="*/ 47032164 h 50"/>
                <a:gd name="T28" fmla="*/ 1878989 w 52"/>
                <a:gd name="T29" fmla="*/ 56177307 h 50"/>
                <a:gd name="T30" fmla="*/ 1744907 w 52"/>
                <a:gd name="T31" fmla="*/ 653224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6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822866" y="2875303"/>
              <a:ext cx="170368" cy="141003"/>
            </a:xfrm>
            <a:custGeom>
              <a:avLst/>
              <a:gdLst>
                <a:gd name="T0" fmla="*/ 14815813 w 320"/>
                <a:gd name="T1" fmla="*/ 66352595 h 234"/>
                <a:gd name="T2" fmla="*/ 11891593 w 320"/>
                <a:gd name="T3" fmla="*/ 64916253 h 234"/>
                <a:gd name="T4" fmla="*/ 12866480 w 320"/>
                <a:gd name="T5" fmla="*/ 63767714 h 234"/>
                <a:gd name="T6" fmla="*/ 15010525 w 320"/>
                <a:gd name="T7" fmla="*/ 62331372 h 234"/>
                <a:gd name="T8" fmla="*/ 12476613 w 320"/>
                <a:gd name="T9" fmla="*/ 58597417 h 234"/>
                <a:gd name="T10" fmla="*/ 8382794 w 320"/>
                <a:gd name="T11" fmla="*/ 54288389 h 234"/>
                <a:gd name="T12" fmla="*/ 7018040 w 320"/>
                <a:gd name="T13" fmla="*/ 51416240 h 234"/>
                <a:gd name="T14" fmla="*/ 6628173 w 320"/>
                <a:gd name="T15" fmla="*/ 49118092 h 234"/>
                <a:gd name="T16" fmla="*/ 6628173 w 320"/>
                <a:gd name="T17" fmla="*/ 47107749 h 234"/>
                <a:gd name="T18" fmla="*/ 7018040 w 320"/>
                <a:gd name="T19" fmla="*/ 45096869 h 234"/>
                <a:gd name="T20" fmla="*/ 8382794 w 320"/>
                <a:gd name="T21" fmla="*/ 42798721 h 234"/>
                <a:gd name="T22" fmla="*/ 10916706 w 320"/>
                <a:gd name="T23" fmla="*/ 40501109 h 234"/>
                <a:gd name="T24" fmla="*/ 14230792 w 320"/>
                <a:gd name="T25" fmla="*/ 39352035 h 234"/>
                <a:gd name="T26" fmla="*/ 15595546 w 320"/>
                <a:gd name="T27" fmla="*/ 36192617 h 234"/>
                <a:gd name="T28" fmla="*/ 13061193 w 320"/>
                <a:gd name="T29" fmla="*/ 31883589 h 234"/>
                <a:gd name="T30" fmla="*/ 11891593 w 320"/>
                <a:gd name="T31" fmla="*/ 29298709 h 234"/>
                <a:gd name="T32" fmla="*/ 11696880 w 320"/>
                <a:gd name="T33" fmla="*/ 24702948 h 234"/>
                <a:gd name="T34" fmla="*/ 10721993 w 320"/>
                <a:gd name="T35" fmla="*/ 20106652 h 234"/>
                <a:gd name="T36" fmla="*/ 8967373 w 320"/>
                <a:gd name="T37" fmla="*/ 13213280 h 234"/>
                <a:gd name="T38" fmla="*/ 6433019 w 320"/>
                <a:gd name="T39" fmla="*/ 8904252 h 234"/>
                <a:gd name="T40" fmla="*/ 3899107 w 320"/>
                <a:gd name="T41" fmla="*/ 7181177 h 234"/>
                <a:gd name="T42" fmla="*/ 1364754 w 320"/>
                <a:gd name="T43" fmla="*/ 2872149 h 234"/>
                <a:gd name="T44" fmla="*/ 1754620 w 320"/>
                <a:gd name="T45" fmla="*/ 0 h 234"/>
                <a:gd name="T46" fmla="*/ 4678840 w 320"/>
                <a:gd name="T47" fmla="*/ 0 h 234"/>
                <a:gd name="T48" fmla="*/ 7407906 w 320"/>
                <a:gd name="T49" fmla="*/ 861806 h 234"/>
                <a:gd name="T50" fmla="*/ 10916706 w 320"/>
                <a:gd name="T51" fmla="*/ 4595760 h 234"/>
                <a:gd name="T52" fmla="*/ 15205679 w 320"/>
                <a:gd name="T53" fmla="*/ 10053326 h 234"/>
                <a:gd name="T54" fmla="*/ 18714479 w 320"/>
                <a:gd name="T55" fmla="*/ 13787817 h 234"/>
                <a:gd name="T56" fmla="*/ 23198165 w 320"/>
                <a:gd name="T57" fmla="*/ 16659966 h 234"/>
                <a:gd name="T58" fmla="*/ 29631626 w 320"/>
                <a:gd name="T59" fmla="*/ 20106652 h 234"/>
                <a:gd name="T60" fmla="*/ 35284912 w 320"/>
                <a:gd name="T61" fmla="*/ 22692069 h 234"/>
                <a:gd name="T62" fmla="*/ 41717931 w 320"/>
                <a:gd name="T63" fmla="*/ 24415680 h 234"/>
                <a:gd name="T64" fmla="*/ 46006905 w 320"/>
                <a:gd name="T65" fmla="*/ 22117532 h 234"/>
                <a:gd name="T66" fmla="*/ 50100725 w 320"/>
                <a:gd name="T67" fmla="*/ 23841143 h 234"/>
                <a:gd name="T68" fmla="*/ 55364144 w 320"/>
                <a:gd name="T69" fmla="*/ 30735051 h 234"/>
                <a:gd name="T70" fmla="*/ 59457964 w 320"/>
                <a:gd name="T71" fmla="*/ 34181737 h 234"/>
                <a:gd name="T72" fmla="*/ 57898498 w 320"/>
                <a:gd name="T73" fmla="*/ 38202961 h 234"/>
                <a:gd name="T74" fmla="*/ 52245212 w 320"/>
                <a:gd name="T75" fmla="*/ 41362914 h 234"/>
                <a:gd name="T76" fmla="*/ 48541259 w 320"/>
                <a:gd name="T77" fmla="*/ 42511452 h 234"/>
                <a:gd name="T78" fmla="*/ 46201618 w 320"/>
                <a:gd name="T79" fmla="*/ 45671406 h 234"/>
                <a:gd name="T80" fmla="*/ 45227172 w 320"/>
                <a:gd name="T81" fmla="*/ 50554435 h 234"/>
                <a:gd name="T82" fmla="*/ 45032018 w 320"/>
                <a:gd name="T83" fmla="*/ 53713852 h 234"/>
                <a:gd name="T84" fmla="*/ 43277839 w 320"/>
                <a:gd name="T85" fmla="*/ 55150195 h 234"/>
                <a:gd name="T86" fmla="*/ 39768598 w 320"/>
                <a:gd name="T87" fmla="*/ 54288389 h 234"/>
                <a:gd name="T88" fmla="*/ 36259799 w 320"/>
                <a:gd name="T89" fmla="*/ 51990777 h 234"/>
                <a:gd name="T90" fmla="*/ 32750558 w 320"/>
                <a:gd name="T91" fmla="*/ 48830824 h 234"/>
                <a:gd name="T92" fmla="*/ 30216205 w 320"/>
                <a:gd name="T93" fmla="*/ 47107749 h 234"/>
                <a:gd name="T94" fmla="*/ 28266872 w 320"/>
                <a:gd name="T95" fmla="*/ 46245943 h 234"/>
                <a:gd name="T96" fmla="*/ 25537806 w 320"/>
                <a:gd name="T97" fmla="*/ 46533211 h 234"/>
                <a:gd name="T98" fmla="*/ 22223719 w 320"/>
                <a:gd name="T99" fmla="*/ 47969018 h 234"/>
                <a:gd name="T100" fmla="*/ 19494653 w 320"/>
                <a:gd name="T101" fmla="*/ 49692629 h 234"/>
                <a:gd name="T102" fmla="*/ 16960300 w 320"/>
                <a:gd name="T103" fmla="*/ 51128972 h 234"/>
                <a:gd name="T104" fmla="*/ 16570433 w 320"/>
                <a:gd name="T105" fmla="*/ 52565314 h 234"/>
                <a:gd name="T106" fmla="*/ 18714479 w 320"/>
                <a:gd name="T107" fmla="*/ 54862926 h 234"/>
                <a:gd name="T108" fmla="*/ 22613586 w 320"/>
                <a:gd name="T109" fmla="*/ 57448343 h 234"/>
                <a:gd name="T110" fmla="*/ 24562919 w 320"/>
                <a:gd name="T111" fmla="*/ 60895029 h 234"/>
                <a:gd name="T112" fmla="*/ 22028565 w 320"/>
                <a:gd name="T113" fmla="*/ 64342251 h 234"/>
                <a:gd name="T114" fmla="*/ 19884520 w 320"/>
                <a:gd name="T115" fmla="*/ 66352595 h 234"/>
                <a:gd name="T116" fmla="*/ 17740033 w 320"/>
                <a:gd name="T117" fmla="*/ 67214401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7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786496" y="3273326"/>
              <a:ext cx="63169" cy="64255"/>
            </a:xfrm>
            <a:custGeom>
              <a:avLst/>
              <a:gdLst>
                <a:gd name="T0" fmla="*/ 5796098 w 125"/>
                <a:gd name="T1" fmla="*/ 7175090 h 93"/>
                <a:gd name="T2" fmla="*/ 7552529 w 125"/>
                <a:gd name="T3" fmla="*/ 7175090 h 93"/>
                <a:gd name="T4" fmla="*/ 9133359 w 125"/>
                <a:gd name="T5" fmla="*/ 7175090 h 93"/>
                <a:gd name="T6" fmla="*/ 9660163 w 125"/>
                <a:gd name="T7" fmla="*/ 7175090 h 93"/>
                <a:gd name="T8" fmla="*/ 10187386 w 125"/>
                <a:gd name="T9" fmla="*/ 6419850 h 93"/>
                <a:gd name="T10" fmla="*/ 10714189 w 125"/>
                <a:gd name="T11" fmla="*/ 5664610 h 93"/>
                <a:gd name="T12" fmla="*/ 11416594 w 125"/>
                <a:gd name="T13" fmla="*/ 4154129 h 93"/>
                <a:gd name="T14" fmla="*/ 11943817 w 125"/>
                <a:gd name="T15" fmla="*/ 3020961 h 93"/>
                <a:gd name="T16" fmla="*/ 12295019 w 125"/>
                <a:gd name="T17" fmla="*/ 1888408 h 93"/>
                <a:gd name="T18" fmla="*/ 12646222 w 125"/>
                <a:gd name="T19" fmla="*/ 1133168 h 93"/>
                <a:gd name="T20" fmla="*/ 12646222 w 125"/>
                <a:gd name="T21" fmla="*/ 0 h 93"/>
                <a:gd name="T22" fmla="*/ 20725554 w 125"/>
                <a:gd name="T23" fmla="*/ 0 h 93"/>
                <a:gd name="T24" fmla="*/ 21428378 w 125"/>
                <a:gd name="T25" fmla="*/ 5664610 h 93"/>
                <a:gd name="T26" fmla="*/ 21955182 w 125"/>
                <a:gd name="T27" fmla="*/ 9440811 h 93"/>
                <a:gd name="T28" fmla="*/ 21779581 w 125"/>
                <a:gd name="T29" fmla="*/ 10951292 h 93"/>
                <a:gd name="T30" fmla="*/ 21428378 w 125"/>
                <a:gd name="T31" fmla="*/ 12461773 h 93"/>
                <a:gd name="T32" fmla="*/ 20901156 w 125"/>
                <a:gd name="T33" fmla="*/ 13217013 h 93"/>
                <a:gd name="T34" fmla="*/ 20549953 w 125"/>
                <a:gd name="T35" fmla="*/ 13972253 h 93"/>
                <a:gd name="T36" fmla="*/ 19496346 w 125"/>
                <a:gd name="T37" fmla="*/ 15105421 h 93"/>
                <a:gd name="T38" fmla="*/ 18266718 w 125"/>
                <a:gd name="T39" fmla="*/ 15482734 h 93"/>
                <a:gd name="T40" fmla="*/ 15456260 w 125"/>
                <a:gd name="T41" fmla="*/ 15482734 h 93"/>
                <a:gd name="T42" fmla="*/ 12646222 w 125"/>
                <a:gd name="T43" fmla="*/ 16237974 h 93"/>
                <a:gd name="T44" fmla="*/ 12295019 w 125"/>
                <a:gd name="T45" fmla="*/ 17748455 h 93"/>
                <a:gd name="T46" fmla="*/ 12119418 w 125"/>
                <a:gd name="T47" fmla="*/ 20014176 h 93"/>
                <a:gd name="T48" fmla="*/ 11767797 w 125"/>
                <a:gd name="T49" fmla="*/ 23035137 h 93"/>
                <a:gd name="T50" fmla="*/ 11767797 w 125"/>
                <a:gd name="T51" fmla="*/ 26811953 h 93"/>
                <a:gd name="T52" fmla="*/ 11592195 w 125"/>
                <a:gd name="T53" fmla="*/ 32475948 h 93"/>
                <a:gd name="T54" fmla="*/ 11592195 w 125"/>
                <a:gd name="T55" fmla="*/ 35119597 h 93"/>
                <a:gd name="T56" fmla="*/ 8606555 w 125"/>
                <a:gd name="T57" fmla="*/ 32098635 h 93"/>
                <a:gd name="T58" fmla="*/ 4742490 w 125"/>
                <a:gd name="T59" fmla="*/ 27567194 h 93"/>
                <a:gd name="T60" fmla="*/ 2810458 w 125"/>
                <a:gd name="T61" fmla="*/ 24546232 h 93"/>
                <a:gd name="T62" fmla="*/ 1229628 w 125"/>
                <a:gd name="T63" fmla="*/ 21902584 h 93"/>
                <a:gd name="T64" fmla="*/ 702405 w 125"/>
                <a:gd name="T65" fmla="*/ 20392103 h 93"/>
                <a:gd name="T66" fmla="*/ 351202 w 125"/>
                <a:gd name="T67" fmla="*/ 18881623 h 93"/>
                <a:gd name="T68" fmla="*/ 0 w 125"/>
                <a:gd name="T69" fmla="*/ 17748455 h 93"/>
                <a:gd name="T70" fmla="*/ 0 w 125"/>
                <a:gd name="T71" fmla="*/ 16237974 h 93"/>
                <a:gd name="T72" fmla="*/ 1229628 w 125"/>
                <a:gd name="T73" fmla="*/ 16237974 h 93"/>
                <a:gd name="T74" fmla="*/ 2634437 w 125"/>
                <a:gd name="T75" fmla="*/ 15482734 h 93"/>
                <a:gd name="T76" fmla="*/ 3512863 w 125"/>
                <a:gd name="T77" fmla="*/ 14727494 h 93"/>
                <a:gd name="T78" fmla="*/ 4039666 w 125"/>
                <a:gd name="T79" fmla="*/ 13594940 h 93"/>
                <a:gd name="T80" fmla="*/ 4918092 w 125"/>
                <a:gd name="T81" fmla="*/ 10573365 h 93"/>
                <a:gd name="T82" fmla="*/ 5796098 w 125"/>
                <a:gd name="T83" fmla="*/ 7175090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8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721412" y="3289391"/>
              <a:ext cx="72741" cy="94597"/>
            </a:xfrm>
            <a:custGeom>
              <a:avLst/>
              <a:gdLst>
                <a:gd name="T0" fmla="*/ 4114346 w 133"/>
                <a:gd name="T1" fmla="*/ 3581832 h 154"/>
                <a:gd name="T2" fmla="*/ 4937579 w 133"/>
                <a:gd name="T3" fmla="*/ 2984678 h 154"/>
                <a:gd name="T4" fmla="*/ 6377668 w 133"/>
                <a:gd name="T5" fmla="*/ 1790916 h 154"/>
                <a:gd name="T6" fmla="*/ 6994525 w 133"/>
                <a:gd name="T7" fmla="*/ 1193762 h 154"/>
                <a:gd name="T8" fmla="*/ 7611836 w 133"/>
                <a:gd name="T9" fmla="*/ 597154 h 154"/>
                <a:gd name="T10" fmla="*/ 8640536 w 133"/>
                <a:gd name="T11" fmla="*/ 298304 h 154"/>
                <a:gd name="T12" fmla="*/ 9463314 w 133"/>
                <a:gd name="T13" fmla="*/ 0 h 154"/>
                <a:gd name="T14" fmla="*/ 12138025 w 133"/>
                <a:gd name="T15" fmla="*/ 298304 h 154"/>
                <a:gd name="T16" fmla="*/ 14400893 w 133"/>
                <a:gd name="T17" fmla="*/ 1193762 h 154"/>
                <a:gd name="T18" fmla="*/ 16663761 w 133"/>
                <a:gd name="T19" fmla="*/ 2388070 h 154"/>
                <a:gd name="T20" fmla="*/ 18515239 w 133"/>
                <a:gd name="T21" fmla="*/ 4178986 h 154"/>
                <a:gd name="T22" fmla="*/ 20367171 w 133"/>
                <a:gd name="T23" fmla="*/ 6268207 h 154"/>
                <a:gd name="T24" fmla="*/ 21601339 w 133"/>
                <a:gd name="T25" fmla="*/ 8954581 h 154"/>
                <a:gd name="T26" fmla="*/ 23041429 w 133"/>
                <a:gd name="T27" fmla="*/ 11939805 h 154"/>
                <a:gd name="T28" fmla="*/ 23864207 w 133"/>
                <a:gd name="T29" fmla="*/ 14924483 h 154"/>
                <a:gd name="T30" fmla="*/ 24892907 w 133"/>
                <a:gd name="T31" fmla="*/ 17909708 h 154"/>
                <a:gd name="T32" fmla="*/ 25510218 w 133"/>
                <a:gd name="T33" fmla="*/ 21192690 h 154"/>
                <a:gd name="T34" fmla="*/ 26127529 w 133"/>
                <a:gd name="T35" fmla="*/ 24476218 h 154"/>
                <a:gd name="T36" fmla="*/ 26744386 w 133"/>
                <a:gd name="T37" fmla="*/ 28058050 h 154"/>
                <a:gd name="T38" fmla="*/ 27155775 w 133"/>
                <a:gd name="T39" fmla="*/ 34625107 h 154"/>
                <a:gd name="T40" fmla="*/ 27361696 w 133"/>
                <a:gd name="T41" fmla="*/ 40296160 h 154"/>
                <a:gd name="T42" fmla="*/ 27155775 w 133"/>
                <a:gd name="T43" fmla="*/ 41191618 h 154"/>
                <a:gd name="T44" fmla="*/ 26744386 w 133"/>
                <a:gd name="T45" fmla="*/ 42087622 h 154"/>
                <a:gd name="T46" fmla="*/ 25715686 w 133"/>
                <a:gd name="T47" fmla="*/ 42983080 h 154"/>
                <a:gd name="T48" fmla="*/ 24892907 w 133"/>
                <a:gd name="T49" fmla="*/ 43878538 h 154"/>
                <a:gd name="T50" fmla="*/ 23658739 w 133"/>
                <a:gd name="T51" fmla="*/ 44773996 h 154"/>
                <a:gd name="T52" fmla="*/ 22630039 w 133"/>
                <a:gd name="T53" fmla="*/ 45669454 h 154"/>
                <a:gd name="T54" fmla="*/ 21395418 w 133"/>
                <a:gd name="T55" fmla="*/ 45967758 h 154"/>
                <a:gd name="T56" fmla="*/ 20367171 w 133"/>
                <a:gd name="T57" fmla="*/ 45967758 h 154"/>
                <a:gd name="T58" fmla="*/ 19132550 w 133"/>
                <a:gd name="T59" fmla="*/ 45669454 h 154"/>
                <a:gd name="T60" fmla="*/ 17898382 w 133"/>
                <a:gd name="T61" fmla="*/ 44475146 h 154"/>
                <a:gd name="T62" fmla="*/ 16252371 w 133"/>
                <a:gd name="T63" fmla="*/ 42087622 h 154"/>
                <a:gd name="T64" fmla="*/ 14606814 w 133"/>
                <a:gd name="T65" fmla="*/ 39997856 h 154"/>
                <a:gd name="T66" fmla="*/ 13166725 w 133"/>
                <a:gd name="T67" fmla="*/ 37609785 h 154"/>
                <a:gd name="T68" fmla="*/ 11932104 w 133"/>
                <a:gd name="T69" fmla="*/ 35222261 h 154"/>
                <a:gd name="T70" fmla="*/ 11109325 w 133"/>
                <a:gd name="T71" fmla="*/ 33132495 h 154"/>
                <a:gd name="T72" fmla="*/ 10903404 w 133"/>
                <a:gd name="T73" fmla="*/ 31341579 h 154"/>
                <a:gd name="T74" fmla="*/ 11109325 w 133"/>
                <a:gd name="T75" fmla="*/ 29252359 h 154"/>
                <a:gd name="T76" fmla="*/ 11520714 w 133"/>
                <a:gd name="T77" fmla="*/ 24775068 h 154"/>
                <a:gd name="T78" fmla="*/ 11932104 w 133"/>
                <a:gd name="T79" fmla="*/ 20297232 h 154"/>
                <a:gd name="T80" fmla="*/ 12138025 w 133"/>
                <a:gd name="T81" fmla="*/ 18506316 h 154"/>
                <a:gd name="T82" fmla="*/ 9669236 w 133"/>
                <a:gd name="T83" fmla="*/ 18208012 h 154"/>
                <a:gd name="T84" fmla="*/ 7406368 w 133"/>
                <a:gd name="T85" fmla="*/ 17610858 h 154"/>
                <a:gd name="T86" fmla="*/ 5143046 w 133"/>
                <a:gd name="T87" fmla="*/ 16715399 h 154"/>
                <a:gd name="T88" fmla="*/ 3497489 w 133"/>
                <a:gd name="T89" fmla="*/ 15521637 h 154"/>
                <a:gd name="T90" fmla="*/ 2674257 w 133"/>
                <a:gd name="T91" fmla="*/ 14626179 h 154"/>
                <a:gd name="T92" fmla="*/ 2057400 w 133"/>
                <a:gd name="T93" fmla="*/ 13730721 h 154"/>
                <a:gd name="T94" fmla="*/ 1440089 w 133"/>
                <a:gd name="T95" fmla="*/ 12835263 h 154"/>
                <a:gd name="T96" fmla="*/ 822779 w 133"/>
                <a:gd name="T97" fmla="*/ 11640955 h 154"/>
                <a:gd name="T98" fmla="*/ 411389 w 133"/>
                <a:gd name="T99" fmla="*/ 10148889 h 154"/>
                <a:gd name="T100" fmla="*/ 205921 w 133"/>
                <a:gd name="T101" fmla="*/ 8656277 h 154"/>
                <a:gd name="T102" fmla="*/ 0 w 133"/>
                <a:gd name="T103" fmla="*/ 7163665 h 154"/>
                <a:gd name="T104" fmla="*/ 0 w 133"/>
                <a:gd name="T105" fmla="*/ 5372748 h 154"/>
                <a:gd name="T106" fmla="*/ 1440089 w 133"/>
                <a:gd name="T107" fmla="*/ 4477290 h 154"/>
                <a:gd name="T108" fmla="*/ 4114346 w 133"/>
                <a:gd name="T109" fmla="*/ 3581832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29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740554" y="3021661"/>
              <a:ext cx="252680" cy="274869"/>
            </a:xfrm>
            <a:custGeom>
              <a:avLst/>
              <a:gdLst>
                <a:gd name="T0" fmla="*/ 25014653 w 485"/>
                <a:gd name="T1" fmla="*/ 95781962 h 468"/>
                <a:gd name="T2" fmla="*/ 31174991 w 485"/>
                <a:gd name="T3" fmla="*/ 92507668 h 468"/>
                <a:gd name="T4" fmla="*/ 37335329 w 485"/>
                <a:gd name="T5" fmla="*/ 92507668 h 468"/>
                <a:gd name="T6" fmla="*/ 42189112 w 485"/>
                <a:gd name="T7" fmla="*/ 94963388 h 468"/>
                <a:gd name="T8" fmla="*/ 41815811 w 485"/>
                <a:gd name="T9" fmla="*/ 89232853 h 468"/>
                <a:gd name="T10" fmla="*/ 41069208 w 485"/>
                <a:gd name="T11" fmla="*/ 86231243 h 468"/>
                <a:gd name="T12" fmla="*/ 43495667 w 485"/>
                <a:gd name="T13" fmla="*/ 82683743 h 468"/>
                <a:gd name="T14" fmla="*/ 44616003 w 485"/>
                <a:gd name="T15" fmla="*/ 75316061 h 468"/>
                <a:gd name="T16" fmla="*/ 45175956 w 485"/>
                <a:gd name="T17" fmla="*/ 67129283 h 468"/>
                <a:gd name="T18" fmla="*/ 50029738 w 485"/>
                <a:gd name="T19" fmla="*/ 69585525 h 468"/>
                <a:gd name="T20" fmla="*/ 56003426 w 485"/>
                <a:gd name="T21" fmla="*/ 64946246 h 468"/>
                <a:gd name="T22" fmla="*/ 58990269 w 485"/>
                <a:gd name="T23" fmla="*/ 59215711 h 468"/>
                <a:gd name="T24" fmla="*/ 54696439 w 485"/>
                <a:gd name="T25" fmla="*/ 52939285 h 468"/>
                <a:gd name="T26" fmla="*/ 59363571 w 485"/>
                <a:gd name="T27" fmla="*/ 54303748 h 468"/>
                <a:gd name="T28" fmla="*/ 64030271 w 485"/>
                <a:gd name="T29" fmla="*/ 55122322 h 468"/>
                <a:gd name="T30" fmla="*/ 64590223 w 485"/>
                <a:gd name="T31" fmla="*/ 50483565 h 468"/>
                <a:gd name="T32" fmla="*/ 55069740 w 485"/>
                <a:gd name="T33" fmla="*/ 26196959 h 468"/>
                <a:gd name="T34" fmla="*/ 53203233 w 485"/>
                <a:gd name="T35" fmla="*/ 14462681 h 468"/>
                <a:gd name="T36" fmla="*/ 54323137 w 485"/>
                <a:gd name="T37" fmla="*/ 5184646 h 468"/>
                <a:gd name="T38" fmla="*/ 58990269 w 485"/>
                <a:gd name="T39" fmla="*/ 272684 h 468"/>
                <a:gd name="T40" fmla="*/ 62723716 w 485"/>
                <a:gd name="T41" fmla="*/ 4911962 h 468"/>
                <a:gd name="T42" fmla="*/ 70377259 w 485"/>
                <a:gd name="T43" fmla="*/ 12279645 h 468"/>
                <a:gd name="T44" fmla="*/ 77471283 w 485"/>
                <a:gd name="T45" fmla="*/ 19647850 h 468"/>
                <a:gd name="T46" fmla="*/ 79524441 w 485"/>
                <a:gd name="T47" fmla="*/ 26742326 h 468"/>
                <a:gd name="T48" fmla="*/ 81391380 w 485"/>
                <a:gd name="T49" fmla="*/ 37384824 h 468"/>
                <a:gd name="T50" fmla="*/ 83071669 w 485"/>
                <a:gd name="T51" fmla="*/ 47208749 h 468"/>
                <a:gd name="T52" fmla="*/ 79897742 w 485"/>
                <a:gd name="T53" fmla="*/ 48845896 h 468"/>
                <a:gd name="T54" fmla="*/ 76910899 w 485"/>
                <a:gd name="T55" fmla="*/ 50483565 h 468"/>
                <a:gd name="T56" fmla="*/ 79524441 w 485"/>
                <a:gd name="T57" fmla="*/ 54303748 h 468"/>
                <a:gd name="T58" fmla="*/ 83071669 w 485"/>
                <a:gd name="T59" fmla="*/ 55395528 h 468"/>
                <a:gd name="T60" fmla="*/ 84938176 w 485"/>
                <a:gd name="T61" fmla="*/ 71495356 h 468"/>
                <a:gd name="T62" fmla="*/ 88671623 w 485"/>
                <a:gd name="T63" fmla="*/ 85139464 h 468"/>
                <a:gd name="T64" fmla="*/ 89605308 w 485"/>
                <a:gd name="T65" fmla="*/ 103968740 h 468"/>
                <a:gd name="T66" fmla="*/ 86431814 w 485"/>
                <a:gd name="T67" fmla="*/ 99329461 h 468"/>
                <a:gd name="T68" fmla="*/ 84564875 w 485"/>
                <a:gd name="T69" fmla="*/ 97146425 h 468"/>
                <a:gd name="T70" fmla="*/ 81391380 w 485"/>
                <a:gd name="T71" fmla="*/ 99056778 h 468"/>
                <a:gd name="T72" fmla="*/ 80084825 w 485"/>
                <a:gd name="T73" fmla="*/ 108880702 h 468"/>
                <a:gd name="T74" fmla="*/ 76164296 w 485"/>
                <a:gd name="T75" fmla="*/ 106151776 h 468"/>
                <a:gd name="T76" fmla="*/ 72617500 w 485"/>
                <a:gd name="T77" fmla="*/ 104241424 h 468"/>
                <a:gd name="T78" fmla="*/ 70190609 w 485"/>
                <a:gd name="T79" fmla="*/ 109699276 h 468"/>
                <a:gd name="T80" fmla="*/ 64403572 w 485"/>
                <a:gd name="T81" fmla="*/ 112700885 h 468"/>
                <a:gd name="T82" fmla="*/ 62350414 w 485"/>
                <a:gd name="T83" fmla="*/ 109153386 h 468"/>
                <a:gd name="T84" fmla="*/ 58243234 w 485"/>
                <a:gd name="T85" fmla="*/ 107788923 h 468"/>
                <a:gd name="T86" fmla="*/ 56563378 w 485"/>
                <a:gd name="T87" fmla="*/ 116248385 h 468"/>
                <a:gd name="T88" fmla="*/ 55816343 w 485"/>
                <a:gd name="T89" fmla="*/ 122797494 h 468"/>
                <a:gd name="T90" fmla="*/ 57309981 w 485"/>
                <a:gd name="T91" fmla="*/ 127163567 h 468"/>
                <a:gd name="T92" fmla="*/ 50776341 w 485"/>
                <a:gd name="T93" fmla="*/ 127709456 h 468"/>
                <a:gd name="T94" fmla="*/ 48162799 w 485"/>
                <a:gd name="T95" fmla="*/ 126890883 h 468"/>
                <a:gd name="T96" fmla="*/ 45549257 w 485"/>
                <a:gd name="T97" fmla="*/ 120068568 h 468"/>
                <a:gd name="T98" fmla="*/ 42749064 w 485"/>
                <a:gd name="T99" fmla="*/ 114065349 h 468"/>
                <a:gd name="T100" fmla="*/ 38082364 w 485"/>
                <a:gd name="T101" fmla="*/ 110790533 h 468"/>
                <a:gd name="T102" fmla="*/ 35468822 w 485"/>
                <a:gd name="T103" fmla="*/ 107516239 h 468"/>
                <a:gd name="T104" fmla="*/ 25387955 w 485"/>
                <a:gd name="T105" fmla="*/ 113792142 h 468"/>
                <a:gd name="T106" fmla="*/ 16801157 w 485"/>
                <a:gd name="T107" fmla="*/ 118704105 h 468"/>
                <a:gd name="T108" fmla="*/ 12134025 w 485"/>
                <a:gd name="T109" fmla="*/ 125253736 h 468"/>
                <a:gd name="T110" fmla="*/ 5040434 w 485"/>
                <a:gd name="T111" fmla="*/ 125799104 h 468"/>
                <a:gd name="T112" fmla="*/ 1306555 w 485"/>
                <a:gd name="T113" fmla="*/ 119523201 h 468"/>
                <a:gd name="T114" fmla="*/ 0 w 485"/>
                <a:gd name="T115" fmla="*/ 113792142 h 468"/>
                <a:gd name="T116" fmla="*/ 1306555 w 485"/>
                <a:gd name="T117" fmla="*/ 112700885 h 468"/>
                <a:gd name="T118" fmla="*/ 5040434 w 485"/>
                <a:gd name="T119" fmla="*/ 112973569 h 468"/>
                <a:gd name="T120" fmla="*/ 8960531 w 485"/>
                <a:gd name="T121" fmla="*/ 110517849 h 468"/>
                <a:gd name="T122" fmla="*/ 13440580 w 485"/>
                <a:gd name="T123" fmla="*/ 100693924 h 468"/>
                <a:gd name="T124" fmla="*/ 17361109 w 485"/>
                <a:gd name="T125" fmla="*/ 96055168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0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827078" y="1774043"/>
              <a:ext cx="130168" cy="67825"/>
            </a:xfrm>
            <a:custGeom>
              <a:avLst/>
              <a:gdLst>
                <a:gd name="T0" fmla="*/ 5199153 w 246"/>
                <a:gd name="T1" fmla="*/ 74267257 h 42"/>
                <a:gd name="T2" fmla="*/ 6932496 w 246"/>
                <a:gd name="T3" fmla="*/ 74267257 h 42"/>
                <a:gd name="T4" fmla="*/ 8665401 w 246"/>
                <a:gd name="T5" fmla="*/ 72204716 h 42"/>
                <a:gd name="T6" fmla="*/ 10206102 w 246"/>
                <a:gd name="T7" fmla="*/ 68078199 h 42"/>
                <a:gd name="T8" fmla="*/ 11361079 w 246"/>
                <a:gd name="T9" fmla="*/ 63953118 h 42"/>
                <a:gd name="T10" fmla="*/ 12709138 w 246"/>
                <a:gd name="T11" fmla="*/ 61889141 h 42"/>
                <a:gd name="T12" fmla="*/ 13864554 w 246"/>
                <a:gd name="T13" fmla="*/ 59826601 h 42"/>
                <a:gd name="T14" fmla="*/ 15405255 w 246"/>
                <a:gd name="T15" fmla="*/ 59826601 h 42"/>
                <a:gd name="T16" fmla="*/ 16752875 w 246"/>
                <a:gd name="T17" fmla="*/ 61889141 h 42"/>
                <a:gd name="T18" fmla="*/ 16752875 w 246"/>
                <a:gd name="T19" fmla="*/ 86645372 h 42"/>
                <a:gd name="T20" fmla="*/ 29654655 w 246"/>
                <a:gd name="T21" fmla="*/ 86645372 h 42"/>
                <a:gd name="T22" fmla="*/ 29654655 w 246"/>
                <a:gd name="T23" fmla="*/ 80456314 h 42"/>
                <a:gd name="T24" fmla="*/ 30039940 w 246"/>
                <a:gd name="T25" fmla="*/ 74267257 h 42"/>
                <a:gd name="T26" fmla="*/ 30617867 w 246"/>
                <a:gd name="T27" fmla="*/ 68078199 h 42"/>
                <a:gd name="T28" fmla="*/ 31387998 w 246"/>
                <a:gd name="T29" fmla="*/ 63953118 h 42"/>
                <a:gd name="T30" fmla="*/ 33698830 w 246"/>
                <a:gd name="T31" fmla="*/ 53637543 h 42"/>
                <a:gd name="T32" fmla="*/ 36587151 w 246"/>
                <a:gd name="T33" fmla="*/ 47448485 h 42"/>
                <a:gd name="T34" fmla="*/ 42556435 w 246"/>
                <a:gd name="T35" fmla="*/ 35070370 h 42"/>
                <a:gd name="T36" fmla="*/ 47370742 w 246"/>
                <a:gd name="T37" fmla="*/ 24756231 h 42"/>
                <a:gd name="T38" fmla="*/ 40823530 w 246"/>
                <a:gd name="T39" fmla="*/ 26818771 h 42"/>
                <a:gd name="T40" fmla="*/ 35817020 w 246"/>
                <a:gd name="T41" fmla="*/ 28881312 h 42"/>
                <a:gd name="T42" fmla="*/ 34276319 w 246"/>
                <a:gd name="T43" fmla="*/ 30945289 h 42"/>
                <a:gd name="T44" fmla="*/ 32928261 w 246"/>
                <a:gd name="T45" fmla="*/ 30945289 h 42"/>
                <a:gd name="T46" fmla="*/ 32350772 w 246"/>
                <a:gd name="T47" fmla="*/ 28881312 h 42"/>
                <a:gd name="T48" fmla="*/ 32158129 w 246"/>
                <a:gd name="T49" fmla="*/ 24756231 h 42"/>
                <a:gd name="T50" fmla="*/ 30617867 w 246"/>
                <a:gd name="T51" fmla="*/ 33007829 h 42"/>
                <a:gd name="T52" fmla="*/ 29269809 w 246"/>
                <a:gd name="T53" fmla="*/ 35070370 h 42"/>
                <a:gd name="T54" fmla="*/ 28307035 w 246"/>
                <a:gd name="T55" fmla="*/ 35070370 h 42"/>
                <a:gd name="T56" fmla="*/ 27151619 w 246"/>
                <a:gd name="T57" fmla="*/ 30945289 h 42"/>
                <a:gd name="T58" fmla="*/ 26381049 w 246"/>
                <a:gd name="T59" fmla="*/ 24756231 h 42"/>
                <a:gd name="T60" fmla="*/ 25610918 w 246"/>
                <a:gd name="T61" fmla="*/ 18567173 h 42"/>
                <a:gd name="T62" fmla="*/ 24840787 w 246"/>
                <a:gd name="T63" fmla="*/ 10315575 h 42"/>
                <a:gd name="T64" fmla="*/ 24262860 w 246"/>
                <a:gd name="T65" fmla="*/ 0 h 42"/>
                <a:gd name="T66" fmla="*/ 23300086 w 246"/>
                <a:gd name="T67" fmla="*/ 4126517 h 42"/>
                <a:gd name="T68" fmla="*/ 21759824 w 246"/>
                <a:gd name="T69" fmla="*/ 8251598 h 42"/>
                <a:gd name="T70" fmla="*/ 19834277 w 246"/>
                <a:gd name="T71" fmla="*/ 10315575 h 42"/>
                <a:gd name="T72" fmla="*/ 17908291 w 246"/>
                <a:gd name="T73" fmla="*/ 10315575 h 42"/>
                <a:gd name="T74" fmla="*/ 14249839 w 246"/>
                <a:gd name="T75" fmla="*/ 12378115 h 42"/>
                <a:gd name="T76" fmla="*/ 11553722 w 246"/>
                <a:gd name="T77" fmla="*/ 12378115 h 42"/>
                <a:gd name="T78" fmla="*/ 11168876 w 246"/>
                <a:gd name="T79" fmla="*/ 18567173 h 42"/>
                <a:gd name="T80" fmla="*/ 10783591 w 246"/>
                <a:gd name="T81" fmla="*/ 24756231 h 42"/>
                <a:gd name="T82" fmla="*/ 10398306 w 246"/>
                <a:gd name="T83" fmla="*/ 30945289 h 42"/>
                <a:gd name="T84" fmla="*/ 9628175 w 246"/>
                <a:gd name="T85" fmla="*/ 35070370 h 42"/>
                <a:gd name="T86" fmla="*/ 8087474 w 246"/>
                <a:gd name="T87" fmla="*/ 41259427 h 42"/>
                <a:gd name="T88" fmla="*/ 6354569 w 246"/>
                <a:gd name="T89" fmla="*/ 45385945 h 42"/>
                <a:gd name="T90" fmla="*/ 2695678 w 246"/>
                <a:gd name="T91" fmla="*/ 49511026 h 42"/>
                <a:gd name="T92" fmla="*/ 0 w 246"/>
                <a:gd name="T93" fmla="*/ 49511026 h 42"/>
                <a:gd name="T94" fmla="*/ 192642 w 246"/>
                <a:gd name="T95" fmla="*/ 55700083 h 42"/>
                <a:gd name="T96" fmla="*/ 577489 w 246"/>
                <a:gd name="T97" fmla="*/ 59826601 h 42"/>
                <a:gd name="T98" fmla="*/ 962774 w 246"/>
                <a:gd name="T99" fmla="*/ 63953118 h 42"/>
                <a:gd name="T100" fmla="*/ 1732905 w 246"/>
                <a:gd name="T101" fmla="*/ 68078199 h 42"/>
                <a:gd name="T102" fmla="*/ 3273606 w 246"/>
                <a:gd name="T103" fmla="*/ 72204716 h 42"/>
                <a:gd name="T104" fmla="*/ 5199153 w 246"/>
                <a:gd name="T105" fmla="*/ 7426725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1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999360" y="1754410"/>
              <a:ext cx="76570" cy="64255"/>
            </a:xfrm>
            <a:custGeom>
              <a:avLst/>
              <a:gdLst>
                <a:gd name="T0" fmla="*/ 18707356 w 149"/>
                <a:gd name="T1" fmla="*/ 0 h 61"/>
                <a:gd name="T2" fmla="*/ 21431889 w 149"/>
                <a:gd name="T3" fmla="*/ 877861 h 61"/>
                <a:gd name="T4" fmla="*/ 24337547 w 149"/>
                <a:gd name="T5" fmla="*/ 2633584 h 61"/>
                <a:gd name="T6" fmla="*/ 26335453 w 149"/>
                <a:gd name="T7" fmla="*/ 4388370 h 61"/>
                <a:gd name="T8" fmla="*/ 27062081 w 149"/>
                <a:gd name="T9" fmla="*/ 5266232 h 61"/>
                <a:gd name="T10" fmla="*/ 27062081 w 149"/>
                <a:gd name="T11" fmla="*/ 7021955 h 61"/>
                <a:gd name="T12" fmla="*/ 26698980 w 149"/>
                <a:gd name="T13" fmla="*/ 8777678 h 61"/>
                <a:gd name="T14" fmla="*/ 26335453 w 149"/>
                <a:gd name="T15" fmla="*/ 10533401 h 61"/>
                <a:gd name="T16" fmla="*/ 25609252 w 149"/>
                <a:gd name="T17" fmla="*/ 11411262 h 61"/>
                <a:gd name="T18" fmla="*/ 24882624 w 149"/>
                <a:gd name="T19" fmla="*/ 12288187 h 61"/>
                <a:gd name="T20" fmla="*/ 23974446 w 149"/>
                <a:gd name="T21" fmla="*/ 12288187 h 61"/>
                <a:gd name="T22" fmla="*/ 23066268 w 149"/>
                <a:gd name="T23" fmla="*/ 12288187 h 61"/>
                <a:gd name="T24" fmla="*/ 22339641 w 149"/>
                <a:gd name="T25" fmla="*/ 10533401 h 61"/>
                <a:gd name="T26" fmla="*/ 22339641 w 149"/>
                <a:gd name="T27" fmla="*/ 20188003 h 61"/>
                <a:gd name="T28" fmla="*/ 22339641 w 149"/>
                <a:gd name="T29" fmla="*/ 28965681 h 61"/>
                <a:gd name="T30" fmla="*/ 22339641 w 149"/>
                <a:gd name="T31" fmla="*/ 35987636 h 61"/>
                <a:gd name="T32" fmla="*/ 22339641 w 149"/>
                <a:gd name="T33" fmla="*/ 43009591 h 61"/>
                <a:gd name="T34" fmla="*/ 21068362 w 149"/>
                <a:gd name="T35" fmla="*/ 43887452 h 61"/>
                <a:gd name="T36" fmla="*/ 19797084 w 149"/>
                <a:gd name="T37" fmla="*/ 44765314 h 61"/>
                <a:gd name="T38" fmla="*/ 18888906 w 149"/>
                <a:gd name="T39" fmla="*/ 46521037 h 61"/>
                <a:gd name="T40" fmla="*/ 18162279 w 149"/>
                <a:gd name="T41" fmla="*/ 48276760 h 61"/>
                <a:gd name="T42" fmla="*/ 17072550 w 149"/>
                <a:gd name="T43" fmla="*/ 50031546 h 61"/>
                <a:gd name="T44" fmla="*/ 16164799 w 149"/>
                <a:gd name="T45" fmla="*/ 51787269 h 61"/>
                <a:gd name="T46" fmla="*/ 15074644 w 149"/>
                <a:gd name="T47" fmla="*/ 53542992 h 61"/>
                <a:gd name="T48" fmla="*/ 13803366 w 149"/>
                <a:gd name="T49" fmla="*/ 53542992 h 61"/>
                <a:gd name="T50" fmla="*/ 12168987 w 149"/>
                <a:gd name="T51" fmla="*/ 52665130 h 61"/>
                <a:gd name="T52" fmla="*/ 9626003 w 149"/>
                <a:gd name="T53" fmla="*/ 50031546 h 61"/>
                <a:gd name="T54" fmla="*/ 7083446 w 149"/>
                <a:gd name="T55" fmla="*/ 47398898 h 61"/>
                <a:gd name="T56" fmla="*/ 4540463 w 149"/>
                <a:gd name="T57" fmla="*/ 43009591 h 61"/>
                <a:gd name="T58" fmla="*/ 2179456 w 149"/>
                <a:gd name="T59" fmla="*/ 39499082 h 61"/>
                <a:gd name="T60" fmla="*/ 545077 w 149"/>
                <a:gd name="T61" fmla="*/ 35987636 h 61"/>
                <a:gd name="T62" fmla="*/ 181550 w 149"/>
                <a:gd name="T63" fmla="*/ 34232850 h 61"/>
                <a:gd name="T64" fmla="*/ 0 w 149"/>
                <a:gd name="T65" fmla="*/ 33354989 h 61"/>
                <a:gd name="T66" fmla="*/ 0 w 149"/>
                <a:gd name="T67" fmla="*/ 32477127 h 61"/>
                <a:gd name="T68" fmla="*/ 545077 w 149"/>
                <a:gd name="T69" fmla="*/ 32477127 h 61"/>
                <a:gd name="T70" fmla="*/ 3450735 w 149"/>
                <a:gd name="T71" fmla="*/ 31599266 h 61"/>
                <a:gd name="T72" fmla="*/ 6356819 w 149"/>
                <a:gd name="T73" fmla="*/ 30721404 h 61"/>
                <a:gd name="T74" fmla="*/ 8717826 w 149"/>
                <a:gd name="T75" fmla="*/ 28087820 h 61"/>
                <a:gd name="T76" fmla="*/ 10897282 w 149"/>
                <a:gd name="T77" fmla="*/ 23699449 h 61"/>
                <a:gd name="T78" fmla="*/ 13077164 w 149"/>
                <a:gd name="T79" fmla="*/ 19310142 h 61"/>
                <a:gd name="T80" fmla="*/ 14893094 w 149"/>
                <a:gd name="T81" fmla="*/ 14043910 h 61"/>
                <a:gd name="T82" fmla="*/ 16891000 w 149"/>
                <a:gd name="T83" fmla="*/ 7021955 h 61"/>
                <a:gd name="T84" fmla="*/ 1870735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2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043387" y="1763334"/>
              <a:ext cx="156968" cy="64255"/>
            </a:xfrm>
            <a:custGeom>
              <a:avLst/>
              <a:gdLst>
                <a:gd name="T0" fmla="*/ 25209542 w 299"/>
                <a:gd name="T1" fmla="*/ 42943591 h 74"/>
                <a:gd name="T2" fmla="*/ 29190111 w 299"/>
                <a:gd name="T3" fmla="*/ 38768552 h 74"/>
                <a:gd name="T4" fmla="*/ 33738835 w 299"/>
                <a:gd name="T5" fmla="*/ 32207886 h 74"/>
                <a:gd name="T6" fmla="*/ 37719404 w 299"/>
                <a:gd name="T7" fmla="*/ 25050235 h 74"/>
                <a:gd name="T8" fmla="*/ 39235790 w 299"/>
                <a:gd name="T9" fmla="*/ 23857808 h 74"/>
                <a:gd name="T10" fmla="*/ 39994201 w 299"/>
                <a:gd name="T11" fmla="*/ 27436634 h 74"/>
                <a:gd name="T12" fmla="*/ 41699972 w 299"/>
                <a:gd name="T13" fmla="*/ 30418474 h 74"/>
                <a:gd name="T14" fmla="*/ 46059311 w 299"/>
                <a:gd name="T15" fmla="*/ 32804100 h 74"/>
                <a:gd name="T16" fmla="*/ 50987675 w 299"/>
                <a:gd name="T17" fmla="*/ 32804100 h 74"/>
                <a:gd name="T18" fmla="*/ 54209833 w 299"/>
                <a:gd name="T19" fmla="*/ 32804100 h 74"/>
                <a:gd name="T20" fmla="*/ 55536835 w 299"/>
                <a:gd name="T21" fmla="*/ 27436634 h 74"/>
                <a:gd name="T22" fmla="*/ 56484630 w 299"/>
                <a:gd name="T23" fmla="*/ 18489570 h 74"/>
                <a:gd name="T24" fmla="*/ 52883267 w 299"/>
                <a:gd name="T25" fmla="*/ 14910744 h 74"/>
                <a:gd name="T26" fmla="*/ 46249131 w 299"/>
                <a:gd name="T27" fmla="*/ 14910744 h 74"/>
                <a:gd name="T28" fmla="*/ 42647768 w 299"/>
                <a:gd name="T29" fmla="*/ 14910744 h 74"/>
                <a:gd name="T30" fmla="*/ 40562791 w 299"/>
                <a:gd name="T31" fmla="*/ 16103943 h 74"/>
                <a:gd name="T32" fmla="*/ 38667199 w 299"/>
                <a:gd name="T33" fmla="*/ 19682769 h 74"/>
                <a:gd name="T34" fmla="*/ 32601654 w 299"/>
                <a:gd name="T35" fmla="*/ 22068395 h 74"/>
                <a:gd name="T36" fmla="*/ 33360065 w 299"/>
                <a:gd name="T37" fmla="*/ 16700157 h 74"/>
                <a:gd name="T38" fmla="*/ 34118040 w 299"/>
                <a:gd name="T39" fmla="*/ 12525118 h 74"/>
                <a:gd name="T40" fmla="*/ 36771608 w 299"/>
                <a:gd name="T41" fmla="*/ 7753865 h 74"/>
                <a:gd name="T42" fmla="*/ 39804380 w 299"/>
                <a:gd name="T43" fmla="*/ 5368239 h 74"/>
                <a:gd name="T44" fmla="*/ 42647768 w 299"/>
                <a:gd name="T45" fmla="*/ 0 h 74"/>
                <a:gd name="T46" fmla="*/ 35065836 w 299"/>
                <a:gd name="T47" fmla="*/ 1789413 h 74"/>
                <a:gd name="T48" fmla="*/ 29758702 w 299"/>
                <a:gd name="T49" fmla="*/ 6560666 h 74"/>
                <a:gd name="T50" fmla="*/ 25398928 w 299"/>
                <a:gd name="T51" fmla="*/ 14910744 h 74"/>
                <a:gd name="T52" fmla="*/ 21608179 w 299"/>
                <a:gd name="T53" fmla="*/ 23857808 h 74"/>
                <a:gd name="T54" fmla="*/ 18954612 w 299"/>
                <a:gd name="T55" fmla="*/ 31611673 h 74"/>
                <a:gd name="T56" fmla="*/ 16490430 w 299"/>
                <a:gd name="T57" fmla="*/ 35190499 h 74"/>
                <a:gd name="T58" fmla="*/ 12131091 w 299"/>
                <a:gd name="T59" fmla="*/ 37576125 h 74"/>
                <a:gd name="T60" fmla="*/ 6065545 w 299"/>
                <a:gd name="T61" fmla="*/ 38172339 h 74"/>
                <a:gd name="T62" fmla="*/ 2274362 w 299"/>
                <a:gd name="T63" fmla="*/ 39961751 h 74"/>
                <a:gd name="T64" fmla="*/ 379205 w 299"/>
                <a:gd name="T65" fmla="*/ 41751164 h 74"/>
                <a:gd name="T66" fmla="*/ 7392111 w 299"/>
                <a:gd name="T67" fmla="*/ 44136791 h 74"/>
                <a:gd name="T68" fmla="*/ 19333817 w 299"/>
                <a:gd name="T69" fmla="*/ 44136791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3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686572" y="1972163"/>
              <a:ext cx="49770" cy="64255"/>
            </a:xfrm>
            <a:custGeom>
              <a:avLst/>
              <a:gdLst>
                <a:gd name="T0" fmla="*/ 15843822 w 100"/>
                <a:gd name="T1" fmla="*/ 0 h 42"/>
                <a:gd name="T2" fmla="*/ 16525272 w 100"/>
                <a:gd name="T3" fmla="*/ 12960804 h 42"/>
                <a:gd name="T4" fmla="*/ 17036256 w 100"/>
                <a:gd name="T5" fmla="*/ 33327975 h 42"/>
                <a:gd name="T6" fmla="*/ 15673356 w 100"/>
                <a:gd name="T7" fmla="*/ 44436846 h 42"/>
                <a:gd name="T8" fmla="*/ 14651387 w 100"/>
                <a:gd name="T9" fmla="*/ 53695146 h 42"/>
                <a:gd name="T10" fmla="*/ 13458539 w 100"/>
                <a:gd name="T11" fmla="*/ 62952086 h 42"/>
                <a:gd name="T12" fmla="*/ 12266105 w 100"/>
                <a:gd name="T13" fmla="*/ 68506521 h 42"/>
                <a:gd name="T14" fmla="*/ 11073670 w 100"/>
                <a:gd name="T15" fmla="*/ 72210386 h 42"/>
                <a:gd name="T16" fmla="*/ 9710769 w 100"/>
                <a:gd name="T17" fmla="*/ 75912889 h 42"/>
                <a:gd name="T18" fmla="*/ 8347869 w 100"/>
                <a:gd name="T19" fmla="*/ 77764821 h 42"/>
                <a:gd name="T20" fmla="*/ 6814503 w 100"/>
                <a:gd name="T21" fmla="*/ 77764821 h 42"/>
                <a:gd name="T22" fmla="*/ 4599686 w 100"/>
                <a:gd name="T23" fmla="*/ 75912889 h 42"/>
                <a:gd name="T24" fmla="*/ 2044351 w 100"/>
                <a:gd name="T25" fmla="*/ 72210386 h 42"/>
                <a:gd name="T26" fmla="*/ 170466 w 100"/>
                <a:gd name="T27" fmla="*/ 68506521 h 42"/>
                <a:gd name="T28" fmla="*/ 0 w 100"/>
                <a:gd name="T29" fmla="*/ 66655950 h 42"/>
                <a:gd name="T30" fmla="*/ 1022382 w 100"/>
                <a:gd name="T31" fmla="*/ 66655950 h 42"/>
                <a:gd name="T32" fmla="*/ 2044351 w 100"/>
                <a:gd name="T33" fmla="*/ 64804018 h 42"/>
                <a:gd name="T34" fmla="*/ 3066733 w 100"/>
                <a:gd name="T35" fmla="*/ 61101514 h 42"/>
                <a:gd name="T36" fmla="*/ 3918236 w 100"/>
                <a:gd name="T37" fmla="*/ 55545718 h 42"/>
                <a:gd name="T38" fmla="*/ 5622068 w 100"/>
                <a:gd name="T39" fmla="*/ 46288779 h 42"/>
                <a:gd name="T40" fmla="*/ 7495953 w 100"/>
                <a:gd name="T41" fmla="*/ 33327975 h 42"/>
                <a:gd name="T42" fmla="*/ 9369838 w 100"/>
                <a:gd name="T43" fmla="*/ 20367171 h 42"/>
                <a:gd name="T44" fmla="*/ 11244136 w 100"/>
                <a:gd name="T45" fmla="*/ 9258300 h 42"/>
                <a:gd name="T46" fmla="*/ 12266105 w 100"/>
                <a:gd name="T47" fmla="*/ 5554436 h 42"/>
                <a:gd name="T48" fmla="*/ 13458539 w 100"/>
                <a:gd name="T49" fmla="*/ 1851932 h 42"/>
                <a:gd name="T50" fmla="*/ 14651387 w 100"/>
                <a:gd name="T51" fmla="*/ 0 h 42"/>
                <a:gd name="T52" fmla="*/ 15843822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4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577461" y="1813310"/>
              <a:ext cx="19142" cy="66040"/>
            </a:xfrm>
            <a:custGeom>
              <a:avLst/>
              <a:gdLst>
                <a:gd name="T0" fmla="*/ 6300391 w 40"/>
                <a:gd name="T1" fmla="*/ 690030529 h 5"/>
                <a:gd name="T2" fmla="*/ 0 w 40"/>
                <a:gd name="T3" fmla="*/ 690030529 h 5"/>
                <a:gd name="T4" fmla="*/ 787400 w 40"/>
                <a:gd name="T5" fmla="*/ 414020667 h 5"/>
                <a:gd name="T6" fmla="*/ 1417638 w 40"/>
                <a:gd name="T7" fmla="*/ 138010805 h 5"/>
                <a:gd name="T8" fmla="*/ 2362597 w 40"/>
                <a:gd name="T9" fmla="*/ 0 h 5"/>
                <a:gd name="T10" fmla="*/ 3150394 w 40"/>
                <a:gd name="T11" fmla="*/ 0 h 5"/>
                <a:gd name="T12" fmla="*/ 3937794 w 40"/>
                <a:gd name="T13" fmla="*/ 0 h 5"/>
                <a:gd name="T14" fmla="*/ 4725194 w 40"/>
                <a:gd name="T15" fmla="*/ 138010805 h 5"/>
                <a:gd name="T16" fmla="*/ 5512991 w 40"/>
                <a:gd name="T17" fmla="*/ 414020667 h 5"/>
                <a:gd name="T18" fmla="*/ 6300391 w 40"/>
                <a:gd name="T19" fmla="*/ 690030529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5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604260" y="1766903"/>
              <a:ext cx="17228" cy="67825"/>
            </a:xfrm>
            <a:custGeom>
              <a:avLst/>
              <a:gdLst>
                <a:gd name="T0" fmla="*/ 0 w 33"/>
                <a:gd name="T1" fmla="*/ 71948265 h 31"/>
                <a:gd name="T2" fmla="*/ 3748822 w 33"/>
                <a:gd name="T3" fmla="*/ 0 h 31"/>
                <a:gd name="T4" fmla="*/ 3748822 w 33"/>
                <a:gd name="T5" fmla="*/ 15147413 h 31"/>
                <a:gd name="T6" fmla="*/ 4123748 w 33"/>
                <a:gd name="T7" fmla="*/ 37868532 h 31"/>
                <a:gd name="T8" fmla="*/ 4685703 w 33"/>
                <a:gd name="T9" fmla="*/ 53015945 h 31"/>
                <a:gd name="T10" fmla="*/ 5060629 w 33"/>
                <a:gd name="T11" fmla="*/ 68161412 h 31"/>
                <a:gd name="T12" fmla="*/ 5810480 w 33"/>
                <a:gd name="T13" fmla="*/ 98456238 h 31"/>
                <a:gd name="T14" fmla="*/ 6185405 w 33"/>
                <a:gd name="T15" fmla="*/ 117390504 h 31"/>
                <a:gd name="T16" fmla="*/ 0 w 33"/>
                <a:gd name="T17" fmla="*/ 117390504 h 31"/>
                <a:gd name="T18" fmla="*/ 0 w 33"/>
                <a:gd name="T19" fmla="*/ 94669385 h 31"/>
                <a:gd name="T20" fmla="*/ 0 w 33"/>
                <a:gd name="T21" fmla="*/ 71948265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6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778456" y="1897199"/>
              <a:ext cx="21057" cy="64255"/>
            </a:xfrm>
            <a:custGeom>
              <a:avLst/>
              <a:gdLst>
                <a:gd name="T0" fmla="*/ 7437960 w 41"/>
                <a:gd name="T1" fmla="*/ 0 h 43"/>
                <a:gd name="T2" fmla="*/ 7437960 w 41"/>
                <a:gd name="T3" fmla="*/ 75956337 h 43"/>
                <a:gd name="T4" fmla="*/ 5623938 w 41"/>
                <a:gd name="T5" fmla="*/ 74190003 h 43"/>
                <a:gd name="T6" fmla="*/ 4353824 w 41"/>
                <a:gd name="T7" fmla="*/ 70657336 h 43"/>
                <a:gd name="T8" fmla="*/ 3265581 w 41"/>
                <a:gd name="T9" fmla="*/ 65358335 h 43"/>
                <a:gd name="T10" fmla="*/ 2358357 w 41"/>
                <a:gd name="T11" fmla="*/ 58291671 h 43"/>
                <a:gd name="T12" fmla="*/ 907224 w 41"/>
                <a:gd name="T13" fmla="*/ 44161001 h 43"/>
                <a:gd name="T14" fmla="*/ 0 w 41"/>
                <a:gd name="T15" fmla="*/ 33561670 h 43"/>
                <a:gd name="T16" fmla="*/ 2176912 w 41"/>
                <a:gd name="T17" fmla="*/ 22963667 h 43"/>
                <a:gd name="T18" fmla="*/ 4535269 w 41"/>
                <a:gd name="T19" fmla="*/ 12364336 h 43"/>
                <a:gd name="T20" fmla="*/ 6530736 w 41"/>
                <a:gd name="T21" fmla="*/ 3532667 h 43"/>
                <a:gd name="T22" fmla="*/ 7437960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7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843540" y="1766903"/>
              <a:ext cx="112941" cy="67825"/>
            </a:xfrm>
            <a:custGeom>
              <a:avLst/>
              <a:gdLst>
                <a:gd name="T0" fmla="*/ 11795382 w 213"/>
                <a:gd name="T1" fmla="*/ 0 h 62"/>
                <a:gd name="T2" fmla="*/ 16049353 w 213"/>
                <a:gd name="T3" fmla="*/ 0 h 62"/>
                <a:gd name="T4" fmla="*/ 20303324 w 213"/>
                <a:gd name="T5" fmla="*/ 946713 h 62"/>
                <a:gd name="T6" fmla="*/ 24557295 w 213"/>
                <a:gd name="T7" fmla="*/ 2840140 h 62"/>
                <a:gd name="T8" fmla="*/ 28231259 w 213"/>
                <a:gd name="T9" fmla="*/ 6626993 h 62"/>
                <a:gd name="T10" fmla="*/ 32098706 w 213"/>
                <a:gd name="T11" fmla="*/ 10413846 h 62"/>
                <a:gd name="T12" fmla="*/ 35579188 w 213"/>
                <a:gd name="T13" fmla="*/ 15147413 h 62"/>
                <a:gd name="T14" fmla="*/ 36932684 w 213"/>
                <a:gd name="T15" fmla="*/ 17987553 h 62"/>
                <a:gd name="T16" fmla="*/ 38479663 w 213"/>
                <a:gd name="T17" fmla="*/ 21774406 h 62"/>
                <a:gd name="T18" fmla="*/ 40026641 w 213"/>
                <a:gd name="T19" fmla="*/ 25561259 h 62"/>
                <a:gd name="T20" fmla="*/ 41186655 w 213"/>
                <a:gd name="T21" fmla="*/ 29348113 h 62"/>
                <a:gd name="T22" fmla="*/ 40800130 w 213"/>
                <a:gd name="T23" fmla="*/ 33133993 h 62"/>
                <a:gd name="T24" fmla="*/ 40026641 w 213"/>
                <a:gd name="T25" fmla="*/ 35974133 h 62"/>
                <a:gd name="T26" fmla="*/ 38866187 w 213"/>
                <a:gd name="T27" fmla="*/ 38814273 h 62"/>
                <a:gd name="T28" fmla="*/ 37706173 w 213"/>
                <a:gd name="T29" fmla="*/ 41654413 h 62"/>
                <a:gd name="T30" fmla="*/ 34225691 w 213"/>
                <a:gd name="T31" fmla="*/ 46387979 h 62"/>
                <a:gd name="T32" fmla="*/ 30164763 w 213"/>
                <a:gd name="T33" fmla="*/ 50174832 h 62"/>
                <a:gd name="T34" fmla="*/ 26104274 w 213"/>
                <a:gd name="T35" fmla="*/ 53961685 h 62"/>
                <a:gd name="T36" fmla="*/ 22043345 w 213"/>
                <a:gd name="T37" fmla="*/ 55855112 h 62"/>
                <a:gd name="T38" fmla="*/ 18369821 w 213"/>
                <a:gd name="T39" fmla="*/ 58695252 h 62"/>
                <a:gd name="T40" fmla="*/ 15469346 w 213"/>
                <a:gd name="T41" fmla="*/ 58695252 h 62"/>
                <a:gd name="T42" fmla="*/ 11988424 w 213"/>
                <a:gd name="T43" fmla="*/ 58695252 h 62"/>
                <a:gd name="T44" fmla="*/ 8314460 w 213"/>
                <a:gd name="T45" fmla="*/ 55855112 h 62"/>
                <a:gd name="T46" fmla="*/ 6380957 w 213"/>
                <a:gd name="T47" fmla="*/ 55855112 h 62"/>
                <a:gd name="T48" fmla="*/ 4447453 w 213"/>
                <a:gd name="T49" fmla="*/ 55855112 h 62"/>
                <a:gd name="T50" fmla="*/ 2320468 w 213"/>
                <a:gd name="T51" fmla="*/ 56801825 h 62"/>
                <a:gd name="T52" fmla="*/ 0 w 213"/>
                <a:gd name="T53" fmla="*/ 58695252 h 62"/>
                <a:gd name="T54" fmla="*/ 1160014 w 213"/>
                <a:gd name="T55" fmla="*/ 47334692 h 62"/>
                <a:gd name="T56" fmla="*/ 2126986 w 213"/>
                <a:gd name="T57" fmla="*/ 36920846 h 62"/>
                <a:gd name="T58" fmla="*/ 3287000 w 213"/>
                <a:gd name="T59" fmla="*/ 27454686 h 62"/>
                <a:gd name="T60" fmla="*/ 4447453 w 213"/>
                <a:gd name="T61" fmla="*/ 18934266 h 62"/>
                <a:gd name="T62" fmla="*/ 5220943 w 213"/>
                <a:gd name="T63" fmla="*/ 15147413 h 62"/>
                <a:gd name="T64" fmla="*/ 5800950 w 213"/>
                <a:gd name="T65" fmla="*/ 11360560 h 62"/>
                <a:gd name="T66" fmla="*/ 6574439 w 213"/>
                <a:gd name="T67" fmla="*/ 8520420 h 62"/>
                <a:gd name="T68" fmla="*/ 7541411 w 213"/>
                <a:gd name="T69" fmla="*/ 5680280 h 62"/>
                <a:gd name="T70" fmla="*/ 8314460 w 213"/>
                <a:gd name="T71" fmla="*/ 2840140 h 62"/>
                <a:gd name="T72" fmla="*/ 9474914 w 213"/>
                <a:gd name="T73" fmla="*/ 946713 h 62"/>
                <a:gd name="T74" fmla="*/ 10441885 w 213"/>
                <a:gd name="T75" fmla="*/ 0 h 62"/>
                <a:gd name="T76" fmla="*/ 11795382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8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916281" y="1795461"/>
              <a:ext cx="124426" cy="67825"/>
            </a:xfrm>
            <a:custGeom>
              <a:avLst/>
              <a:gdLst>
                <a:gd name="T0" fmla="*/ 7642820 w 239"/>
                <a:gd name="T1" fmla="*/ 0 h 56"/>
                <a:gd name="T2" fmla="*/ 5592012 w 239"/>
                <a:gd name="T3" fmla="*/ 3481614 h 56"/>
                <a:gd name="T4" fmla="*/ 4287267 w 239"/>
                <a:gd name="T5" fmla="*/ 5801972 h 56"/>
                <a:gd name="T6" fmla="*/ 3541637 w 239"/>
                <a:gd name="T7" fmla="*/ 8123408 h 56"/>
                <a:gd name="T8" fmla="*/ 2796006 w 239"/>
                <a:gd name="T9" fmla="*/ 10443766 h 56"/>
                <a:gd name="T10" fmla="*/ 2423407 w 239"/>
                <a:gd name="T11" fmla="*/ 15085559 h 56"/>
                <a:gd name="T12" fmla="*/ 1863860 w 239"/>
                <a:gd name="T13" fmla="*/ 17405917 h 56"/>
                <a:gd name="T14" fmla="*/ 1304745 w 239"/>
                <a:gd name="T15" fmla="*/ 19727352 h 56"/>
                <a:gd name="T16" fmla="*/ 0 w 239"/>
                <a:gd name="T17" fmla="*/ 22047710 h 56"/>
                <a:gd name="T18" fmla="*/ 372599 w 239"/>
                <a:gd name="T19" fmla="*/ 27850760 h 56"/>
                <a:gd name="T20" fmla="*/ 932146 w 239"/>
                <a:gd name="T21" fmla="*/ 31331297 h 56"/>
                <a:gd name="T22" fmla="*/ 1304745 w 239"/>
                <a:gd name="T23" fmla="*/ 34812911 h 56"/>
                <a:gd name="T24" fmla="*/ 1863860 w 239"/>
                <a:gd name="T25" fmla="*/ 38294525 h 56"/>
                <a:gd name="T26" fmla="*/ 3169037 w 239"/>
                <a:gd name="T27" fmla="*/ 41775063 h 56"/>
                <a:gd name="T28" fmla="*/ 4473783 w 239"/>
                <a:gd name="T29" fmla="*/ 44096498 h 56"/>
                <a:gd name="T30" fmla="*/ 7642820 w 239"/>
                <a:gd name="T31" fmla="*/ 44096498 h 56"/>
                <a:gd name="T32" fmla="*/ 10065795 w 239"/>
                <a:gd name="T33" fmla="*/ 44096498 h 56"/>
                <a:gd name="T34" fmla="*/ 28520472 w 239"/>
                <a:gd name="T35" fmla="*/ 44096498 h 56"/>
                <a:gd name="T36" fmla="*/ 28893072 w 239"/>
                <a:gd name="T37" fmla="*/ 47578112 h 56"/>
                <a:gd name="T38" fmla="*/ 29079587 w 239"/>
                <a:gd name="T39" fmla="*/ 51058649 h 56"/>
                <a:gd name="T40" fmla="*/ 29638702 w 239"/>
                <a:gd name="T41" fmla="*/ 53380084 h 56"/>
                <a:gd name="T42" fmla="*/ 30197817 w 239"/>
                <a:gd name="T43" fmla="*/ 55700442 h 56"/>
                <a:gd name="T44" fmla="*/ 31129963 w 239"/>
                <a:gd name="T45" fmla="*/ 59182057 h 56"/>
                <a:gd name="T46" fmla="*/ 32434708 w 239"/>
                <a:gd name="T47" fmla="*/ 62663671 h 56"/>
                <a:gd name="T48" fmla="*/ 35044631 w 239"/>
                <a:gd name="T49" fmla="*/ 64984029 h 56"/>
                <a:gd name="T50" fmla="*/ 37281522 w 239"/>
                <a:gd name="T51" fmla="*/ 64984029 h 56"/>
                <a:gd name="T52" fmla="*/ 38027153 w 239"/>
                <a:gd name="T53" fmla="*/ 63823850 h 56"/>
                <a:gd name="T54" fmla="*/ 39145382 w 239"/>
                <a:gd name="T55" fmla="*/ 62663671 h 56"/>
                <a:gd name="T56" fmla="*/ 39891013 w 239"/>
                <a:gd name="T57" fmla="*/ 60342236 h 56"/>
                <a:gd name="T58" fmla="*/ 41009674 w 239"/>
                <a:gd name="T59" fmla="*/ 56860621 h 56"/>
                <a:gd name="T60" fmla="*/ 42873535 w 239"/>
                <a:gd name="T61" fmla="*/ 49898470 h 56"/>
                <a:gd name="T62" fmla="*/ 44551311 w 239"/>
                <a:gd name="T63" fmla="*/ 44096498 h 56"/>
                <a:gd name="T64" fmla="*/ 43246566 w 239"/>
                <a:gd name="T65" fmla="*/ 42936319 h 56"/>
                <a:gd name="T66" fmla="*/ 41941820 w 239"/>
                <a:gd name="T67" fmla="*/ 41775063 h 56"/>
                <a:gd name="T68" fmla="*/ 40823159 w 239"/>
                <a:gd name="T69" fmla="*/ 39454704 h 56"/>
                <a:gd name="T70" fmla="*/ 39704929 w 239"/>
                <a:gd name="T71" fmla="*/ 37133269 h 56"/>
                <a:gd name="T72" fmla="*/ 37468038 w 239"/>
                <a:gd name="T73" fmla="*/ 30171118 h 56"/>
                <a:gd name="T74" fmla="*/ 35417230 w 239"/>
                <a:gd name="T75" fmla="*/ 22047710 h 56"/>
                <a:gd name="T76" fmla="*/ 33180339 w 239"/>
                <a:gd name="T77" fmla="*/ 15085559 h 56"/>
                <a:gd name="T78" fmla="*/ 31129963 w 239"/>
                <a:gd name="T79" fmla="*/ 6962151 h 56"/>
                <a:gd name="T80" fmla="*/ 29825218 w 239"/>
                <a:gd name="T81" fmla="*/ 4641793 h 56"/>
                <a:gd name="T82" fmla="*/ 28706556 w 239"/>
                <a:gd name="T83" fmla="*/ 2320358 h 56"/>
                <a:gd name="T84" fmla="*/ 27401811 w 239"/>
                <a:gd name="T85" fmla="*/ 1160179 h 56"/>
                <a:gd name="T86" fmla="*/ 26097066 w 239"/>
                <a:gd name="T87" fmla="*/ 0 h 56"/>
                <a:gd name="T88" fmla="*/ 24978404 w 239"/>
                <a:gd name="T89" fmla="*/ 1160179 h 56"/>
                <a:gd name="T90" fmla="*/ 23673659 w 239"/>
                <a:gd name="T91" fmla="*/ 4641793 h 56"/>
                <a:gd name="T92" fmla="*/ 23114544 w 239"/>
                <a:gd name="T93" fmla="*/ 6962151 h 56"/>
                <a:gd name="T94" fmla="*/ 22741513 w 239"/>
                <a:gd name="T95" fmla="*/ 9283587 h 56"/>
                <a:gd name="T96" fmla="*/ 22555429 w 239"/>
                <a:gd name="T97" fmla="*/ 11603945 h 56"/>
                <a:gd name="T98" fmla="*/ 22368913 w 239"/>
                <a:gd name="T99" fmla="*/ 15085559 h 56"/>
                <a:gd name="T100" fmla="*/ 18640761 w 239"/>
                <a:gd name="T101" fmla="*/ 9283587 h 56"/>
                <a:gd name="T102" fmla="*/ 14912609 w 239"/>
                <a:gd name="T103" fmla="*/ 4641793 h 56"/>
                <a:gd name="T104" fmla="*/ 11370972 w 239"/>
                <a:gd name="T105" fmla="*/ 1160179 h 56"/>
                <a:gd name="T106" fmla="*/ 7642820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39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057935" y="1811526"/>
              <a:ext cx="99541" cy="64255"/>
            </a:xfrm>
            <a:custGeom>
              <a:avLst/>
              <a:gdLst>
                <a:gd name="T0" fmla="*/ 2728123 w 187"/>
                <a:gd name="T1" fmla="*/ 9696212 h 80"/>
                <a:gd name="T2" fmla="*/ 7989692 w 187"/>
                <a:gd name="T3" fmla="*/ 0 h 80"/>
                <a:gd name="T4" fmla="*/ 8574605 w 187"/>
                <a:gd name="T5" fmla="*/ 1530906 h 80"/>
                <a:gd name="T6" fmla="*/ 9743549 w 187"/>
                <a:gd name="T7" fmla="*/ 3061811 h 80"/>
                <a:gd name="T8" fmla="*/ 11302728 w 187"/>
                <a:gd name="T9" fmla="*/ 4592717 h 80"/>
                <a:gd name="T10" fmla="*/ 13056585 w 187"/>
                <a:gd name="T11" fmla="*/ 6124337 h 80"/>
                <a:gd name="T12" fmla="*/ 17343887 w 187"/>
                <a:gd name="T13" fmla="*/ 9696212 h 80"/>
                <a:gd name="T14" fmla="*/ 22215662 w 187"/>
                <a:gd name="T15" fmla="*/ 13268801 h 80"/>
                <a:gd name="T16" fmla="*/ 27087436 w 187"/>
                <a:gd name="T17" fmla="*/ 16840676 h 80"/>
                <a:gd name="T18" fmla="*/ 31374297 w 187"/>
                <a:gd name="T19" fmla="*/ 19392424 h 80"/>
                <a:gd name="T20" fmla="*/ 34492657 w 187"/>
                <a:gd name="T21" fmla="*/ 21434108 h 80"/>
                <a:gd name="T22" fmla="*/ 36441190 w 187"/>
                <a:gd name="T23" fmla="*/ 21944171 h 80"/>
                <a:gd name="T24" fmla="*/ 36441190 w 187"/>
                <a:gd name="T25" fmla="*/ 28578572 h 80"/>
                <a:gd name="T26" fmla="*/ 36441190 w 187"/>
                <a:gd name="T27" fmla="*/ 34702909 h 80"/>
                <a:gd name="T28" fmla="*/ 33128154 w 187"/>
                <a:gd name="T29" fmla="*/ 35723036 h 80"/>
                <a:gd name="T30" fmla="*/ 29425764 w 187"/>
                <a:gd name="T31" fmla="*/ 36233814 h 80"/>
                <a:gd name="T32" fmla="*/ 25918051 w 187"/>
                <a:gd name="T33" fmla="*/ 36233814 h 80"/>
                <a:gd name="T34" fmla="*/ 22605015 w 187"/>
                <a:gd name="T35" fmla="*/ 35723036 h 80"/>
                <a:gd name="T36" fmla="*/ 16564298 w 187"/>
                <a:gd name="T37" fmla="*/ 35212973 h 80"/>
                <a:gd name="T38" fmla="*/ 11887200 w 187"/>
                <a:gd name="T39" fmla="*/ 34702909 h 80"/>
                <a:gd name="T40" fmla="*/ 10717815 w 187"/>
                <a:gd name="T41" fmla="*/ 35212973 h 80"/>
                <a:gd name="T42" fmla="*/ 9938667 w 187"/>
                <a:gd name="T43" fmla="*/ 35723036 h 80"/>
                <a:gd name="T44" fmla="*/ 8769282 w 187"/>
                <a:gd name="T45" fmla="*/ 36743878 h 80"/>
                <a:gd name="T46" fmla="*/ 7989692 w 187"/>
                <a:gd name="T47" fmla="*/ 37764720 h 80"/>
                <a:gd name="T48" fmla="*/ 6430954 w 187"/>
                <a:gd name="T49" fmla="*/ 39805689 h 80"/>
                <a:gd name="T50" fmla="*/ 5456246 w 187"/>
                <a:gd name="T51" fmla="*/ 40826531 h 80"/>
                <a:gd name="T52" fmla="*/ 4287303 w 187"/>
                <a:gd name="T53" fmla="*/ 40316468 h 80"/>
                <a:gd name="T54" fmla="*/ 3507713 w 187"/>
                <a:gd name="T55" fmla="*/ 38785562 h 80"/>
                <a:gd name="T56" fmla="*/ 2728123 w 187"/>
                <a:gd name="T57" fmla="*/ 36743878 h 80"/>
                <a:gd name="T58" fmla="*/ 1753856 w 187"/>
                <a:gd name="T59" fmla="*/ 34192131 h 80"/>
                <a:gd name="T60" fmla="*/ 1169385 w 187"/>
                <a:gd name="T61" fmla="*/ 31640383 h 80"/>
                <a:gd name="T62" fmla="*/ 584472 w 187"/>
                <a:gd name="T63" fmla="*/ 29088636 h 80"/>
                <a:gd name="T64" fmla="*/ 389795 w 187"/>
                <a:gd name="T65" fmla="*/ 27047666 h 80"/>
                <a:gd name="T66" fmla="*/ 0 w 187"/>
                <a:gd name="T67" fmla="*/ 25516761 h 80"/>
                <a:gd name="T68" fmla="*/ 389795 w 187"/>
                <a:gd name="T69" fmla="*/ 22454949 h 80"/>
                <a:gd name="T70" fmla="*/ 584472 w 187"/>
                <a:gd name="T71" fmla="*/ 20413266 h 80"/>
                <a:gd name="T72" fmla="*/ 974267 w 187"/>
                <a:gd name="T73" fmla="*/ 18372296 h 80"/>
                <a:gd name="T74" fmla="*/ 1364061 w 187"/>
                <a:gd name="T75" fmla="*/ 15820549 h 80"/>
                <a:gd name="T76" fmla="*/ 2533446 w 187"/>
                <a:gd name="T77" fmla="*/ 12247959 h 80"/>
                <a:gd name="T78" fmla="*/ 2728123 w 187"/>
                <a:gd name="T79" fmla="*/ 9696212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0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693463" y="1952529"/>
              <a:ext cx="95712" cy="66040"/>
            </a:xfrm>
            <a:custGeom>
              <a:avLst/>
              <a:gdLst>
                <a:gd name="T0" fmla="*/ 9406588 w 183"/>
                <a:gd name="T1" fmla="*/ 0 h 73"/>
                <a:gd name="T2" fmla="*/ 11852466 w 183"/>
                <a:gd name="T3" fmla="*/ 0 h 73"/>
                <a:gd name="T4" fmla="*/ 14110099 w 183"/>
                <a:gd name="T5" fmla="*/ 647727 h 73"/>
                <a:gd name="T6" fmla="*/ 16179488 w 183"/>
                <a:gd name="T7" fmla="*/ 2590104 h 73"/>
                <a:gd name="T8" fmla="*/ 18248876 w 183"/>
                <a:gd name="T9" fmla="*/ 4531677 h 73"/>
                <a:gd name="T10" fmla="*/ 19942210 w 183"/>
                <a:gd name="T11" fmla="*/ 6474054 h 73"/>
                <a:gd name="T12" fmla="*/ 21823354 w 183"/>
                <a:gd name="T13" fmla="*/ 9711081 h 73"/>
                <a:gd name="T14" fmla="*/ 23328443 w 183"/>
                <a:gd name="T15" fmla="*/ 12301186 h 73"/>
                <a:gd name="T16" fmla="*/ 24645287 w 183"/>
                <a:gd name="T17" fmla="*/ 16185940 h 73"/>
                <a:gd name="T18" fmla="*/ 29913098 w 183"/>
                <a:gd name="T19" fmla="*/ 31724152 h 73"/>
                <a:gd name="T20" fmla="*/ 34428364 w 183"/>
                <a:gd name="T21" fmla="*/ 47262365 h 73"/>
                <a:gd name="T22" fmla="*/ 25774320 w 183"/>
                <a:gd name="T23" fmla="*/ 47262365 h 73"/>
                <a:gd name="T24" fmla="*/ 24080987 w 183"/>
                <a:gd name="T25" fmla="*/ 46614638 h 73"/>
                <a:gd name="T26" fmla="*/ 22011598 w 183"/>
                <a:gd name="T27" fmla="*/ 45319988 h 73"/>
                <a:gd name="T28" fmla="*/ 19565721 w 183"/>
                <a:gd name="T29" fmla="*/ 42730688 h 73"/>
                <a:gd name="T30" fmla="*/ 16932032 w 183"/>
                <a:gd name="T31" fmla="*/ 40140584 h 73"/>
                <a:gd name="T32" fmla="*/ 13733610 w 183"/>
                <a:gd name="T33" fmla="*/ 36255829 h 73"/>
                <a:gd name="T34" fmla="*/ 10911677 w 183"/>
                <a:gd name="T35" fmla="*/ 32371880 h 73"/>
                <a:gd name="T36" fmla="*/ 7901499 w 183"/>
                <a:gd name="T37" fmla="*/ 28487125 h 73"/>
                <a:gd name="T38" fmla="*/ 5267811 w 183"/>
                <a:gd name="T39" fmla="*/ 23954644 h 73"/>
                <a:gd name="T40" fmla="*/ 3010178 w 183"/>
                <a:gd name="T41" fmla="*/ 19422967 h 73"/>
                <a:gd name="T42" fmla="*/ 1316844 w 183"/>
                <a:gd name="T43" fmla="*/ 14890485 h 73"/>
                <a:gd name="T44" fmla="*/ 752544 w 183"/>
                <a:gd name="T45" fmla="*/ 12301186 h 73"/>
                <a:gd name="T46" fmla="*/ 376055 w 183"/>
                <a:gd name="T47" fmla="*/ 10358808 h 73"/>
                <a:gd name="T48" fmla="*/ 188245 w 183"/>
                <a:gd name="T49" fmla="*/ 9064158 h 73"/>
                <a:gd name="T50" fmla="*/ 0 w 183"/>
                <a:gd name="T51" fmla="*/ 7121781 h 73"/>
                <a:gd name="T52" fmla="*/ 188245 w 183"/>
                <a:gd name="T53" fmla="*/ 5179404 h 73"/>
                <a:gd name="T54" fmla="*/ 564300 w 183"/>
                <a:gd name="T55" fmla="*/ 3884754 h 73"/>
                <a:gd name="T56" fmla="*/ 1316844 w 183"/>
                <a:gd name="T57" fmla="*/ 2590104 h 73"/>
                <a:gd name="T58" fmla="*/ 2445878 w 183"/>
                <a:gd name="T59" fmla="*/ 1942377 h 73"/>
                <a:gd name="T60" fmla="*/ 3574477 w 183"/>
                <a:gd name="T61" fmla="*/ 647727 h 73"/>
                <a:gd name="T62" fmla="*/ 5267811 w 183"/>
                <a:gd name="T63" fmla="*/ 0 h 73"/>
                <a:gd name="T64" fmla="*/ 7148955 w 183"/>
                <a:gd name="T65" fmla="*/ 0 h 73"/>
                <a:gd name="T66" fmla="*/ 9406588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1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773861" y="1972163"/>
              <a:ext cx="40200" cy="64255"/>
            </a:xfrm>
            <a:custGeom>
              <a:avLst/>
              <a:gdLst>
                <a:gd name="T0" fmla="*/ 0 w 79"/>
                <a:gd name="T1" fmla="*/ 11108871 h 42"/>
                <a:gd name="T2" fmla="*/ 4095932 w 79"/>
                <a:gd name="T3" fmla="*/ 3702504 h 42"/>
                <a:gd name="T4" fmla="*/ 7301444 w 79"/>
                <a:gd name="T5" fmla="*/ 1851932 h 42"/>
                <a:gd name="T6" fmla="*/ 10685040 w 79"/>
                <a:gd name="T7" fmla="*/ 0 h 42"/>
                <a:gd name="T8" fmla="*/ 14068636 w 79"/>
                <a:gd name="T9" fmla="*/ 0 h 42"/>
                <a:gd name="T10" fmla="*/ 14068636 w 79"/>
                <a:gd name="T11" fmla="*/ 16663307 h 42"/>
                <a:gd name="T12" fmla="*/ 14068636 w 79"/>
                <a:gd name="T13" fmla="*/ 33327975 h 42"/>
                <a:gd name="T14" fmla="*/ 14068636 w 79"/>
                <a:gd name="T15" fmla="*/ 40734343 h 42"/>
                <a:gd name="T16" fmla="*/ 13356300 w 79"/>
                <a:gd name="T17" fmla="*/ 49991282 h 42"/>
                <a:gd name="T18" fmla="*/ 12822048 w 79"/>
                <a:gd name="T19" fmla="*/ 57397650 h 42"/>
                <a:gd name="T20" fmla="*/ 12109712 w 79"/>
                <a:gd name="T21" fmla="*/ 64804018 h 42"/>
                <a:gd name="T22" fmla="*/ 11041208 w 79"/>
                <a:gd name="T23" fmla="*/ 70358454 h 42"/>
                <a:gd name="T24" fmla="*/ 10150788 w 79"/>
                <a:gd name="T25" fmla="*/ 74062318 h 42"/>
                <a:gd name="T26" fmla="*/ 9082284 w 79"/>
                <a:gd name="T27" fmla="*/ 77764821 h 42"/>
                <a:gd name="T28" fmla="*/ 8191864 w 79"/>
                <a:gd name="T29" fmla="*/ 77764821 h 42"/>
                <a:gd name="T30" fmla="*/ 7123360 w 79"/>
                <a:gd name="T31" fmla="*/ 77764821 h 42"/>
                <a:gd name="T32" fmla="*/ 6232940 w 79"/>
                <a:gd name="T33" fmla="*/ 75912889 h 42"/>
                <a:gd name="T34" fmla="*/ 5164436 w 79"/>
                <a:gd name="T35" fmla="*/ 72210386 h 42"/>
                <a:gd name="T36" fmla="*/ 4452100 w 79"/>
                <a:gd name="T37" fmla="*/ 68506521 h 42"/>
                <a:gd name="T38" fmla="*/ 2849344 w 79"/>
                <a:gd name="T39" fmla="*/ 59249582 h 42"/>
                <a:gd name="T40" fmla="*/ 1958924 w 79"/>
                <a:gd name="T41" fmla="*/ 48140711 h 42"/>
                <a:gd name="T42" fmla="*/ 890420 w 79"/>
                <a:gd name="T43" fmla="*/ 37030479 h 42"/>
                <a:gd name="T44" fmla="*/ 356168 w 79"/>
                <a:gd name="T45" fmla="*/ 25921607 h 42"/>
                <a:gd name="T46" fmla="*/ 0 w 79"/>
                <a:gd name="T47" fmla="*/ 16663307 h 42"/>
                <a:gd name="T48" fmla="*/ 0 w 79"/>
                <a:gd name="T49" fmla="*/ 11108871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2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810233" y="1984657"/>
              <a:ext cx="63169" cy="66040"/>
            </a:xfrm>
            <a:custGeom>
              <a:avLst/>
              <a:gdLst>
                <a:gd name="T0" fmla="*/ 24286706 w 113"/>
                <a:gd name="T1" fmla="*/ 49762382 h 52"/>
                <a:gd name="T2" fmla="*/ 24071595 w 113"/>
                <a:gd name="T3" fmla="*/ 53589388 h 52"/>
                <a:gd name="T4" fmla="*/ 23427188 w 113"/>
                <a:gd name="T5" fmla="*/ 57417525 h 52"/>
                <a:gd name="T6" fmla="*/ 22782318 w 113"/>
                <a:gd name="T7" fmla="*/ 59969239 h 52"/>
                <a:gd name="T8" fmla="*/ 22137448 w 113"/>
                <a:gd name="T9" fmla="*/ 62520953 h 52"/>
                <a:gd name="T10" fmla="*/ 20203302 w 113"/>
                <a:gd name="T11" fmla="*/ 65072667 h 52"/>
                <a:gd name="T12" fmla="*/ 18268691 w 113"/>
                <a:gd name="T13" fmla="*/ 66349089 h 52"/>
                <a:gd name="T14" fmla="*/ 14185287 w 113"/>
                <a:gd name="T15" fmla="*/ 66349089 h 52"/>
                <a:gd name="T16" fmla="*/ 11391159 w 113"/>
                <a:gd name="T17" fmla="*/ 65072667 h 52"/>
                <a:gd name="T18" fmla="*/ 10101419 w 113"/>
                <a:gd name="T19" fmla="*/ 65072667 h 52"/>
                <a:gd name="T20" fmla="*/ 8381920 w 113"/>
                <a:gd name="T21" fmla="*/ 61245661 h 52"/>
                <a:gd name="T22" fmla="*/ 6447773 w 113"/>
                <a:gd name="T23" fmla="*/ 57417525 h 52"/>
                <a:gd name="T24" fmla="*/ 4513627 w 113"/>
                <a:gd name="T25" fmla="*/ 52314096 h 52"/>
                <a:gd name="T26" fmla="*/ 2794128 w 113"/>
                <a:gd name="T27" fmla="*/ 45934246 h 52"/>
                <a:gd name="T28" fmla="*/ 1289740 w 113"/>
                <a:gd name="T29" fmla="*/ 39554395 h 52"/>
                <a:gd name="T30" fmla="*/ 859518 w 113"/>
                <a:gd name="T31" fmla="*/ 35726259 h 52"/>
                <a:gd name="T32" fmla="*/ 429759 w 113"/>
                <a:gd name="T33" fmla="*/ 31898123 h 52"/>
                <a:gd name="T34" fmla="*/ 215111 w 113"/>
                <a:gd name="T35" fmla="*/ 28071116 h 52"/>
                <a:gd name="T36" fmla="*/ 0 w 113"/>
                <a:gd name="T37" fmla="*/ 25519402 h 52"/>
                <a:gd name="T38" fmla="*/ 215111 w 113"/>
                <a:gd name="T39" fmla="*/ 19139551 h 52"/>
                <a:gd name="T40" fmla="*/ 215111 w 113"/>
                <a:gd name="T41" fmla="*/ 14034993 h 52"/>
                <a:gd name="T42" fmla="*/ 644870 w 113"/>
                <a:gd name="T43" fmla="*/ 10207987 h 52"/>
                <a:gd name="T44" fmla="*/ 1074629 w 113"/>
                <a:gd name="T45" fmla="*/ 6379850 h 52"/>
                <a:gd name="T46" fmla="*/ 1504388 w 113"/>
                <a:gd name="T47" fmla="*/ 3828136 h 52"/>
                <a:gd name="T48" fmla="*/ 2149258 w 113"/>
                <a:gd name="T49" fmla="*/ 2551714 h 52"/>
                <a:gd name="T50" fmla="*/ 3008775 w 113"/>
                <a:gd name="T51" fmla="*/ 1276422 h 52"/>
                <a:gd name="T52" fmla="*/ 3653646 w 113"/>
                <a:gd name="T53" fmla="*/ 0 h 52"/>
                <a:gd name="T54" fmla="*/ 5588256 w 113"/>
                <a:gd name="T55" fmla="*/ 0 h 52"/>
                <a:gd name="T56" fmla="*/ 7737514 w 113"/>
                <a:gd name="T57" fmla="*/ 2551714 h 52"/>
                <a:gd name="T58" fmla="*/ 9886771 w 113"/>
                <a:gd name="T59" fmla="*/ 6379850 h 52"/>
                <a:gd name="T60" fmla="*/ 12250677 w 113"/>
                <a:gd name="T61" fmla="*/ 11483279 h 52"/>
                <a:gd name="T62" fmla="*/ 16549192 w 113"/>
                <a:gd name="T63" fmla="*/ 22966558 h 52"/>
                <a:gd name="T64" fmla="*/ 20417949 w 113"/>
                <a:gd name="T65" fmla="*/ 37002681 h 52"/>
                <a:gd name="T66" fmla="*/ 23212077 w 113"/>
                <a:gd name="T67" fmla="*/ 45934246 h 52"/>
                <a:gd name="T68" fmla="*/ 24286706 w 113"/>
                <a:gd name="T69" fmla="*/ 49762382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3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534582" y="1954314"/>
              <a:ext cx="74655" cy="66039"/>
            </a:xfrm>
            <a:custGeom>
              <a:avLst/>
              <a:gdLst>
                <a:gd name="T0" fmla="*/ 0 w 139"/>
                <a:gd name="T1" fmla="*/ 17249588 h 40"/>
                <a:gd name="T2" fmla="*/ 1586996 w 139"/>
                <a:gd name="T3" fmla="*/ 19406705 h 40"/>
                <a:gd name="T4" fmla="*/ 3769505 w 139"/>
                <a:gd name="T5" fmla="*/ 17249588 h 40"/>
                <a:gd name="T6" fmla="*/ 5951569 w 139"/>
                <a:gd name="T7" fmla="*/ 15093941 h 40"/>
                <a:gd name="T8" fmla="*/ 8332286 w 139"/>
                <a:gd name="T9" fmla="*/ 10781176 h 40"/>
                <a:gd name="T10" fmla="*/ 10514796 w 139"/>
                <a:gd name="T11" fmla="*/ 4312764 h 40"/>
                <a:gd name="T12" fmla="*/ 12696860 w 139"/>
                <a:gd name="T13" fmla="*/ 2155648 h 40"/>
                <a:gd name="T14" fmla="*/ 14482508 w 139"/>
                <a:gd name="T15" fmla="*/ 0 h 40"/>
                <a:gd name="T16" fmla="*/ 15871297 w 139"/>
                <a:gd name="T17" fmla="*/ 4312764 h 40"/>
                <a:gd name="T18" fmla="*/ 27576228 w 139"/>
                <a:gd name="T19" fmla="*/ 84095231 h 40"/>
                <a:gd name="T20" fmla="*/ 26386093 w 139"/>
                <a:gd name="T21" fmla="*/ 86250879 h 40"/>
                <a:gd name="T22" fmla="*/ 24798651 w 139"/>
                <a:gd name="T23" fmla="*/ 84095231 h 40"/>
                <a:gd name="T24" fmla="*/ 23013448 w 139"/>
                <a:gd name="T25" fmla="*/ 81938115 h 40"/>
                <a:gd name="T26" fmla="*/ 21029146 w 139"/>
                <a:gd name="T27" fmla="*/ 77625351 h 40"/>
                <a:gd name="T28" fmla="*/ 17061433 w 139"/>
                <a:gd name="T29" fmla="*/ 64688527 h 40"/>
                <a:gd name="T30" fmla="*/ 12696860 w 139"/>
                <a:gd name="T31" fmla="*/ 51750234 h 40"/>
                <a:gd name="T32" fmla="*/ 8729147 w 139"/>
                <a:gd name="T33" fmla="*/ 34500645 h 40"/>
                <a:gd name="T34" fmla="*/ 5158294 w 139"/>
                <a:gd name="T35" fmla="*/ 23719469 h 40"/>
                <a:gd name="T36" fmla="*/ 3372645 w 139"/>
                <a:gd name="T37" fmla="*/ 19406705 h 40"/>
                <a:gd name="T38" fmla="*/ 2182509 w 139"/>
                <a:gd name="T39" fmla="*/ 15093941 h 40"/>
                <a:gd name="T40" fmla="*/ 793721 w 139"/>
                <a:gd name="T41" fmla="*/ 15093941 h 40"/>
                <a:gd name="T42" fmla="*/ 0 w 139"/>
                <a:gd name="T43" fmla="*/ 17249588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4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896373" y="1888274"/>
              <a:ext cx="168453" cy="64255"/>
            </a:xfrm>
            <a:custGeom>
              <a:avLst/>
              <a:gdLst>
                <a:gd name="T0" fmla="*/ 1847479 w 325"/>
                <a:gd name="T1" fmla="*/ 4535778 h 71"/>
                <a:gd name="T2" fmla="*/ 5727700 w 325"/>
                <a:gd name="T3" fmla="*/ 647968 h 71"/>
                <a:gd name="T4" fmla="*/ 9792755 w 325"/>
                <a:gd name="T5" fmla="*/ 0 h 71"/>
                <a:gd name="T6" fmla="*/ 13488142 w 325"/>
                <a:gd name="T7" fmla="*/ 2591873 h 71"/>
                <a:gd name="T8" fmla="*/ 16998696 w 325"/>
                <a:gd name="T9" fmla="*/ 6478878 h 71"/>
                <a:gd name="T10" fmla="*/ 20324416 w 325"/>
                <a:gd name="T11" fmla="*/ 11662625 h 71"/>
                <a:gd name="T12" fmla="*/ 22541562 w 325"/>
                <a:gd name="T13" fmla="*/ 18789471 h 71"/>
                <a:gd name="T14" fmla="*/ 24019803 w 325"/>
                <a:gd name="T15" fmla="*/ 24620381 h 71"/>
                <a:gd name="T16" fmla="*/ 25128376 w 325"/>
                <a:gd name="T17" fmla="*/ 22029313 h 71"/>
                <a:gd name="T18" fmla="*/ 25682878 w 325"/>
                <a:gd name="T19" fmla="*/ 9718720 h 71"/>
                <a:gd name="T20" fmla="*/ 29747503 w 325"/>
                <a:gd name="T21" fmla="*/ 4535778 h 71"/>
                <a:gd name="T22" fmla="*/ 39909926 w 325"/>
                <a:gd name="T23" fmla="*/ 8422783 h 71"/>
                <a:gd name="T24" fmla="*/ 47669938 w 325"/>
                <a:gd name="T25" fmla="*/ 14901661 h 71"/>
                <a:gd name="T26" fmla="*/ 52289065 w 325"/>
                <a:gd name="T27" fmla="*/ 20733376 h 71"/>
                <a:gd name="T28" fmla="*/ 56354120 w 325"/>
                <a:gd name="T29" fmla="*/ 27860223 h 71"/>
                <a:gd name="T30" fmla="*/ 59125768 w 325"/>
                <a:gd name="T31" fmla="*/ 35635037 h 71"/>
                <a:gd name="T32" fmla="*/ 58386433 w 325"/>
                <a:gd name="T33" fmla="*/ 41465947 h 71"/>
                <a:gd name="T34" fmla="*/ 54321808 w 325"/>
                <a:gd name="T35" fmla="*/ 44057820 h 71"/>
                <a:gd name="T36" fmla="*/ 47854772 w 325"/>
                <a:gd name="T37" fmla="*/ 46001725 h 71"/>
                <a:gd name="T38" fmla="*/ 38801353 w 325"/>
                <a:gd name="T39" fmla="*/ 45353757 h 71"/>
                <a:gd name="T40" fmla="*/ 30856076 w 325"/>
                <a:gd name="T41" fmla="*/ 44057820 h 71"/>
                <a:gd name="T42" fmla="*/ 24574305 w 325"/>
                <a:gd name="T43" fmla="*/ 44705789 h 71"/>
                <a:gd name="T44" fmla="*/ 16629028 w 325"/>
                <a:gd name="T45" fmla="*/ 46001725 h 71"/>
                <a:gd name="T46" fmla="*/ 13303309 w 325"/>
                <a:gd name="T47" fmla="*/ 44057820 h 71"/>
                <a:gd name="T48" fmla="*/ 12379569 w 325"/>
                <a:gd name="T49" fmla="*/ 41465947 h 71"/>
                <a:gd name="T50" fmla="*/ 10716494 w 325"/>
                <a:gd name="T51" fmla="*/ 39522847 h 71"/>
                <a:gd name="T52" fmla="*/ 8499348 w 325"/>
                <a:gd name="T53" fmla="*/ 38226911 h 71"/>
                <a:gd name="T54" fmla="*/ 6467035 w 325"/>
                <a:gd name="T55" fmla="*/ 34339101 h 71"/>
                <a:gd name="T56" fmla="*/ 4619127 w 325"/>
                <a:gd name="T57" fmla="*/ 29156159 h 71"/>
                <a:gd name="T58" fmla="*/ 2956482 w 325"/>
                <a:gd name="T59" fmla="*/ 25268349 h 71"/>
                <a:gd name="T60" fmla="*/ 1108573 w 325"/>
                <a:gd name="T61" fmla="*/ 23972413 h 71"/>
                <a:gd name="T62" fmla="*/ 0 w 325"/>
                <a:gd name="T63" fmla="*/ 14253693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5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7089712" y="1897199"/>
              <a:ext cx="114854" cy="64255"/>
            </a:xfrm>
            <a:custGeom>
              <a:avLst/>
              <a:gdLst>
                <a:gd name="T0" fmla="*/ 16308099 w 220"/>
                <a:gd name="T1" fmla="*/ 15751175 h 72"/>
                <a:gd name="T2" fmla="*/ 17245445 w 220"/>
                <a:gd name="T3" fmla="*/ 16381413 h 72"/>
                <a:gd name="T4" fmla="*/ 18370261 w 220"/>
                <a:gd name="T5" fmla="*/ 17010856 h 72"/>
                <a:gd name="T6" fmla="*/ 18932236 w 220"/>
                <a:gd name="T7" fmla="*/ 17641094 h 72"/>
                <a:gd name="T8" fmla="*/ 19494644 w 220"/>
                <a:gd name="T9" fmla="*/ 17010856 h 72"/>
                <a:gd name="T10" fmla="*/ 20431991 w 220"/>
                <a:gd name="T11" fmla="*/ 17010856 h 72"/>
                <a:gd name="T12" fmla="*/ 21181868 w 220"/>
                <a:gd name="T13" fmla="*/ 15751175 h 72"/>
                <a:gd name="T14" fmla="*/ 21369338 w 220"/>
                <a:gd name="T15" fmla="*/ 16381413 h 72"/>
                <a:gd name="T16" fmla="*/ 21556807 w 220"/>
                <a:gd name="T17" fmla="*/ 16381413 h 72"/>
                <a:gd name="T18" fmla="*/ 21744276 w 220"/>
                <a:gd name="T19" fmla="*/ 15751175 h 72"/>
                <a:gd name="T20" fmla="*/ 21931745 w 220"/>
                <a:gd name="T21" fmla="*/ 15751175 h 72"/>
                <a:gd name="T22" fmla="*/ 22306684 w 220"/>
                <a:gd name="T23" fmla="*/ 13861256 h 72"/>
                <a:gd name="T24" fmla="*/ 22494153 w 220"/>
                <a:gd name="T25" fmla="*/ 10710863 h 72"/>
                <a:gd name="T26" fmla="*/ 22494153 w 220"/>
                <a:gd name="T27" fmla="*/ 4410075 h 72"/>
                <a:gd name="T28" fmla="*/ 22494153 w 220"/>
                <a:gd name="T29" fmla="*/ 0 h 72"/>
                <a:gd name="T30" fmla="*/ 23431067 w 220"/>
                <a:gd name="T31" fmla="*/ 3150394 h 72"/>
                <a:gd name="T32" fmla="*/ 24555883 w 220"/>
                <a:gd name="T33" fmla="*/ 6300788 h 72"/>
                <a:gd name="T34" fmla="*/ 25680699 w 220"/>
                <a:gd name="T35" fmla="*/ 9450388 h 72"/>
                <a:gd name="T36" fmla="*/ 26805515 w 220"/>
                <a:gd name="T37" fmla="*/ 11970544 h 72"/>
                <a:gd name="T38" fmla="*/ 29242183 w 220"/>
                <a:gd name="T39" fmla="*/ 15751175 h 72"/>
                <a:gd name="T40" fmla="*/ 31866320 w 220"/>
                <a:gd name="T41" fmla="*/ 18901569 h 72"/>
                <a:gd name="T42" fmla="*/ 34303422 w 220"/>
                <a:gd name="T43" fmla="*/ 22051169 h 72"/>
                <a:gd name="T44" fmla="*/ 36740090 w 220"/>
                <a:gd name="T45" fmla="*/ 25831800 h 72"/>
                <a:gd name="T46" fmla="*/ 38052375 w 220"/>
                <a:gd name="T47" fmla="*/ 27721719 h 72"/>
                <a:gd name="T48" fmla="*/ 39177191 w 220"/>
                <a:gd name="T49" fmla="*/ 29611638 h 72"/>
                <a:gd name="T50" fmla="*/ 40114105 w 220"/>
                <a:gd name="T51" fmla="*/ 32131794 h 72"/>
                <a:gd name="T52" fmla="*/ 41238920 w 220"/>
                <a:gd name="T53" fmla="*/ 34651950 h 72"/>
                <a:gd name="T54" fmla="*/ 38614783 w 220"/>
                <a:gd name="T55" fmla="*/ 35282188 h 72"/>
                <a:gd name="T56" fmla="*/ 36365151 w 220"/>
                <a:gd name="T57" fmla="*/ 35912425 h 72"/>
                <a:gd name="T58" fmla="*/ 34115952 w 220"/>
                <a:gd name="T59" fmla="*/ 36542663 h 72"/>
                <a:gd name="T60" fmla="*/ 32053790 w 220"/>
                <a:gd name="T61" fmla="*/ 37802344 h 72"/>
                <a:gd name="T62" fmla="*/ 28304836 w 220"/>
                <a:gd name="T63" fmla="*/ 40952738 h 72"/>
                <a:gd name="T64" fmla="*/ 25118291 w 220"/>
                <a:gd name="T65" fmla="*/ 44103131 h 72"/>
                <a:gd name="T66" fmla="*/ 23618536 w 220"/>
                <a:gd name="T67" fmla="*/ 44732575 h 72"/>
                <a:gd name="T68" fmla="*/ 21931745 w 220"/>
                <a:gd name="T69" fmla="*/ 45362813 h 72"/>
                <a:gd name="T70" fmla="*/ 20619460 w 220"/>
                <a:gd name="T71" fmla="*/ 45362813 h 72"/>
                <a:gd name="T72" fmla="*/ 19307175 w 220"/>
                <a:gd name="T73" fmla="*/ 45362813 h 72"/>
                <a:gd name="T74" fmla="*/ 17807853 w 220"/>
                <a:gd name="T75" fmla="*/ 44103131 h 72"/>
                <a:gd name="T76" fmla="*/ 16495568 w 220"/>
                <a:gd name="T77" fmla="*/ 41582975 h 72"/>
                <a:gd name="T78" fmla="*/ 15183283 w 220"/>
                <a:gd name="T79" fmla="*/ 38432581 h 72"/>
                <a:gd name="T80" fmla="*/ 13871431 w 220"/>
                <a:gd name="T81" fmla="*/ 34651950 h 72"/>
                <a:gd name="T82" fmla="*/ 11059391 w 220"/>
                <a:gd name="T83" fmla="*/ 33392269 h 72"/>
                <a:gd name="T84" fmla="*/ 8435253 w 220"/>
                <a:gd name="T85" fmla="*/ 31502350 h 72"/>
                <a:gd name="T86" fmla="*/ 6186055 w 220"/>
                <a:gd name="T87" fmla="*/ 29611638 h 72"/>
                <a:gd name="T88" fmla="*/ 4123892 w 220"/>
                <a:gd name="T89" fmla="*/ 27091481 h 72"/>
                <a:gd name="T90" fmla="*/ 3374015 w 220"/>
                <a:gd name="T91" fmla="*/ 25831800 h 72"/>
                <a:gd name="T92" fmla="*/ 2436668 w 220"/>
                <a:gd name="T93" fmla="*/ 23941881 h 72"/>
                <a:gd name="T94" fmla="*/ 1687224 w 220"/>
                <a:gd name="T95" fmla="*/ 22051169 h 72"/>
                <a:gd name="T96" fmla="*/ 1312285 w 220"/>
                <a:gd name="T97" fmla="*/ 19531013 h 72"/>
                <a:gd name="T98" fmla="*/ 562408 w 220"/>
                <a:gd name="T99" fmla="*/ 17010856 h 72"/>
                <a:gd name="T100" fmla="*/ 374939 w 220"/>
                <a:gd name="T101" fmla="*/ 14490700 h 72"/>
                <a:gd name="T102" fmla="*/ 187469 w 220"/>
                <a:gd name="T103" fmla="*/ 11341100 h 72"/>
                <a:gd name="T104" fmla="*/ 0 w 220"/>
                <a:gd name="T105" fmla="*/ 8190706 h 72"/>
                <a:gd name="T106" fmla="*/ 4311361 w 220"/>
                <a:gd name="T107" fmla="*/ 10710863 h 72"/>
                <a:gd name="T108" fmla="*/ 8247784 w 220"/>
                <a:gd name="T109" fmla="*/ 13231019 h 72"/>
                <a:gd name="T110" fmla="*/ 11996738 w 220"/>
                <a:gd name="T111" fmla="*/ 15120938 h 72"/>
                <a:gd name="T112" fmla="*/ 16308099 w 220"/>
                <a:gd name="T113" fmla="*/ 15751175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6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7041855" y="1950745"/>
              <a:ext cx="76570" cy="66039"/>
            </a:xfrm>
            <a:custGeom>
              <a:avLst/>
              <a:gdLst>
                <a:gd name="T0" fmla="*/ 27618151 w 146"/>
                <a:gd name="T1" fmla="*/ 95835289 h 30"/>
                <a:gd name="T2" fmla="*/ 26482979 w 146"/>
                <a:gd name="T3" fmla="*/ 61333175 h 30"/>
                <a:gd name="T4" fmla="*/ 25915829 w 146"/>
                <a:gd name="T5" fmla="*/ 34500156 h 30"/>
                <a:gd name="T6" fmla="*/ 25159048 w 146"/>
                <a:gd name="T7" fmla="*/ 15334273 h 30"/>
                <a:gd name="T8" fmla="*/ 24213072 w 146"/>
                <a:gd name="T9" fmla="*/ 3833568 h 30"/>
                <a:gd name="T10" fmla="*/ 23834682 w 146"/>
                <a:gd name="T11" fmla="*/ 3833568 h 30"/>
                <a:gd name="T12" fmla="*/ 23456726 w 146"/>
                <a:gd name="T13" fmla="*/ 3833568 h 30"/>
                <a:gd name="T14" fmla="*/ 22699945 w 146"/>
                <a:gd name="T15" fmla="*/ 7667136 h 30"/>
                <a:gd name="T16" fmla="*/ 22321555 w 146"/>
                <a:gd name="T17" fmla="*/ 11500705 h 30"/>
                <a:gd name="T18" fmla="*/ 21375579 w 146"/>
                <a:gd name="T19" fmla="*/ 34500156 h 30"/>
                <a:gd name="T20" fmla="*/ 19862452 w 146"/>
                <a:gd name="T21" fmla="*/ 72833880 h 30"/>
                <a:gd name="T22" fmla="*/ 13619880 w 146"/>
                <a:gd name="T23" fmla="*/ 72833880 h 30"/>
                <a:gd name="T24" fmla="*/ 11917558 w 146"/>
                <a:gd name="T25" fmla="*/ 69000312 h 30"/>
                <a:gd name="T26" fmla="*/ 10403997 w 146"/>
                <a:gd name="T27" fmla="*/ 65166744 h 30"/>
                <a:gd name="T28" fmla="*/ 8890870 w 146"/>
                <a:gd name="T29" fmla="*/ 53667997 h 30"/>
                <a:gd name="T30" fmla="*/ 7566503 w 146"/>
                <a:gd name="T31" fmla="*/ 46000861 h 30"/>
                <a:gd name="T32" fmla="*/ 5485791 w 146"/>
                <a:gd name="T33" fmla="*/ 22999451 h 30"/>
                <a:gd name="T34" fmla="*/ 3594274 w 146"/>
                <a:gd name="T35" fmla="*/ 0 h 30"/>
                <a:gd name="T36" fmla="*/ 2648298 w 146"/>
                <a:gd name="T37" fmla="*/ 34500156 h 30"/>
                <a:gd name="T38" fmla="*/ 1891517 w 146"/>
                <a:gd name="T39" fmla="*/ 57501565 h 30"/>
                <a:gd name="T40" fmla="*/ 756781 w 146"/>
                <a:gd name="T41" fmla="*/ 76667448 h 30"/>
                <a:gd name="T42" fmla="*/ 0 w 146"/>
                <a:gd name="T43" fmla="*/ 95835289 h 30"/>
                <a:gd name="T44" fmla="*/ 6242572 w 146"/>
                <a:gd name="T45" fmla="*/ 95835289 h 30"/>
                <a:gd name="T46" fmla="*/ 10782387 w 146"/>
                <a:gd name="T47" fmla="*/ 95835289 h 30"/>
                <a:gd name="T48" fmla="*/ 14565856 w 146"/>
                <a:gd name="T49" fmla="*/ 95835289 h 30"/>
                <a:gd name="T50" fmla="*/ 18727281 w 146"/>
                <a:gd name="T51" fmla="*/ 95835289 h 30"/>
                <a:gd name="T52" fmla="*/ 20807993 w 146"/>
                <a:gd name="T53" fmla="*/ 99666900 h 30"/>
                <a:gd name="T54" fmla="*/ 23267531 w 146"/>
                <a:gd name="T55" fmla="*/ 111167604 h 30"/>
                <a:gd name="T56" fmla="*/ 24213072 w 146"/>
                <a:gd name="T57" fmla="*/ 115001172 h 30"/>
                <a:gd name="T58" fmla="*/ 25537438 w 146"/>
                <a:gd name="T59" fmla="*/ 115001172 h 30"/>
                <a:gd name="T60" fmla="*/ 26482979 w 146"/>
                <a:gd name="T61" fmla="*/ 107334036 h 30"/>
                <a:gd name="T62" fmla="*/ 27618151 w 146"/>
                <a:gd name="T63" fmla="*/ 95835289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7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016971" y="1947175"/>
              <a:ext cx="24885" cy="66039"/>
            </a:xfrm>
            <a:custGeom>
              <a:avLst/>
              <a:gdLst>
                <a:gd name="T0" fmla="*/ 0 w 53"/>
                <a:gd name="T1" fmla="*/ 383337241 h 9"/>
                <a:gd name="T2" fmla="*/ 2577289 w 53"/>
                <a:gd name="T3" fmla="*/ 383337241 h 9"/>
                <a:gd name="T4" fmla="*/ 4396849 w 53"/>
                <a:gd name="T5" fmla="*/ 383337241 h 9"/>
                <a:gd name="T6" fmla="*/ 6064552 w 53"/>
                <a:gd name="T7" fmla="*/ 383337241 h 9"/>
                <a:gd name="T8" fmla="*/ 8035581 w 53"/>
                <a:gd name="T9" fmla="*/ 383337241 h 9"/>
                <a:gd name="T10" fmla="*/ 6974138 w 53"/>
                <a:gd name="T11" fmla="*/ 255558161 h 9"/>
                <a:gd name="T12" fmla="*/ 5761227 w 53"/>
                <a:gd name="T13" fmla="*/ 127779080 h 9"/>
                <a:gd name="T14" fmla="*/ 4700174 w 53"/>
                <a:gd name="T15" fmla="*/ 42590851 h 9"/>
                <a:gd name="T16" fmla="*/ 3790199 w 53"/>
                <a:gd name="T17" fmla="*/ 0 h 9"/>
                <a:gd name="T18" fmla="*/ 2880614 w 53"/>
                <a:gd name="T19" fmla="*/ 0 h 9"/>
                <a:gd name="T20" fmla="*/ 2122496 w 53"/>
                <a:gd name="T21" fmla="*/ 0 h 9"/>
                <a:gd name="T22" fmla="*/ 1364378 w 53"/>
                <a:gd name="T23" fmla="*/ 42590851 h 9"/>
                <a:gd name="T24" fmla="*/ 909586 w 53"/>
                <a:gd name="T25" fmla="*/ 12777908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8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7018884" y="1945390"/>
              <a:ext cx="0" cy="178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49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6017737" y="1865071"/>
              <a:ext cx="13399" cy="62470"/>
            </a:xfrm>
            <a:custGeom>
              <a:avLst/>
              <a:gdLst>
                <a:gd name="T0" fmla="*/ 0 w 26"/>
                <a:gd name="T1" fmla="*/ 123485434 h 25"/>
                <a:gd name="T2" fmla="*/ 913321 w 26"/>
                <a:gd name="T3" fmla="*/ 83969739 h 25"/>
                <a:gd name="T4" fmla="*/ 2374549 w 26"/>
                <a:gd name="T5" fmla="*/ 39515694 h 25"/>
                <a:gd name="T6" fmla="*/ 2922456 w 26"/>
                <a:gd name="T7" fmla="*/ 24696198 h 25"/>
                <a:gd name="T8" fmla="*/ 3653284 w 26"/>
                <a:gd name="T9" fmla="*/ 9878924 h 25"/>
                <a:gd name="T10" fmla="*/ 4201191 w 26"/>
                <a:gd name="T11" fmla="*/ 4938351 h 25"/>
                <a:gd name="T12" fmla="*/ 4749098 w 26"/>
                <a:gd name="T13" fmla="*/ 0 h 25"/>
                <a:gd name="T14" fmla="*/ 4749098 w 26"/>
                <a:gd name="T15" fmla="*/ 123485434 h 25"/>
                <a:gd name="T16" fmla="*/ 3653284 w 26"/>
                <a:gd name="T17" fmla="*/ 123485434 h 25"/>
                <a:gd name="T18" fmla="*/ 2374549 w 26"/>
                <a:gd name="T19" fmla="*/ 123485434 h 25"/>
                <a:gd name="T20" fmla="*/ 0 w 26"/>
                <a:gd name="T21" fmla="*/ 123485434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0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921259" y="1945390"/>
              <a:ext cx="11485" cy="64255"/>
            </a:xfrm>
            <a:custGeom>
              <a:avLst/>
              <a:gdLst>
                <a:gd name="T0" fmla="*/ 2749261 w 33"/>
                <a:gd name="T1" fmla="*/ 130644900 h 25"/>
                <a:gd name="T2" fmla="*/ 2749261 w 33"/>
                <a:gd name="T3" fmla="*/ 62709552 h 25"/>
                <a:gd name="T4" fmla="*/ 2749261 w 33"/>
                <a:gd name="T5" fmla="*/ 0 h 25"/>
                <a:gd name="T6" fmla="*/ 0 w 33"/>
                <a:gd name="T7" fmla="*/ 0 h 25"/>
                <a:gd name="T8" fmla="*/ 749877 w 33"/>
                <a:gd name="T9" fmla="*/ 47032164 h 25"/>
                <a:gd name="T10" fmla="*/ 1332923 w 33"/>
                <a:gd name="T11" fmla="*/ 88838532 h 25"/>
                <a:gd name="T12" fmla="*/ 1666298 w 33"/>
                <a:gd name="T13" fmla="*/ 104515920 h 25"/>
                <a:gd name="T14" fmla="*/ 1999384 w 33"/>
                <a:gd name="T15" fmla="*/ 120193308 h 25"/>
                <a:gd name="T16" fmla="*/ 2332759 w 33"/>
                <a:gd name="T17" fmla="*/ 125419104 h 25"/>
                <a:gd name="T18" fmla="*/ 2749261 w 33"/>
                <a:gd name="T19" fmla="*/ 13064490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1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865745" y="1904338"/>
              <a:ext cx="11485" cy="64255"/>
            </a:xfrm>
            <a:custGeom>
              <a:avLst/>
              <a:gdLst>
                <a:gd name="T0" fmla="*/ 0 w 20"/>
                <a:gd name="T1" fmla="*/ 0 h 18"/>
                <a:gd name="T2" fmla="*/ 2948464 w 20"/>
                <a:gd name="T3" fmla="*/ 181451250 h 18"/>
                <a:gd name="T4" fmla="*/ 3629025 w 20"/>
                <a:gd name="T5" fmla="*/ 110886875 h 18"/>
                <a:gd name="T6" fmla="*/ 4536281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2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468732" y="2545103"/>
              <a:ext cx="15314" cy="66040"/>
            </a:xfrm>
            <a:custGeom>
              <a:avLst/>
              <a:gdLst>
                <a:gd name="T0" fmla="*/ 0 w 33"/>
                <a:gd name="T1" fmla="*/ 111295247 h 31"/>
                <a:gd name="T2" fmla="*/ 0 w 33"/>
                <a:gd name="T3" fmla="*/ 0 h 31"/>
                <a:gd name="T4" fmla="*/ 1333115 w 33"/>
                <a:gd name="T5" fmla="*/ 0 h 31"/>
                <a:gd name="T6" fmla="*/ 2369897 w 33"/>
                <a:gd name="T7" fmla="*/ 0 h 31"/>
                <a:gd name="T8" fmla="*/ 3554461 w 33"/>
                <a:gd name="T9" fmla="*/ 0 h 31"/>
                <a:gd name="T10" fmla="*/ 4887576 w 33"/>
                <a:gd name="T11" fmla="*/ 0 h 31"/>
                <a:gd name="T12" fmla="*/ 4443076 w 33"/>
                <a:gd name="T13" fmla="*/ 7181194 h 31"/>
                <a:gd name="T14" fmla="*/ 4295294 w 33"/>
                <a:gd name="T15" fmla="*/ 17951091 h 31"/>
                <a:gd name="T16" fmla="*/ 4147127 w 33"/>
                <a:gd name="T17" fmla="*/ 32311584 h 31"/>
                <a:gd name="T18" fmla="*/ 4147127 w 33"/>
                <a:gd name="T19" fmla="*/ 46672078 h 31"/>
                <a:gd name="T20" fmla="*/ 4147127 w 33"/>
                <a:gd name="T21" fmla="*/ 61032572 h 31"/>
                <a:gd name="T22" fmla="*/ 4295294 w 33"/>
                <a:gd name="T23" fmla="*/ 75393065 h 31"/>
                <a:gd name="T24" fmla="*/ 4443076 w 33"/>
                <a:gd name="T25" fmla="*/ 93344156 h 31"/>
                <a:gd name="T26" fmla="*/ 4887576 w 33"/>
                <a:gd name="T27" fmla="*/ 111295247 h 31"/>
                <a:gd name="T28" fmla="*/ 0 w 33"/>
                <a:gd name="T29" fmla="*/ 1112952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3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822866" y="2007860"/>
              <a:ext cx="66999" cy="66039"/>
            </a:xfrm>
            <a:custGeom>
              <a:avLst/>
              <a:gdLst>
                <a:gd name="T0" fmla="*/ 556491 w 129"/>
                <a:gd name="T1" fmla="*/ 48406630 h 56"/>
                <a:gd name="T2" fmla="*/ 185641 w 129"/>
                <a:gd name="T3" fmla="*/ 46206090 h 56"/>
                <a:gd name="T4" fmla="*/ 185641 w 129"/>
                <a:gd name="T5" fmla="*/ 44005551 h 56"/>
                <a:gd name="T6" fmla="*/ 0 w 129"/>
                <a:gd name="T7" fmla="*/ 40704741 h 56"/>
                <a:gd name="T8" fmla="*/ 185641 w 129"/>
                <a:gd name="T9" fmla="*/ 36304710 h 56"/>
                <a:gd name="T10" fmla="*/ 370851 w 129"/>
                <a:gd name="T11" fmla="*/ 27503600 h 56"/>
                <a:gd name="T12" fmla="*/ 556491 w 129"/>
                <a:gd name="T13" fmla="*/ 19802760 h 56"/>
                <a:gd name="T14" fmla="*/ 1669474 w 129"/>
                <a:gd name="T15" fmla="*/ 14301411 h 56"/>
                <a:gd name="T16" fmla="*/ 2968529 w 129"/>
                <a:gd name="T17" fmla="*/ 9901380 h 56"/>
                <a:gd name="T18" fmla="*/ 3895871 w 129"/>
                <a:gd name="T19" fmla="*/ 6600570 h 56"/>
                <a:gd name="T20" fmla="*/ 5008854 w 129"/>
                <a:gd name="T21" fmla="*/ 5500301 h 56"/>
                <a:gd name="T22" fmla="*/ 7235250 w 129"/>
                <a:gd name="T23" fmla="*/ 3300810 h 56"/>
                <a:gd name="T24" fmla="*/ 10574630 w 129"/>
                <a:gd name="T25" fmla="*/ 0 h 56"/>
                <a:gd name="T26" fmla="*/ 11131121 w 129"/>
                <a:gd name="T27" fmla="*/ 5500301 h 56"/>
                <a:gd name="T28" fmla="*/ 11873253 w 129"/>
                <a:gd name="T29" fmla="*/ 8801110 h 56"/>
                <a:gd name="T30" fmla="*/ 12801026 w 129"/>
                <a:gd name="T31" fmla="*/ 12101920 h 56"/>
                <a:gd name="T32" fmla="*/ 13543158 w 129"/>
                <a:gd name="T33" fmla="*/ 15401681 h 56"/>
                <a:gd name="T34" fmla="*/ 15398273 w 129"/>
                <a:gd name="T35" fmla="*/ 19802760 h 56"/>
                <a:gd name="T36" fmla="*/ 17253388 w 129"/>
                <a:gd name="T37" fmla="*/ 23102521 h 56"/>
                <a:gd name="T38" fmla="*/ 19108503 w 129"/>
                <a:gd name="T39" fmla="*/ 27503600 h 56"/>
                <a:gd name="T40" fmla="*/ 20963618 w 129"/>
                <a:gd name="T41" fmla="*/ 31903631 h 56"/>
                <a:gd name="T42" fmla="*/ 21705751 w 129"/>
                <a:gd name="T43" fmla="*/ 35204441 h 56"/>
                <a:gd name="T44" fmla="*/ 22447883 w 129"/>
                <a:gd name="T45" fmla="*/ 38505250 h 56"/>
                <a:gd name="T46" fmla="*/ 23375656 w 129"/>
                <a:gd name="T47" fmla="*/ 41805011 h 56"/>
                <a:gd name="T48" fmla="*/ 23932147 w 129"/>
                <a:gd name="T49" fmla="*/ 48406630 h 56"/>
                <a:gd name="T50" fmla="*/ 22077032 w 129"/>
                <a:gd name="T51" fmla="*/ 52806661 h 56"/>
                <a:gd name="T52" fmla="*/ 20221917 w 129"/>
                <a:gd name="T53" fmla="*/ 56107470 h 56"/>
                <a:gd name="T54" fmla="*/ 18366371 w 129"/>
                <a:gd name="T55" fmla="*/ 58306961 h 56"/>
                <a:gd name="T56" fmla="*/ 16696897 w 129"/>
                <a:gd name="T57" fmla="*/ 59407231 h 56"/>
                <a:gd name="T58" fmla="*/ 12986236 w 129"/>
                <a:gd name="T59" fmla="*/ 61607771 h 56"/>
                <a:gd name="T60" fmla="*/ 9090365 w 129"/>
                <a:gd name="T61" fmla="*/ 61607771 h 56"/>
                <a:gd name="T62" fmla="*/ 7420891 w 129"/>
                <a:gd name="T63" fmla="*/ 60507501 h 56"/>
                <a:gd name="T64" fmla="*/ 5750986 w 129"/>
                <a:gd name="T65" fmla="*/ 59407231 h 56"/>
                <a:gd name="T66" fmla="*/ 4267152 w 129"/>
                <a:gd name="T67" fmla="*/ 57207740 h 56"/>
                <a:gd name="T68" fmla="*/ 2968529 w 129"/>
                <a:gd name="T69" fmla="*/ 55007201 h 56"/>
                <a:gd name="T70" fmla="*/ 1112983 w 129"/>
                <a:gd name="T71" fmla="*/ 50606121 h 56"/>
                <a:gd name="T72" fmla="*/ 556491 w 129"/>
                <a:gd name="T73" fmla="*/ 48406630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4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987491" y="2404099"/>
              <a:ext cx="17229" cy="64255"/>
            </a:xfrm>
            <a:custGeom>
              <a:avLst/>
              <a:gdLst>
                <a:gd name="T0" fmla="*/ 2550234 w 41"/>
                <a:gd name="T1" fmla="*/ 77764821 h 42"/>
                <a:gd name="T2" fmla="*/ 0 w 41"/>
                <a:gd name="T3" fmla="*/ 55545718 h 42"/>
                <a:gd name="T4" fmla="*/ 0 w 41"/>
                <a:gd name="T5" fmla="*/ 11108871 h 42"/>
                <a:gd name="T6" fmla="*/ 849962 w 41"/>
                <a:gd name="T7" fmla="*/ 9258300 h 42"/>
                <a:gd name="T8" fmla="*/ 1700272 w 41"/>
                <a:gd name="T9" fmla="*/ 5554436 h 42"/>
                <a:gd name="T10" fmla="*/ 2914752 w 41"/>
                <a:gd name="T11" fmla="*/ 1851932 h 42"/>
                <a:gd name="T12" fmla="*/ 4129232 w 41"/>
                <a:gd name="T13" fmla="*/ 0 h 42"/>
                <a:gd name="T14" fmla="*/ 4129232 w 41"/>
                <a:gd name="T15" fmla="*/ 33327975 h 42"/>
                <a:gd name="T16" fmla="*/ 4979194 w 41"/>
                <a:gd name="T17" fmla="*/ 33327975 h 42"/>
                <a:gd name="T18" fmla="*/ 2550234 w 41"/>
                <a:gd name="T19" fmla="*/ 77764821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5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167429" y="2530824"/>
              <a:ext cx="51685" cy="67825"/>
            </a:xfrm>
            <a:custGeom>
              <a:avLst/>
              <a:gdLst>
                <a:gd name="T0" fmla="*/ 12745520 w 93"/>
                <a:gd name="T1" fmla="*/ 21532931 h 39"/>
                <a:gd name="T2" fmla="*/ 14232360 w 93"/>
                <a:gd name="T3" fmla="*/ 43065863 h 39"/>
                <a:gd name="T4" fmla="*/ 16356613 w 93"/>
                <a:gd name="T5" fmla="*/ 66991686 h 39"/>
                <a:gd name="T6" fmla="*/ 17206038 w 93"/>
                <a:gd name="T7" fmla="*/ 78954597 h 39"/>
                <a:gd name="T8" fmla="*/ 18268395 w 93"/>
                <a:gd name="T9" fmla="*/ 86133272 h 39"/>
                <a:gd name="T10" fmla="*/ 19117820 w 93"/>
                <a:gd name="T11" fmla="*/ 90917509 h 39"/>
                <a:gd name="T12" fmla="*/ 19755234 w 93"/>
                <a:gd name="T13" fmla="*/ 93310401 h 39"/>
                <a:gd name="T14" fmla="*/ 12745520 w 93"/>
                <a:gd name="T15" fmla="*/ 93310401 h 39"/>
                <a:gd name="T16" fmla="*/ 10621267 w 93"/>
                <a:gd name="T17" fmla="*/ 86133272 h 39"/>
                <a:gd name="T18" fmla="*/ 9133967 w 93"/>
                <a:gd name="T19" fmla="*/ 76561706 h 39"/>
                <a:gd name="T20" fmla="*/ 7647128 w 93"/>
                <a:gd name="T21" fmla="*/ 66991686 h 39"/>
                <a:gd name="T22" fmla="*/ 6372760 w 93"/>
                <a:gd name="T23" fmla="*/ 55028774 h 39"/>
                <a:gd name="T24" fmla="*/ 5097932 w 93"/>
                <a:gd name="T25" fmla="*/ 43065863 h 39"/>
                <a:gd name="T26" fmla="*/ 3398621 w 93"/>
                <a:gd name="T27" fmla="*/ 31102951 h 39"/>
                <a:gd name="T28" fmla="*/ 1911782 w 93"/>
                <a:gd name="T29" fmla="*/ 16748695 h 39"/>
                <a:gd name="T30" fmla="*/ 0 w 93"/>
                <a:gd name="T31" fmla="*/ 7177128 h 39"/>
                <a:gd name="T32" fmla="*/ 2336725 w 93"/>
                <a:gd name="T33" fmla="*/ 2392892 h 39"/>
                <a:gd name="T34" fmla="*/ 4248507 w 93"/>
                <a:gd name="T35" fmla="*/ 0 h 39"/>
                <a:gd name="T36" fmla="*/ 5522875 w 93"/>
                <a:gd name="T37" fmla="*/ 0 h 39"/>
                <a:gd name="T38" fmla="*/ 7009714 w 93"/>
                <a:gd name="T39" fmla="*/ 2392892 h 39"/>
                <a:gd name="T40" fmla="*/ 9346438 w 93"/>
                <a:gd name="T41" fmla="*/ 9570020 h 39"/>
                <a:gd name="T42" fmla="*/ 12745520 w 93"/>
                <a:gd name="T43" fmla="*/ 2153293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6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8228685" y="2548673"/>
              <a:ext cx="22971" cy="66040"/>
            </a:xfrm>
            <a:custGeom>
              <a:avLst/>
              <a:gdLst>
                <a:gd name="T0" fmla="*/ 9305192 w 39"/>
                <a:gd name="T1" fmla="*/ 181586981 h 19"/>
                <a:gd name="T2" fmla="*/ 3101731 w 39"/>
                <a:gd name="T3" fmla="*/ 181586981 h 19"/>
                <a:gd name="T4" fmla="*/ 1908908 w 39"/>
                <a:gd name="T5" fmla="*/ 181586981 h 19"/>
                <a:gd name="T6" fmla="*/ 1192823 w 39"/>
                <a:gd name="T7" fmla="*/ 162472399 h 19"/>
                <a:gd name="T8" fmla="*/ 715596 w 39"/>
                <a:gd name="T9" fmla="*/ 133802073 h 19"/>
                <a:gd name="T10" fmla="*/ 477227 w 39"/>
                <a:gd name="T11" fmla="*/ 105128654 h 19"/>
                <a:gd name="T12" fmla="*/ 0 w 39"/>
                <a:gd name="T13" fmla="*/ 47784909 h 19"/>
                <a:gd name="T14" fmla="*/ 0 w 39"/>
                <a:gd name="T15" fmla="*/ 0 h 19"/>
                <a:gd name="T16" fmla="*/ 3101731 w 39"/>
                <a:gd name="T17" fmla="*/ 38229164 h 19"/>
                <a:gd name="T18" fmla="*/ 5249008 w 39"/>
                <a:gd name="T19" fmla="*/ 86014072 h 19"/>
                <a:gd name="T20" fmla="*/ 7157915 w 39"/>
                <a:gd name="T21" fmla="*/ 133802073 h 19"/>
                <a:gd name="T22" fmla="*/ 9305192 w 39"/>
                <a:gd name="T23" fmla="*/ 18158698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7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065975" y="2691462"/>
              <a:ext cx="17228" cy="64255"/>
            </a:xfrm>
            <a:custGeom>
              <a:avLst/>
              <a:gdLst>
                <a:gd name="T0" fmla="*/ 0 w 26"/>
                <a:gd name="T1" fmla="*/ 90725625 h 36"/>
                <a:gd name="T2" fmla="*/ 906126 w 26"/>
                <a:gd name="T3" fmla="*/ 78125638 h 36"/>
                <a:gd name="T4" fmla="*/ 3019503 w 26"/>
                <a:gd name="T5" fmla="*/ 50403125 h 36"/>
                <a:gd name="T6" fmla="*/ 5435105 w 26"/>
                <a:gd name="T7" fmla="*/ 20161250 h 36"/>
                <a:gd name="T8" fmla="*/ 7850707 w 26"/>
                <a:gd name="T9" fmla="*/ 0 h 36"/>
                <a:gd name="T10" fmla="*/ 7850707 w 26"/>
                <a:gd name="T11" fmla="*/ 22682200 h 36"/>
                <a:gd name="T12" fmla="*/ 7850707 w 26"/>
                <a:gd name="T13" fmla="*/ 45362813 h 36"/>
                <a:gd name="T14" fmla="*/ 7549031 w 26"/>
                <a:gd name="T15" fmla="*/ 55443438 h 36"/>
                <a:gd name="T16" fmla="*/ 7246806 w 26"/>
                <a:gd name="T17" fmla="*/ 65524063 h 36"/>
                <a:gd name="T18" fmla="*/ 6341230 w 26"/>
                <a:gd name="T19" fmla="*/ 73085325 h 36"/>
                <a:gd name="T20" fmla="*/ 5133429 w 26"/>
                <a:gd name="T21" fmla="*/ 80645000 h 36"/>
                <a:gd name="T22" fmla="*/ 4227304 w 26"/>
                <a:gd name="T23" fmla="*/ 85685313 h 36"/>
                <a:gd name="T24" fmla="*/ 3019503 w 26"/>
                <a:gd name="T25" fmla="*/ 88206263 h 36"/>
                <a:gd name="T26" fmla="*/ 1207801 w 26"/>
                <a:gd name="T27" fmla="*/ 90725625 h 36"/>
                <a:gd name="T28" fmla="*/ 0 w 26"/>
                <a:gd name="T29" fmla="*/ 90725625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8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079374" y="2723589"/>
              <a:ext cx="3828" cy="67825"/>
            </a:xfrm>
            <a:custGeom>
              <a:avLst/>
              <a:gdLst>
                <a:gd name="T0" fmla="*/ 0 w 6"/>
                <a:gd name="T1" fmla="*/ 98354206 h 37"/>
                <a:gd name="T2" fmla="*/ 0 w 6"/>
                <a:gd name="T3" fmla="*/ 0 h 37"/>
                <a:gd name="T4" fmla="*/ 1680104 w 6"/>
                <a:gd name="T5" fmla="*/ 0 h 37"/>
                <a:gd name="T6" fmla="*/ 1680104 w 6"/>
                <a:gd name="T7" fmla="*/ 82405580 h 37"/>
                <a:gd name="T8" fmla="*/ 0 w 6"/>
                <a:gd name="T9" fmla="*/ 98354206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59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064060" y="2816402"/>
              <a:ext cx="11485" cy="62471"/>
            </a:xfrm>
            <a:custGeom>
              <a:avLst/>
              <a:gdLst>
                <a:gd name="T0" fmla="*/ 0 w 20"/>
                <a:gd name="T1" fmla="*/ 51760165 h 43"/>
                <a:gd name="T2" fmla="*/ 0 w 20"/>
                <a:gd name="T3" fmla="*/ 41742027 h 43"/>
                <a:gd name="T4" fmla="*/ 0 w 20"/>
                <a:gd name="T5" fmla="*/ 30054414 h 43"/>
                <a:gd name="T6" fmla="*/ 453866 w 20"/>
                <a:gd name="T7" fmla="*/ 15026561 h 43"/>
                <a:gd name="T8" fmla="*/ 1587818 w 20"/>
                <a:gd name="T9" fmla="*/ 0 h 43"/>
                <a:gd name="T10" fmla="*/ 2495074 w 20"/>
                <a:gd name="T11" fmla="*/ 11687612 h 43"/>
                <a:gd name="T12" fmla="*/ 3629025 w 20"/>
                <a:gd name="T13" fmla="*/ 20036276 h 43"/>
                <a:gd name="T14" fmla="*/ 3855720 w 20"/>
                <a:gd name="T15" fmla="*/ 23375225 h 43"/>
                <a:gd name="T16" fmla="*/ 4309586 w 20"/>
                <a:gd name="T17" fmla="*/ 30054414 h 43"/>
                <a:gd name="T18" fmla="*/ 4309586 w 20"/>
                <a:gd name="T19" fmla="*/ 35062837 h 43"/>
                <a:gd name="T20" fmla="*/ 4536281 w 20"/>
                <a:gd name="T21" fmla="*/ 41742027 h 43"/>
                <a:gd name="T22" fmla="*/ 4309586 w 20"/>
                <a:gd name="T23" fmla="*/ 45080975 h 43"/>
                <a:gd name="T24" fmla="*/ 4082891 w 20"/>
                <a:gd name="T25" fmla="*/ 50090691 h 43"/>
                <a:gd name="T26" fmla="*/ 3629025 w 20"/>
                <a:gd name="T27" fmla="*/ 55099114 h 43"/>
                <a:gd name="T28" fmla="*/ 2721769 w 20"/>
                <a:gd name="T29" fmla="*/ 60108829 h 43"/>
                <a:gd name="T30" fmla="*/ 2041208 w 20"/>
                <a:gd name="T31" fmla="*/ 65117252 h 43"/>
                <a:gd name="T32" fmla="*/ 1361123 w 20"/>
                <a:gd name="T33" fmla="*/ 68457492 h 43"/>
                <a:gd name="T34" fmla="*/ 453866 w 20"/>
                <a:gd name="T35" fmla="*/ 70126967 h 43"/>
                <a:gd name="T36" fmla="*/ 0 w 20"/>
                <a:gd name="T37" fmla="*/ 71796441 h 43"/>
                <a:gd name="T38" fmla="*/ 0 w 20"/>
                <a:gd name="T39" fmla="*/ 51760165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0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037261" y="2855669"/>
              <a:ext cx="0" cy="66040"/>
            </a:xfrm>
            <a:custGeom>
              <a:avLst/>
              <a:gdLst>
                <a:gd name="T0" fmla="*/ 115005088 h 30"/>
                <a:gd name="T1" fmla="*/ 95836921 h 30"/>
                <a:gd name="T2" fmla="*/ 69003444 h 30"/>
                <a:gd name="T3" fmla="*/ 34500743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1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037261" y="2855669"/>
              <a:ext cx="9572" cy="66040"/>
            </a:xfrm>
            <a:custGeom>
              <a:avLst/>
              <a:gdLst>
                <a:gd name="T0" fmla="*/ 0 w 20"/>
                <a:gd name="T1" fmla="*/ 0 h 24"/>
                <a:gd name="T2" fmla="*/ 3150592 w 20"/>
                <a:gd name="T3" fmla="*/ 0 h 24"/>
                <a:gd name="T4" fmla="*/ 0 w 20"/>
                <a:gd name="T5" fmla="*/ 143756360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2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740554" y="2391605"/>
              <a:ext cx="21056" cy="67825"/>
            </a:xfrm>
            <a:custGeom>
              <a:avLst/>
              <a:gdLst>
                <a:gd name="T0" fmla="*/ 0 w 46"/>
                <a:gd name="T1" fmla="*/ 0 h 19"/>
                <a:gd name="T2" fmla="*/ 1296743 w 46"/>
                <a:gd name="T3" fmla="*/ 30241875 h 19"/>
                <a:gd name="T4" fmla="*/ 2017620 w 46"/>
                <a:gd name="T5" fmla="*/ 50403125 h 19"/>
                <a:gd name="T6" fmla="*/ 2738118 w 46"/>
                <a:gd name="T7" fmla="*/ 80645000 h 19"/>
                <a:gd name="T8" fmla="*/ 3314364 w 46"/>
                <a:gd name="T9" fmla="*/ 100806250 h 19"/>
                <a:gd name="T10" fmla="*/ 3746738 w 46"/>
                <a:gd name="T11" fmla="*/ 120967500 h 19"/>
                <a:gd name="T12" fmla="*/ 4611107 w 46"/>
                <a:gd name="T13" fmla="*/ 141128750 h 19"/>
                <a:gd name="T14" fmla="*/ 5331984 w 46"/>
                <a:gd name="T15" fmla="*/ 171370625 h 19"/>
                <a:gd name="T16" fmla="*/ 6628727 w 46"/>
                <a:gd name="T17" fmla="*/ 191531875 h 19"/>
                <a:gd name="T18" fmla="*/ 4755358 w 46"/>
                <a:gd name="T19" fmla="*/ 191531875 h 19"/>
                <a:gd name="T20" fmla="*/ 3458615 w 46"/>
                <a:gd name="T21" fmla="*/ 191531875 h 19"/>
                <a:gd name="T22" fmla="*/ 2593866 w 46"/>
                <a:gd name="T23" fmla="*/ 181451250 h 19"/>
                <a:gd name="T24" fmla="*/ 1873369 w 46"/>
                <a:gd name="T25" fmla="*/ 171370625 h 19"/>
                <a:gd name="T26" fmla="*/ 1440995 w 46"/>
                <a:gd name="T27" fmla="*/ 141128750 h 19"/>
                <a:gd name="T28" fmla="*/ 1008620 w 46"/>
                <a:gd name="T29" fmla="*/ 110886875 h 19"/>
                <a:gd name="T30" fmla="*/ 576246 w 46"/>
                <a:gd name="T31" fmla="*/ 7056437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3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503571" y="2548673"/>
              <a:ext cx="57427" cy="66040"/>
            </a:xfrm>
            <a:custGeom>
              <a:avLst/>
              <a:gdLst>
                <a:gd name="T0" fmla="*/ 7484745 w 100"/>
                <a:gd name="T1" fmla="*/ 0 h 55"/>
                <a:gd name="T2" fmla="*/ 22681406 w 100"/>
                <a:gd name="T3" fmla="*/ 13687022 h 55"/>
                <a:gd name="T4" fmla="*/ 22681406 w 100"/>
                <a:gd name="T5" fmla="*/ 62730048 h 55"/>
                <a:gd name="T6" fmla="*/ 2948464 w 100"/>
                <a:gd name="T7" fmla="*/ 62730048 h 55"/>
                <a:gd name="T8" fmla="*/ 0 w 100"/>
                <a:gd name="T9" fmla="*/ 49043026 h 55"/>
                <a:gd name="T10" fmla="*/ 226695 w 100"/>
                <a:gd name="T11" fmla="*/ 43341168 h 55"/>
                <a:gd name="T12" fmla="*/ 907256 w 100"/>
                <a:gd name="T13" fmla="*/ 36497657 h 55"/>
                <a:gd name="T14" fmla="*/ 2268379 w 100"/>
                <a:gd name="T15" fmla="*/ 28513561 h 55"/>
                <a:gd name="T16" fmla="*/ 3629025 w 100"/>
                <a:gd name="T17" fmla="*/ 20529465 h 55"/>
                <a:gd name="T18" fmla="*/ 6124099 w 100"/>
                <a:gd name="T19" fmla="*/ 5702926 h 55"/>
                <a:gd name="T20" fmla="*/ 7484745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4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5045302" y="2089964"/>
              <a:ext cx="51684" cy="66039"/>
            </a:xfrm>
            <a:custGeom>
              <a:avLst/>
              <a:gdLst>
                <a:gd name="T0" fmla="*/ 9934459 w 99"/>
                <a:gd name="T1" fmla="*/ 2652379 h 51"/>
                <a:gd name="T2" fmla="*/ 10871795 w 99"/>
                <a:gd name="T3" fmla="*/ 1326765 h 51"/>
                <a:gd name="T4" fmla="*/ 11621663 w 99"/>
                <a:gd name="T5" fmla="*/ 0 h 51"/>
                <a:gd name="T6" fmla="*/ 12184065 w 99"/>
                <a:gd name="T7" fmla="*/ 0 h 51"/>
                <a:gd name="T8" fmla="*/ 12933933 w 99"/>
                <a:gd name="T9" fmla="*/ 1326765 h 51"/>
                <a:gd name="T10" fmla="*/ 13870836 w 99"/>
                <a:gd name="T11" fmla="*/ 6632674 h 51"/>
                <a:gd name="T12" fmla="*/ 14808172 w 99"/>
                <a:gd name="T13" fmla="*/ 14590962 h 51"/>
                <a:gd name="T14" fmla="*/ 15558040 w 99"/>
                <a:gd name="T15" fmla="*/ 23876015 h 51"/>
                <a:gd name="T16" fmla="*/ 16307909 w 99"/>
                <a:gd name="T17" fmla="*/ 33161067 h 51"/>
                <a:gd name="T18" fmla="*/ 17057344 w 99"/>
                <a:gd name="T19" fmla="*/ 37140211 h 51"/>
                <a:gd name="T20" fmla="*/ 17432278 w 99"/>
                <a:gd name="T21" fmla="*/ 39792590 h 51"/>
                <a:gd name="T22" fmla="*/ 17994680 w 99"/>
                <a:gd name="T23" fmla="*/ 42446120 h 51"/>
                <a:gd name="T24" fmla="*/ 18557081 w 99"/>
                <a:gd name="T25" fmla="*/ 45098499 h 51"/>
                <a:gd name="T26" fmla="*/ 18557081 w 99"/>
                <a:gd name="T27" fmla="*/ 49077643 h 51"/>
                <a:gd name="T28" fmla="*/ 18182147 w 99"/>
                <a:gd name="T29" fmla="*/ 53056787 h 51"/>
                <a:gd name="T30" fmla="*/ 17807213 w 99"/>
                <a:gd name="T31" fmla="*/ 57035930 h 51"/>
                <a:gd name="T32" fmla="*/ 17057344 w 99"/>
                <a:gd name="T33" fmla="*/ 59689461 h 51"/>
                <a:gd name="T34" fmla="*/ 16120441 w 99"/>
                <a:gd name="T35" fmla="*/ 62341839 h 51"/>
                <a:gd name="T36" fmla="*/ 15183106 w 99"/>
                <a:gd name="T37" fmla="*/ 63668605 h 51"/>
                <a:gd name="T38" fmla="*/ 13870836 w 99"/>
                <a:gd name="T39" fmla="*/ 66320983 h 51"/>
                <a:gd name="T40" fmla="*/ 12746466 w 99"/>
                <a:gd name="T41" fmla="*/ 66320983 h 51"/>
                <a:gd name="T42" fmla="*/ 9746992 w 99"/>
                <a:gd name="T43" fmla="*/ 67647748 h 51"/>
                <a:gd name="T44" fmla="*/ 6747951 w 99"/>
                <a:gd name="T45" fmla="*/ 64995370 h 51"/>
                <a:gd name="T46" fmla="*/ 5061180 w 99"/>
                <a:gd name="T47" fmla="*/ 63668605 h 51"/>
                <a:gd name="T48" fmla="*/ 3373975 w 99"/>
                <a:gd name="T49" fmla="*/ 59689461 h 51"/>
                <a:gd name="T50" fmla="*/ 1687204 w 99"/>
                <a:gd name="T51" fmla="*/ 57035930 h 51"/>
                <a:gd name="T52" fmla="*/ 187467 w 99"/>
                <a:gd name="T53" fmla="*/ 53056787 h 51"/>
                <a:gd name="T54" fmla="*/ 0 w 99"/>
                <a:gd name="T55" fmla="*/ 51731173 h 51"/>
                <a:gd name="T56" fmla="*/ 187467 w 99"/>
                <a:gd name="T57" fmla="*/ 49077643 h 51"/>
                <a:gd name="T58" fmla="*/ 562401 w 99"/>
                <a:gd name="T59" fmla="*/ 46425264 h 51"/>
                <a:gd name="T60" fmla="*/ 1124803 w 99"/>
                <a:gd name="T61" fmla="*/ 43771734 h 51"/>
                <a:gd name="T62" fmla="*/ 2624107 w 99"/>
                <a:gd name="T63" fmla="*/ 38465825 h 51"/>
                <a:gd name="T64" fmla="*/ 4686245 w 99"/>
                <a:gd name="T65" fmla="*/ 31834302 h 51"/>
                <a:gd name="T66" fmla="*/ 6560484 w 99"/>
                <a:gd name="T67" fmla="*/ 25201628 h 51"/>
                <a:gd name="T68" fmla="*/ 8435155 w 99"/>
                <a:gd name="T69" fmla="*/ 15916575 h 51"/>
                <a:gd name="T70" fmla="*/ 8997556 w 99"/>
                <a:gd name="T71" fmla="*/ 13264197 h 51"/>
                <a:gd name="T72" fmla="*/ 9559525 w 99"/>
                <a:gd name="T73" fmla="*/ 9285053 h 51"/>
                <a:gd name="T74" fmla="*/ 9746992 w 99"/>
                <a:gd name="T75" fmla="*/ 6632674 h 51"/>
                <a:gd name="T76" fmla="*/ 9934459 w 99"/>
                <a:gd name="T77" fmla="*/ 2652379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5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5087415" y="1879350"/>
              <a:ext cx="275651" cy="183840"/>
            </a:xfrm>
            <a:custGeom>
              <a:avLst/>
              <a:gdLst>
                <a:gd name="T0" fmla="*/ 59723383 w 525"/>
                <a:gd name="T1" fmla="*/ 7463718 h 311"/>
                <a:gd name="T2" fmla="*/ 64842717 w 525"/>
                <a:gd name="T3" fmla="*/ 5804939 h 311"/>
                <a:gd name="T4" fmla="*/ 72995246 w 525"/>
                <a:gd name="T5" fmla="*/ 5528388 h 311"/>
                <a:gd name="T6" fmla="*/ 77356063 w 525"/>
                <a:gd name="T7" fmla="*/ 4699261 h 311"/>
                <a:gd name="T8" fmla="*/ 80958363 w 525"/>
                <a:gd name="T9" fmla="*/ 1934804 h 311"/>
                <a:gd name="T10" fmla="*/ 97453269 w 525"/>
                <a:gd name="T11" fmla="*/ 1658779 h 311"/>
                <a:gd name="T12" fmla="*/ 99538971 w 525"/>
                <a:gd name="T13" fmla="*/ 5251837 h 311"/>
                <a:gd name="T14" fmla="*/ 88732070 w 525"/>
                <a:gd name="T15" fmla="*/ 12992106 h 311"/>
                <a:gd name="T16" fmla="*/ 74322432 w 525"/>
                <a:gd name="T17" fmla="*/ 20179274 h 311"/>
                <a:gd name="T18" fmla="*/ 67497089 w 525"/>
                <a:gd name="T19" fmla="*/ 22114078 h 311"/>
                <a:gd name="T20" fmla="*/ 60861158 w 525"/>
                <a:gd name="T21" fmla="*/ 22943205 h 311"/>
                <a:gd name="T22" fmla="*/ 52898040 w 525"/>
                <a:gd name="T23" fmla="*/ 27919017 h 311"/>
                <a:gd name="T24" fmla="*/ 46262109 w 525"/>
                <a:gd name="T25" fmla="*/ 33447405 h 311"/>
                <a:gd name="T26" fmla="*/ 41332186 w 525"/>
                <a:gd name="T27" fmla="*/ 35658760 h 311"/>
                <a:gd name="T28" fmla="*/ 35454771 w 525"/>
                <a:gd name="T29" fmla="*/ 34000507 h 311"/>
                <a:gd name="T30" fmla="*/ 33748327 w 525"/>
                <a:gd name="T31" fmla="*/ 37870115 h 311"/>
                <a:gd name="T32" fmla="*/ 33179657 w 525"/>
                <a:gd name="T33" fmla="*/ 40081470 h 311"/>
                <a:gd name="T34" fmla="*/ 35075513 w 525"/>
                <a:gd name="T35" fmla="*/ 40911123 h 311"/>
                <a:gd name="T36" fmla="*/ 34886102 w 525"/>
                <a:gd name="T37" fmla="*/ 43399029 h 311"/>
                <a:gd name="T38" fmla="*/ 33369069 w 525"/>
                <a:gd name="T39" fmla="*/ 46162960 h 311"/>
                <a:gd name="T40" fmla="*/ 34127585 w 525"/>
                <a:gd name="T41" fmla="*/ 49479993 h 311"/>
                <a:gd name="T42" fmla="*/ 30714696 w 525"/>
                <a:gd name="T43" fmla="*/ 53626678 h 311"/>
                <a:gd name="T44" fmla="*/ 27302242 w 525"/>
                <a:gd name="T45" fmla="*/ 56390610 h 311"/>
                <a:gd name="T46" fmla="*/ 26733137 w 525"/>
                <a:gd name="T47" fmla="*/ 58878516 h 311"/>
                <a:gd name="T48" fmla="*/ 27302242 w 525"/>
                <a:gd name="T49" fmla="*/ 63025201 h 311"/>
                <a:gd name="T50" fmla="*/ 30904543 w 525"/>
                <a:gd name="T51" fmla="*/ 68277038 h 311"/>
                <a:gd name="T52" fmla="*/ 36213288 w 525"/>
                <a:gd name="T53" fmla="*/ 73805426 h 311"/>
                <a:gd name="T54" fmla="*/ 48537223 w 525"/>
                <a:gd name="T55" fmla="*/ 82927924 h 311"/>
                <a:gd name="T56" fmla="*/ 46072262 w 525"/>
                <a:gd name="T57" fmla="*/ 85968406 h 311"/>
                <a:gd name="T58" fmla="*/ 35834030 w 525"/>
                <a:gd name="T59" fmla="*/ 85415304 h 311"/>
                <a:gd name="T60" fmla="*/ 27491654 w 525"/>
                <a:gd name="T61" fmla="*/ 85139279 h 311"/>
                <a:gd name="T62" fmla="*/ 24458023 w 525"/>
                <a:gd name="T63" fmla="*/ 84033601 h 311"/>
                <a:gd name="T64" fmla="*/ 23320683 w 525"/>
                <a:gd name="T65" fmla="*/ 82374822 h 311"/>
                <a:gd name="T66" fmla="*/ 22751578 w 525"/>
                <a:gd name="T67" fmla="*/ 77952112 h 311"/>
                <a:gd name="T68" fmla="*/ 21993497 w 525"/>
                <a:gd name="T69" fmla="*/ 76846434 h 311"/>
                <a:gd name="T70" fmla="*/ 18011938 w 525"/>
                <a:gd name="T71" fmla="*/ 76569883 h 311"/>
                <a:gd name="T72" fmla="*/ 15167719 w 525"/>
                <a:gd name="T73" fmla="*/ 81822246 h 311"/>
                <a:gd name="T74" fmla="*/ 8342376 w 525"/>
                <a:gd name="T75" fmla="*/ 77952112 h 311"/>
                <a:gd name="T76" fmla="*/ 0 w 525"/>
                <a:gd name="T77" fmla="*/ 68000487 h 311"/>
                <a:gd name="T78" fmla="*/ 3412889 w 525"/>
                <a:gd name="T79" fmla="*/ 66065683 h 311"/>
                <a:gd name="T80" fmla="*/ 6446520 w 525"/>
                <a:gd name="T81" fmla="*/ 61366422 h 311"/>
                <a:gd name="T82" fmla="*/ 5308745 w 525"/>
                <a:gd name="T83" fmla="*/ 58878516 h 311"/>
                <a:gd name="T84" fmla="*/ 6446520 w 525"/>
                <a:gd name="T85" fmla="*/ 55284932 h 311"/>
                <a:gd name="T86" fmla="*/ 7583859 w 525"/>
                <a:gd name="T87" fmla="*/ 51967899 h 311"/>
                <a:gd name="T88" fmla="*/ 6446520 w 525"/>
                <a:gd name="T89" fmla="*/ 49479993 h 311"/>
                <a:gd name="T90" fmla="*/ 25405951 w 525"/>
                <a:gd name="T91" fmla="*/ 49479993 h 311"/>
                <a:gd name="T92" fmla="*/ 24837281 w 525"/>
                <a:gd name="T93" fmla="*/ 48927417 h 311"/>
                <a:gd name="T94" fmla="*/ 17064010 w 525"/>
                <a:gd name="T95" fmla="*/ 45886935 h 311"/>
                <a:gd name="T96" fmla="*/ 10238232 w 525"/>
                <a:gd name="T97" fmla="*/ 40911123 h 311"/>
                <a:gd name="T98" fmla="*/ 15926235 w 525"/>
                <a:gd name="T99" fmla="*/ 37040989 h 311"/>
                <a:gd name="T100" fmla="*/ 22751578 w 525"/>
                <a:gd name="T101" fmla="*/ 30683474 h 311"/>
                <a:gd name="T102" fmla="*/ 21045569 w 525"/>
                <a:gd name="T103" fmla="*/ 28471593 h 311"/>
                <a:gd name="T104" fmla="*/ 18959866 w 525"/>
                <a:gd name="T105" fmla="*/ 22114078 h 311"/>
                <a:gd name="T106" fmla="*/ 24078765 w 525"/>
                <a:gd name="T107" fmla="*/ 21008400 h 311"/>
                <a:gd name="T108" fmla="*/ 34886102 w 525"/>
                <a:gd name="T109" fmla="*/ 16032588 h 311"/>
                <a:gd name="T110" fmla="*/ 48157965 w 525"/>
                <a:gd name="T111" fmla="*/ 9675073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6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836649" y="2229183"/>
              <a:ext cx="38285" cy="62470"/>
            </a:xfrm>
            <a:custGeom>
              <a:avLst/>
              <a:gdLst>
                <a:gd name="T0" fmla="*/ 7429902 w 79"/>
                <a:gd name="T1" fmla="*/ 0 h 38"/>
                <a:gd name="T2" fmla="*/ 8722408 w 79"/>
                <a:gd name="T3" fmla="*/ 2137675 h 38"/>
                <a:gd name="T4" fmla="*/ 10014513 w 79"/>
                <a:gd name="T5" fmla="*/ 6413025 h 38"/>
                <a:gd name="T6" fmla="*/ 10983491 w 79"/>
                <a:gd name="T7" fmla="*/ 14965186 h 38"/>
                <a:gd name="T8" fmla="*/ 11629744 w 79"/>
                <a:gd name="T9" fmla="*/ 25655022 h 38"/>
                <a:gd name="T10" fmla="*/ 12114032 w 79"/>
                <a:gd name="T11" fmla="*/ 36344859 h 38"/>
                <a:gd name="T12" fmla="*/ 12437158 w 79"/>
                <a:gd name="T13" fmla="*/ 47033233 h 38"/>
                <a:gd name="T14" fmla="*/ 12760285 w 79"/>
                <a:gd name="T15" fmla="*/ 57723069 h 38"/>
                <a:gd name="T16" fmla="*/ 12760285 w 79"/>
                <a:gd name="T17" fmla="*/ 68412906 h 38"/>
                <a:gd name="T18" fmla="*/ 12437158 w 79"/>
                <a:gd name="T19" fmla="*/ 72688255 h 38"/>
                <a:gd name="T20" fmla="*/ 12114032 w 79"/>
                <a:gd name="T21" fmla="*/ 74827392 h 38"/>
                <a:gd name="T22" fmla="*/ 11629744 w 79"/>
                <a:gd name="T23" fmla="*/ 76965067 h 38"/>
                <a:gd name="T24" fmla="*/ 10983491 w 79"/>
                <a:gd name="T25" fmla="*/ 79102742 h 38"/>
                <a:gd name="T26" fmla="*/ 9206696 w 79"/>
                <a:gd name="T27" fmla="*/ 81240417 h 38"/>
                <a:gd name="T28" fmla="*/ 7429902 w 79"/>
                <a:gd name="T29" fmla="*/ 81240417 h 38"/>
                <a:gd name="T30" fmla="*/ 6137797 w 79"/>
                <a:gd name="T31" fmla="*/ 79102742 h 38"/>
                <a:gd name="T32" fmla="*/ 4845693 w 79"/>
                <a:gd name="T33" fmla="*/ 76965067 h 38"/>
                <a:gd name="T34" fmla="*/ 3392025 w 79"/>
                <a:gd name="T35" fmla="*/ 74827392 h 38"/>
                <a:gd name="T36" fmla="*/ 2422646 w 79"/>
                <a:gd name="T37" fmla="*/ 68412906 h 38"/>
                <a:gd name="T38" fmla="*/ 1292104 w 79"/>
                <a:gd name="T39" fmla="*/ 61999881 h 38"/>
                <a:gd name="T40" fmla="*/ 646253 w 79"/>
                <a:gd name="T41" fmla="*/ 53447720 h 38"/>
                <a:gd name="T42" fmla="*/ 323127 w 79"/>
                <a:gd name="T43" fmla="*/ 47033233 h 38"/>
                <a:gd name="T44" fmla="*/ 161563 w 79"/>
                <a:gd name="T45" fmla="*/ 42757883 h 38"/>
                <a:gd name="T46" fmla="*/ 0 w 79"/>
                <a:gd name="T47" fmla="*/ 36344859 h 38"/>
                <a:gd name="T48" fmla="*/ 0 w 79"/>
                <a:gd name="T49" fmla="*/ 27792697 h 38"/>
                <a:gd name="T50" fmla="*/ 161563 w 79"/>
                <a:gd name="T51" fmla="*/ 23517348 h 38"/>
                <a:gd name="T52" fmla="*/ 646253 w 79"/>
                <a:gd name="T53" fmla="*/ 19240536 h 38"/>
                <a:gd name="T54" fmla="*/ 1615231 w 79"/>
                <a:gd name="T55" fmla="*/ 12827511 h 38"/>
                <a:gd name="T56" fmla="*/ 2745772 w 79"/>
                <a:gd name="T57" fmla="*/ 8552162 h 38"/>
                <a:gd name="T58" fmla="*/ 5168820 w 79"/>
                <a:gd name="T59" fmla="*/ 2137675 h 38"/>
                <a:gd name="T60" fmla="*/ 7429902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67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616128" y="2562952"/>
              <a:ext cx="237366" cy="301642"/>
            </a:xfrm>
            <a:custGeom>
              <a:avLst/>
              <a:gdLst>
                <a:gd name="T0" fmla="*/ 4782297 w 459"/>
                <a:gd name="T1" fmla="*/ 12404251 h 511"/>
                <a:gd name="T2" fmla="*/ 2206950 w 459"/>
                <a:gd name="T3" fmla="*/ 6891484 h 511"/>
                <a:gd name="T4" fmla="*/ 0 w 459"/>
                <a:gd name="T5" fmla="*/ 0 h 511"/>
                <a:gd name="T6" fmla="*/ 4046361 w 459"/>
                <a:gd name="T7" fmla="*/ 1929468 h 511"/>
                <a:gd name="T8" fmla="*/ 6069756 w 459"/>
                <a:gd name="T9" fmla="*/ 1653830 h 511"/>
                <a:gd name="T10" fmla="*/ 17472903 w 459"/>
                <a:gd name="T11" fmla="*/ 18468820 h 511"/>
                <a:gd name="T12" fmla="*/ 26853514 w 459"/>
                <a:gd name="T13" fmla="*/ 33905093 h 511"/>
                <a:gd name="T14" fmla="*/ 39728104 w 459"/>
                <a:gd name="T15" fmla="*/ 54579020 h 511"/>
                <a:gd name="T16" fmla="*/ 47453287 w 459"/>
                <a:gd name="T17" fmla="*/ 65329441 h 511"/>
                <a:gd name="T18" fmla="*/ 55729993 w 459"/>
                <a:gd name="T19" fmla="*/ 73323478 h 511"/>
                <a:gd name="T20" fmla="*/ 68421029 w 459"/>
                <a:gd name="T21" fmla="*/ 85727729 h 511"/>
                <a:gd name="T22" fmla="*/ 73202897 w 459"/>
                <a:gd name="T23" fmla="*/ 92619213 h 511"/>
                <a:gd name="T24" fmla="*/ 67133141 w 459"/>
                <a:gd name="T25" fmla="*/ 88208474 h 511"/>
                <a:gd name="T26" fmla="*/ 59592370 w 459"/>
                <a:gd name="T27" fmla="*/ 81593154 h 511"/>
                <a:gd name="T28" fmla="*/ 57752959 w 459"/>
                <a:gd name="T29" fmla="*/ 82144430 h 511"/>
                <a:gd name="T30" fmla="*/ 57568975 w 459"/>
                <a:gd name="T31" fmla="*/ 85727729 h 511"/>
                <a:gd name="T32" fmla="*/ 58304911 w 459"/>
                <a:gd name="T33" fmla="*/ 92894851 h 511"/>
                <a:gd name="T34" fmla="*/ 59960338 w 459"/>
                <a:gd name="T35" fmla="*/ 98683257 h 511"/>
                <a:gd name="T36" fmla="*/ 64006700 w 459"/>
                <a:gd name="T37" fmla="*/ 106677294 h 511"/>
                <a:gd name="T38" fmla="*/ 72467390 w 459"/>
                <a:gd name="T39" fmla="*/ 116049523 h 511"/>
                <a:gd name="T40" fmla="*/ 80928080 w 459"/>
                <a:gd name="T41" fmla="*/ 126248667 h 511"/>
                <a:gd name="T42" fmla="*/ 82399094 w 459"/>
                <a:gd name="T43" fmla="*/ 131210158 h 511"/>
                <a:gd name="T44" fmla="*/ 78720701 w 459"/>
                <a:gd name="T45" fmla="*/ 129280689 h 511"/>
                <a:gd name="T46" fmla="*/ 72099422 w 459"/>
                <a:gd name="T47" fmla="*/ 127351221 h 511"/>
                <a:gd name="T48" fmla="*/ 72283406 w 459"/>
                <a:gd name="T49" fmla="*/ 136172173 h 511"/>
                <a:gd name="T50" fmla="*/ 73202897 w 459"/>
                <a:gd name="T51" fmla="*/ 140858025 h 511"/>
                <a:gd name="T52" fmla="*/ 71363486 w 459"/>
                <a:gd name="T53" fmla="*/ 135620897 h 511"/>
                <a:gd name="T54" fmla="*/ 66765602 w 459"/>
                <a:gd name="T55" fmla="*/ 128453774 h 511"/>
                <a:gd name="T56" fmla="*/ 63086780 w 459"/>
                <a:gd name="T57" fmla="*/ 122664844 h 511"/>
                <a:gd name="T58" fmla="*/ 62351273 w 459"/>
                <a:gd name="T59" fmla="*/ 118805907 h 511"/>
                <a:gd name="T60" fmla="*/ 60327878 w 459"/>
                <a:gd name="T61" fmla="*/ 113292615 h 511"/>
                <a:gd name="T62" fmla="*/ 57017452 w 459"/>
                <a:gd name="T63" fmla="*/ 105850379 h 511"/>
                <a:gd name="T64" fmla="*/ 54810073 w 459"/>
                <a:gd name="T65" fmla="*/ 101164002 h 511"/>
                <a:gd name="T66" fmla="*/ 51499648 w 459"/>
                <a:gd name="T67" fmla="*/ 98683257 h 511"/>
                <a:gd name="T68" fmla="*/ 48556762 w 459"/>
                <a:gd name="T69" fmla="*/ 94548681 h 511"/>
                <a:gd name="T70" fmla="*/ 45797860 w 459"/>
                <a:gd name="T71" fmla="*/ 86554644 h 511"/>
                <a:gd name="T72" fmla="*/ 45061924 w 459"/>
                <a:gd name="T73" fmla="*/ 80765714 h 511"/>
                <a:gd name="T74" fmla="*/ 43038958 w 459"/>
                <a:gd name="T75" fmla="*/ 77458053 h 511"/>
                <a:gd name="T76" fmla="*/ 35681743 w 459"/>
                <a:gd name="T77" fmla="*/ 67258909 h 511"/>
                <a:gd name="T78" fmla="*/ 31451398 w 459"/>
                <a:gd name="T79" fmla="*/ 60643589 h 511"/>
                <a:gd name="T80" fmla="*/ 29979955 w 459"/>
                <a:gd name="T81" fmla="*/ 55957211 h 511"/>
                <a:gd name="T82" fmla="*/ 28324957 w 459"/>
                <a:gd name="T83" fmla="*/ 51546998 h 511"/>
                <a:gd name="T84" fmla="*/ 21151725 w 459"/>
                <a:gd name="T85" fmla="*/ 42726045 h 511"/>
                <a:gd name="T86" fmla="*/ 12875019 w 459"/>
                <a:gd name="T87" fmla="*/ 35834561 h 511"/>
                <a:gd name="T88" fmla="*/ 8644674 w 459"/>
                <a:gd name="T89" fmla="*/ 30321794 h 511"/>
                <a:gd name="T90" fmla="*/ 6989247 w 459"/>
                <a:gd name="T91" fmla="*/ 25635417 h 511"/>
                <a:gd name="T92" fmla="*/ 6253311 w 459"/>
                <a:gd name="T93" fmla="*/ 2067392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368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6157476" y="2512975"/>
              <a:ext cx="809725" cy="431936"/>
              <a:chOff x="4115" y="1551"/>
              <a:chExt cx="504" cy="244"/>
            </a:xfrm>
          </p:grpSpPr>
          <p:sp>
            <p:nvSpPr>
              <p:cNvPr id="398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 w 240"/>
                  <a:gd name="T1" fmla="*/ 27 h 259"/>
                  <a:gd name="T2" fmla="*/ 9 w 240"/>
                  <a:gd name="T3" fmla="*/ 29 h 259"/>
                  <a:gd name="T4" fmla="*/ 13 w 240"/>
                  <a:gd name="T5" fmla="*/ 27 h 259"/>
                  <a:gd name="T6" fmla="*/ 14 w 240"/>
                  <a:gd name="T7" fmla="*/ 23 h 259"/>
                  <a:gd name="T8" fmla="*/ 21 w 240"/>
                  <a:gd name="T9" fmla="*/ 18 h 259"/>
                  <a:gd name="T10" fmla="*/ 23 w 240"/>
                  <a:gd name="T11" fmla="*/ 12 h 259"/>
                  <a:gd name="T12" fmla="*/ 26 w 240"/>
                  <a:gd name="T13" fmla="*/ 3 h 259"/>
                  <a:gd name="T14" fmla="*/ 23 w 240"/>
                  <a:gd name="T15" fmla="*/ 0 h 259"/>
                  <a:gd name="T16" fmla="*/ 22 w 240"/>
                  <a:gd name="T17" fmla="*/ 4 h 259"/>
                  <a:gd name="T18" fmla="*/ 22 w 240"/>
                  <a:gd name="T19" fmla="*/ 8 h 259"/>
                  <a:gd name="T20" fmla="*/ 18 w 240"/>
                  <a:gd name="T21" fmla="*/ 12 h 259"/>
                  <a:gd name="T22" fmla="*/ 14 w 240"/>
                  <a:gd name="T23" fmla="*/ 16 h 259"/>
                  <a:gd name="T24" fmla="*/ 12 w 240"/>
                  <a:gd name="T25" fmla="*/ 20 h 259"/>
                  <a:gd name="T26" fmla="*/ 10 w 240"/>
                  <a:gd name="T27" fmla="*/ 24 h 259"/>
                  <a:gd name="T28" fmla="*/ 2 w 240"/>
                  <a:gd name="T29" fmla="*/ 25 h 259"/>
                  <a:gd name="T30" fmla="*/ 0 w 240"/>
                  <a:gd name="T31" fmla="*/ 25 h 259"/>
                  <a:gd name="T32" fmla="*/ 1 w 240"/>
                  <a:gd name="T33" fmla="*/ 27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399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4 w 259"/>
                  <a:gd name="T1" fmla="*/ 11 h 104"/>
                  <a:gd name="T2" fmla="*/ 3 w 259"/>
                  <a:gd name="T3" fmla="*/ 9 h 104"/>
                  <a:gd name="T4" fmla="*/ 6 w 259"/>
                  <a:gd name="T5" fmla="*/ 7 h 104"/>
                  <a:gd name="T6" fmla="*/ 7 w 259"/>
                  <a:gd name="T7" fmla="*/ 5 h 104"/>
                  <a:gd name="T8" fmla="*/ 13 w 259"/>
                  <a:gd name="T9" fmla="*/ 5 h 104"/>
                  <a:gd name="T10" fmla="*/ 18 w 259"/>
                  <a:gd name="T11" fmla="*/ 5 h 104"/>
                  <a:gd name="T12" fmla="*/ 26 w 259"/>
                  <a:gd name="T13" fmla="*/ 3 h 104"/>
                  <a:gd name="T14" fmla="*/ 27 w 259"/>
                  <a:gd name="T15" fmla="*/ 1 h 104"/>
                  <a:gd name="T16" fmla="*/ 26 w 259"/>
                  <a:gd name="T17" fmla="*/ 0 h 104"/>
                  <a:gd name="T18" fmla="*/ 21 w 259"/>
                  <a:gd name="T19" fmla="*/ 1 h 104"/>
                  <a:gd name="T20" fmla="*/ 16 w 259"/>
                  <a:gd name="T21" fmla="*/ 1 h 104"/>
                  <a:gd name="T22" fmla="*/ 11 w 259"/>
                  <a:gd name="T23" fmla="*/ 1 h 104"/>
                  <a:gd name="T24" fmla="*/ 6 w 259"/>
                  <a:gd name="T25" fmla="*/ 2 h 104"/>
                  <a:gd name="T26" fmla="*/ 3 w 259"/>
                  <a:gd name="T27" fmla="*/ 5 h 104"/>
                  <a:gd name="T28" fmla="*/ 0 w 259"/>
                  <a:gd name="T29" fmla="*/ 7 h 104"/>
                  <a:gd name="T30" fmla="*/ 0 w 259"/>
                  <a:gd name="T31" fmla="*/ 11 h 104"/>
                  <a:gd name="T32" fmla="*/ 4 w 259"/>
                  <a:gd name="T33" fmla="*/ 1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9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020416" y="3355430"/>
              <a:ext cx="639357" cy="574725"/>
            </a:xfrm>
            <a:custGeom>
              <a:avLst/>
              <a:gdLst>
                <a:gd name="T0" fmla="*/ 174039118 w 1227"/>
                <a:gd name="T1" fmla="*/ 127045523 h 979"/>
                <a:gd name="T2" fmla="*/ 174039118 w 1227"/>
                <a:gd name="T3" fmla="*/ 120502588 h 979"/>
                <a:gd name="T4" fmla="*/ 173665757 w 1227"/>
                <a:gd name="T5" fmla="*/ 112323788 h 979"/>
                <a:gd name="T6" fmla="*/ 169557485 w 1227"/>
                <a:gd name="T7" fmla="*/ 104962659 h 979"/>
                <a:gd name="T8" fmla="*/ 167876927 w 1227"/>
                <a:gd name="T9" fmla="*/ 100055066 h 979"/>
                <a:gd name="T10" fmla="*/ 152564357 w 1227"/>
                <a:gd name="T11" fmla="*/ 85060773 h 979"/>
                <a:gd name="T12" fmla="*/ 141733853 w 1227"/>
                <a:gd name="T13" fmla="*/ 71701823 h 979"/>
                <a:gd name="T14" fmla="*/ 140426656 w 1227"/>
                <a:gd name="T15" fmla="*/ 62432272 h 979"/>
                <a:gd name="T16" fmla="*/ 135571229 w 1227"/>
                <a:gd name="T17" fmla="*/ 59433623 h 979"/>
                <a:gd name="T18" fmla="*/ 129782400 w 1227"/>
                <a:gd name="T19" fmla="*/ 56434451 h 979"/>
                <a:gd name="T20" fmla="*/ 119138576 w 1227"/>
                <a:gd name="T21" fmla="*/ 53435279 h 979"/>
                <a:gd name="T22" fmla="*/ 111295394 w 1227"/>
                <a:gd name="T23" fmla="*/ 54798587 h 979"/>
                <a:gd name="T24" fmla="*/ 106440400 w 1227"/>
                <a:gd name="T25" fmla="*/ 55616780 h 979"/>
                <a:gd name="T26" fmla="*/ 98971012 w 1227"/>
                <a:gd name="T27" fmla="*/ 53162722 h 979"/>
                <a:gd name="T28" fmla="*/ 94302266 w 1227"/>
                <a:gd name="T29" fmla="*/ 48800765 h 979"/>
                <a:gd name="T30" fmla="*/ 90193995 w 1227"/>
                <a:gd name="T31" fmla="*/ 34896701 h 979"/>
                <a:gd name="T32" fmla="*/ 86832878 w 1227"/>
                <a:gd name="T33" fmla="*/ 28080686 h 979"/>
                <a:gd name="T34" fmla="*/ 80670687 w 1227"/>
                <a:gd name="T35" fmla="*/ 22082864 h 979"/>
                <a:gd name="T36" fmla="*/ 68159192 w 1227"/>
                <a:gd name="T37" fmla="*/ 16630679 h 979"/>
                <a:gd name="T38" fmla="*/ 56581533 w 1227"/>
                <a:gd name="T39" fmla="*/ 8723914 h 979"/>
                <a:gd name="T40" fmla="*/ 39961766 w 1227"/>
                <a:gd name="T41" fmla="*/ 2726093 h 979"/>
                <a:gd name="T42" fmla="*/ 30998501 w 1227"/>
                <a:gd name="T43" fmla="*/ 10359779 h 979"/>
                <a:gd name="T44" fmla="*/ 28197426 w 1227"/>
                <a:gd name="T45" fmla="*/ 16630679 h 979"/>
                <a:gd name="T46" fmla="*/ 28570787 w 1227"/>
                <a:gd name="T47" fmla="*/ 24536922 h 979"/>
                <a:gd name="T48" fmla="*/ 31558543 w 1227"/>
                <a:gd name="T49" fmla="*/ 32170608 h 979"/>
                <a:gd name="T50" fmla="*/ 28197426 w 1227"/>
                <a:gd name="T51" fmla="*/ 40894522 h 979"/>
                <a:gd name="T52" fmla="*/ 17739851 w 1227"/>
                <a:gd name="T53" fmla="*/ 50709187 h 979"/>
                <a:gd name="T54" fmla="*/ 10083782 w 1227"/>
                <a:gd name="T55" fmla="*/ 51799937 h 979"/>
                <a:gd name="T56" fmla="*/ 1680558 w 1227"/>
                <a:gd name="T57" fmla="*/ 49891515 h 979"/>
                <a:gd name="T58" fmla="*/ 0 w 1227"/>
                <a:gd name="T59" fmla="*/ 64340694 h 979"/>
                <a:gd name="T60" fmla="*/ 1680558 w 1227"/>
                <a:gd name="T61" fmla="*/ 73337687 h 979"/>
                <a:gd name="T62" fmla="*/ 4668314 w 1227"/>
                <a:gd name="T63" fmla="*/ 76881451 h 979"/>
                <a:gd name="T64" fmla="*/ 7469388 w 1227"/>
                <a:gd name="T65" fmla="*/ 83697466 h 979"/>
                <a:gd name="T66" fmla="*/ 15499250 w 1227"/>
                <a:gd name="T67" fmla="*/ 99237395 h 979"/>
                <a:gd name="T68" fmla="*/ 19047048 w 1227"/>
                <a:gd name="T69" fmla="*/ 112868902 h 979"/>
                <a:gd name="T70" fmla="*/ 22595277 w 1227"/>
                <a:gd name="T71" fmla="*/ 116413188 h 979"/>
                <a:gd name="T72" fmla="*/ 24835877 w 1227"/>
                <a:gd name="T73" fmla="*/ 119411838 h 979"/>
                <a:gd name="T74" fmla="*/ 27636952 w 1227"/>
                <a:gd name="T75" fmla="*/ 127863717 h 979"/>
                <a:gd name="T76" fmla="*/ 41829005 w 1227"/>
                <a:gd name="T77" fmla="*/ 148855831 h 979"/>
                <a:gd name="T78" fmla="*/ 46497751 w 1227"/>
                <a:gd name="T79" fmla="*/ 159488689 h 979"/>
                <a:gd name="T80" fmla="*/ 47804948 w 1227"/>
                <a:gd name="T81" fmla="*/ 170121024 h 979"/>
                <a:gd name="T82" fmla="*/ 49672187 w 1227"/>
                <a:gd name="T83" fmla="*/ 179663132 h 979"/>
                <a:gd name="T84" fmla="*/ 55834378 w 1227"/>
                <a:gd name="T85" fmla="*/ 191113660 h 979"/>
                <a:gd name="T86" fmla="*/ 67412037 w 1227"/>
                <a:gd name="T87" fmla="*/ 207471260 h 979"/>
                <a:gd name="T88" fmla="*/ 72454144 w 1227"/>
                <a:gd name="T89" fmla="*/ 221920961 h 979"/>
                <a:gd name="T90" fmla="*/ 79363490 w 1227"/>
                <a:gd name="T91" fmla="*/ 236370140 h 979"/>
                <a:gd name="T92" fmla="*/ 90193995 w 1227"/>
                <a:gd name="T93" fmla="*/ 255726911 h 979"/>
                <a:gd name="T94" fmla="*/ 98597219 w 1227"/>
                <a:gd name="T95" fmla="*/ 266904883 h 979"/>
                <a:gd name="T96" fmla="*/ 101398293 w 1227"/>
                <a:gd name="T97" fmla="*/ 259816311 h 979"/>
                <a:gd name="T98" fmla="*/ 101958767 w 1227"/>
                <a:gd name="T99" fmla="*/ 247820668 h 979"/>
                <a:gd name="T100" fmla="*/ 106440400 w 1227"/>
                <a:gd name="T101" fmla="*/ 244276383 h 979"/>
                <a:gd name="T102" fmla="*/ 112975953 w 1227"/>
                <a:gd name="T103" fmla="*/ 244003825 h 979"/>
                <a:gd name="T104" fmla="*/ 123246847 w 1227"/>
                <a:gd name="T105" fmla="*/ 247820668 h 979"/>
                <a:gd name="T106" fmla="*/ 132210113 w 1227"/>
                <a:gd name="T107" fmla="*/ 257090219 h 979"/>
                <a:gd name="T108" fmla="*/ 146962208 w 1227"/>
                <a:gd name="T109" fmla="*/ 228463897 h 979"/>
                <a:gd name="T110" fmla="*/ 223897985 w 1227"/>
                <a:gd name="T111" fmla="*/ 154581095 h 979"/>
                <a:gd name="T112" fmla="*/ 175532996 w 1227"/>
                <a:gd name="T113" fmla="*/ 127590638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0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86803" y="2843175"/>
              <a:ext cx="68913" cy="64255"/>
            </a:xfrm>
            <a:custGeom>
              <a:avLst/>
              <a:gdLst>
                <a:gd name="T0" fmla="*/ 22370702 w 146"/>
                <a:gd name="T1" fmla="*/ 8960556 h 81"/>
                <a:gd name="T2" fmla="*/ 21144717 w 146"/>
                <a:gd name="T3" fmla="*/ 11947172 h 81"/>
                <a:gd name="T4" fmla="*/ 19919124 w 146"/>
                <a:gd name="T5" fmla="*/ 14436372 h 81"/>
                <a:gd name="T6" fmla="*/ 18846583 w 146"/>
                <a:gd name="T7" fmla="*/ 17422989 h 81"/>
                <a:gd name="T8" fmla="*/ 18080538 w 146"/>
                <a:gd name="T9" fmla="*/ 20410311 h 81"/>
                <a:gd name="T10" fmla="*/ 16548057 w 146"/>
                <a:gd name="T11" fmla="*/ 26383544 h 81"/>
                <a:gd name="T12" fmla="*/ 15015967 w 146"/>
                <a:gd name="T13" fmla="*/ 31860067 h 81"/>
                <a:gd name="T14" fmla="*/ 14249922 w 146"/>
                <a:gd name="T15" fmla="*/ 34348561 h 81"/>
                <a:gd name="T16" fmla="*/ 13023937 w 146"/>
                <a:gd name="T17" fmla="*/ 36340344 h 81"/>
                <a:gd name="T18" fmla="*/ 11644900 w 146"/>
                <a:gd name="T19" fmla="*/ 38331422 h 81"/>
                <a:gd name="T20" fmla="*/ 10112810 w 146"/>
                <a:gd name="T21" fmla="*/ 39824378 h 81"/>
                <a:gd name="T22" fmla="*/ 8120780 w 146"/>
                <a:gd name="T23" fmla="*/ 40322500 h 81"/>
                <a:gd name="T24" fmla="*/ 5975698 w 146"/>
                <a:gd name="T25" fmla="*/ 39824378 h 81"/>
                <a:gd name="T26" fmla="*/ 3217623 w 146"/>
                <a:gd name="T27" fmla="*/ 38331422 h 81"/>
                <a:gd name="T28" fmla="*/ 0 w 146"/>
                <a:gd name="T29" fmla="*/ 36837761 h 81"/>
                <a:gd name="T30" fmla="*/ 0 w 146"/>
                <a:gd name="T31" fmla="*/ 30863822 h 81"/>
                <a:gd name="T32" fmla="*/ 0 w 146"/>
                <a:gd name="T33" fmla="*/ 24392467 h 81"/>
                <a:gd name="T34" fmla="*/ 0 w 146"/>
                <a:gd name="T35" fmla="*/ 16925572 h 81"/>
                <a:gd name="T36" fmla="*/ 0 w 146"/>
                <a:gd name="T37" fmla="*/ 8960556 h 81"/>
                <a:gd name="T38" fmla="*/ 2145082 w 146"/>
                <a:gd name="T39" fmla="*/ 8960556 h 81"/>
                <a:gd name="T40" fmla="*/ 3371067 w 146"/>
                <a:gd name="T41" fmla="*/ 8960556 h 81"/>
                <a:gd name="T42" fmla="*/ 4750104 w 146"/>
                <a:gd name="T43" fmla="*/ 8960556 h 81"/>
                <a:gd name="T44" fmla="*/ 6129142 w 146"/>
                <a:gd name="T45" fmla="*/ 8960556 h 81"/>
                <a:gd name="T46" fmla="*/ 7967728 w 146"/>
                <a:gd name="T47" fmla="*/ 8960556 h 81"/>
                <a:gd name="T48" fmla="*/ 9653261 w 146"/>
                <a:gd name="T49" fmla="*/ 7965017 h 81"/>
                <a:gd name="T50" fmla="*/ 11185351 w 146"/>
                <a:gd name="T51" fmla="*/ 6969478 h 81"/>
                <a:gd name="T52" fmla="*/ 12717441 w 146"/>
                <a:gd name="T53" fmla="*/ 5475817 h 81"/>
                <a:gd name="T54" fmla="*/ 15475515 w 146"/>
                <a:gd name="T55" fmla="*/ 2489200 h 81"/>
                <a:gd name="T56" fmla="*/ 18387034 w 146"/>
                <a:gd name="T57" fmla="*/ 0 h 81"/>
                <a:gd name="T58" fmla="*/ 19766071 w 146"/>
                <a:gd name="T59" fmla="*/ 1991078 h 81"/>
                <a:gd name="T60" fmla="*/ 20685168 w 146"/>
                <a:gd name="T61" fmla="*/ 4480278 h 81"/>
                <a:gd name="T62" fmla="*/ 21604657 w 146"/>
                <a:gd name="T63" fmla="*/ 6969478 h 81"/>
                <a:gd name="T64" fmla="*/ 22370702 w 146"/>
                <a:gd name="T65" fmla="*/ 8960556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1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72867" y="3082347"/>
              <a:ext cx="19142" cy="64255"/>
            </a:xfrm>
            <a:custGeom>
              <a:avLst/>
              <a:gdLst>
                <a:gd name="T0" fmla="*/ 7412224 w 34"/>
                <a:gd name="T1" fmla="*/ 66655561 h 49"/>
                <a:gd name="T2" fmla="*/ 7412224 w 34"/>
                <a:gd name="T3" fmla="*/ 46250679 h 49"/>
                <a:gd name="T4" fmla="*/ 7412224 w 34"/>
                <a:gd name="T5" fmla="*/ 34007749 h 49"/>
                <a:gd name="T6" fmla="*/ 7194176 w 34"/>
                <a:gd name="T7" fmla="*/ 28566836 h 49"/>
                <a:gd name="T8" fmla="*/ 7194176 w 34"/>
                <a:gd name="T9" fmla="*/ 23125922 h 49"/>
                <a:gd name="T10" fmla="*/ 6758081 w 34"/>
                <a:gd name="T11" fmla="*/ 20404883 h 49"/>
                <a:gd name="T12" fmla="*/ 6540033 w 34"/>
                <a:gd name="T13" fmla="*/ 16323906 h 49"/>
                <a:gd name="T14" fmla="*/ 5450261 w 34"/>
                <a:gd name="T15" fmla="*/ 10882993 h 49"/>
                <a:gd name="T16" fmla="*/ 4578070 w 34"/>
                <a:gd name="T17" fmla="*/ 0 h 49"/>
                <a:gd name="T18" fmla="*/ 1743915 w 34"/>
                <a:gd name="T19" fmla="*/ 0 h 49"/>
                <a:gd name="T20" fmla="*/ 0 w 34"/>
                <a:gd name="T21" fmla="*/ 0 h 49"/>
                <a:gd name="T22" fmla="*/ 654143 w 34"/>
                <a:gd name="T23" fmla="*/ 14963969 h 49"/>
                <a:gd name="T24" fmla="*/ 1525868 w 34"/>
                <a:gd name="T25" fmla="*/ 27206899 h 49"/>
                <a:gd name="T26" fmla="*/ 2180011 w 34"/>
                <a:gd name="T27" fmla="*/ 36728789 h 49"/>
                <a:gd name="T28" fmla="*/ 3052202 w 34"/>
                <a:gd name="T29" fmla="*/ 46250679 h 49"/>
                <a:gd name="T30" fmla="*/ 4141974 w 34"/>
                <a:gd name="T31" fmla="*/ 53052695 h 49"/>
                <a:gd name="T32" fmla="*/ 5232213 w 34"/>
                <a:gd name="T33" fmla="*/ 58493608 h 49"/>
                <a:gd name="T34" fmla="*/ 6321985 w 34"/>
                <a:gd name="T35" fmla="*/ 62574585 h 49"/>
                <a:gd name="T36" fmla="*/ 7412224 w 34"/>
                <a:gd name="T37" fmla="*/ 66655561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2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580906" y="3471446"/>
              <a:ext cx="34456" cy="64255"/>
            </a:xfrm>
            <a:custGeom>
              <a:avLst/>
              <a:gdLst>
                <a:gd name="T0" fmla="*/ 13608844 w 60"/>
                <a:gd name="T1" fmla="*/ 0 h 74"/>
                <a:gd name="T2" fmla="*/ 12701588 w 60"/>
                <a:gd name="T3" fmla="*/ 2385626 h 74"/>
                <a:gd name="T4" fmla="*/ 11567636 w 60"/>
                <a:gd name="T5" fmla="*/ 5964452 h 74"/>
                <a:gd name="T6" fmla="*/ 10887075 w 60"/>
                <a:gd name="T7" fmla="*/ 8946292 h 74"/>
                <a:gd name="T8" fmla="*/ 10433685 w 60"/>
                <a:gd name="T9" fmla="*/ 12525118 h 74"/>
                <a:gd name="T10" fmla="*/ 9299258 w 60"/>
                <a:gd name="T11" fmla="*/ 18489570 h 74"/>
                <a:gd name="T12" fmla="*/ 8392001 w 60"/>
                <a:gd name="T13" fmla="*/ 25050235 h 74"/>
                <a:gd name="T14" fmla="*/ 7938611 w 60"/>
                <a:gd name="T15" fmla="*/ 28032847 h 74"/>
                <a:gd name="T16" fmla="*/ 7258050 w 60"/>
                <a:gd name="T17" fmla="*/ 30418474 h 74"/>
                <a:gd name="T18" fmla="*/ 6577489 w 60"/>
                <a:gd name="T19" fmla="*/ 33401086 h 74"/>
                <a:gd name="T20" fmla="*/ 5670233 w 60"/>
                <a:gd name="T21" fmla="*/ 35786712 h 74"/>
                <a:gd name="T22" fmla="*/ 4536281 w 60"/>
                <a:gd name="T23" fmla="*/ 38768552 h 74"/>
                <a:gd name="T24" fmla="*/ 3402330 w 60"/>
                <a:gd name="T25" fmla="*/ 41154951 h 74"/>
                <a:gd name="T26" fmla="*/ 1814513 w 60"/>
                <a:gd name="T27" fmla="*/ 42943591 h 74"/>
                <a:gd name="T28" fmla="*/ 0 w 60"/>
                <a:gd name="T29" fmla="*/ 44136791 h 74"/>
                <a:gd name="T30" fmla="*/ 1133951 w 60"/>
                <a:gd name="T31" fmla="*/ 35786712 h 74"/>
                <a:gd name="T32" fmla="*/ 2721769 w 60"/>
                <a:gd name="T33" fmla="*/ 28032847 h 74"/>
                <a:gd name="T34" fmla="*/ 4309586 w 60"/>
                <a:gd name="T35" fmla="*/ 20278982 h 74"/>
                <a:gd name="T36" fmla="*/ 6124099 w 60"/>
                <a:gd name="T37" fmla="*/ 13718317 h 74"/>
                <a:gd name="T38" fmla="*/ 8165306 w 60"/>
                <a:gd name="T39" fmla="*/ 8350078 h 74"/>
                <a:gd name="T40" fmla="*/ 9753124 w 60"/>
                <a:gd name="T41" fmla="*/ 3578826 h 74"/>
                <a:gd name="T42" fmla="*/ 10887075 w 60"/>
                <a:gd name="T43" fmla="*/ 1789413 h 74"/>
                <a:gd name="T44" fmla="*/ 11794331 w 60"/>
                <a:gd name="T45" fmla="*/ 596214 h 74"/>
                <a:gd name="T46" fmla="*/ 12701588 w 60"/>
                <a:gd name="T47" fmla="*/ 0 h 74"/>
                <a:gd name="T48" fmla="*/ 13608844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3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10080" y="3489295"/>
              <a:ext cx="28713" cy="67825"/>
            </a:xfrm>
            <a:custGeom>
              <a:avLst/>
              <a:gdLst>
                <a:gd name="T0" fmla="*/ 3336720 w 47"/>
                <a:gd name="T1" fmla="*/ 14376118 h 45"/>
                <a:gd name="T2" fmla="*/ 5646990 w 47"/>
                <a:gd name="T3" fmla="*/ 14376118 h 45"/>
                <a:gd name="T4" fmla="*/ 7187171 w 47"/>
                <a:gd name="T5" fmla="*/ 10782088 h 45"/>
                <a:gd name="T6" fmla="*/ 8213620 w 47"/>
                <a:gd name="T7" fmla="*/ 8985744 h 45"/>
                <a:gd name="T8" fmla="*/ 8983710 w 47"/>
                <a:gd name="T9" fmla="*/ 5391714 h 45"/>
                <a:gd name="T10" fmla="*/ 9497442 w 47"/>
                <a:gd name="T11" fmla="*/ 1797685 h 45"/>
                <a:gd name="T12" fmla="*/ 10010666 w 47"/>
                <a:gd name="T13" fmla="*/ 0 h 45"/>
                <a:gd name="T14" fmla="*/ 11037115 w 47"/>
                <a:gd name="T15" fmla="*/ 1797685 h 45"/>
                <a:gd name="T16" fmla="*/ 12064071 w 47"/>
                <a:gd name="T17" fmla="*/ 3594029 h 45"/>
                <a:gd name="T18" fmla="*/ 11807206 w 47"/>
                <a:gd name="T19" fmla="*/ 12579773 h 45"/>
                <a:gd name="T20" fmla="*/ 11807206 w 47"/>
                <a:gd name="T21" fmla="*/ 19767832 h 45"/>
                <a:gd name="T22" fmla="*/ 11293981 w 47"/>
                <a:gd name="T23" fmla="*/ 26955891 h 45"/>
                <a:gd name="T24" fmla="*/ 11037115 w 47"/>
                <a:gd name="T25" fmla="*/ 34145291 h 45"/>
                <a:gd name="T26" fmla="*/ 9497442 w 47"/>
                <a:gd name="T27" fmla="*/ 46723723 h 45"/>
                <a:gd name="T28" fmla="*/ 7700395 w 47"/>
                <a:gd name="T29" fmla="*/ 57507152 h 45"/>
                <a:gd name="T30" fmla="*/ 6160215 w 47"/>
                <a:gd name="T31" fmla="*/ 68289241 h 45"/>
                <a:gd name="T32" fmla="*/ 4106810 w 47"/>
                <a:gd name="T33" fmla="*/ 75477299 h 45"/>
                <a:gd name="T34" fmla="*/ 1796539 w 47"/>
                <a:gd name="T35" fmla="*/ 80869014 h 45"/>
                <a:gd name="T36" fmla="*/ 0 w 47"/>
                <a:gd name="T37" fmla="*/ 80869014 h 45"/>
                <a:gd name="T38" fmla="*/ 513225 w 47"/>
                <a:gd name="T39" fmla="*/ 68289241 h 45"/>
                <a:gd name="T40" fmla="*/ 1540180 w 47"/>
                <a:gd name="T41" fmla="*/ 46723723 h 45"/>
                <a:gd name="T42" fmla="*/ 2823495 w 47"/>
                <a:gd name="T43" fmla="*/ 26955891 h 45"/>
                <a:gd name="T44" fmla="*/ 3336720 w 47"/>
                <a:gd name="T45" fmla="*/ 14376118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4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479452" y="3482156"/>
              <a:ext cx="7657" cy="64255"/>
            </a:xfrm>
            <a:custGeom>
              <a:avLst/>
              <a:gdLst>
                <a:gd name="T0" fmla="*/ 357798 w 26"/>
                <a:gd name="T1" fmla="*/ 90725625 h 36"/>
                <a:gd name="T2" fmla="*/ 298206 w 26"/>
                <a:gd name="T3" fmla="*/ 75604688 h 36"/>
                <a:gd name="T4" fmla="*/ 179021 w 26"/>
                <a:gd name="T5" fmla="*/ 50403125 h 36"/>
                <a:gd name="T6" fmla="*/ 59592 w 26"/>
                <a:gd name="T7" fmla="*/ 25201563 h 36"/>
                <a:gd name="T8" fmla="*/ 0 w 26"/>
                <a:gd name="T9" fmla="*/ 0 h 36"/>
                <a:gd name="T10" fmla="*/ 1550865 w 26"/>
                <a:gd name="T11" fmla="*/ 0 h 36"/>
                <a:gd name="T12" fmla="*/ 1491273 w 26"/>
                <a:gd name="T13" fmla="*/ 30241875 h 36"/>
                <a:gd name="T14" fmla="*/ 1431681 w 26"/>
                <a:gd name="T15" fmla="*/ 57964388 h 36"/>
                <a:gd name="T16" fmla="*/ 1371844 w 26"/>
                <a:gd name="T17" fmla="*/ 68045013 h 36"/>
                <a:gd name="T18" fmla="*/ 1371844 w 26"/>
                <a:gd name="T19" fmla="*/ 78125638 h 36"/>
                <a:gd name="T20" fmla="*/ 1431681 w 26"/>
                <a:gd name="T21" fmla="*/ 85685313 h 36"/>
                <a:gd name="T22" fmla="*/ 1550865 w 26"/>
                <a:gd name="T23" fmla="*/ 90725625 h 36"/>
                <a:gd name="T24" fmla="*/ 357798 w 26"/>
                <a:gd name="T25" fmla="*/ 90725625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5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5012759" y="3176944"/>
              <a:ext cx="210567" cy="178486"/>
            </a:xfrm>
            <a:custGeom>
              <a:avLst/>
              <a:gdLst>
                <a:gd name="T0" fmla="*/ 4833448 w 405"/>
                <a:gd name="T1" fmla="*/ 44763820 h 302"/>
                <a:gd name="T2" fmla="*/ 5205550 w 405"/>
                <a:gd name="T3" fmla="*/ 43105882 h 302"/>
                <a:gd name="T4" fmla="*/ 5577221 w 405"/>
                <a:gd name="T5" fmla="*/ 42553411 h 302"/>
                <a:gd name="T6" fmla="*/ 5205550 w 405"/>
                <a:gd name="T7" fmla="*/ 41724441 h 302"/>
                <a:gd name="T8" fmla="*/ 3346332 w 405"/>
                <a:gd name="T9" fmla="*/ 39514031 h 302"/>
                <a:gd name="T10" fmla="*/ 1115444 w 405"/>
                <a:gd name="T11" fmla="*/ 35092686 h 302"/>
                <a:gd name="T12" fmla="*/ 371671 w 405"/>
                <a:gd name="T13" fmla="*/ 32053307 h 302"/>
                <a:gd name="T14" fmla="*/ 929609 w 405"/>
                <a:gd name="T15" fmla="*/ 30947839 h 302"/>
                <a:gd name="T16" fmla="*/ 1115444 w 405"/>
                <a:gd name="T17" fmla="*/ 28737430 h 302"/>
                <a:gd name="T18" fmla="*/ 3160497 w 405"/>
                <a:gd name="T19" fmla="*/ 26802993 h 302"/>
                <a:gd name="T20" fmla="*/ 6320994 w 405"/>
                <a:gd name="T21" fmla="*/ 25698050 h 302"/>
                <a:gd name="T22" fmla="*/ 8737718 w 405"/>
                <a:gd name="T23" fmla="*/ 24316084 h 302"/>
                <a:gd name="T24" fmla="*/ 10596935 w 405"/>
                <a:gd name="T25" fmla="*/ 22658146 h 302"/>
                <a:gd name="T26" fmla="*/ 12456152 w 405"/>
                <a:gd name="T27" fmla="*/ 19342268 h 302"/>
                <a:gd name="T28" fmla="*/ 13943267 w 405"/>
                <a:gd name="T29" fmla="*/ 14368452 h 302"/>
                <a:gd name="T30" fmla="*/ 15616649 w 405"/>
                <a:gd name="T31" fmla="*/ 12987012 h 302"/>
                <a:gd name="T32" fmla="*/ 17661271 w 405"/>
                <a:gd name="T33" fmla="*/ 14368452 h 302"/>
                <a:gd name="T34" fmla="*/ 21751376 w 405"/>
                <a:gd name="T35" fmla="*/ 14921449 h 302"/>
                <a:gd name="T36" fmla="*/ 31418702 w 405"/>
                <a:gd name="T37" fmla="*/ 12710513 h 302"/>
                <a:gd name="T38" fmla="*/ 39413078 w 405"/>
                <a:gd name="T39" fmla="*/ 11881544 h 302"/>
                <a:gd name="T40" fmla="*/ 43502752 w 405"/>
                <a:gd name="T41" fmla="*/ 11329073 h 302"/>
                <a:gd name="T42" fmla="*/ 49080404 w 405"/>
                <a:gd name="T43" fmla="*/ 9671134 h 302"/>
                <a:gd name="T44" fmla="*/ 59119402 w 405"/>
                <a:gd name="T45" fmla="*/ 4697318 h 302"/>
                <a:gd name="T46" fmla="*/ 66741675 w 405"/>
                <a:gd name="T47" fmla="*/ 1105468 h 302"/>
                <a:gd name="T48" fmla="*/ 69158399 w 405"/>
                <a:gd name="T49" fmla="*/ 828969 h 302"/>
                <a:gd name="T50" fmla="*/ 71575554 w 405"/>
                <a:gd name="T51" fmla="*/ 828969 h 302"/>
                <a:gd name="T52" fmla="*/ 73992277 w 405"/>
                <a:gd name="T53" fmla="*/ 276498 h 302"/>
                <a:gd name="T54" fmla="*/ 73434340 w 405"/>
                <a:gd name="T55" fmla="*/ 2210410 h 302"/>
                <a:gd name="T56" fmla="*/ 66927510 w 405"/>
                <a:gd name="T57" fmla="*/ 11329073 h 302"/>
                <a:gd name="T58" fmla="*/ 63952849 w 405"/>
                <a:gd name="T59" fmla="*/ 15750418 h 302"/>
                <a:gd name="T60" fmla="*/ 63023672 w 405"/>
                <a:gd name="T61" fmla="*/ 17684329 h 302"/>
                <a:gd name="T62" fmla="*/ 63023672 w 405"/>
                <a:gd name="T63" fmla="*/ 26527020 h 302"/>
                <a:gd name="T64" fmla="*/ 62651569 w 405"/>
                <a:gd name="T65" fmla="*/ 41171970 h 302"/>
                <a:gd name="T66" fmla="*/ 62279898 w 405"/>
                <a:gd name="T67" fmla="*/ 49737637 h 302"/>
                <a:gd name="T68" fmla="*/ 60606517 w 405"/>
                <a:gd name="T69" fmla="*/ 54711453 h 302"/>
                <a:gd name="T70" fmla="*/ 56702678 w 405"/>
                <a:gd name="T71" fmla="*/ 58027330 h 302"/>
                <a:gd name="T72" fmla="*/ 49266240 w 405"/>
                <a:gd name="T73" fmla="*/ 62724648 h 302"/>
                <a:gd name="T74" fmla="*/ 19706323 w 405"/>
                <a:gd name="T75" fmla="*/ 83448882 h 302"/>
                <a:gd name="T76" fmla="*/ 10596935 w 405"/>
                <a:gd name="T77" fmla="*/ 71843311 h 302"/>
                <a:gd name="T78" fmla="*/ 13013659 w 405"/>
                <a:gd name="T79" fmla="*/ 63001147 h 302"/>
                <a:gd name="T80" fmla="*/ 15058711 w 405"/>
                <a:gd name="T81" fmla="*/ 57750832 h 302"/>
                <a:gd name="T82" fmla="*/ 15988320 w 405"/>
                <a:gd name="T83" fmla="*/ 47527227 h 302"/>
                <a:gd name="T84" fmla="*/ 13199494 w 405"/>
                <a:gd name="T85" fmla="*/ 47803725 h 302"/>
                <a:gd name="T86" fmla="*/ 10596935 w 405"/>
                <a:gd name="T87" fmla="*/ 46698257 h 302"/>
                <a:gd name="T88" fmla="*/ 7622273 w 405"/>
                <a:gd name="T89" fmla="*/ 45592790 h 302"/>
                <a:gd name="T90" fmla="*/ 4833448 w 405"/>
                <a:gd name="T91" fmla="*/ 45869288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6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537644" y="3605310"/>
              <a:ext cx="51684" cy="89243"/>
            </a:xfrm>
            <a:custGeom>
              <a:avLst/>
              <a:gdLst>
                <a:gd name="T0" fmla="*/ 18371510 w 100"/>
                <a:gd name="T1" fmla="*/ 262194 h 155"/>
                <a:gd name="T2" fmla="*/ 18371510 w 100"/>
                <a:gd name="T3" fmla="*/ 7867343 h 155"/>
                <a:gd name="T4" fmla="*/ 18371510 w 100"/>
                <a:gd name="T5" fmla="*/ 14423206 h 155"/>
                <a:gd name="T6" fmla="*/ 18371510 w 100"/>
                <a:gd name="T7" fmla="*/ 20455194 h 155"/>
                <a:gd name="T8" fmla="*/ 18371510 w 100"/>
                <a:gd name="T9" fmla="*/ 25962282 h 155"/>
                <a:gd name="T10" fmla="*/ 18004183 w 100"/>
                <a:gd name="T11" fmla="*/ 28584730 h 155"/>
                <a:gd name="T12" fmla="*/ 17269100 w 100"/>
                <a:gd name="T13" fmla="*/ 30944472 h 155"/>
                <a:gd name="T14" fmla="*/ 16350567 w 100"/>
                <a:gd name="T15" fmla="*/ 33566919 h 155"/>
                <a:gd name="T16" fmla="*/ 15064707 w 100"/>
                <a:gd name="T17" fmla="*/ 35927173 h 155"/>
                <a:gd name="T18" fmla="*/ 13411091 w 100"/>
                <a:gd name="T19" fmla="*/ 37763040 h 155"/>
                <a:gd name="T20" fmla="*/ 11390148 w 100"/>
                <a:gd name="T21" fmla="*/ 39336714 h 155"/>
                <a:gd name="T22" fmla="*/ 10471615 w 100"/>
                <a:gd name="T23" fmla="*/ 39861101 h 155"/>
                <a:gd name="T24" fmla="*/ 9369633 w 100"/>
                <a:gd name="T25" fmla="*/ 40385488 h 155"/>
                <a:gd name="T26" fmla="*/ 8451101 w 100"/>
                <a:gd name="T27" fmla="*/ 40647681 h 155"/>
                <a:gd name="T28" fmla="*/ 7164812 w 100"/>
                <a:gd name="T29" fmla="*/ 40647681 h 155"/>
                <a:gd name="T30" fmla="*/ 6430157 w 100"/>
                <a:gd name="T31" fmla="*/ 40385488 h 155"/>
                <a:gd name="T32" fmla="*/ 5511625 w 100"/>
                <a:gd name="T33" fmla="*/ 40123294 h 155"/>
                <a:gd name="T34" fmla="*/ 4776541 w 100"/>
                <a:gd name="T35" fmla="*/ 39598907 h 155"/>
                <a:gd name="T36" fmla="*/ 4041887 w 100"/>
                <a:gd name="T37" fmla="*/ 39074008 h 155"/>
                <a:gd name="T38" fmla="*/ 2755598 w 100"/>
                <a:gd name="T39" fmla="*/ 37238653 h 155"/>
                <a:gd name="T40" fmla="*/ 1653616 w 100"/>
                <a:gd name="T41" fmla="*/ 35140593 h 155"/>
                <a:gd name="T42" fmla="*/ 918533 w 100"/>
                <a:gd name="T43" fmla="*/ 32518145 h 155"/>
                <a:gd name="T44" fmla="*/ 367327 w 100"/>
                <a:gd name="T45" fmla="*/ 29633504 h 155"/>
                <a:gd name="T46" fmla="*/ 0 w 100"/>
                <a:gd name="T47" fmla="*/ 27011056 h 155"/>
                <a:gd name="T48" fmla="*/ 0 w 100"/>
                <a:gd name="T49" fmla="*/ 24388609 h 155"/>
                <a:gd name="T50" fmla="*/ 0 w 100"/>
                <a:gd name="T51" fmla="*/ 20192488 h 155"/>
                <a:gd name="T52" fmla="*/ 0 w 100"/>
                <a:gd name="T53" fmla="*/ 17045653 h 155"/>
                <a:gd name="T54" fmla="*/ 0 w 100"/>
                <a:gd name="T55" fmla="*/ 14685399 h 155"/>
                <a:gd name="T56" fmla="*/ 0 w 100"/>
                <a:gd name="T57" fmla="*/ 13112238 h 155"/>
                <a:gd name="T58" fmla="*/ 2755598 w 100"/>
                <a:gd name="T59" fmla="*/ 13112238 h 155"/>
                <a:gd name="T60" fmla="*/ 4776541 w 100"/>
                <a:gd name="T61" fmla="*/ 13112238 h 155"/>
                <a:gd name="T62" fmla="*/ 4776541 w 100"/>
                <a:gd name="T63" fmla="*/ 10489790 h 155"/>
                <a:gd name="T64" fmla="*/ 4960419 w 100"/>
                <a:gd name="T65" fmla="*/ 8129536 h 155"/>
                <a:gd name="T66" fmla="*/ 5327747 w 100"/>
                <a:gd name="T67" fmla="*/ 6031476 h 155"/>
                <a:gd name="T68" fmla="*/ 5695074 w 100"/>
                <a:gd name="T69" fmla="*/ 4458315 h 155"/>
                <a:gd name="T70" fmla="*/ 6430157 w 100"/>
                <a:gd name="T71" fmla="*/ 3146835 h 155"/>
                <a:gd name="T72" fmla="*/ 7164812 w 100"/>
                <a:gd name="T73" fmla="*/ 1835867 h 155"/>
                <a:gd name="T74" fmla="*/ 7716017 w 100"/>
                <a:gd name="T75" fmla="*/ 1048774 h 155"/>
                <a:gd name="T76" fmla="*/ 8818428 w 100"/>
                <a:gd name="T77" fmla="*/ 524387 h 155"/>
                <a:gd name="T78" fmla="*/ 10839371 w 100"/>
                <a:gd name="T79" fmla="*/ 0 h 155"/>
                <a:gd name="T80" fmla="*/ 13043764 w 100"/>
                <a:gd name="T81" fmla="*/ 0 h 155"/>
                <a:gd name="T82" fmla="*/ 15432034 w 100"/>
                <a:gd name="T83" fmla="*/ 0 h 155"/>
                <a:gd name="T84" fmla="*/ 18371510 w 100"/>
                <a:gd name="T85" fmla="*/ 262194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grpSp>
          <p:nvGrpSpPr>
            <p:cNvPr id="377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700738" y="3007382"/>
              <a:ext cx="581929" cy="226677"/>
              <a:chOff x="3289" y="1830"/>
              <a:chExt cx="363" cy="128"/>
            </a:xfrm>
          </p:grpSpPr>
          <p:sp>
            <p:nvSpPr>
              <p:cNvPr id="393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 w 13"/>
                  <a:gd name="T1" fmla="*/ 0 h 7"/>
                  <a:gd name="T2" fmla="*/ 1 w 13"/>
                  <a:gd name="T3" fmla="*/ 0 h 7"/>
                  <a:gd name="T4" fmla="*/ 1 w 13"/>
                  <a:gd name="T5" fmla="*/ 0 h 7"/>
                  <a:gd name="T6" fmla="*/ 0 w 13"/>
                  <a:gd name="T7" fmla="*/ 1 h 7"/>
                  <a:gd name="T8" fmla="*/ 0 w 13"/>
                  <a:gd name="T9" fmla="*/ 1 h 7"/>
                  <a:gd name="T10" fmla="*/ 1 w 13"/>
                  <a:gd name="T11" fmla="*/ 0 h 7"/>
                  <a:gd name="T12" fmla="*/ 1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394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1 h 8"/>
                  <a:gd name="T2" fmla="*/ 1 w 34"/>
                  <a:gd name="T3" fmla="*/ 1 h 8"/>
                  <a:gd name="T4" fmla="*/ 1 w 34"/>
                  <a:gd name="T5" fmla="*/ 0 h 8"/>
                  <a:gd name="T6" fmla="*/ 2 w 34"/>
                  <a:gd name="T7" fmla="*/ 0 h 8"/>
                  <a:gd name="T8" fmla="*/ 3 w 34"/>
                  <a:gd name="T9" fmla="*/ 0 h 8"/>
                  <a:gd name="T10" fmla="*/ 3 w 34"/>
                  <a:gd name="T11" fmla="*/ 0 h 8"/>
                  <a:gd name="T12" fmla="*/ 2 w 34"/>
                  <a:gd name="T13" fmla="*/ 1 h 8"/>
                  <a:gd name="T14" fmla="*/ 2 w 34"/>
                  <a:gd name="T15" fmla="*/ 1 h 8"/>
                  <a:gd name="T16" fmla="*/ 1 w 34"/>
                  <a:gd name="T17" fmla="*/ 1 h 8"/>
                  <a:gd name="T18" fmla="*/ 1 w 34"/>
                  <a:gd name="T19" fmla="*/ 1 h 8"/>
                  <a:gd name="T20" fmla="*/ 1 w 34"/>
                  <a:gd name="T21" fmla="*/ 1 h 8"/>
                  <a:gd name="T22" fmla="*/ 0 w 34"/>
                  <a:gd name="T23" fmla="*/ 1 h 8"/>
                  <a:gd name="T24" fmla="*/ 0 w 34"/>
                  <a:gd name="T25" fmla="*/ 1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395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3 h 24"/>
                  <a:gd name="T2" fmla="*/ 0 w 13"/>
                  <a:gd name="T3" fmla="*/ 0 h 24"/>
                  <a:gd name="T4" fmla="*/ 1 w 13"/>
                  <a:gd name="T5" fmla="*/ 1 h 24"/>
                  <a:gd name="T6" fmla="*/ 0 w 13"/>
                  <a:gd name="T7" fmla="*/ 3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396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 h 69"/>
                  <a:gd name="T2" fmla="*/ 0 w 107"/>
                  <a:gd name="T3" fmla="*/ 3 h 69"/>
                  <a:gd name="T4" fmla="*/ 0 w 107"/>
                  <a:gd name="T5" fmla="*/ 5 h 69"/>
                  <a:gd name="T6" fmla="*/ 0 w 107"/>
                  <a:gd name="T7" fmla="*/ 7 h 69"/>
                  <a:gd name="T8" fmla="*/ 0 w 107"/>
                  <a:gd name="T9" fmla="*/ 8 h 69"/>
                  <a:gd name="T10" fmla="*/ 2 w 107"/>
                  <a:gd name="T11" fmla="*/ 7 h 69"/>
                  <a:gd name="T12" fmla="*/ 5 w 107"/>
                  <a:gd name="T13" fmla="*/ 6 h 69"/>
                  <a:gd name="T14" fmla="*/ 9 w 107"/>
                  <a:gd name="T15" fmla="*/ 6 h 69"/>
                  <a:gd name="T16" fmla="*/ 11 w 107"/>
                  <a:gd name="T17" fmla="*/ 5 h 69"/>
                  <a:gd name="T18" fmla="*/ 10 w 107"/>
                  <a:gd name="T19" fmla="*/ 4 h 69"/>
                  <a:gd name="T20" fmla="*/ 10 w 107"/>
                  <a:gd name="T21" fmla="*/ 4 h 69"/>
                  <a:gd name="T22" fmla="*/ 9 w 107"/>
                  <a:gd name="T23" fmla="*/ 3 h 69"/>
                  <a:gd name="T24" fmla="*/ 8 w 107"/>
                  <a:gd name="T25" fmla="*/ 3 h 69"/>
                  <a:gd name="T26" fmla="*/ 7 w 107"/>
                  <a:gd name="T27" fmla="*/ 3 h 69"/>
                  <a:gd name="T28" fmla="*/ 7 w 107"/>
                  <a:gd name="T29" fmla="*/ 2 h 69"/>
                  <a:gd name="T30" fmla="*/ 6 w 107"/>
                  <a:gd name="T31" fmla="*/ 2 h 69"/>
                  <a:gd name="T32" fmla="*/ 6 w 107"/>
                  <a:gd name="T33" fmla="*/ 1 h 69"/>
                  <a:gd name="T34" fmla="*/ 6 w 107"/>
                  <a:gd name="T35" fmla="*/ 1 h 69"/>
                  <a:gd name="T36" fmla="*/ 6 w 107"/>
                  <a:gd name="T37" fmla="*/ 0 h 69"/>
                  <a:gd name="T38" fmla="*/ 5 w 107"/>
                  <a:gd name="T39" fmla="*/ 0 h 69"/>
                  <a:gd name="T40" fmla="*/ 4 w 107"/>
                  <a:gd name="T41" fmla="*/ 0 h 69"/>
                  <a:gd name="T42" fmla="*/ 2 w 107"/>
                  <a:gd name="T43" fmla="*/ 1 h 69"/>
                  <a:gd name="T44" fmla="*/ 0 w 107"/>
                  <a:gd name="T45" fmla="*/ 1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  <p:sp>
            <p:nvSpPr>
              <p:cNvPr id="397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106 w 1070"/>
                  <a:gd name="T1" fmla="*/ 14 h 382"/>
                  <a:gd name="T2" fmla="*/ 104 w 1070"/>
                  <a:gd name="T3" fmla="*/ 12 h 382"/>
                  <a:gd name="T4" fmla="*/ 103 w 1070"/>
                  <a:gd name="T5" fmla="*/ 6 h 382"/>
                  <a:gd name="T6" fmla="*/ 100 w 1070"/>
                  <a:gd name="T7" fmla="*/ 4 h 382"/>
                  <a:gd name="T8" fmla="*/ 87 w 1070"/>
                  <a:gd name="T9" fmla="*/ 2 h 382"/>
                  <a:gd name="T10" fmla="*/ 78 w 1070"/>
                  <a:gd name="T11" fmla="*/ 6 h 382"/>
                  <a:gd name="T12" fmla="*/ 73 w 1070"/>
                  <a:gd name="T13" fmla="*/ 7 h 382"/>
                  <a:gd name="T14" fmla="*/ 68 w 1070"/>
                  <a:gd name="T15" fmla="*/ 7 h 382"/>
                  <a:gd name="T16" fmla="*/ 65 w 1070"/>
                  <a:gd name="T17" fmla="*/ 5 h 382"/>
                  <a:gd name="T18" fmla="*/ 60 w 1070"/>
                  <a:gd name="T19" fmla="*/ 4 h 382"/>
                  <a:gd name="T20" fmla="*/ 56 w 1070"/>
                  <a:gd name="T21" fmla="*/ 2 h 382"/>
                  <a:gd name="T22" fmla="*/ 52 w 1070"/>
                  <a:gd name="T23" fmla="*/ 2 h 382"/>
                  <a:gd name="T24" fmla="*/ 50 w 1070"/>
                  <a:gd name="T25" fmla="*/ 0 h 382"/>
                  <a:gd name="T26" fmla="*/ 42 w 1070"/>
                  <a:gd name="T27" fmla="*/ 2 h 382"/>
                  <a:gd name="T28" fmla="*/ 32 w 1070"/>
                  <a:gd name="T29" fmla="*/ 3 h 382"/>
                  <a:gd name="T30" fmla="*/ 27 w 1070"/>
                  <a:gd name="T31" fmla="*/ 5 h 382"/>
                  <a:gd name="T32" fmla="*/ 15 w 1070"/>
                  <a:gd name="T33" fmla="*/ 7 h 382"/>
                  <a:gd name="T34" fmla="*/ 19 w 1070"/>
                  <a:gd name="T35" fmla="*/ 8 h 382"/>
                  <a:gd name="T36" fmla="*/ 18 w 1070"/>
                  <a:gd name="T37" fmla="*/ 10 h 382"/>
                  <a:gd name="T38" fmla="*/ 12 w 1070"/>
                  <a:gd name="T39" fmla="*/ 10 h 382"/>
                  <a:gd name="T40" fmla="*/ 5 w 1070"/>
                  <a:gd name="T41" fmla="*/ 10 h 382"/>
                  <a:gd name="T42" fmla="*/ 1 w 1070"/>
                  <a:gd name="T43" fmla="*/ 12 h 382"/>
                  <a:gd name="T44" fmla="*/ 0 w 1070"/>
                  <a:gd name="T45" fmla="*/ 16 h 382"/>
                  <a:gd name="T46" fmla="*/ 2 w 1070"/>
                  <a:gd name="T47" fmla="*/ 19 h 382"/>
                  <a:gd name="T48" fmla="*/ 2 w 1070"/>
                  <a:gd name="T49" fmla="*/ 22 h 382"/>
                  <a:gd name="T50" fmla="*/ 2 w 1070"/>
                  <a:gd name="T51" fmla="*/ 23 h 382"/>
                  <a:gd name="T52" fmla="*/ 5 w 1070"/>
                  <a:gd name="T53" fmla="*/ 26 h 382"/>
                  <a:gd name="T54" fmla="*/ 6 w 1070"/>
                  <a:gd name="T55" fmla="*/ 29 h 382"/>
                  <a:gd name="T56" fmla="*/ 8 w 1070"/>
                  <a:gd name="T57" fmla="*/ 30 h 382"/>
                  <a:gd name="T58" fmla="*/ 10 w 1070"/>
                  <a:gd name="T59" fmla="*/ 33 h 382"/>
                  <a:gd name="T60" fmla="*/ 22 w 1070"/>
                  <a:gd name="T61" fmla="*/ 40 h 382"/>
                  <a:gd name="T62" fmla="*/ 27 w 1070"/>
                  <a:gd name="T63" fmla="*/ 42 h 382"/>
                  <a:gd name="T64" fmla="*/ 28 w 1070"/>
                  <a:gd name="T65" fmla="*/ 40 h 382"/>
                  <a:gd name="T66" fmla="*/ 30 w 1070"/>
                  <a:gd name="T67" fmla="*/ 38 h 382"/>
                  <a:gd name="T68" fmla="*/ 32 w 1070"/>
                  <a:gd name="T69" fmla="*/ 36 h 382"/>
                  <a:gd name="T70" fmla="*/ 36 w 1070"/>
                  <a:gd name="T71" fmla="*/ 36 h 382"/>
                  <a:gd name="T72" fmla="*/ 39 w 1070"/>
                  <a:gd name="T73" fmla="*/ 40 h 382"/>
                  <a:gd name="T74" fmla="*/ 43 w 1070"/>
                  <a:gd name="T75" fmla="*/ 42 h 382"/>
                  <a:gd name="T76" fmla="*/ 48 w 1070"/>
                  <a:gd name="T77" fmla="*/ 40 h 382"/>
                  <a:gd name="T78" fmla="*/ 53 w 1070"/>
                  <a:gd name="T79" fmla="*/ 38 h 382"/>
                  <a:gd name="T80" fmla="*/ 56 w 1070"/>
                  <a:gd name="T81" fmla="*/ 37 h 382"/>
                  <a:gd name="T82" fmla="*/ 60 w 1070"/>
                  <a:gd name="T83" fmla="*/ 37 h 382"/>
                  <a:gd name="T84" fmla="*/ 61 w 1070"/>
                  <a:gd name="T85" fmla="*/ 41 h 382"/>
                  <a:gd name="T86" fmla="*/ 63 w 1070"/>
                  <a:gd name="T87" fmla="*/ 42 h 382"/>
                  <a:gd name="T88" fmla="*/ 66 w 1070"/>
                  <a:gd name="T89" fmla="*/ 41 h 382"/>
                  <a:gd name="T90" fmla="*/ 69 w 1070"/>
                  <a:gd name="T91" fmla="*/ 38 h 382"/>
                  <a:gd name="T92" fmla="*/ 80 w 1070"/>
                  <a:gd name="T93" fmla="*/ 37 h 382"/>
                  <a:gd name="T94" fmla="*/ 89 w 1070"/>
                  <a:gd name="T95" fmla="*/ 36 h 382"/>
                  <a:gd name="T96" fmla="*/ 98 w 1070"/>
                  <a:gd name="T97" fmla="*/ 32 h 382"/>
                  <a:gd name="T98" fmla="*/ 103 w 1070"/>
                  <a:gd name="T99" fmla="*/ 32 h 382"/>
                  <a:gd name="T100" fmla="*/ 108 w 1070"/>
                  <a:gd name="T101" fmla="*/ 33 h 382"/>
                  <a:gd name="T102" fmla="*/ 113 w 1070"/>
                  <a:gd name="T103" fmla="*/ 35 h 382"/>
                  <a:gd name="T104" fmla="*/ 113 w 1070"/>
                  <a:gd name="T105" fmla="*/ 30 h 382"/>
                  <a:gd name="T106" fmla="*/ 110 w 1070"/>
                  <a:gd name="T107" fmla="*/ 24 h 382"/>
                  <a:gd name="T108" fmla="*/ 109 w 1070"/>
                  <a:gd name="T109" fmla="*/ 19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8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275394" y="4303192"/>
              <a:ext cx="120598" cy="137434"/>
            </a:xfrm>
            <a:custGeom>
              <a:avLst/>
              <a:gdLst>
                <a:gd name="T0" fmla="*/ 12337887 w 226"/>
                <a:gd name="T1" fmla="*/ 62779789 h 237"/>
                <a:gd name="T2" fmla="*/ 13316775 w 226"/>
                <a:gd name="T3" fmla="*/ 63045925 h 237"/>
                <a:gd name="T4" fmla="*/ 14687750 w 226"/>
                <a:gd name="T5" fmla="*/ 62513652 h 237"/>
                <a:gd name="T6" fmla="*/ 16254325 w 226"/>
                <a:gd name="T7" fmla="*/ 62248032 h 237"/>
                <a:gd name="T8" fmla="*/ 17429699 w 226"/>
                <a:gd name="T9" fmla="*/ 61184003 h 237"/>
                <a:gd name="T10" fmla="*/ 18800231 w 226"/>
                <a:gd name="T11" fmla="*/ 59321565 h 237"/>
                <a:gd name="T12" fmla="*/ 19387918 w 226"/>
                <a:gd name="T13" fmla="*/ 56927370 h 237"/>
                <a:gd name="T14" fmla="*/ 24088087 w 226"/>
                <a:gd name="T15" fmla="*/ 55597204 h 237"/>
                <a:gd name="T16" fmla="*/ 32509093 w 226"/>
                <a:gd name="T17" fmla="*/ 54533175 h 237"/>
                <a:gd name="T18" fmla="*/ 38188150 w 226"/>
                <a:gd name="T19" fmla="*/ 52671253 h 237"/>
                <a:gd name="T20" fmla="*/ 40930099 w 226"/>
                <a:gd name="T21" fmla="*/ 50809331 h 237"/>
                <a:gd name="T22" fmla="*/ 43084361 w 226"/>
                <a:gd name="T23" fmla="*/ 48149000 h 237"/>
                <a:gd name="T24" fmla="*/ 44063250 w 226"/>
                <a:gd name="T25" fmla="*/ 44690776 h 237"/>
                <a:gd name="T26" fmla="*/ 44259293 w 226"/>
                <a:gd name="T27" fmla="*/ 40700279 h 237"/>
                <a:gd name="T28" fmla="*/ 43671606 w 226"/>
                <a:gd name="T29" fmla="*/ 37242571 h 237"/>
                <a:gd name="T30" fmla="*/ 42105030 w 226"/>
                <a:gd name="T31" fmla="*/ 32719802 h 237"/>
                <a:gd name="T32" fmla="*/ 39755168 w 226"/>
                <a:gd name="T33" fmla="*/ 26601763 h 237"/>
                <a:gd name="T34" fmla="*/ 38384193 w 226"/>
                <a:gd name="T35" fmla="*/ 22345646 h 237"/>
                <a:gd name="T36" fmla="*/ 37796506 w 226"/>
                <a:gd name="T37" fmla="*/ 19685315 h 237"/>
                <a:gd name="T38" fmla="*/ 38188150 w 226"/>
                <a:gd name="T39" fmla="*/ 15694818 h 237"/>
                <a:gd name="T40" fmla="*/ 39167480 w 226"/>
                <a:gd name="T41" fmla="*/ 11438701 h 237"/>
                <a:gd name="T42" fmla="*/ 41713387 w 226"/>
                <a:gd name="T43" fmla="*/ 6650312 h 237"/>
                <a:gd name="T44" fmla="*/ 41713387 w 226"/>
                <a:gd name="T45" fmla="*/ 3724360 h 237"/>
                <a:gd name="T46" fmla="*/ 37404862 w 226"/>
                <a:gd name="T47" fmla="*/ 1861922 h 237"/>
                <a:gd name="T48" fmla="*/ 30158787 w 226"/>
                <a:gd name="T49" fmla="*/ 532273 h 237"/>
                <a:gd name="T50" fmla="*/ 3916881 w 226"/>
                <a:gd name="T51" fmla="*/ 1596302 h 237"/>
                <a:gd name="T52" fmla="*/ 3525237 w 226"/>
                <a:gd name="T53" fmla="*/ 8246613 h 237"/>
                <a:gd name="T54" fmla="*/ 1958219 w 226"/>
                <a:gd name="T55" fmla="*/ 14364653 h 237"/>
                <a:gd name="T56" fmla="*/ 587687 w 226"/>
                <a:gd name="T57" fmla="*/ 21015480 h 237"/>
                <a:gd name="T58" fmla="*/ 0 w 226"/>
                <a:gd name="T59" fmla="*/ 29527714 h 237"/>
                <a:gd name="T60" fmla="*/ 587687 w 226"/>
                <a:gd name="T61" fmla="*/ 34582240 h 237"/>
                <a:gd name="T62" fmla="*/ 1958219 w 226"/>
                <a:gd name="T63" fmla="*/ 38838357 h 237"/>
                <a:gd name="T64" fmla="*/ 5875100 w 226"/>
                <a:gd name="T65" fmla="*/ 46020941 h 237"/>
                <a:gd name="T66" fmla="*/ 9987581 w 226"/>
                <a:gd name="T67" fmla="*/ 52937389 h 237"/>
                <a:gd name="T68" fmla="*/ 11162955 w 226"/>
                <a:gd name="T69" fmla="*/ 57459642 h 237"/>
                <a:gd name="T70" fmla="*/ 11946243 w 226"/>
                <a:gd name="T71" fmla="*/ 62248032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79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7032285" y="3669565"/>
              <a:ext cx="250765" cy="515825"/>
            </a:xfrm>
            <a:custGeom>
              <a:avLst/>
              <a:gdLst>
                <a:gd name="T0" fmla="*/ 54324199 w 478"/>
                <a:gd name="T1" fmla="*/ 29966459 h 875"/>
                <a:gd name="T2" fmla="*/ 47320926 w 478"/>
                <a:gd name="T3" fmla="*/ 37938884 h 875"/>
                <a:gd name="T4" fmla="*/ 37667226 w 478"/>
                <a:gd name="T5" fmla="*/ 54159530 h 875"/>
                <a:gd name="T6" fmla="*/ 37477972 w 478"/>
                <a:gd name="T7" fmla="*/ 58558127 h 875"/>
                <a:gd name="T8" fmla="*/ 38992440 w 478"/>
                <a:gd name="T9" fmla="*/ 65706307 h 875"/>
                <a:gd name="T10" fmla="*/ 41831687 w 478"/>
                <a:gd name="T11" fmla="*/ 72853961 h 875"/>
                <a:gd name="T12" fmla="*/ 45427950 w 478"/>
                <a:gd name="T13" fmla="*/ 79177371 h 875"/>
                <a:gd name="T14" fmla="*/ 49024214 w 478"/>
                <a:gd name="T15" fmla="*/ 82751198 h 875"/>
                <a:gd name="T16" fmla="*/ 52810166 w 478"/>
                <a:gd name="T17" fmla="*/ 90448874 h 875"/>
                <a:gd name="T18" fmla="*/ 55838667 w 478"/>
                <a:gd name="T19" fmla="*/ 99246593 h 875"/>
                <a:gd name="T20" fmla="*/ 57731208 w 478"/>
                <a:gd name="T21" fmla="*/ 101445630 h 875"/>
                <a:gd name="T22" fmla="*/ 82905922 w 478"/>
                <a:gd name="T23" fmla="*/ 137185477 h 875"/>
                <a:gd name="T24" fmla="*/ 89152613 w 478"/>
                <a:gd name="T25" fmla="*/ 161928569 h 875"/>
                <a:gd name="T26" fmla="*/ 90477392 w 478"/>
                <a:gd name="T27" fmla="*/ 177873943 h 875"/>
                <a:gd name="T28" fmla="*/ 90098884 w 478"/>
                <a:gd name="T29" fmla="*/ 188870698 h 875"/>
                <a:gd name="T30" fmla="*/ 90477392 w 478"/>
                <a:gd name="T31" fmla="*/ 194644086 h 875"/>
                <a:gd name="T32" fmla="*/ 84609644 w 478"/>
                <a:gd name="T33" fmla="*/ 197393144 h 875"/>
                <a:gd name="T34" fmla="*/ 79498913 w 478"/>
                <a:gd name="T35" fmla="*/ 201516992 h 875"/>
                <a:gd name="T36" fmla="*/ 74009673 w 478"/>
                <a:gd name="T37" fmla="*/ 207840402 h 875"/>
                <a:gd name="T38" fmla="*/ 69088196 w 478"/>
                <a:gd name="T39" fmla="*/ 216912869 h 875"/>
                <a:gd name="T40" fmla="*/ 65870441 w 478"/>
                <a:gd name="T41" fmla="*/ 215812827 h 875"/>
                <a:gd name="T42" fmla="*/ 60381201 w 478"/>
                <a:gd name="T43" fmla="*/ 216912869 h 875"/>
                <a:gd name="T44" fmla="*/ 59245676 w 478"/>
                <a:gd name="T45" fmla="*/ 221036718 h 875"/>
                <a:gd name="T46" fmla="*/ 54702707 w 478"/>
                <a:gd name="T47" fmla="*/ 230383933 h 875"/>
                <a:gd name="T48" fmla="*/ 48456451 w 478"/>
                <a:gd name="T49" fmla="*/ 238631631 h 875"/>
                <a:gd name="T50" fmla="*/ 45238696 w 478"/>
                <a:gd name="T51" fmla="*/ 240555919 h 875"/>
                <a:gd name="T52" fmla="*/ 43913917 w 478"/>
                <a:gd name="T53" fmla="*/ 238631631 h 875"/>
                <a:gd name="T54" fmla="*/ 42588703 w 478"/>
                <a:gd name="T55" fmla="*/ 232033473 h 875"/>
                <a:gd name="T56" fmla="*/ 43724228 w 478"/>
                <a:gd name="T57" fmla="*/ 219936675 h 875"/>
                <a:gd name="T58" fmla="*/ 47888689 w 478"/>
                <a:gd name="T59" fmla="*/ 213063769 h 875"/>
                <a:gd name="T60" fmla="*/ 52431658 w 478"/>
                <a:gd name="T61" fmla="*/ 208939920 h 875"/>
                <a:gd name="T62" fmla="*/ 55838667 w 478"/>
                <a:gd name="T63" fmla="*/ 207015632 h 875"/>
                <a:gd name="T64" fmla="*/ 57731208 w 478"/>
                <a:gd name="T65" fmla="*/ 204266574 h 875"/>
                <a:gd name="T66" fmla="*/ 59434931 w 478"/>
                <a:gd name="T67" fmla="*/ 196293626 h 875"/>
                <a:gd name="T68" fmla="*/ 62463432 w 478"/>
                <a:gd name="T69" fmla="*/ 188595949 h 875"/>
                <a:gd name="T70" fmla="*/ 69088196 w 478"/>
                <a:gd name="T71" fmla="*/ 176774425 h 875"/>
                <a:gd name="T72" fmla="*/ 70224156 w 478"/>
                <a:gd name="T73" fmla="*/ 147357462 h 875"/>
                <a:gd name="T74" fmla="*/ 68898942 w 478"/>
                <a:gd name="T75" fmla="*/ 130587319 h 875"/>
                <a:gd name="T76" fmla="*/ 64545662 w 478"/>
                <a:gd name="T77" fmla="*/ 117391527 h 875"/>
                <a:gd name="T78" fmla="*/ 56217175 w 478"/>
                <a:gd name="T79" fmla="*/ 103645190 h 875"/>
                <a:gd name="T80" fmla="*/ 41453179 w 478"/>
                <a:gd name="T81" fmla="*/ 84675486 h 875"/>
                <a:gd name="T82" fmla="*/ 30474699 w 478"/>
                <a:gd name="T83" fmla="*/ 70104904 h 875"/>
                <a:gd name="T84" fmla="*/ 20442491 w 478"/>
                <a:gd name="T85" fmla="*/ 54434279 h 875"/>
                <a:gd name="T86" fmla="*/ 13628472 w 478"/>
                <a:gd name="T87" fmla="*/ 40138445 h 875"/>
                <a:gd name="T88" fmla="*/ 7949978 w 478"/>
                <a:gd name="T89" fmla="*/ 28591668 h 875"/>
                <a:gd name="T90" fmla="*/ 8706995 w 478"/>
                <a:gd name="T91" fmla="*/ 11271504 h 875"/>
                <a:gd name="T92" fmla="*/ 24417697 w 478"/>
                <a:gd name="T93" fmla="*/ 5223367 h 875"/>
                <a:gd name="T94" fmla="*/ 28013961 w 478"/>
                <a:gd name="T95" fmla="*/ 1374791 h 875"/>
                <a:gd name="T96" fmla="*/ 33124692 w 478"/>
                <a:gd name="T97" fmla="*/ 4398597 h 875"/>
                <a:gd name="T98" fmla="*/ 41831687 w 478"/>
                <a:gd name="T99" fmla="*/ 9622488 h 875"/>
                <a:gd name="T100" fmla="*/ 50917190 w 478"/>
                <a:gd name="T101" fmla="*/ 18419683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0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7137567" y="4440625"/>
              <a:ext cx="30628" cy="64255"/>
            </a:xfrm>
            <a:custGeom>
              <a:avLst/>
              <a:gdLst>
                <a:gd name="T0" fmla="*/ 10934915 w 59"/>
                <a:gd name="T1" fmla="*/ 20391489 h 31"/>
                <a:gd name="T2" fmla="*/ 10564247 w 59"/>
                <a:gd name="T3" fmla="*/ 37385318 h 31"/>
                <a:gd name="T4" fmla="*/ 9822912 w 59"/>
                <a:gd name="T5" fmla="*/ 50979644 h 31"/>
                <a:gd name="T6" fmla="*/ 9081576 w 59"/>
                <a:gd name="T7" fmla="*/ 64573969 h 31"/>
                <a:gd name="T8" fmla="*/ 8340241 w 59"/>
                <a:gd name="T9" fmla="*/ 81567798 h 31"/>
                <a:gd name="T10" fmla="*/ 7413356 w 59"/>
                <a:gd name="T11" fmla="*/ 91764465 h 31"/>
                <a:gd name="T12" fmla="*/ 6672020 w 59"/>
                <a:gd name="T13" fmla="*/ 98561627 h 31"/>
                <a:gd name="T14" fmla="*/ 5560017 w 59"/>
                <a:gd name="T15" fmla="*/ 105358790 h 31"/>
                <a:gd name="T16" fmla="*/ 4818681 w 59"/>
                <a:gd name="T17" fmla="*/ 105358790 h 31"/>
                <a:gd name="T18" fmla="*/ 3892227 w 59"/>
                <a:gd name="T19" fmla="*/ 105358790 h 31"/>
                <a:gd name="T20" fmla="*/ 3150892 w 59"/>
                <a:gd name="T21" fmla="*/ 101959287 h 31"/>
                <a:gd name="T22" fmla="*/ 2594675 w 59"/>
                <a:gd name="T23" fmla="*/ 98561627 h 31"/>
                <a:gd name="T24" fmla="*/ 2038888 w 59"/>
                <a:gd name="T25" fmla="*/ 91764465 h 31"/>
                <a:gd name="T26" fmla="*/ 741336 w 59"/>
                <a:gd name="T27" fmla="*/ 67973473 h 31"/>
                <a:gd name="T28" fmla="*/ 0 w 59"/>
                <a:gd name="T29" fmla="*/ 40784821 h 31"/>
                <a:gd name="T30" fmla="*/ 185549 w 59"/>
                <a:gd name="T31" fmla="*/ 30588155 h 31"/>
                <a:gd name="T32" fmla="*/ 556217 w 59"/>
                <a:gd name="T33" fmla="*/ 20391489 h 31"/>
                <a:gd name="T34" fmla="*/ 926885 w 59"/>
                <a:gd name="T35" fmla="*/ 13594326 h 31"/>
                <a:gd name="T36" fmla="*/ 1482671 w 59"/>
                <a:gd name="T37" fmla="*/ 10196666 h 31"/>
                <a:gd name="T38" fmla="*/ 2965342 w 59"/>
                <a:gd name="T39" fmla="*/ 3399503 h 31"/>
                <a:gd name="T40" fmla="*/ 4448014 w 59"/>
                <a:gd name="T41" fmla="*/ 0 h 31"/>
                <a:gd name="T42" fmla="*/ 6301353 w 59"/>
                <a:gd name="T43" fmla="*/ 0 h 31"/>
                <a:gd name="T44" fmla="*/ 7784024 w 59"/>
                <a:gd name="T45" fmla="*/ 6797163 h 31"/>
                <a:gd name="T46" fmla="*/ 9452244 w 59"/>
                <a:gd name="T47" fmla="*/ 13594326 h 31"/>
                <a:gd name="T48" fmla="*/ 10934915 w 59"/>
                <a:gd name="T49" fmla="*/ 20391489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1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560232" y="3607096"/>
              <a:ext cx="210567" cy="305211"/>
            </a:xfrm>
            <a:custGeom>
              <a:avLst/>
              <a:gdLst>
                <a:gd name="T0" fmla="*/ 38308523 w 399"/>
                <a:gd name="T1" fmla="*/ 2196851 h 518"/>
                <a:gd name="T2" fmla="*/ 38691911 w 399"/>
                <a:gd name="T3" fmla="*/ 6041864 h 518"/>
                <a:gd name="T4" fmla="*/ 39841197 w 399"/>
                <a:gd name="T5" fmla="*/ 9886877 h 518"/>
                <a:gd name="T6" fmla="*/ 40990483 w 399"/>
                <a:gd name="T7" fmla="*/ 13457283 h 518"/>
                <a:gd name="T8" fmla="*/ 42905669 w 399"/>
                <a:gd name="T9" fmla="*/ 17302296 h 518"/>
                <a:gd name="T10" fmla="*/ 45012548 w 399"/>
                <a:gd name="T11" fmla="*/ 20597572 h 518"/>
                <a:gd name="T12" fmla="*/ 47694508 w 399"/>
                <a:gd name="T13" fmla="*/ 23618766 h 518"/>
                <a:gd name="T14" fmla="*/ 50567286 w 399"/>
                <a:gd name="T15" fmla="*/ 26090747 h 518"/>
                <a:gd name="T16" fmla="*/ 60527476 w 399"/>
                <a:gd name="T17" fmla="*/ 29111417 h 518"/>
                <a:gd name="T18" fmla="*/ 69913460 w 399"/>
                <a:gd name="T19" fmla="*/ 32681824 h 518"/>
                <a:gd name="T20" fmla="*/ 72786676 w 399"/>
                <a:gd name="T21" fmla="*/ 34878675 h 518"/>
                <a:gd name="T22" fmla="*/ 75084811 w 399"/>
                <a:gd name="T23" fmla="*/ 37625262 h 518"/>
                <a:gd name="T24" fmla="*/ 76234097 w 399"/>
                <a:gd name="T25" fmla="*/ 41470275 h 518"/>
                <a:gd name="T26" fmla="*/ 76234097 w 399"/>
                <a:gd name="T27" fmla="*/ 47786745 h 518"/>
                <a:gd name="T28" fmla="*/ 74701862 w 399"/>
                <a:gd name="T29" fmla="*/ 54927558 h 518"/>
                <a:gd name="T30" fmla="*/ 70679359 w 399"/>
                <a:gd name="T31" fmla="*/ 65638254 h 518"/>
                <a:gd name="T32" fmla="*/ 65890958 w 399"/>
                <a:gd name="T33" fmla="*/ 75799737 h 518"/>
                <a:gd name="T34" fmla="*/ 62826049 w 399"/>
                <a:gd name="T35" fmla="*/ 83215156 h 518"/>
                <a:gd name="T36" fmla="*/ 60144526 w 399"/>
                <a:gd name="T37" fmla="*/ 90630052 h 518"/>
                <a:gd name="T38" fmla="*/ 58803984 w 399"/>
                <a:gd name="T39" fmla="*/ 98869290 h 518"/>
                <a:gd name="T40" fmla="*/ 56888361 w 399"/>
                <a:gd name="T41" fmla="*/ 103538122 h 518"/>
                <a:gd name="T42" fmla="*/ 51333623 w 399"/>
                <a:gd name="T43" fmla="*/ 106284186 h 518"/>
                <a:gd name="T44" fmla="*/ 47119865 w 399"/>
                <a:gd name="T45" fmla="*/ 109579986 h 518"/>
                <a:gd name="T46" fmla="*/ 45012548 w 399"/>
                <a:gd name="T47" fmla="*/ 112051967 h 518"/>
                <a:gd name="T48" fmla="*/ 43480312 w 399"/>
                <a:gd name="T49" fmla="*/ 114523424 h 518"/>
                <a:gd name="T50" fmla="*/ 42905669 w 399"/>
                <a:gd name="T51" fmla="*/ 117270012 h 518"/>
                <a:gd name="T52" fmla="*/ 40798790 w 399"/>
                <a:gd name="T53" fmla="*/ 120290682 h 518"/>
                <a:gd name="T54" fmla="*/ 36009951 w 399"/>
                <a:gd name="T55" fmla="*/ 123586482 h 518"/>
                <a:gd name="T56" fmla="*/ 33137173 w 399"/>
                <a:gd name="T57" fmla="*/ 125234120 h 518"/>
                <a:gd name="T58" fmla="*/ 31796193 w 399"/>
                <a:gd name="T59" fmla="*/ 128255314 h 518"/>
                <a:gd name="T60" fmla="*/ 30263957 w 399"/>
                <a:gd name="T61" fmla="*/ 132100327 h 518"/>
                <a:gd name="T62" fmla="*/ 27965384 w 399"/>
                <a:gd name="T63" fmla="*/ 134571784 h 518"/>
                <a:gd name="T64" fmla="*/ 25092168 w 399"/>
                <a:gd name="T65" fmla="*/ 135670733 h 518"/>
                <a:gd name="T66" fmla="*/ 19537430 w 399"/>
                <a:gd name="T67" fmla="*/ 136769159 h 518"/>
                <a:gd name="T68" fmla="*/ 13982692 w 399"/>
                <a:gd name="T69" fmla="*/ 138416797 h 518"/>
                <a:gd name="T70" fmla="*/ 10534833 w 399"/>
                <a:gd name="T71" fmla="*/ 140614172 h 518"/>
                <a:gd name="T72" fmla="*/ 8810904 w 399"/>
                <a:gd name="T73" fmla="*/ 141163384 h 518"/>
                <a:gd name="T74" fmla="*/ 8236260 w 399"/>
                <a:gd name="T75" fmla="*/ 138966010 h 518"/>
                <a:gd name="T76" fmla="*/ 7278668 w 399"/>
                <a:gd name="T77" fmla="*/ 136494552 h 518"/>
                <a:gd name="T78" fmla="*/ 6512331 w 399"/>
                <a:gd name="T79" fmla="*/ 133747965 h 518"/>
                <a:gd name="T80" fmla="*/ 6321075 w 399"/>
                <a:gd name="T81" fmla="*/ 128529920 h 518"/>
                <a:gd name="T82" fmla="*/ 5554738 w 399"/>
                <a:gd name="T83" fmla="*/ 122213450 h 518"/>
                <a:gd name="T84" fmla="*/ 3256165 w 399"/>
                <a:gd name="T85" fmla="*/ 114798031 h 518"/>
                <a:gd name="T86" fmla="*/ 0 w 399"/>
                <a:gd name="T87" fmla="*/ 98320078 h 518"/>
                <a:gd name="T88" fmla="*/ 37159237 w 399"/>
                <a:gd name="T89" fmla="*/ 50807939 h 518"/>
                <a:gd name="T90" fmla="*/ 38308523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2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5010" y="3667781"/>
              <a:ext cx="453676" cy="433721"/>
            </a:xfrm>
            <a:custGeom>
              <a:avLst/>
              <a:gdLst>
                <a:gd name="T0" fmla="*/ 43601466 w 866"/>
                <a:gd name="T1" fmla="*/ 73373496 h 740"/>
                <a:gd name="T2" fmla="*/ 46243821 w 866"/>
                <a:gd name="T3" fmla="*/ 71742870 h 740"/>
                <a:gd name="T4" fmla="*/ 51340412 w 866"/>
                <a:gd name="T5" fmla="*/ 73917212 h 740"/>
                <a:gd name="T6" fmla="*/ 123443427 w 866"/>
                <a:gd name="T7" fmla="*/ 271597 h 740"/>
                <a:gd name="T8" fmla="*/ 128162043 w 866"/>
                <a:gd name="T9" fmla="*/ 1630626 h 740"/>
                <a:gd name="T10" fmla="*/ 134201835 w 866"/>
                <a:gd name="T11" fmla="*/ 5706671 h 740"/>
                <a:gd name="T12" fmla="*/ 137788261 w 866"/>
                <a:gd name="T13" fmla="*/ 9511640 h 740"/>
                <a:gd name="T14" fmla="*/ 143450947 w 866"/>
                <a:gd name="T15" fmla="*/ 15489908 h 740"/>
                <a:gd name="T16" fmla="*/ 149302187 w 866"/>
                <a:gd name="T17" fmla="*/ 16033624 h 740"/>
                <a:gd name="T18" fmla="*/ 156852145 w 866"/>
                <a:gd name="T19" fmla="*/ 11685461 h 740"/>
                <a:gd name="T20" fmla="*/ 161193654 w 866"/>
                <a:gd name="T21" fmla="*/ 45111217 h 740"/>
                <a:gd name="T22" fmla="*/ 163458467 w 866"/>
                <a:gd name="T23" fmla="*/ 55709246 h 740"/>
                <a:gd name="T24" fmla="*/ 160438571 w 866"/>
                <a:gd name="T25" fmla="*/ 81797704 h 740"/>
                <a:gd name="T26" fmla="*/ 160061029 w 866"/>
                <a:gd name="T27" fmla="*/ 102179492 h 740"/>
                <a:gd name="T28" fmla="*/ 157418240 w 866"/>
                <a:gd name="T29" fmla="*/ 114408147 h 740"/>
                <a:gd name="T30" fmla="*/ 151378447 w 866"/>
                <a:gd name="T31" fmla="*/ 126908921 h 740"/>
                <a:gd name="T32" fmla="*/ 146659832 w 866"/>
                <a:gd name="T33" fmla="*/ 135605248 h 740"/>
                <a:gd name="T34" fmla="*/ 143073406 w 866"/>
                <a:gd name="T35" fmla="*/ 154084290 h 740"/>
                <a:gd name="T36" fmla="*/ 134201835 w 866"/>
                <a:gd name="T37" fmla="*/ 170933227 h 740"/>
                <a:gd name="T38" fmla="*/ 128350596 w 866"/>
                <a:gd name="T39" fmla="*/ 175552988 h 740"/>
                <a:gd name="T40" fmla="*/ 121555720 w 866"/>
                <a:gd name="T41" fmla="*/ 173378646 h 740"/>
                <a:gd name="T42" fmla="*/ 115326939 w 866"/>
                <a:gd name="T43" fmla="*/ 169846317 h 740"/>
                <a:gd name="T44" fmla="*/ 106833345 w 866"/>
                <a:gd name="T45" fmla="*/ 172020138 h 740"/>
                <a:gd name="T46" fmla="*/ 100038035 w 866"/>
                <a:gd name="T47" fmla="*/ 179085838 h 740"/>
                <a:gd name="T48" fmla="*/ 96451609 w 866"/>
                <a:gd name="T49" fmla="*/ 184792509 h 740"/>
                <a:gd name="T50" fmla="*/ 92676630 w 866"/>
                <a:gd name="T51" fmla="*/ 185879420 h 740"/>
                <a:gd name="T52" fmla="*/ 88713097 w 866"/>
                <a:gd name="T53" fmla="*/ 181531256 h 740"/>
                <a:gd name="T54" fmla="*/ 84183035 w 866"/>
                <a:gd name="T55" fmla="*/ 173650764 h 740"/>
                <a:gd name="T56" fmla="*/ 79464420 w 866"/>
                <a:gd name="T57" fmla="*/ 172563854 h 740"/>
                <a:gd name="T58" fmla="*/ 76444089 w 866"/>
                <a:gd name="T59" fmla="*/ 175824585 h 740"/>
                <a:gd name="T60" fmla="*/ 72480556 w 866"/>
                <a:gd name="T61" fmla="*/ 177183614 h 740"/>
                <a:gd name="T62" fmla="*/ 66062788 w 866"/>
                <a:gd name="T63" fmla="*/ 173378646 h 740"/>
                <a:gd name="T64" fmla="*/ 57757746 w 866"/>
                <a:gd name="T65" fmla="*/ 165226035 h 740"/>
                <a:gd name="T66" fmla="*/ 51151424 w 866"/>
                <a:gd name="T67" fmla="*/ 164139125 h 740"/>
                <a:gd name="T68" fmla="*/ 44734090 w 866"/>
                <a:gd name="T69" fmla="*/ 168487288 h 740"/>
                <a:gd name="T70" fmla="*/ 39448945 w 866"/>
                <a:gd name="T71" fmla="*/ 177455212 h 740"/>
                <a:gd name="T72" fmla="*/ 35862520 w 866"/>
                <a:gd name="T73" fmla="*/ 188053762 h 740"/>
                <a:gd name="T74" fmla="*/ 33597706 w 866"/>
                <a:gd name="T75" fmla="*/ 195391059 h 740"/>
                <a:gd name="T76" fmla="*/ 28124008 w 866"/>
                <a:gd name="T77" fmla="*/ 190771299 h 740"/>
                <a:gd name="T78" fmla="*/ 18874896 w 866"/>
                <a:gd name="T79" fmla="*/ 201097731 h 740"/>
                <a:gd name="T80" fmla="*/ 12457562 w 866"/>
                <a:gd name="T81" fmla="*/ 189955986 h 740"/>
                <a:gd name="T82" fmla="*/ 12080020 w 866"/>
                <a:gd name="T83" fmla="*/ 175009272 h 740"/>
                <a:gd name="T84" fmla="*/ 9437665 w 866"/>
                <a:gd name="T85" fmla="*/ 166585064 h 740"/>
                <a:gd name="T86" fmla="*/ 3774979 w 866"/>
                <a:gd name="T87" fmla="*/ 159519364 h 740"/>
                <a:gd name="T88" fmla="*/ 943636 w 866"/>
                <a:gd name="T89" fmla="*/ 151638351 h 740"/>
                <a:gd name="T90" fmla="*/ 10003760 w 866"/>
                <a:gd name="T91" fmla="*/ 144029456 h 740"/>
                <a:gd name="T92" fmla="*/ 14345269 w 866"/>
                <a:gd name="T93" fmla="*/ 140768203 h 740"/>
                <a:gd name="T94" fmla="*/ 26236301 w 866"/>
                <a:gd name="T95" fmla="*/ 138594382 h 740"/>
                <a:gd name="T96" fmla="*/ 34352789 w 866"/>
                <a:gd name="T97" fmla="*/ 135876845 h 740"/>
                <a:gd name="T98" fmla="*/ 37938780 w 866"/>
                <a:gd name="T99" fmla="*/ 129082742 h 740"/>
                <a:gd name="T100" fmla="*/ 41336652 w 866"/>
                <a:gd name="T101" fmla="*/ 115223460 h 740"/>
                <a:gd name="T102" fmla="*/ 42280288 w 866"/>
                <a:gd name="T103" fmla="*/ 99733552 h 740"/>
                <a:gd name="T104" fmla="*/ 41336652 w 866"/>
                <a:gd name="T105" fmla="*/ 86961181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3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26848" y="3237629"/>
              <a:ext cx="361792" cy="292717"/>
            </a:xfrm>
            <a:custGeom>
              <a:avLst/>
              <a:gdLst>
                <a:gd name="T0" fmla="*/ 120077618 w 697"/>
                <a:gd name="T1" fmla="*/ 14369758 h 500"/>
                <a:gd name="T2" fmla="*/ 121745261 w 697"/>
                <a:gd name="T3" fmla="*/ 43651843 h 500"/>
                <a:gd name="T4" fmla="*/ 122486532 w 697"/>
                <a:gd name="T5" fmla="*/ 45278510 h 500"/>
                <a:gd name="T6" fmla="*/ 125451613 w 697"/>
                <a:gd name="T7" fmla="*/ 47989795 h 500"/>
                <a:gd name="T8" fmla="*/ 128601797 w 697"/>
                <a:gd name="T9" fmla="*/ 51243128 h 500"/>
                <a:gd name="T10" fmla="*/ 129157534 w 697"/>
                <a:gd name="T11" fmla="*/ 53683649 h 500"/>
                <a:gd name="T12" fmla="*/ 128601797 w 697"/>
                <a:gd name="T13" fmla="*/ 57208268 h 500"/>
                <a:gd name="T14" fmla="*/ 126933723 w 697"/>
                <a:gd name="T15" fmla="*/ 58834934 h 500"/>
                <a:gd name="T16" fmla="*/ 121374626 w 697"/>
                <a:gd name="T17" fmla="*/ 59106219 h 500"/>
                <a:gd name="T18" fmla="*/ 112109608 w 697"/>
                <a:gd name="T19" fmla="*/ 61817504 h 500"/>
                <a:gd name="T20" fmla="*/ 105067970 w 697"/>
                <a:gd name="T21" fmla="*/ 67782123 h 500"/>
                <a:gd name="T22" fmla="*/ 101732253 w 697"/>
                <a:gd name="T23" fmla="*/ 72391359 h 500"/>
                <a:gd name="T24" fmla="*/ 99879508 w 697"/>
                <a:gd name="T25" fmla="*/ 78085213 h 500"/>
                <a:gd name="T26" fmla="*/ 96543791 w 697"/>
                <a:gd name="T27" fmla="*/ 81880596 h 500"/>
                <a:gd name="T28" fmla="*/ 90984694 w 697"/>
                <a:gd name="T29" fmla="*/ 87845735 h 500"/>
                <a:gd name="T30" fmla="*/ 84313691 w 697"/>
                <a:gd name="T31" fmla="*/ 95437020 h 500"/>
                <a:gd name="T32" fmla="*/ 77828221 w 697"/>
                <a:gd name="T33" fmla="*/ 100317541 h 500"/>
                <a:gd name="T34" fmla="*/ 68933408 w 697"/>
                <a:gd name="T35" fmla="*/ 102215493 h 500"/>
                <a:gd name="T36" fmla="*/ 63744946 w 697"/>
                <a:gd name="T37" fmla="*/ 103028826 h 500"/>
                <a:gd name="T38" fmla="*/ 58556484 w 697"/>
                <a:gd name="T39" fmla="*/ 107366778 h 500"/>
                <a:gd name="T40" fmla="*/ 53738226 w 697"/>
                <a:gd name="T41" fmla="*/ 113060632 h 500"/>
                <a:gd name="T42" fmla="*/ 49105932 w 697"/>
                <a:gd name="T43" fmla="*/ 115500633 h 500"/>
                <a:gd name="T44" fmla="*/ 926373 w 697"/>
                <a:gd name="T45" fmla="*/ 134479627 h 500"/>
                <a:gd name="T46" fmla="*/ 5929732 w 697"/>
                <a:gd name="T47" fmla="*/ 132039627 h 500"/>
                <a:gd name="T48" fmla="*/ 15750919 w 697"/>
                <a:gd name="T49" fmla="*/ 128243724 h 500"/>
                <a:gd name="T50" fmla="*/ 17233460 w 697"/>
                <a:gd name="T51" fmla="*/ 124447821 h 500"/>
                <a:gd name="T52" fmla="*/ 18345365 w 697"/>
                <a:gd name="T53" fmla="*/ 118754487 h 500"/>
                <a:gd name="T54" fmla="*/ 22051286 w 697"/>
                <a:gd name="T55" fmla="*/ 114416015 h 500"/>
                <a:gd name="T56" fmla="*/ 29648662 w 697"/>
                <a:gd name="T57" fmla="*/ 108180111 h 500"/>
                <a:gd name="T58" fmla="*/ 33540116 w 697"/>
                <a:gd name="T59" fmla="*/ 103570875 h 500"/>
                <a:gd name="T60" fmla="*/ 35578394 w 697"/>
                <a:gd name="T61" fmla="*/ 96792923 h 500"/>
                <a:gd name="T62" fmla="*/ 35763927 w 697"/>
                <a:gd name="T63" fmla="*/ 85676499 h 500"/>
                <a:gd name="T64" fmla="*/ 36134562 w 697"/>
                <a:gd name="T65" fmla="*/ 68866741 h 500"/>
                <a:gd name="T66" fmla="*/ 35578394 w 697"/>
                <a:gd name="T67" fmla="*/ 52056462 h 500"/>
                <a:gd name="T68" fmla="*/ 39655381 w 697"/>
                <a:gd name="T69" fmla="*/ 51243128 h 500"/>
                <a:gd name="T70" fmla="*/ 42249397 w 697"/>
                <a:gd name="T71" fmla="*/ 48531844 h 500"/>
                <a:gd name="T72" fmla="*/ 44658310 w 697"/>
                <a:gd name="T73" fmla="*/ 44736461 h 500"/>
                <a:gd name="T74" fmla="*/ 46697019 w 697"/>
                <a:gd name="T75" fmla="*/ 41211322 h 500"/>
                <a:gd name="T76" fmla="*/ 52070583 w 697"/>
                <a:gd name="T77" fmla="*/ 39584655 h 500"/>
                <a:gd name="T78" fmla="*/ 58185848 w 697"/>
                <a:gd name="T79" fmla="*/ 38771322 h 500"/>
                <a:gd name="T80" fmla="*/ 63003675 w 697"/>
                <a:gd name="T81" fmla="*/ 35517988 h 500"/>
                <a:gd name="T82" fmla="*/ 66709597 w 697"/>
                <a:gd name="T83" fmla="*/ 29282085 h 500"/>
                <a:gd name="T84" fmla="*/ 71898489 w 697"/>
                <a:gd name="T85" fmla="*/ 13014376 h 500"/>
                <a:gd name="T86" fmla="*/ 75419308 w 697"/>
                <a:gd name="T87" fmla="*/ 3253334 h 500"/>
                <a:gd name="T88" fmla="*/ 78939696 w 697"/>
                <a:gd name="T89" fmla="*/ 2169236 h 500"/>
                <a:gd name="T90" fmla="*/ 83201786 w 697"/>
                <a:gd name="T91" fmla="*/ 5422570 h 500"/>
                <a:gd name="T92" fmla="*/ 94876148 w 697"/>
                <a:gd name="T93" fmla="*/ 4880521 h 500"/>
                <a:gd name="T94" fmla="*/ 109330059 w 697"/>
                <a:gd name="T95" fmla="*/ 3524618 h 500"/>
                <a:gd name="T96" fmla="*/ 110627067 w 697"/>
                <a:gd name="T97" fmla="*/ 4609236 h 500"/>
                <a:gd name="T98" fmla="*/ 112109608 w 697"/>
                <a:gd name="T99" fmla="*/ 9760522 h 500"/>
                <a:gd name="T100" fmla="*/ 113221513 w 697"/>
                <a:gd name="T101" fmla="*/ 13827709 h 500"/>
                <a:gd name="T102" fmla="*/ 114518521 w 697"/>
                <a:gd name="T103" fmla="*/ 1355642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4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471029" y="2034633"/>
              <a:ext cx="285221" cy="103522"/>
            </a:xfrm>
            <a:custGeom>
              <a:avLst/>
              <a:gdLst>
                <a:gd name="T0" fmla="*/ 13888101 w 546"/>
                <a:gd name="T1" fmla="*/ 5381864 h 173"/>
                <a:gd name="T2" fmla="*/ 17641501 w 546"/>
                <a:gd name="T3" fmla="*/ 9631151 h 173"/>
                <a:gd name="T4" fmla="*/ 20644568 w 546"/>
                <a:gd name="T5" fmla="*/ 7648079 h 173"/>
                <a:gd name="T6" fmla="*/ 24773568 w 546"/>
                <a:gd name="T7" fmla="*/ 7648079 h 173"/>
                <a:gd name="T8" fmla="*/ 30216085 w 546"/>
                <a:gd name="T9" fmla="*/ 12463655 h 173"/>
                <a:gd name="T10" fmla="*/ 39224853 w 546"/>
                <a:gd name="T11" fmla="*/ 5381864 h 173"/>
                <a:gd name="T12" fmla="*/ 45605720 w 546"/>
                <a:gd name="T13" fmla="*/ 5381864 h 173"/>
                <a:gd name="T14" fmla="*/ 48796370 w 546"/>
                <a:gd name="T15" fmla="*/ 4532432 h 173"/>
                <a:gd name="T16" fmla="*/ 50485487 w 546"/>
                <a:gd name="T17" fmla="*/ 3965612 h 173"/>
                <a:gd name="T18" fmla="*/ 52362187 w 546"/>
                <a:gd name="T19" fmla="*/ 3115648 h 173"/>
                <a:gd name="T20" fmla="*/ 53675704 w 546"/>
                <a:gd name="T21" fmla="*/ 849964 h 173"/>
                <a:gd name="T22" fmla="*/ 60244588 w 546"/>
                <a:gd name="T23" fmla="*/ 1416252 h 173"/>
                <a:gd name="T24" fmla="*/ 62496888 w 546"/>
                <a:gd name="T25" fmla="*/ 3399324 h 173"/>
                <a:gd name="T26" fmla="*/ 65311938 w 546"/>
                <a:gd name="T27" fmla="*/ 1983072 h 173"/>
                <a:gd name="T28" fmla="*/ 66250288 w 546"/>
                <a:gd name="T29" fmla="*/ 0 h 173"/>
                <a:gd name="T30" fmla="*/ 68877755 w 546"/>
                <a:gd name="T31" fmla="*/ 1983072 h 173"/>
                <a:gd name="T32" fmla="*/ 73006755 w 546"/>
                <a:gd name="T33" fmla="*/ 1983072 h 173"/>
                <a:gd name="T34" fmla="*/ 81827506 w 546"/>
                <a:gd name="T35" fmla="*/ 283144 h 173"/>
                <a:gd name="T36" fmla="*/ 90460673 w 546"/>
                <a:gd name="T37" fmla="*/ 1699396 h 173"/>
                <a:gd name="T38" fmla="*/ 99093840 w 546"/>
                <a:gd name="T39" fmla="*/ 3399324 h 173"/>
                <a:gd name="T40" fmla="*/ 102284491 w 546"/>
                <a:gd name="T41" fmla="*/ 13879907 h 173"/>
                <a:gd name="T42" fmla="*/ 100782957 w 546"/>
                <a:gd name="T43" fmla="*/ 16996087 h 173"/>
                <a:gd name="T44" fmla="*/ 96278790 w 546"/>
                <a:gd name="T45" fmla="*/ 17562375 h 173"/>
                <a:gd name="T46" fmla="*/ 90648256 w 546"/>
                <a:gd name="T47" fmla="*/ 15296159 h 173"/>
                <a:gd name="T48" fmla="*/ 77510922 w 546"/>
                <a:gd name="T49" fmla="*/ 12463655 h 173"/>
                <a:gd name="T50" fmla="*/ 82202673 w 546"/>
                <a:gd name="T51" fmla="*/ 22944238 h 173"/>
                <a:gd name="T52" fmla="*/ 88396390 w 546"/>
                <a:gd name="T53" fmla="*/ 28892922 h 173"/>
                <a:gd name="T54" fmla="*/ 92524957 w 546"/>
                <a:gd name="T55" fmla="*/ 33708498 h 173"/>
                <a:gd name="T56" fmla="*/ 89147156 w 546"/>
                <a:gd name="T57" fmla="*/ 38524074 h 173"/>
                <a:gd name="T58" fmla="*/ 84267389 w 546"/>
                <a:gd name="T59" fmla="*/ 40223469 h 173"/>
                <a:gd name="T60" fmla="*/ 79950806 w 546"/>
                <a:gd name="T61" fmla="*/ 39940325 h 173"/>
                <a:gd name="T62" fmla="*/ 77323339 w 546"/>
                <a:gd name="T63" fmla="*/ 37957253 h 173"/>
                <a:gd name="T64" fmla="*/ 74883455 w 546"/>
                <a:gd name="T65" fmla="*/ 36824146 h 173"/>
                <a:gd name="T66" fmla="*/ 72255988 w 546"/>
                <a:gd name="T67" fmla="*/ 34274786 h 173"/>
                <a:gd name="T68" fmla="*/ 70379288 w 546"/>
                <a:gd name="T69" fmla="*/ 29459210 h 173"/>
                <a:gd name="T70" fmla="*/ 68502588 w 546"/>
                <a:gd name="T71" fmla="*/ 26060418 h 173"/>
                <a:gd name="T72" fmla="*/ 64561171 w 546"/>
                <a:gd name="T73" fmla="*/ 23794202 h 173"/>
                <a:gd name="T74" fmla="*/ 60995354 w 546"/>
                <a:gd name="T75" fmla="*/ 21527987 h 173"/>
                <a:gd name="T76" fmla="*/ 56866354 w 546"/>
                <a:gd name="T77" fmla="*/ 24644166 h 173"/>
                <a:gd name="T78" fmla="*/ 48420770 w 546"/>
                <a:gd name="T79" fmla="*/ 37957253 h 173"/>
                <a:gd name="T80" fmla="*/ 44291770 w 546"/>
                <a:gd name="T81" fmla="*/ 46172153 h 173"/>
                <a:gd name="T82" fmla="*/ 41289136 w 546"/>
                <a:gd name="T83" fmla="*/ 48721513 h 173"/>
                <a:gd name="T84" fmla="*/ 35283436 w 546"/>
                <a:gd name="T85" fmla="*/ 47305261 h 173"/>
                <a:gd name="T86" fmla="*/ 30966852 w 546"/>
                <a:gd name="T87" fmla="*/ 43905937 h 173"/>
                <a:gd name="T88" fmla="*/ 21207751 w 546"/>
                <a:gd name="T89" fmla="*/ 29742886 h 173"/>
                <a:gd name="T90" fmla="*/ 17829518 w 546"/>
                <a:gd name="T91" fmla="*/ 25777274 h 173"/>
                <a:gd name="T92" fmla="*/ 11260634 w 546"/>
                <a:gd name="T93" fmla="*/ 21527987 h 173"/>
                <a:gd name="T94" fmla="*/ 3002634 w 546"/>
                <a:gd name="T95" fmla="*/ 16429267 h 173"/>
                <a:gd name="T96" fmla="*/ 2064284 w 546"/>
                <a:gd name="T97" fmla="*/ 9631151 h 173"/>
                <a:gd name="T98" fmla="*/ 5254934 w 546"/>
                <a:gd name="T99" fmla="*/ 5381864 h 173"/>
                <a:gd name="T100" fmla="*/ 8820751 w 546"/>
                <a:gd name="T101" fmla="*/ 3399324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5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087415" y="2016784"/>
              <a:ext cx="130168" cy="67825"/>
            </a:xfrm>
            <a:custGeom>
              <a:avLst/>
              <a:gdLst>
                <a:gd name="T0" fmla="*/ 5199153 w 246"/>
                <a:gd name="T1" fmla="*/ 74267257 h 42"/>
                <a:gd name="T2" fmla="*/ 6932496 w 246"/>
                <a:gd name="T3" fmla="*/ 74267257 h 42"/>
                <a:gd name="T4" fmla="*/ 8665401 w 246"/>
                <a:gd name="T5" fmla="*/ 72204716 h 42"/>
                <a:gd name="T6" fmla="*/ 10206102 w 246"/>
                <a:gd name="T7" fmla="*/ 68078199 h 42"/>
                <a:gd name="T8" fmla="*/ 11361079 w 246"/>
                <a:gd name="T9" fmla="*/ 63953118 h 42"/>
                <a:gd name="T10" fmla="*/ 12709138 w 246"/>
                <a:gd name="T11" fmla="*/ 61889141 h 42"/>
                <a:gd name="T12" fmla="*/ 13864554 w 246"/>
                <a:gd name="T13" fmla="*/ 59826601 h 42"/>
                <a:gd name="T14" fmla="*/ 15405255 w 246"/>
                <a:gd name="T15" fmla="*/ 59826601 h 42"/>
                <a:gd name="T16" fmla="*/ 16752875 w 246"/>
                <a:gd name="T17" fmla="*/ 61889141 h 42"/>
                <a:gd name="T18" fmla="*/ 16752875 w 246"/>
                <a:gd name="T19" fmla="*/ 86645372 h 42"/>
                <a:gd name="T20" fmla="*/ 29654655 w 246"/>
                <a:gd name="T21" fmla="*/ 86645372 h 42"/>
                <a:gd name="T22" fmla="*/ 29654655 w 246"/>
                <a:gd name="T23" fmla="*/ 80456314 h 42"/>
                <a:gd name="T24" fmla="*/ 30039940 w 246"/>
                <a:gd name="T25" fmla="*/ 74267257 h 42"/>
                <a:gd name="T26" fmla="*/ 30617867 w 246"/>
                <a:gd name="T27" fmla="*/ 68078199 h 42"/>
                <a:gd name="T28" fmla="*/ 31387998 w 246"/>
                <a:gd name="T29" fmla="*/ 63953118 h 42"/>
                <a:gd name="T30" fmla="*/ 33698830 w 246"/>
                <a:gd name="T31" fmla="*/ 53637543 h 42"/>
                <a:gd name="T32" fmla="*/ 36587151 w 246"/>
                <a:gd name="T33" fmla="*/ 47448485 h 42"/>
                <a:gd name="T34" fmla="*/ 42556435 w 246"/>
                <a:gd name="T35" fmla="*/ 35070370 h 42"/>
                <a:gd name="T36" fmla="*/ 47370742 w 246"/>
                <a:gd name="T37" fmla="*/ 24756231 h 42"/>
                <a:gd name="T38" fmla="*/ 40823530 w 246"/>
                <a:gd name="T39" fmla="*/ 26818771 h 42"/>
                <a:gd name="T40" fmla="*/ 35817020 w 246"/>
                <a:gd name="T41" fmla="*/ 28881312 h 42"/>
                <a:gd name="T42" fmla="*/ 34276319 w 246"/>
                <a:gd name="T43" fmla="*/ 30945289 h 42"/>
                <a:gd name="T44" fmla="*/ 32928261 w 246"/>
                <a:gd name="T45" fmla="*/ 30945289 h 42"/>
                <a:gd name="T46" fmla="*/ 32350772 w 246"/>
                <a:gd name="T47" fmla="*/ 28881312 h 42"/>
                <a:gd name="T48" fmla="*/ 32158129 w 246"/>
                <a:gd name="T49" fmla="*/ 24756231 h 42"/>
                <a:gd name="T50" fmla="*/ 30617867 w 246"/>
                <a:gd name="T51" fmla="*/ 33007829 h 42"/>
                <a:gd name="T52" fmla="*/ 29269809 w 246"/>
                <a:gd name="T53" fmla="*/ 35070370 h 42"/>
                <a:gd name="T54" fmla="*/ 28307035 w 246"/>
                <a:gd name="T55" fmla="*/ 35070370 h 42"/>
                <a:gd name="T56" fmla="*/ 27151619 w 246"/>
                <a:gd name="T57" fmla="*/ 30945289 h 42"/>
                <a:gd name="T58" fmla="*/ 26381049 w 246"/>
                <a:gd name="T59" fmla="*/ 24756231 h 42"/>
                <a:gd name="T60" fmla="*/ 25610918 w 246"/>
                <a:gd name="T61" fmla="*/ 18567173 h 42"/>
                <a:gd name="T62" fmla="*/ 24840787 w 246"/>
                <a:gd name="T63" fmla="*/ 10315575 h 42"/>
                <a:gd name="T64" fmla="*/ 24262860 w 246"/>
                <a:gd name="T65" fmla="*/ 0 h 42"/>
                <a:gd name="T66" fmla="*/ 23300086 w 246"/>
                <a:gd name="T67" fmla="*/ 4126517 h 42"/>
                <a:gd name="T68" fmla="*/ 21759824 w 246"/>
                <a:gd name="T69" fmla="*/ 8251598 h 42"/>
                <a:gd name="T70" fmla="*/ 19834277 w 246"/>
                <a:gd name="T71" fmla="*/ 10315575 h 42"/>
                <a:gd name="T72" fmla="*/ 17908291 w 246"/>
                <a:gd name="T73" fmla="*/ 10315575 h 42"/>
                <a:gd name="T74" fmla="*/ 14249839 w 246"/>
                <a:gd name="T75" fmla="*/ 12378115 h 42"/>
                <a:gd name="T76" fmla="*/ 11553722 w 246"/>
                <a:gd name="T77" fmla="*/ 12378115 h 42"/>
                <a:gd name="T78" fmla="*/ 11168876 w 246"/>
                <a:gd name="T79" fmla="*/ 18567173 h 42"/>
                <a:gd name="T80" fmla="*/ 10783591 w 246"/>
                <a:gd name="T81" fmla="*/ 24756231 h 42"/>
                <a:gd name="T82" fmla="*/ 10398306 w 246"/>
                <a:gd name="T83" fmla="*/ 30945289 h 42"/>
                <a:gd name="T84" fmla="*/ 9628175 w 246"/>
                <a:gd name="T85" fmla="*/ 35070370 h 42"/>
                <a:gd name="T86" fmla="*/ 8087474 w 246"/>
                <a:gd name="T87" fmla="*/ 41259427 h 42"/>
                <a:gd name="T88" fmla="*/ 6354569 w 246"/>
                <a:gd name="T89" fmla="*/ 45385945 h 42"/>
                <a:gd name="T90" fmla="*/ 2695678 w 246"/>
                <a:gd name="T91" fmla="*/ 49511026 h 42"/>
                <a:gd name="T92" fmla="*/ 0 w 246"/>
                <a:gd name="T93" fmla="*/ 49511026 h 42"/>
                <a:gd name="T94" fmla="*/ 192642 w 246"/>
                <a:gd name="T95" fmla="*/ 55700083 h 42"/>
                <a:gd name="T96" fmla="*/ 577489 w 246"/>
                <a:gd name="T97" fmla="*/ 59826601 h 42"/>
                <a:gd name="T98" fmla="*/ 962774 w 246"/>
                <a:gd name="T99" fmla="*/ 63953118 h 42"/>
                <a:gd name="T100" fmla="*/ 1732905 w 246"/>
                <a:gd name="T101" fmla="*/ 68078199 h 42"/>
                <a:gd name="T102" fmla="*/ 3273606 w 246"/>
                <a:gd name="T103" fmla="*/ 72204716 h 42"/>
                <a:gd name="T104" fmla="*/ 5199153 w 246"/>
                <a:gd name="T105" fmla="*/ 7426725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6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259697" y="1997151"/>
              <a:ext cx="76570" cy="64255"/>
            </a:xfrm>
            <a:custGeom>
              <a:avLst/>
              <a:gdLst>
                <a:gd name="T0" fmla="*/ 18707356 w 149"/>
                <a:gd name="T1" fmla="*/ 0 h 61"/>
                <a:gd name="T2" fmla="*/ 21431889 w 149"/>
                <a:gd name="T3" fmla="*/ 877861 h 61"/>
                <a:gd name="T4" fmla="*/ 24337547 w 149"/>
                <a:gd name="T5" fmla="*/ 2633584 h 61"/>
                <a:gd name="T6" fmla="*/ 26335453 w 149"/>
                <a:gd name="T7" fmla="*/ 4388370 h 61"/>
                <a:gd name="T8" fmla="*/ 27062081 w 149"/>
                <a:gd name="T9" fmla="*/ 5266232 h 61"/>
                <a:gd name="T10" fmla="*/ 27062081 w 149"/>
                <a:gd name="T11" fmla="*/ 7021955 h 61"/>
                <a:gd name="T12" fmla="*/ 26698980 w 149"/>
                <a:gd name="T13" fmla="*/ 8777678 h 61"/>
                <a:gd name="T14" fmla="*/ 26335453 w 149"/>
                <a:gd name="T15" fmla="*/ 10533401 h 61"/>
                <a:gd name="T16" fmla="*/ 25609252 w 149"/>
                <a:gd name="T17" fmla="*/ 11411262 h 61"/>
                <a:gd name="T18" fmla="*/ 24882624 w 149"/>
                <a:gd name="T19" fmla="*/ 12288187 h 61"/>
                <a:gd name="T20" fmla="*/ 23974446 w 149"/>
                <a:gd name="T21" fmla="*/ 12288187 h 61"/>
                <a:gd name="T22" fmla="*/ 23066268 w 149"/>
                <a:gd name="T23" fmla="*/ 12288187 h 61"/>
                <a:gd name="T24" fmla="*/ 22339641 w 149"/>
                <a:gd name="T25" fmla="*/ 10533401 h 61"/>
                <a:gd name="T26" fmla="*/ 22339641 w 149"/>
                <a:gd name="T27" fmla="*/ 20188003 h 61"/>
                <a:gd name="T28" fmla="*/ 22339641 w 149"/>
                <a:gd name="T29" fmla="*/ 28965681 h 61"/>
                <a:gd name="T30" fmla="*/ 22339641 w 149"/>
                <a:gd name="T31" fmla="*/ 35987636 h 61"/>
                <a:gd name="T32" fmla="*/ 22339641 w 149"/>
                <a:gd name="T33" fmla="*/ 43009591 h 61"/>
                <a:gd name="T34" fmla="*/ 21068362 w 149"/>
                <a:gd name="T35" fmla="*/ 43887452 h 61"/>
                <a:gd name="T36" fmla="*/ 19797084 w 149"/>
                <a:gd name="T37" fmla="*/ 44765314 h 61"/>
                <a:gd name="T38" fmla="*/ 18888906 w 149"/>
                <a:gd name="T39" fmla="*/ 46521037 h 61"/>
                <a:gd name="T40" fmla="*/ 18162279 w 149"/>
                <a:gd name="T41" fmla="*/ 48276760 h 61"/>
                <a:gd name="T42" fmla="*/ 17072550 w 149"/>
                <a:gd name="T43" fmla="*/ 50031546 h 61"/>
                <a:gd name="T44" fmla="*/ 16164799 w 149"/>
                <a:gd name="T45" fmla="*/ 51787269 h 61"/>
                <a:gd name="T46" fmla="*/ 15074644 w 149"/>
                <a:gd name="T47" fmla="*/ 53542992 h 61"/>
                <a:gd name="T48" fmla="*/ 13803366 w 149"/>
                <a:gd name="T49" fmla="*/ 53542992 h 61"/>
                <a:gd name="T50" fmla="*/ 12168987 w 149"/>
                <a:gd name="T51" fmla="*/ 52665130 h 61"/>
                <a:gd name="T52" fmla="*/ 9626003 w 149"/>
                <a:gd name="T53" fmla="*/ 50031546 h 61"/>
                <a:gd name="T54" fmla="*/ 7083446 w 149"/>
                <a:gd name="T55" fmla="*/ 47398898 h 61"/>
                <a:gd name="T56" fmla="*/ 4540463 w 149"/>
                <a:gd name="T57" fmla="*/ 43009591 h 61"/>
                <a:gd name="T58" fmla="*/ 2179456 w 149"/>
                <a:gd name="T59" fmla="*/ 39499082 h 61"/>
                <a:gd name="T60" fmla="*/ 545077 w 149"/>
                <a:gd name="T61" fmla="*/ 35987636 h 61"/>
                <a:gd name="T62" fmla="*/ 181550 w 149"/>
                <a:gd name="T63" fmla="*/ 34232850 h 61"/>
                <a:gd name="T64" fmla="*/ 0 w 149"/>
                <a:gd name="T65" fmla="*/ 33354989 h 61"/>
                <a:gd name="T66" fmla="*/ 0 w 149"/>
                <a:gd name="T67" fmla="*/ 32477127 h 61"/>
                <a:gd name="T68" fmla="*/ 545077 w 149"/>
                <a:gd name="T69" fmla="*/ 32477127 h 61"/>
                <a:gd name="T70" fmla="*/ 3450735 w 149"/>
                <a:gd name="T71" fmla="*/ 31599266 h 61"/>
                <a:gd name="T72" fmla="*/ 6356819 w 149"/>
                <a:gd name="T73" fmla="*/ 30721404 h 61"/>
                <a:gd name="T74" fmla="*/ 8717826 w 149"/>
                <a:gd name="T75" fmla="*/ 28087820 h 61"/>
                <a:gd name="T76" fmla="*/ 10897282 w 149"/>
                <a:gd name="T77" fmla="*/ 23699449 h 61"/>
                <a:gd name="T78" fmla="*/ 13077164 w 149"/>
                <a:gd name="T79" fmla="*/ 19310142 h 61"/>
                <a:gd name="T80" fmla="*/ 14893094 w 149"/>
                <a:gd name="T81" fmla="*/ 14043910 h 61"/>
                <a:gd name="T82" fmla="*/ 16891000 w 149"/>
                <a:gd name="T83" fmla="*/ 7021955 h 61"/>
                <a:gd name="T84" fmla="*/ 1870735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7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303724" y="2006075"/>
              <a:ext cx="156968" cy="64255"/>
            </a:xfrm>
            <a:custGeom>
              <a:avLst/>
              <a:gdLst>
                <a:gd name="T0" fmla="*/ 25209542 w 299"/>
                <a:gd name="T1" fmla="*/ 42943591 h 74"/>
                <a:gd name="T2" fmla="*/ 29190111 w 299"/>
                <a:gd name="T3" fmla="*/ 38768552 h 74"/>
                <a:gd name="T4" fmla="*/ 33738835 w 299"/>
                <a:gd name="T5" fmla="*/ 32207886 h 74"/>
                <a:gd name="T6" fmla="*/ 37719404 w 299"/>
                <a:gd name="T7" fmla="*/ 25050235 h 74"/>
                <a:gd name="T8" fmla="*/ 39235790 w 299"/>
                <a:gd name="T9" fmla="*/ 23857808 h 74"/>
                <a:gd name="T10" fmla="*/ 39994201 w 299"/>
                <a:gd name="T11" fmla="*/ 27436634 h 74"/>
                <a:gd name="T12" fmla="*/ 41699972 w 299"/>
                <a:gd name="T13" fmla="*/ 30418474 h 74"/>
                <a:gd name="T14" fmla="*/ 46059311 w 299"/>
                <a:gd name="T15" fmla="*/ 32804100 h 74"/>
                <a:gd name="T16" fmla="*/ 50987675 w 299"/>
                <a:gd name="T17" fmla="*/ 32804100 h 74"/>
                <a:gd name="T18" fmla="*/ 54209833 w 299"/>
                <a:gd name="T19" fmla="*/ 32804100 h 74"/>
                <a:gd name="T20" fmla="*/ 55536835 w 299"/>
                <a:gd name="T21" fmla="*/ 27436634 h 74"/>
                <a:gd name="T22" fmla="*/ 56484630 w 299"/>
                <a:gd name="T23" fmla="*/ 18489570 h 74"/>
                <a:gd name="T24" fmla="*/ 52883267 w 299"/>
                <a:gd name="T25" fmla="*/ 14910744 h 74"/>
                <a:gd name="T26" fmla="*/ 46249131 w 299"/>
                <a:gd name="T27" fmla="*/ 14910744 h 74"/>
                <a:gd name="T28" fmla="*/ 42647768 w 299"/>
                <a:gd name="T29" fmla="*/ 14910744 h 74"/>
                <a:gd name="T30" fmla="*/ 40562791 w 299"/>
                <a:gd name="T31" fmla="*/ 16103943 h 74"/>
                <a:gd name="T32" fmla="*/ 38667199 w 299"/>
                <a:gd name="T33" fmla="*/ 19682769 h 74"/>
                <a:gd name="T34" fmla="*/ 32601654 w 299"/>
                <a:gd name="T35" fmla="*/ 22068395 h 74"/>
                <a:gd name="T36" fmla="*/ 33360065 w 299"/>
                <a:gd name="T37" fmla="*/ 16700157 h 74"/>
                <a:gd name="T38" fmla="*/ 34118040 w 299"/>
                <a:gd name="T39" fmla="*/ 12525118 h 74"/>
                <a:gd name="T40" fmla="*/ 36771608 w 299"/>
                <a:gd name="T41" fmla="*/ 7753865 h 74"/>
                <a:gd name="T42" fmla="*/ 39804380 w 299"/>
                <a:gd name="T43" fmla="*/ 5368239 h 74"/>
                <a:gd name="T44" fmla="*/ 42647768 w 299"/>
                <a:gd name="T45" fmla="*/ 0 h 74"/>
                <a:gd name="T46" fmla="*/ 35065836 w 299"/>
                <a:gd name="T47" fmla="*/ 1789413 h 74"/>
                <a:gd name="T48" fmla="*/ 29758702 w 299"/>
                <a:gd name="T49" fmla="*/ 6560666 h 74"/>
                <a:gd name="T50" fmla="*/ 25398928 w 299"/>
                <a:gd name="T51" fmla="*/ 14910744 h 74"/>
                <a:gd name="T52" fmla="*/ 21608179 w 299"/>
                <a:gd name="T53" fmla="*/ 23857808 h 74"/>
                <a:gd name="T54" fmla="*/ 18954612 w 299"/>
                <a:gd name="T55" fmla="*/ 31611673 h 74"/>
                <a:gd name="T56" fmla="*/ 16490430 w 299"/>
                <a:gd name="T57" fmla="*/ 35190499 h 74"/>
                <a:gd name="T58" fmla="*/ 12131091 w 299"/>
                <a:gd name="T59" fmla="*/ 37576125 h 74"/>
                <a:gd name="T60" fmla="*/ 6065545 w 299"/>
                <a:gd name="T61" fmla="*/ 38172339 h 74"/>
                <a:gd name="T62" fmla="*/ 2274362 w 299"/>
                <a:gd name="T63" fmla="*/ 39961751 h 74"/>
                <a:gd name="T64" fmla="*/ 379205 w 299"/>
                <a:gd name="T65" fmla="*/ 41751164 h 74"/>
                <a:gd name="T66" fmla="*/ 7392111 w 299"/>
                <a:gd name="T67" fmla="*/ 44136791 h 74"/>
                <a:gd name="T68" fmla="*/ 19333817 w 299"/>
                <a:gd name="T69" fmla="*/ 44136791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388" name="Rectangle 387"/>
            <p:cNvSpPr/>
            <p:nvPr/>
          </p:nvSpPr>
          <p:spPr>
            <a:xfrm>
              <a:off x="726276" y="4526299"/>
              <a:ext cx="980919" cy="7923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u="sng" dirty="0">
                  <a:solidFill>
                    <a:prstClr val="black"/>
                  </a:solidFill>
                </a:rPr>
                <a:t>Latin Americ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Peru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Nicaragua </a:t>
              </a:r>
              <a:endParaRPr lang="en-US" sz="1000" dirty="0">
                <a:solidFill>
                  <a:srgbClr val="0070C0"/>
                </a:solidFill>
              </a:endParaRPr>
            </a:p>
          </p:txBody>
        </p:sp>
        <p:sp>
          <p:nvSpPr>
            <p:cNvPr id="389" name="Rectangle 388"/>
            <p:cNvSpPr/>
            <p:nvPr/>
          </p:nvSpPr>
          <p:spPr>
            <a:xfrm>
              <a:off x="2156455" y="3529317"/>
              <a:ext cx="1311573" cy="9645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u="sng" dirty="0">
                  <a:solidFill>
                    <a:prstClr val="black"/>
                  </a:solidFill>
                </a:rPr>
                <a:t>Caribbea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70C0"/>
                  </a:solidFill>
                </a:rPr>
                <a:t>Grenad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>
                  <a:solidFill>
                    <a:srgbClr val="00B050"/>
                  </a:solidFill>
                </a:rPr>
                <a:t>Antigua and </a:t>
              </a:r>
              <a:r>
                <a:rPr lang="es-MX" sz="1000" dirty="0" smtClean="0">
                  <a:solidFill>
                    <a:srgbClr val="00B050"/>
                  </a:solidFill>
                </a:rPr>
                <a:t>Barbud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 smtClean="0">
                  <a:solidFill>
                    <a:srgbClr val="00B050"/>
                  </a:solidFill>
                </a:rPr>
                <a:t>Bahamas</a:t>
              </a:r>
              <a:endParaRPr lang="en-US" sz="1000" dirty="0">
                <a:solidFill>
                  <a:srgbClr val="00B050"/>
                </a:solidFill>
              </a:endParaRPr>
            </a:p>
          </p:txBody>
        </p:sp>
        <p:sp>
          <p:nvSpPr>
            <p:cNvPr id="390" name="Rectangle 389"/>
            <p:cNvSpPr/>
            <p:nvPr/>
          </p:nvSpPr>
          <p:spPr>
            <a:xfrm>
              <a:off x="3119150" y="4373094"/>
              <a:ext cx="1702354" cy="19979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u="sng" dirty="0" smtClean="0">
                  <a:solidFill>
                    <a:prstClr val="black"/>
                  </a:solidFill>
                </a:rPr>
                <a:t>SS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Senegal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Niger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The Gamb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Mozambiqu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Zambia</a:t>
              </a:r>
              <a:endParaRPr lang="en-US" sz="1000" dirty="0">
                <a:solidFill>
                  <a:srgbClr val="0070C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70C0"/>
                  </a:solidFill>
                </a:rPr>
                <a:t>Djibouti </a:t>
              </a:r>
              <a:endParaRPr lang="en-US" sz="1000" dirty="0" smtClean="0">
                <a:solidFill>
                  <a:srgbClr val="0070C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Swaziland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Ghan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B050"/>
                  </a:solidFill>
                </a:rPr>
                <a:t>Tanzan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B050"/>
                  </a:solidFill>
                </a:rPr>
                <a:t>Zimbabwe</a:t>
              </a:r>
              <a:endParaRPr lang="en-US" sz="1000" dirty="0">
                <a:solidFill>
                  <a:srgbClr val="00B050"/>
                </a:solidFill>
              </a:endParaRPr>
            </a:p>
          </p:txBody>
        </p:sp>
        <p:sp>
          <p:nvSpPr>
            <p:cNvPr id="391" name="Rectangle 390"/>
            <p:cNvSpPr/>
            <p:nvPr/>
          </p:nvSpPr>
          <p:spPr>
            <a:xfrm>
              <a:off x="7789622" y="3691651"/>
              <a:ext cx="1030052" cy="9645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u="sng" dirty="0">
                  <a:solidFill>
                    <a:prstClr val="black"/>
                  </a:solidFill>
                </a:rPr>
                <a:t>Pacific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70C0"/>
                  </a:solidFill>
                </a:rPr>
                <a:t>Kiribati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Fiji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Marshall </a:t>
              </a:r>
              <a:r>
                <a:rPr lang="en-US" sz="1000" dirty="0">
                  <a:solidFill>
                    <a:srgbClr val="0070C0"/>
                  </a:solidFill>
                </a:rPr>
                <a:t>Is.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MX" sz="1000" dirty="0" smtClean="0">
                  <a:solidFill>
                    <a:srgbClr val="0070C0"/>
                  </a:solidFill>
                </a:rPr>
                <a:t>Vanuatu</a:t>
              </a:r>
              <a:endParaRPr lang="en-US" sz="1000" dirty="0">
                <a:solidFill>
                  <a:srgbClr val="0070C0"/>
                </a:solidFill>
              </a:endParaRPr>
            </a:p>
          </p:txBody>
        </p:sp>
        <p:sp>
          <p:nvSpPr>
            <p:cNvPr id="392" name="Rectangle 391"/>
            <p:cNvSpPr/>
            <p:nvPr/>
          </p:nvSpPr>
          <p:spPr>
            <a:xfrm>
              <a:off x="5248210" y="3923030"/>
              <a:ext cx="1193925" cy="9645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u="sng" dirty="0" smtClean="0">
                  <a:solidFill>
                    <a:prstClr val="black"/>
                  </a:solidFill>
                </a:rPr>
                <a:t>MENA</a:t>
              </a:r>
              <a:endParaRPr lang="en-US" sz="1000" b="1" u="sng" dirty="0">
                <a:solidFill>
                  <a:prstClr val="black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Oma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Mauritan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70C0"/>
                  </a:solidFill>
                </a:rPr>
                <a:t>Tunisi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00B050"/>
                  </a:solidFill>
                </a:rPr>
                <a:t>Kuwait/Qatar</a:t>
              </a:r>
              <a:endParaRPr lang="en-US" sz="1000" dirty="0">
                <a:solidFill>
                  <a:srgbClr val="00B050"/>
                </a:solidFill>
              </a:endParaRPr>
            </a:p>
          </p:txBody>
        </p:sp>
      </p:grpSp>
      <p:sp>
        <p:nvSpPr>
          <p:cNvPr id="560" name="Rectangle 559"/>
          <p:cNvSpPr/>
          <p:nvPr/>
        </p:nvSpPr>
        <p:spPr>
          <a:xfrm>
            <a:off x="6056705" y="3709309"/>
            <a:ext cx="86898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u="sng" dirty="0" smtClean="0">
                <a:solidFill>
                  <a:prstClr val="black"/>
                </a:solidFill>
              </a:rPr>
              <a:t>Asia</a:t>
            </a:r>
            <a:endParaRPr lang="en-US" sz="1000" b="1" u="sng" dirty="0">
              <a:solidFill>
                <a:prstClr val="black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70C0"/>
                </a:solidFill>
              </a:rPr>
              <a:t>Philippin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70C0"/>
                </a:solidFill>
              </a:rPr>
              <a:t>Mongoli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B050"/>
                </a:solidFill>
              </a:rPr>
              <a:t>Pakistan</a:t>
            </a:r>
            <a:endParaRPr lang="en-US" sz="1000" dirty="0">
              <a:solidFill>
                <a:srgbClr val="00B050"/>
              </a:solidFill>
            </a:endParaRPr>
          </a:p>
        </p:txBody>
      </p:sp>
      <p:sp>
        <p:nvSpPr>
          <p:cNvPr id="562" name="Rectangle 561"/>
          <p:cNvSpPr/>
          <p:nvPr/>
        </p:nvSpPr>
        <p:spPr>
          <a:xfrm>
            <a:off x="5485317" y="5654224"/>
            <a:ext cx="14361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dirty="0" smtClean="0">
                <a:solidFill>
                  <a:srgbClr val="000000"/>
                </a:solidFill>
              </a:rPr>
              <a:t>Processe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70C0"/>
                </a:solidFill>
              </a:rPr>
              <a:t>19 </a:t>
            </a:r>
            <a:r>
              <a:rPr lang="en-US" sz="1200" dirty="0" smtClean="0">
                <a:solidFill>
                  <a:srgbClr val="0070C0"/>
                </a:solidFill>
              </a:rPr>
              <a:t>in</a:t>
            </a:r>
            <a:r>
              <a:rPr lang="en-US" sz="1200" b="1" dirty="0" smtClean="0">
                <a:solidFill>
                  <a:srgbClr val="0070C0"/>
                </a:solidFill>
              </a:rPr>
              <a:t> </a:t>
            </a:r>
            <a:r>
              <a:rPr lang="en-US" sz="1200" dirty="0" smtClean="0">
                <a:solidFill>
                  <a:srgbClr val="0070C0"/>
                </a:solidFill>
              </a:rPr>
              <a:t>2011-14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B050"/>
                </a:solidFill>
              </a:rPr>
              <a:t>7</a:t>
            </a:r>
            <a:r>
              <a:rPr lang="en-US" sz="1200" b="1" dirty="0" smtClean="0">
                <a:solidFill>
                  <a:srgbClr val="00B050"/>
                </a:solidFill>
              </a:rPr>
              <a:t> </a:t>
            </a:r>
            <a:r>
              <a:rPr lang="en-US" sz="1200" dirty="0" smtClean="0">
                <a:solidFill>
                  <a:srgbClr val="00B050"/>
                </a:solidFill>
              </a:rPr>
              <a:t>in</a:t>
            </a:r>
            <a:r>
              <a:rPr lang="en-US" sz="1200" b="1" dirty="0" smtClean="0">
                <a:solidFill>
                  <a:srgbClr val="00B050"/>
                </a:solidFill>
              </a:rPr>
              <a:t> </a:t>
            </a:r>
            <a:r>
              <a:rPr lang="en-US" sz="1200" dirty="0" smtClean="0">
                <a:solidFill>
                  <a:srgbClr val="00B050"/>
                </a:solidFill>
              </a:rPr>
              <a:t>2015 - 2016</a:t>
            </a:r>
          </a:p>
        </p:txBody>
      </p:sp>
    </p:spTree>
    <p:extLst>
      <p:ext uri="{BB962C8B-B14F-4D97-AF65-F5344CB8AC3E}">
        <p14:creationId xmlns:p14="http://schemas.microsoft.com/office/powerpoint/2010/main" val="149221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634" y="229084"/>
            <a:ext cx="4331145" cy="846913"/>
          </a:xfrm>
        </p:spPr>
        <p:txBody>
          <a:bodyPr>
            <a:normAutofit/>
          </a:bodyPr>
          <a:lstStyle/>
          <a:p>
            <a:r>
              <a:rPr lang="en-US" sz="2700" b="1" dirty="0" smtClean="0">
                <a:latin typeface="+mn-lt"/>
              </a:rPr>
              <a:t>Recommended </a:t>
            </a:r>
            <a:r>
              <a:rPr lang="en-US" sz="2700" b="1" dirty="0">
                <a:latin typeface="+mn-lt"/>
              </a:rPr>
              <a:t>Actions in </a:t>
            </a:r>
            <a:r>
              <a:rPr lang="en-US" sz="2700" b="1" dirty="0" smtClean="0">
                <a:latin typeface="+mn-lt"/>
              </a:rPr>
              <a:t> Sub-Saharan Africa RRAs</a:t>
            </a:r>
            <a:endParaRPr lang="en-US" sz="2700" b="1" dirty="0">
              <a:latin typeface="+mn-lt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1084766"/>
              </p:ext>
            </p:extLst>
          </p:nvPr>
        </p:nvGraphicFramePr>
        <p:xfrm>
          <a:off x="942975" y="1360875"/>
          <a:ext cx="7543799" cy="5197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3951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326" y="177283"/>
            <a:ext cx="5702576" cy="767878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A Recommendations by Country</a:t>
            </a:r>
            <a:endParaRPr lang="en-US" sz="3200" b="1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2995440"/>
              </p:ext>
            </p:extLst>
          </p:nvPr>
        </p:nvGraphicFramePr>
        <p:xfrm>
          <a:off x="500064" y="1528763"/>
          <a:ext cx="8272462" cy="4914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472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87" y="108193"/>
            <a:ext cx="4572000" cy="1000419"/>
          </a:xfrm>
        </p:spPr>
        <p:txBody>
          <a:bodyPr>
            <a:noAutofit/>
          </a:bodyPr>
          <a:lstStyle/>
          <a:p>
            <a:r>
              <a:rPr lang="en-US" sz="3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A Recommendations – Implementation Status</a:t>
            </a:r>
            <a:endParaRPr lang="en-US" sz="3200" b="1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7194762"/>
              </p:ext>
            </p:extLst>
          </p:nvPr>
        </p:nvGraphicFramePr>
        <p:xfrm>
          <a:off x="485775" y="1571625"/>
          <a:ext cx="8229599" cy="4943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5711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37414" y="188640"/>
            <a:ext cx="5131755" cy="891199"/>
          </a:xfrm>
        </p:spPr>
        <p:txBody>
          <a:bodyPr/>
          <a:lstStyle/>
          <a:p>
            <a:r>
              <a:rPr lang="en-US" sz="32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Impacts of RRAs in Africa</a:t>
            </a:r>
            <a:endParaRPr lang="en-US" sz="2400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6042" y="1263259"/>
            <a:ext cx="4907838" cy="5307313"/>
          </a:xfrm>
          <a:prstGeom prst="rect">
            <a:avLst/>
          </a:prstGeom>
        </p:spPr>
      </p:pic>
      <p:cxnSp>
        <p:nvCxnSpPr>
          <p:cNvPr id="563" name="Straight Arrow Connector 562"/>
          <p:cNvCxnSpPr/>
          <p:nvPr/>
        </p:nvCxnSpPr>
        <p:spPr>
          <a:xfrm>
            <a:off x="777922" y="2538484"/>
            <a:ext cx="1514902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Arrow Connector 563"/>
          <p:cNvCxnSpPr/>
          <p:nvPr/>
        </p:nvCxnSpPr>
        <p:spPr>
          <a:xfrm>
            <a:off x="662722" y="2827362"/>
            <a:ext cx="1514902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5" name="TextBox 564"/>
          <p:cNvSpPr txBox="1"/>
          <p:nvPr/>
        </p:nvSpPr>
        <p:spPr>
          <a:xfrm>
            <a:off x="586611" y="2039497"/>
            <a:ext cx="1629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AURITANI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66" name="TextBox 565"/>
          <p:cNvSpPr txBox="1"/>
          <p:nvPr/>
        </p:nvSpPr>
        <p:spPr>
          <a:xfrm>
            <a:off x="751175" y="3041751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SENEGAL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67" name="TextBox 566"/>
          <p:cNvSpPr txBox="1"/>
          <p:nvPr/>
        </p:nvSpPr>
        <p:spPr>
          <a:xfrm>
            <a:off x="646219" y="3347085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THE GAMBI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68" name="TextBox 567"/>
          <p:cNvSpPr txBox="1"/>
          <p:nvPr/>
        </p:nvSpPr>
        <p:spPr>
          <a:xfrm>
            <a:off x="1599611" y="3916916"/>
            <a:ext cx="10310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GHAN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69" name="TextBox 568"/>
          <p:cNvSpPr txBox="1"/>
          <p:nvPr/>
        </p:nvSpPr>
        <p:spPr>
          <a:xfrm>
            <a:off x="2693709" y="3755414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NIGER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70" name="TextBox 569"/>
          <p:cNvSpPr txBox="1"/>
          <p:nvPr/>
        </p:nvSpPr>
        <p:spPr>
          <a:xfrm>
            <a:off x="6919166" y="2857085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DJIBOUTI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71" name="TextBox 570"/>
          <p:cNvSpPr txBox="1"/>
          <p:nvPr/>
        </p:nvSpPr>
        <p:spPr>
          <a:xfrm>
            <a:off x="5807669" y="4505616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OZAMBIQUE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72" name="TextBox 571"/>
          <p:cNvSpPr txBox="1"/>
          <p:nvPr/>
        </p:nvSpPr>
        <p:spPr>
          <a:xfrm>
            <a:off x="5711681" y="3947312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ZAMBIA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73" name="TextBox 572"/>
          <p:cNvSpPr txBox="1"/>
          <p:nvPr/>
        </p:nvSpPr>
        <p:spPr>
          <a:xfrm>
            <a:off x="6225099" y="5662809"/>
            <a:ext cx="1556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SWAZILAND</a:t>
            </a:r>
            <a:endParaRPr lang="en-US" b="1" dirty="0">
              <a:solidFill>
                <a:srgbClr val="FF0000"/>
              </a:solidFill>
            </a:endParaRPr>
          </a:p>
        </p:txBody>
      </p:sp>
      <p:cxnSp>
        <p:nvCxnSpPr>
          <p:cNvPr id="574" name="Straight Arrow Connector 573"/>
          <p:cNvCxnSpPr/>
          <p:nvPr/>
        </p:nvCxnSpPr>
        <p:spPr>
          <a:xfrm>
            <a:off x="741894" y="2982892"/>
            <a:ext cx="1514902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5" name="Straight Arrow Connector 574"/>
          <p:cNvCxnSpPr/>
          <p:nvPr/>
        </p:nvCxnSpPr>
        <p:spPr>
          <a:xfrm flipV="1">
            <a:off x="2292824" y="3351378"/>
            <a:ext cx="858702" cy="550884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8" name="Straight Arrow Connector 577"/>
          <p:cNvCxnSpPr/>
          <p:nvPr/>
        </p:nvCxnSpPr>
        <p:spPr>
          <a:xfrm flipV="1">
            <a:off x="3290962" y="2702257"/>
            <a:ext cx="548578" cy="1023919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0" name="Straight Arrow Connector 579"/>
          <p:cNvCxnSpPr/>
          <p:nvPr/>
        </p:nvCxnSpPr>
        <p:spPr>
          <a:xfrm flipH="1">
            <a:off x="5711682" y="3089370"/>
            <a:ext cx="989821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3" name="Straight Arrow Connector 582"/>
          <p:cNvCxnSpPr/>
          <p:nvPr/>
        </p:nvCxnSpPr>
        <p:spPr>
          <a:xfrm flipH="1">
            <a:off x="4974259" y="4286248"/>
            <a:ext cx="737422" cy="555007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Straight Arrow Connector 584"/>
          <p:cNvCxnSpPr/>
          <p:nvPr/>
        </p:nvCxnSpPr>
        <p:spPr>
          <a:xfrm flipH="1">
            <a:off x="5469169" y="4975036"/>
            <a:ext cx="989821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6" name="Straight Arrow Connector 585"/>
          <p:cNvCxnSpPr/>
          <p:nvPr/>
        </p:nvCxnSpPr>
        <p:spPr>
          <a:xfrm flipH="1">
            <a:off x="5072519" y="5847475"/>
            <a:ext cx="989821" cy="0"/>
          </a:xfrm>
          <a:prstGeom prst="straightConnector1">
            <a:avLst/>
          </a:prstGeom>
          <a:ln w="793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7" name="Rectangle 586"/>
          <p:cNvSpPr/>
          <p:nvPr/>
        </p:nvSpPr>
        <p:spPr>
          <a:xfrm>
            <a:off x="55595" y="4468619"/>
            <a:ext cx="3870544" cy="100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The government taking concrete steps on various fronts to promote RE based off-grid rural electrification.</a:t>
            </a:r>
          </a:p>
        </p:txBody>
      </p:sp>
      <p:sp>
        <p:nvSpPr>
          <p:cNvPr id="588" name="Rectangle 587"/>
          <p:cNvSpPr/>
          <p:nvPr/>
        </p:nvSpPr>
        <p:spPr>
          <a:xfrm>
            <a:off x="5522812" y="2982892"/>
            <a:ext cx="3658628" cy="3884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Adoption of the Decree No. 2011-2013 providing conditions of power purchase and remuneration for electricity generated by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 plants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and the conditions of their connection to the grid; 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Adoption of the Decree No. 2011-2014 provides the conditions of power purchase of surplus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RE-based electricity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from self-producers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Development of </a:t>
            </a:r>
            <a:r>
              <a:rPr lang="en-US" sz="160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FiT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for RE with the support of EU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WB- strategy and action plan on RE deployment in Senegal </a:t>
            </a:r>
          </a:p>
        </p:txBody>
      </p:sp>
      <p:sp>
        <p:nvSpPr>
          <p:cNvPr id="590" name="Rectangle 589"/>
          <p:cNvSpPr/>
          <p:nvPr/>
        </p:nvSpPr>
        <p:spPr>
          <a:xfrm>
            <a:off x="94192" y="4134835"/>
            <a:ext cx="381501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Enactment of RE law and establishment of RE f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GREC revived, CB activities for key stakeholders of the RE s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Development of standards and labels for RE equipment</a:t>
            </a:r>
          </a:p>
        </p:txBody>
      </p:sp>
      <p:sp>
        <p:nvSpPr>
          <p:cNvPr id="591" name="Rectangle 590"/>
          <p:cNvSpPr/>
          <p:nvPr/>
        </p:nvSpPr>
        <p:spPr>
          <a:xfrm>
            <a:off x="154021" y="4167792"/>
            <a:ext cx="3934877" cy="222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A new Rural Electrification Agency created. 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allocation of part of the tax on electricity for rural electrification as part of the internal resource mobilization mechanism for RE promotion</a:t>
            </a:r>
          </a:p>
        </p:txBody>
      </p:sp>
      <p:sp>
        <p:nvSpPr>
          <p:cNvPr id="592" name="Rectangle 591"/>
          <p:cNvSpPr/>
          <p:nvPr/>
        </p:nvSpPr>
        <p:spPr>
          <a:xfrm>
            <a:off x="5609411" y="3521499"/>
            <a:ext cx="36175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RRA used as basis for a geothermal intervention of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USAID</a:t>
            </a:r>
          </a:p>
          <a:p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Inclusion of RE in the electricity Master Plan and Electricity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Law</a:t>
            </a:r>
          </a:p>
          <a:p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Tax exemption for all RE equipment </a:t>
            </a:r>
            <a:endParaRPr lang="en-US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endParaRPr lang="en-US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Developed national strategy for energy conservation focusing on renewables.</a:t>
            </a:r>
          </a:p>
        </p:txBody>
      </p:sp>
      <p:sp>
        <p:nvSpPr>
          <p:cNvPr id="593" name="Rectangle 592"/>
          <p:cNvSpPr/>
          <p:nvPr/>
        </p:nvSpPr>
        <p:spPr>
          <a:xfrm>
            <a:off x="102713" y="4082239"/>
            <a:ext cx="37368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Mapping of RE resources and development of feed-in-tariff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Integrated resource planning under development</a:t>
            </a:r>
          </a:p>
        </p:txBody>
      </p:sp>
      <p:sp>
        <p:nvSpPr>
          <p:cNvPr id="594" name="Rectangle 593"/>
          <p:cNvSpPr/>
          <p:nvPr/>
        </p:nvSpPr>
        <p:spPr>
          <a:xfrm>
            <a:off x="126826" y="4153477"/>
            <a:ext cx="391565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 resources mapping for the whole country d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E feed-in-tariffs adop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Rural Electrification Strategy with RE focus revised for private sector involvement</a:t>
            </a:r>
          </a:p>
        </p:txBody>
      </p:sp>
      <p:sp>
        <p:nvSpPr>
          <p:cNvPr id="595" name="Rectangle 594"/>
          <p:cNvSpPr/>
          <p:nvPr/>
        </p:nvSpPr>
        <p:spPr>
          <a:xfrm>
            <a:off x="137240" y="4120453"/>
            <a:ext cx="374963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Grid Code </a:t>
            </a: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adop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RE and IPP policies under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  <a:latin typeface="Calibri" panose="020F0502020204030204" pitchFamily="34" charset="0"/>
              </a:rPr>
              <a:t>RE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being integrated into national energy policy and legis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</a:rPr>
              <a:t>Integrated resource planning under development</a:t>
            </a:r>
          </a:p>
        </p:txBody>
      </p:sp>
    </p:spTree>
    <p:extLst>
      <p:ext uri="{BB962C8B-B14F-4D97-AF65-F5344CB8AC3E}">
        <p14:creationId xmlns:p14="http://schemas.microsoft.com/office/powerpoint/2010/main" val="290060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5" grpId="0"/>
      <p:bldP spid="565" grpId="1"/>
      <p:bldP spid="566" grpId="0"/>
      <p:bldP spid="566" grpId="1"/>
      <p:bldP spid="567" grpId="0"/>
      <p:bldP spid="567" grpId="1"/>
      <p:bldP spid="568" grpId="0"/>
      <p:bldP spid="568" grpId="1"/>
      <p:bldP spid="569" grpId="0"/>
      <p:bldP spid="569" grpId="1"/>
      <p:bldP spid="570" grpId="0"/>
      <p:bldP spid="570" grpId="1"/>
      <p:bldP spid="571" grpId="0"/>
      <p:bldP spid="571" grpId="1"/>
      <p:bldP spid="572" grpId="0"/>
      <p:bldP spid="572" grpId="1"/>
      <p:bldP spid="573" grpId="0"/>
      <p:bldP spid="587" grpId="0"/>
      <p:bldP spid="587" grpId="1"/>
      <p:bldP spid="588" grpId="0"/>
      <p:bldP spid="588" grpId="1"/>
      <p:bldP spid="590" grpId="0"/>
      <p:bldP spid="590" grpId="1"/>
      <p:bldP spid="591" grpId="0"/>
      <p:bldP spid="591" grpId="1"/>
      <p:bldP spid="592" grpId="0"/>
      <p:bldP spid="592" grpId="1"/>
      <p:bldP spid="593" grpId="0"/>
      <p:bldP spid="593" grpId="1"/>
      <p:bldP spid="594" grpId="0"/>
      <p:bldP spid="594" grpId="1"/>
      <p:bldP spid="59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3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BBE0E3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rgbClr val="BBE0E3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BBE0E3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0</TotalTime>
  <Words>1009</Words>
  <Application>Microsoft Office PowerPoint</Application>
  <PresentationFormat>On-screen Show (4:3)</PresentationFormat>
  <Paragraphs>205</Paragraphs>
  <Slides>1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Slide Titles</vt:lpstr>
      </vt:variant>
      <vt:variant>
        <vt:i4>18</vt:i4>
      </vt:variant>
    </vt:vector>
  </HeadingPairs>
  <TitlesOfParts>
    <vt:vector size="34" baseType="lpstr">
      <vt:lpstr>Arial</vt:lpstr>
      <vt:lpstr>Calibri</vt:lpstr>
      <vt:lpstr>Calibri Light</vt:lpstr>
      <vt:lpstr>Helvetica</vt:lpstr>
      <vt:lpstr>Helvetica Neue</vt:lpstr>
      <vt:lpstr>ITC Avant Garde Gothic</vt:lpstr>
      <vt:lpstr>Times New Roman</vt:lpstr>
      <vt:lpstr>Wingdings</vt:lpstr>
      <vt:lpstr>3_Standarddesign</vt:lpstr>
      <vt:lpstr>Standarddesign</vt:lpstr>
      <vt:lpstr>1_Standarddesign</vt:lpstr>
      <vt:lpstr>Office Theme</vt:lpstr>
      <vt:lpstr>2_Standarddesign</vt:lpstr>
      <vt:lpstr>6_Standarddesign</vt:lpstr>
      <vt:lpstr>4_Standarddesign</vt:lpstr>
      <vt:lpstr>2_Default</vt:lpstr>
      <vt:lpstr> Renewables Readiness  Assessment - Tanzania     Dar Es Salaam   March 9, 2016   Safiatou Alzouma Nouhou IRENA</vt:lpstr>
      <vt:lpstr>About IRENA</vt:lpstr>
      <vt:lpstr>IRENA: Programmatic Structure</vt:lpstr>
      <vt:lpstr>What is RRA?</vt:lpstr>
      <vt:lpstr> RRA countries (26)</vt:lpstr>
      <vt:lpstr>Recommended Actions in  Sub-Saharan Africa RRAs</vt:lpstr>
      <vt:lpstr>RRA Recommendations by Country</vt:lpstr>
      <vt:lpstr>RRA Recommendations – Implementation Status</vt:lpstr>
      <vt:lpstr>Impacts of RRAs in Africa</vt:lpstr>
      <vt:lpstr>PowerPoint Presentation</vt:lpstr>
      <vt:lpstr>Advisory Services</vt:lpstr>
      <vt:lpstr>Regional Clean Energy  Corridors</vt:lpstr>
      <vt:lpstr>PowerPoint Presentation</vt:lpstr>
      <vt:lpstr>Africa Clean Energy Corridor (ACEC)</vt:lpstr>
      <vt:lpstr>PowerPoint Presentation</vt:lpstr>
      <vt:lpstr>ProSPER: Promoting a Sustainable  PV Market in the ECOWAS Region </vt:lpstr>
      <vt:lpstr>PowerPoint Presentation</vt:lpstr>
      <vt:lpstr>Thank you. 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newables Readiness Assessment: Analysing impacts</dc:title>
  <dc:creator>Safiatou A Nouhou</dc:creator>
  <cp:lastModifiedBy>Tijana Radojicic</cp:lastModifiedBy>
  <cp:revision>84</cp:revision>
  <dcterms:created xsi:type="dcterms:W3CDTF">2015-01-13T00:28:50Z</dcterms:created>
  <dcterms:modified xsi:type="dcterms:W3CDTF">2016-03-09T13:11:53Z</dcterms:modified>
</cp:coreProperties>
</file>